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9.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0.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1.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13.xml" ContentType="application/vnd.openxmlformats-officedocument.theme+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14.xml" ContentType="application/vnd.openxmlformats-officedocument.theme+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 id="2147484269" r:id="rId6"/>
    <p:sldMasterId id="2147484295" r:id="rId7"/>
    <p:sldMasterId id="2147484346" r:id="rId8"/>
    <p:sldMasterId id="2147484369" r:id="rId9"/>
    <p:sldMasterId id="2147484396" r:id="rId10"/>
    <p:sldMasterId id="2147484424" r:id="rId11"/>
    <p:sldMasterId id="2147484435" r:id="rId12"/>
    <p:sldMasterId id="2147484450" r:id="rId13"/>
    <p:sldMasterId id="2147484511" r:id="rId14"/>
    <p:sldMasterId id="2147484566" r:id="rId15"/>
    <p:sldMasterId id="2147484585" r:id="rId16"/>
    <p:sldMasterId id="2147484604" r:id="rId17"/>
    <p:sldMasterId id="2147484614" r:id="rId18"/>
  </p:sldMasterIdLst>
  <p:notesMasterIdLst>
    <p:notesMasterId r:id="rId119"/>
  </p:notesMasterIdLst>
  <p:handoutMasterIdLst>
    <p:handoutMasterId r:id="rId120"/>
  </p:handoutMasterIdLst>
  <p:sldIdLst>
    <p:sldId id="1439" r:id="rId19"/>
    <p:sldId id="1424" r:id="rId20"/>
    <p:sldId id="1425" r:id="rId21"/>
    <p:sldId id="1426" r:id="rId22"/>
    <p:sldId id="1427" r:id="rId23"/>
    <p:sldId id="1428" r:id="rId24"/>
    <p:sldId id="665" r:id="rId25"/>
    <p:sldId id="666" r:id="rId26"/>
    <p:sldId id="277" r:id="rId27"/>
    <p:sldId id="1429" r:id="rId28"/>
    <p:sldId id="1430" r:id="rId29"/>
    <p:sldId id="1431" r:id="rId30"/>
    <p:sldId id="1075" r:id="rId31"/>
    <p:sldId id="284" r:id="rId32"/>
    <p:sldId id="1076" r:id="rId33"/>
    <p:sldId id="1084" r:id="rId34"/>
    <p:sldId id="1441" r:id="rId35"/>
    <p:sldId id="464" r:id="rId36"/>
    <p:sldId id="1437" r:id="rId37"/>
    <p:sldId id="1436" r:id="rId38"/>
    <p:sldId id="1443" r:id="rId39"/>
    <p:sldId id="1356" r:id="rId40"/>
    <p:sldId id="1397" r:id="rId41"/>
    <p:sldId id="1399" r:id="rId42"/>
    <p:sldId id="1401" r:id="rId43"/>
    <p:sldId id="1457" r:id="rId44"/>
    <p:sldId id="1459" r:id="rId45"/>
    <p:sldId id="1458" r:id="rId46"/>
    <p:sldId id="1402" r:id="rId47"/>
    <p:sldId id="1403" r:id="rId48"/>
    <p:sldId id="1418" r:id="rId49"/>
    <p:sldId id="864" r:id="rId50"/>
    <p:sldId id="1461" r:id="rId51"/>
    <p:sldId id="1462" r:id="rId52"/>
    <p:sldId id="1463" r:id="rId53"/>
    <p:sldId id="1349" r:id="rId54"/>
    <p:sldId id="1360" r:id="rId55"/>
    <p:sldId id="1351" r:id="rId56"/>
    <p:sldId id="1352" r:id="rId57"/>
    <p:sldId id="1353" r:id="rId58"/>
    <p:sldId id="1448" r:id="rId59"/>
    <p:sldId id="1407" r:id="rId60"/>
    <p:sldId id="1406" r:id="rId61"/>
    <p:sldId id="335" r:id="rId62"/>
    <p:sldId id="339" r:id="rId63"/>
    <p:sldId id="344" r:id="rId64"/>
    <p:sldId id="353" r:id="rId65"/>
    <p:sldId id="1444" r:id="rId66"/>
    <p:sldId id="1354" r:id="rId67"/>
    <p:sldId id="1449" r:id="rId68"/>
    <p:sldId id="1450" r:id="rId69"/>
    <p:sldId id="1359" r:id="rId70"/>
    <p:sldId id="1419" r:id="rId71"/>
    <p:sldId id="1383" r:id="rId72"/>
    <p:sldId id="1404" r:id="rId73"/>
    <p:sldId id="4348" r:id="rId74"/>
    <p:sldId id="1451" r:id="rId75"/>
    <p:sldId id="1388" r:id="rId76"/>
    <p:sldId id="1464" r:id="rId77"/>
    <p:sldId id="1435" r:id="rId78"/>
    <p:sldId id="1455" r:id="rId79"/>
    <p:sldId id="1348" r:id="rId80"/>
    <p:sldId id="1389" r:id="rId81"/>
    <p:sldId id="332" r:id="rId82"/>
    <p:sldId id="1416" r:id="rId83"/>
    <p:sldId id="1363" r:id="rId84"/>
    <p:sldId id="1387" r:id="rId85"/>
    <p:sldId id="1420" r:id="rId86"/>
    <p:sldId id="1361" r:id="rId87"/>
    <p:sldId id="1318" r:id="rId88"/>
    <p:sldId id="1423" r:id="rId89"/>
    <p:sldId id="1386" r:id="rId90"/>
    <p:sldId id="1466" r:id="rId91"/>
    <p:sldId id="1367" r:id="rId92"/>
    <p:sldId id="1365" r:id="rId93"/>
    <p:sldId id="1421" r:id="rId94"/>
    <p:sldId id="1350" r:id="rId95"/>
    <p:sldId id="1371" r:id="rId96"/>
    <p:sldId id="1410" r:id="rId97"/>
    <p:sldId id="1370" r:id="rId98"/>
    <p:sldId id="1369" r:id="rId99"/>
    <p:sldId id="1411" r:id="rId100"/>
    <p:sldId id="348" r:id="rId101"/>
    <p:sldId id="2539" r:id="rId102"/>
    <p:sldId id="343" r:id="rId103"/>
    <p:sldId id="400" r:id="rId104"/>
    <p:sldId id="1422" r:id="rId105"/>
    <p:sldId id="682" r:id="rId106"/>
    <p:sldId id="683" r:id="rId107"/>
    <p:sldId id="338" r:id="rId108"/>
    <p:sldId id="1821" r:id="rId109"/>
    <p:sldId id="295" r:id="rId110"/>
    <p:sldId id="3405" r:id="rId111"/>
    <p:sldId id="4347" r:id="rId112"/>
    <p:sldId id="1374" r:id="rId113"/>
    <p:sldId id="1014" r:id="rId114"/>
    <p:sldId id="1194" r:id="rId115"/>
    <p:sldId id="1197" r:id="rId116"/>
    <p:sldId id="1372" r:id="rId117"/>
    <p:sldId id="1465" r:id="rId11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A073DAE3-B461-442F-A3D3-6642BD875E45}">
          <p14:sldIdLst>
            <p14:sldId id="1439"/>
          </p14:sldIdLst>
        </p14:section>
        <p14:section name="Azure Overview" id="{F4ED66DF-9BA6-4DDB-91F1-717B67BC40E9}">
          <p14:sldIdLst>
            <p14:sldId id="1424"/>
            <p14:sldId id="1425"/>
            <p14:sldId id="1426"/>
            <p14:sldId id="1427"/>
            <p14:sldId id="1428"/>
            <p14:sldId id="665"/>
            <p14:sldId id="666"/>
            <p14:sldId id="277"/>
            <p14:sldId id="1429"/>
            <p14:sldId id="1430"/>
            <p14:sldId id="1431"/>
            <p14:sldId id="1075"/>
            <p14:sldId id="284"/>
            <p14:sldId id="1076"/>
            <p14:sldId id="1084"/>
            <p14:sldId id="1441"/>
            <p14:sldId id="464"/>
            <p14:sldId id="1437"/>
            <p14:sldId id="1436"/>
          </p14:sldIdLst>
        </p14:section>
        <p14:section name="Networking" id="{F3C09A4D-A89F-4EA6-BB7E-B074F2C52089}">
          <p14:sldIdLst>
            <p14:sldId id="1443"/>
            <p14:sldId id="1356"/>
            <p14:sldId id="1397"/>
            <p14:sldId id="1399"/>
            <p14:sldId id="1401"/>
            <p14:sldId id="1457"/>
            <p14:sldId id="1459"/>
            <p14:sldId id="1458"/>
            <p14:sldId id="1402"/>
            <p14:sldId id="1403"/>
            <p14:sldId id="1418"/>
            <p14:sldId id="864"/>
            <p14:sldId id="1461"/>
            <p14:sldId id="1462"/>
            <p14:sldId id="1463"/>
          </p14:sldIdLst>
        </p14:section>
        <p14:section name="Compute &amp; Infrastructure Services" id="{F2B8100E-36F2-44C7-9EAE-84E2466D754D}">
          <p14:sldIdLst>
            <p14:sldId id="1349"/>
            <p14:sldId id="1360"/>
            <p14:sldId id="1351"/>
            <p14:sldId id="1352"/>
            <p14:sldId id="1353"/>
            <p14:sldId id="1448"/>
            <p14:sldId id="1407"/>
            <p14:sldId id="1406"/>
            <p14:sldId id="335"/>
            <p14:sldId id="339"/>
            <p14:sldId id="344"/>
            <p14:sldId id="353"/>
            <p14:sldId id="1444"/>
          </p14:sldIdLst>
        </p14:section>
        <p14:section name="Storage and ARM templates" id="{6552923A-64A3-4EB3-B619-FE160314423E}">
          <p14:sldIdLst>
            <p14:sldId id="1354"/>
            <p14:sldId id="1449"/>
            <p14:sldId id="1450"/>
            <p14:sldId id="1359"/>
            <p14:sldId id="1419"/>
            <p14:sldId id="1383"/>
          </p14:sldIdLst>
        </p14:section>
        <p14:section name="Governance" id="{83F34D72-1766-451E-9504-784B7415C445}">
          <p14:sldIdLst>
            <p14:sldId id="1404"/>
            <p14:sldId id="4348"/>
            <p14:sldId id="1451"/>
            <p14:sldId id="1388"/>
            <p14:sldId id="1464"/>
            <p14:sldId id="1435"/>
            <p14:sldId id="1455"/>
          </p14:sldIdLst>
        </p14:section>
        <p14:section name="Application &amp; Platform Services" id="{1948C8C3-7D80-479E-8DAA-5C73F2A598C8}">
          <p14:sldIdLst>
            <p14:sldId id="1348"/>
            <p14:sldId id="1389"/>
            <p14:sldId id="332"/>
            <p14:sldId id="1416"/>
            <p14:sldId id="1363"/>
            <p14:sldId id="1387"/>
            <p14:sldId id="1420"/>
          </p14:sldIdLst>
        </p14:section>
        <p14:section name="DevOps" id="{0DB61B8C-F774-4760-A528-351B3B1F5C24}">
          <p14:sldIdLst>
            <p14:sldId id="1361"/>
            <p14:sldId id="1318"/>
            <p14:sldId id="1423"/>
            <p14:sldId id="1386"/>
          </p14:sldIdLst>
        </p14:section>
        <p14:section name="Event Based and Decoupled" id="{98105F2E-C6C3-4A73-81FF-7BD908B981D8}">
          <p14:sldIdLst>
            <p14:sldId id="1466"/>
            <p14:sldId id="1367"/>
            <p14:sldId id="1365"/>
            <p14:sldId id="1421"/>
          </p14:sldIdLst>
        </p14:section>
        <p14:section name="Data Analytics and IoT Services" id="{C0D87E48-4AB8-4F03-B37F-58858E082D93}">
          <p14:sldIdLst>
            <p14:sldId id="1350"/>
            <p14:sldId id="1371"/>
            <p14:sldId id="1410"/>
            <p14:sldId id="1370"/>
            <p14:sldId id="1369"/>
            <p14:sldId id="1411"/>
            <p14:sldId id="348"/>
            <p14:sldId id="2539"/>
            <p14:sldId id="343"/>
            <p14:sldId id="400"/>
            <p14:sldId id="1422"/>
            <p14:sldId id="682"/>
            <p14:sldId id="683"/>
            <p14:sldId id="338"/>
            <p14:sldId id="1821"/>
            <p14:sldId id="295"/>
            <p14:sldId id="3405"/>
            <p14:sldId id="4347"/>
            <p14:sldId id="1374"/>
            <p14:sldId id="1014"/>
            <p14:sldId id="1194"/>
            <p14:sldId id="1197"/>
            <p14:sldId id="1372"/>
            <p14:sldId id="146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72"/>
    <a:srgbClr val="0078D7"/>
    <a:srgbClr val="00BCF2"/>
    <a:srgbClr val="BAD80A"/>
    <a:srgbClr val="72BFDF"/>
    <a:srgbClr val="0E744D"/>
    <a:srgbClr val="002050"/>
    <a:srgbClr val="1E1E1E"/>
    <a:srgbClr val="FFFFFF"/>
    <a:srgbClr val="1B1B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21" autoAdjust="0"/>
    <p:restoredTop sz="70165" autoAdjust="0"/>
  </p:normalViewPr>
  <p:slideViewPr>
    <p:cSldViewPr snapToGrid="0">
      <p:cViewPr varScale="1">
        <p:scale>
          <a:sx n="94" d="100"/>
          <a:sy n="94" d="100"/>
        </p:scale>
        <p:origin x="48" y="264"/>
      </p:cViewPr>
      <p:guideLst/>
    </p:cSldViewPr>
  </p:slideViewPr>
  <p:notesTextViewPr>
    <p:cViewPr>
      <p:scale>
        <a:sx n="1" d="1"/>
        <a:sy n="1" d="1"/>
      </p:scale>
      <p:origin x="0" y="0"/>
    </p:cViewPr>
  </p:notesTextViewPr>
  <p:sorterViewPr>
    <p:cViewPr varScale="1">
      <p:scale>
        <a:sx n="1" d="1"/>
        <a:sy n="1" d="1"/>
      </p:scale>
      <p:origin x="0" y="-31236"/>
    </p:cViewPr>
  </p:sorterViewPr>
  <p:notesViewPr>
    <p:cSldViewPr snapToGrid="0">
      <p:cViewPr>
        <p:scale>
          <a:sx n="1" d="2"/>
          <a:sy n="1" d="2"/>
        </p:scale>
        <p:origin x="3369" y="92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117" Type="http://schemas.openxmlformats.org/officeDocument/2006/relationships/slide" Target="slides/slide99.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12" Type="http://schemas.openxmlformats.org/officeDocument/2006/relationships/slide" Target="slides/slide94.xml"/><Relationship Id="rId16" Type="http://schemas.openxmlformats.org/officeDocument/2006/relationships/slideMaster" Target="slideMasters/slideMaster13.xml"/><Relationship Id="rId107" Type="http://schemas.openxmlformats.org/officeDocument/2006/relationships/slide" Target="slides/slide89.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72.xml"/><Relationship Id="rId95" Type="http://schemas.openxmlformats.org/officeDocument/2006/relationships/slide" Target="slides/slide77.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113" Type="http://schemas.openxmlformats.org/officeDocument/2006/relationships/slide" Target="slides/slide95.xml"/><Relationship Id="rId118" Type="http://schemas.openxmlformats.org/officeDocument/2006/relationships/slide" Target="slides/slide100.xml"/><Relationship Id="rId80" Type="http://schemas.openxmlformats.org/officeDocument/2006/relationships/slide" Target="slides/slide62.xml"/><Relationship Id="rId85" Type="http://schemas.openxmlformats.org/officeDocument/2006/relationships/slide" Target="slides/slide67.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slide" Target="slides/slide85.xml"/><Relationship Id="rId108" Type="http://schemas.openxmlformats.org/officeDocument/2006/relationships/slide" Target="slides/slide90.xml"/><Relationship Id="rId124" Type="http://schemas.openxmlformats.org/officeDocument/2006/relationships/theme" Target="theme/theme1.xml"/><Relationship Id="rId54" Type="http://schemas.openxmlformats.org/officeDocument/2006/relationships/slide" Target="slides/slide36.xml"/><Relationship Id="rId70" Type="http://schemas.openxmlformats.org/officeDocument/2006/relationships/slide" Target="slides/slide52.xml"/><Relationship Id="rId75" Type="http://schemas.openxmlformats.org/officeDocument/2006/relationships/slide" Target="slides/slide57.xml"/><Relationship Id="rId91" Type="http://schemas.openxmlformats.org/officeDocument/2006/relationships/slide" Target="slides/slide73.xml"/><Relationship Id="rId96" Type="http://schemas.openxmlformats.org/officeDocument/2006/relationships/slide" Target="slides/slide78.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5.xml"/><Relationship Id="rId28" Type="http://schemas.openxmlformats.org/officeDocument/2006/relationships/slide" Target="slides/slide10.xml"/><Relationship Id="rId49" Type="http://schemas.openxmlformats.org/officeDocument/2006/relationships/slide" Target="slides/slide31.xml"/><Relationship Id="rId114" Type="http://schemas.openxmlformats.org/officeDocument/2006/relationships/slide" Target="slides/slide96.xml"/><Relationship Id="rId119" Type="http://schemas.openxmlformats.org/officeDocument/2006/relationships/notesMaster" Target="notesMasters/notesMaster1.xml"/><Relationship Id="rId44" Type="http://schemas.openxmlformats.org/officeDocument/2006/relationships/slide" Target="slides/slide26.xml"/><Relationship Id="rId60" Type="http://schemas.openxmlformats.org/officeDocument/2006/relationships/slide" Target="slides/slide42.xml"/><Relationship Id="rId65" Type="http://schemas.openxmlformats.org/officeDocument/2006/relationships/slide" Target="slides/slide47.xml"/><Relationship Id="rId81" Type="http://schemas.openxmlformats.org/officeDocument/2006/relationships/slide" Target="slides/slide63.xml"/><Relationship Id="rId86" Type="http://schemas.openxmlformats.org/officeDocument/2006/relationships/slide" Target="slides/slide68.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109" Type="http://schemas.openxmlformats.org/officeDocument/2006/relationships/slide" Target="slides/slide9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slide" Target="slides/slide86.xml"/><Relationship Id="rId120" Type="http://schemas.openxmlformats.org/officeDocument/2006/relationships/handoutMaster" Target="handoutMasters/handoutMaster1.xml"/><Relationship Id="rId125"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15" Type="http://schemas.openxmlformats.org/officeDocument/2006/relationships/slide" Target="slides/slide97.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1.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slide" Target="slides/slide87.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98" Type="http://schemas.openxmlformats.org/officeDocument/2006/relationships/slide" Target="slides/slide80.xml"/><Relationship Id="rId121" Type="http://schemas.openxmlformats.org/officeDocument/2006/relationships/commentAuthors" Target="commentAuthors.xml"/><Relationship Id="rId3" Type="http://schemas.openxmlformats.org/officeDocument/2006/relationships/customXml" Target="../customXml/item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 Id="rId116" Type="http://schemas.openxmlformats.org/officeDocument/2006/relationships/slide" Target="slides/slide98.xml"/><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slide" Target="slides/slide44.xml"/><Relationship Id="rId83" Type="http://schemas.openxmlformats.org/officeDocument/2006/relationships/slide" Target="slides/slide65.xml"/><Relationship Id="rId88" Type="http://schemas.openxmlformats.org/officeDocument/2006/relationships/slide" Target="slides/slide70.xml"/><Relationship Id="rId111" Type="http://schemas.openxmlformats.org/officeDocument/2006/relationships/slide" Target="slides/slide93.xml"/><Relationship Id="rId15" Type="http://schemas.openxmlformats.org/officeDocument/2006/relationships/slideMaster" Target="slideMasters/slideMaster12.xml"/><Relationship Id="rId36" Type="http://schemas.openxmlformats.org/officeDocument/2006/relationships/slide" Target="slides/slide18.xml"/><Relationship Id="rId57" Type="http://schemas.openxmlformats.org/officeDocument/2006/relationships/slide" Target="slides/slide39.xml"/><Relationship Id="rId106" Type="http://schemas.openxmlformats.org/officeDocument/2006/relationships/slide" Target="slides/slide88.xml"/><Relationship Id="rId10" Type="http://schemas.openxmlformats.org/officeDocument/2006/relationships/slideMaster" Target="slideMasters/slideMaster7.xml"/><Relationship Id="rId31" Type="http://schemas.openxmlformats.org/officeDocument/2006/relationships/slide" Target="slides/slide13.xml"/><Relationship Id="rId52" Type="http://schemas.openxmlformats.org/officeDocument/2006/relationships/slide" Target="slides/slide34.xml"/><Relationship Id="rId73" Type="http://schemas.openxmlformats.org/officeDocument/2006/relationships/slide" Target="slides/slide55.xml"/><Relationship Id="rId78" Type="http://schemas.openxmlformats.org/officeDocument/2006/relationships/slide" Target="slides/slide60.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12/3/2018 2:0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12/3/2018 2:0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services/cosmos-db/"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microsoft.com/en-us/quantum/default.aspx"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azure.microsoft.com/en-us/blog/azure-cosmosdb-database-for-serverless-era/" TargetMode="External"/><Relationship Id="rId4" Type="http://schemas.openxmlformats.org/officeDocument/2006/relationships/hyperlink" Target="https://azure.microsoft.com/en-us/blog/announcing-azure-container-instances/"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azure.microsoft.com/en-us/blog/announcing-virtual-network-integration-for-azure-storage-and-azure-sql"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azure.microsoft.com/en-us/support/legal/sla/"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azure.microsoft.com/en-us/features/cloud-shell/" TargetMode="External"/><Relationship Id="rId3" Type="http://schemas.openxmlformats.org/officeDocument/2006/relationships/hyperlink" Target="https://docs.microsoft.com/en-us/nodejs/azure/" TargetMode="External"/><Relationship Id="rId7" Type="http://schemas.openxmlformats.org/officeDocument/2006/relationships/hyperlink" Target="https://azure.microsoft.com/en-us/features/azure-portal/"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azure.microsoft.com/en-us/services/" TargetMode="External"/><Relationship Id="rId5" Type="http://schemas.openxmlformats.org/officeDocument/2006/relationships/hyperlink" Target="https://docs.microsoft.com/en-us/dotnet/azure/" TargetMode="External"/><Relationship Id="rId4" Type="http://schemas.openxmlformats.org/officeDocument/2006/relationships/hyperlink" Target="https://docs.microsoft.com/en-us/java/azure/" TargetMode="External"/><Relationship Id="rId9" Type="http://schemas.openxmlformats.org/officeDocument/2006/relationships/hyperlink" Target="https://azure.microsoft.com/en-us/services/visual-studio-team-services/"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azure.microsoft.com/en-us/services/container-service/" TargetMode="External"/><Relationship Id="rId2" Type="http://schemas.openxmlformats.org/officeDocument/2006/relationships/slide" Target="../slides/slide64.xml"/><Relationship Id="rId1" Type="http://schemas.openxmlformats.org/officeDocument/2006/relationships/notesMaster" Target="../notesMasters/notesMaster1.xml"/><Relationship Id="rId6" Type="http://schemas.openxmlformats.org/officeDocument/2006/relationships/hyperlink" Target="https://blogs.msdn.microsoft.com/visualstudio/2017/05/10/visual-studio-for-mac-now-generally-available/" TargetMode="External"/><Relationship Id="rId5" Type="http://schemas.openxmlformats.org/officeDocument/2006/relationships/hyperlink" Target="https://azure.microsoft.com/en-us/blog/announcing-azure-container-instances/" TargetMode="External"/><Relationship Id="rId4" Type="http://schemas.openxmlformats.org/officeDocument/2006/relationships/hyperlink" Target="https://azure.microsoft.com/en-us/blog/azure-data-lake-analytics-now-generally-available/" TargetMode="Externa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urn your idea into a new app, reimagine an existing system, or create a hybrid cloud application with confidence, no matter the platform or where you are on the journey to the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288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don’t have to be stuck in an all-or nothing choice – hybrid gives you the flexibility to move to the cloud when and how you want to. </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069775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0</a:t>
            </a:fld>
            <a:endParaRPr lang="en-US"/>
          </a:p>
        </p:txBody>
      </p:sp>
    </p:spTree>
    <p:extLst>
      <p:ext uri="{BB962C8B-B14F-4D97-AF65-F5344CB8AC3E}">
        <p14:creationId xmlns:p14="http://schemas.microsoft.com/office/powerpoint/2010/main" val="475130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Azure Stack: an extension of Azure</a:t>
            </a:r>
          </a:p>
          <a:p>
            <a:pPr marL="0" indent="0">
              <a:buFont typeface="Arial" panose="020B0604020202020204" pitchFamily="34" charset="0"/>
              <a:buNone/>
            </a:pPr>
            <a:endParaRPr lang="en-US" b="1"/>
          </a:p>
          <a:p>
            <a:pPr marL="171450" indent="-171450">
              <a:buFont typeface="Arial" panose="020B0604020202020204" pitchFamily="34" charset="0"/>
              <a:buChar char="•"/>
            </a:pPr>
            <a:r>
              <a:rPr lang="en-US"/>
              <a:t>One important aspect of the hybrid approach is Azure Stack.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at is Azure Stack? </a:t>
            </a:r>
          </a:p>
          <a:p>
            <a:pPr marL="171450" indent="-171450">
              <a:buFont typeface="Arial" panose="020B0604020202020204" pitchFamily="34" charset="0"/>
              <a:buChar char="•"/>
            </a:pPr>
            <a:r>
              <a:rPr lang="en-US"/>
              <a:t>It’s the code of Azure that is instantiated on a small footprint, a on-premises server stack. </a:t>
            </a:r>
          </a:p>
          <a:p>
            <a:pPr marL="171450" indent="-171450">
              <a:buFont typeface="Arial" panose="020B0604020202020204" pitchFamily="34" charset="0"/>
              <a:buChar char="•"/>
            </a:pPr>
            <a:r>
              <a:rPr lang="en-US"/>
              <a:t>You can build applications using the same APIs, same capabilities, and the same management portal. </a:t>
            </a:r>
          </a:p>
          <a:p>
            <a:pPr marL="171450" indent="-171450">
              <a:buFont typeface="Arial" panose="020B0604020202020204" pitchFamily="34" charset="0"/>
              <a:buChar char="•"/>
            </a:pPr>
            <a:r>
              <a:rPr lang="en-US"/>
              <a:t>There are three reasons you may want to do that:</a:t>
            </a:r>
          </a:p>
          <a:p>
            <a:pPr marL="628650" lvl="1" indent="-171450">
              <a:buFont typeface="Arial" panose="020B0604020202020204" pitchFamily="34" charset="0"/>
              <a:buChar char="•"/>
            </a:pPr>
            <a:r>
              <a:rPr lang="en-US"/>
              <a:t>First, the disconnected and edge scenarios. </a:t>
            </a:r>
          </a:p>
          <a:p>
            <a:pPr marL="628650" lvl="1" indent="-171450">
              <a:buFont typeface="Arial" panose="020B0604020202020204" pitchFamily="34" charset="0"/>
              <a:buChar char="•"/>
            </a:pPr>
            <a:r>
              <a:rPr lang="en-US"/>
              <a:t>For example, cruise ships roaming the oceans that are not always connected, oil rigs in a remote situation that might not have high bandwidth. </a:t>
            </a:r>
          </a:p>
          <a:p>
            <a:pPr marL="628650" lvl="1" indent="-171450">
              <a:buFont typeface="Arial" panose="020B0604020202020204" pitchFamily="34" charset="0"/>
              <a:buChar char="•"/>
            </a:pPr>
            <a:r>
              <a:rPr lang="en-US"/>
              <a:t>Your application can run in Azure for connected environments and locally on Azure Stack for the disconnected environments.</a:t>
            </a:r>
          </a:p>
          <a:p>
            <a:pPr marL="171450" indent="-171450">
              <a:buFont typeface="Arial" panose="020B0604020202020204" pitchFamily="34" charset="0"/>
              <a:buChar char="•"/>
            </a:pPr>
            <a:endParaRPr lang="en-US"/>
          </a:p>
          <a:p>
            <a:pPr marL="628650" lvl="1" indent="-171450">
              <a:buFont typeface="Arial" panose="020B0604020202020204" pitchFamily="34" charset="0"/>
              <a:buChar char="•"/>
            </a:pPr>
            <a:r>
              <a:rPr lang="en-US"/>
              <a:t>The second scenario is regulatory. </a:t>
            </a:r>
          </a:p>
          <a:p>
            <a:pPr marL="628650" lvl="1" indent="-171450">
              <a:buFont typeface="Arial" panose="020B0604020202020204" pitchFamily="34" charset="0"/>
              <a:buChar char="•"/>
            </a:pPr>
            <a:r>
              <a:rPr lang="en-US"/>
              <a:t>Where there are specific regulatory requirements about data leaving the country, but there is no Azure data center, you can have Azure Stack to meet local regulatory requirem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The last one is where you may want to move to cloud-first model but are limited due to restrictions such as having a mainframe application that cannot be moved to the cloud and you need to have it close to the cloud componen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zure Stack is delivered as an integrated systems. It is delivered through hardware partners such as Dell and H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94299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crosoft Azure: the cloud for intelligent solutions </a:t>
            </a:r>
          </a:p>
          <a:p>
            <a:endParaRPr lang="en-US" b="1" dirty="0"/>
          </a:p>
          <a:p>
            <a:pPr marL="171450" indent="-171450">
              <a:buFont typeface="Arial" panose="020B0604020202020204" pitchFamily="34" charset="0"/>
              <a:buChar char="•"/>
            </a:pPr>
            <a:r>
              <a:rPr lang="en-US" dirty="0"/>
              <a:t>In addition to having the traditional on-premises enterprise data tools—such as SQL Server—Azure provides SQL services that connects data to AI services. </a:t>
            </a:r>
          </a:p>
          <a:p>
            <a:pPr marL="171450" indent="-171450">
              <a:buFont typeface="Arial" panose="020B0604020202020204" pitchFamily="34" charset="0"/>
              <a:buChar char="•"/>
            </a:pPr>
            <a:r>
              <a:rPr lang="en-US" dirty="0"/>
              <a:t>This enables quick adoption of technologies, such as deploying a global mobile application that integrates with facial recognition services. </a:t>
            </a:r>
          </a:p>
          <a:p>
            <a:pPr marL="171450" indent="-171450">
              <a:buFont typeface="Arial" panose="020B0604020202020204" pitchFamily="34" charset="0"/>
              <a:buChar char="•"/>
            </a:pPr>
            <a:r>
              <a:rPr lang="en-US" dirty="0"/>
              <a:t>The ease of integration enables anyone to build solutions like that. </a:t>
            </a:r>
          </a:p>
          <a:p>
            <a:pPr marL="171450" indent="-171450">
              <a:buFont typeface="Arial" panose="020B0604020202020204" pitchFamily="34" charset="0"/>
              <a:buChar char="•"/>
            </a:pPr>
            <a:r>
              <a:rPr lang="en-US" dirty="0"/>
              <a:t>From bot frameworks to cognitive services, you can fundamentally change the way your business goes to market with Microsoft’s power AI platform</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3291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b="1"/>
              <a:t>Develop breakthrough apps with built-in intelligence</a:t>
            </a:r>
          </a:p>
          <a:p>
            <a:r>
              <a:rPr lang="en-US"/>
              <a:t>Take advantage of a comprehensive set of services, infrastructure, and tools to build AI-powered experiences including bots that naturally interact with users and built-in advanced analytics tools, such as R, to make faster predictions.</a:t>
            </a:r>
          </a:p>
          <a:p>
            <a:r>
              <a:rPr lang="en-US"/>
              <a:t>Elastically scale storage and performance with </a:t>
            </a:r>
            <a:r>
              <a:rPr lang="en-US">
                <a:hlinkClick r:id="rId3"/>
              </a:rPr>
              <a:t>Azure Cosmos DB</a:t>
            </a:r>
            <a:r>
              <a:rPr lang="en-US"/>
              <a:t>, the first globally distributed database service that delivers horizontal scale-out with guaranteed single digit millisecond latency.</a:t>
            </a:r>
          </a:p>
          <a:p>
            <a:r>
              <a:rPr lang="en-US"/>
              <a:t>Rest assured with managed service capabilities such as built-in monitoring, threat detection, automatic patching, and backups.</a:t>
            </a:r>
          </a:p>
          <a:p>
            <a:endParaRPr lang="en-US"/>
          </a:p>
          <a:p>
            <a:r>
              <a:rPr lang="en-US" b="1"/>
              <a:t>Expand your possibilities with an open platform</a:t>
            </a:r>
          </a:p>
          <a:p>
            <a:r>
              <a:rPr lang="en-US"/>
              <a:t>Build apps for any scenario with familiar technologies of your choice and a comprehensive set of data engines such as PostgreSQL, MySQL, MongoDB and Hadoop.</a:t>
            </a:r>
          </a:p>
          <a:p>
            <a:r>
              <a:rPr lang="en-US"/>
              <a:t>Leverage advanced analytics and AI services and tools such as Spark, and </a:t>
            </a:r>
            <a:r>
              <a:rPr lang="en-US" err="1"/>
              <a:t>Jupyter</a:t>
            </a:r>
            <a:r>
              <a:rPr lang="en-US"/>
              <a:t> Notebooks.</a:t>
            </a:r>
          </a:p>
          <a:p>
            <a:endParaRPr lang="en-US"/>
          </a:p>
          <a:p>
            <a:r>
              <a:rPr lang="en-US" b="1"/>
              <a:t>Build and deploy custom AI models at scale</a:t>
            </a:r>
          </a:p>
          <a:p>
            <a:r>
              <a:rPr lang="en-US"/>
              <a:t>Work across teams to build, test and manage different versions of your models in production with Azure Machine Learning Studio, Workbench, Experimentation, and Model management. Build rich AI applications with a family of GPUs `optimized for deep learning AI scenarios and run large-scale, massively parallel development with Azure Batch. Debug, test and deploy across platforms with Visual Studio Code.</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97389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Platform as a service (PaaS) is a complete development and deployment environment in the cloud, with resources that enable you to deliver everything from simple cloud-based apps to sophisticated, cloud-enabled enterprise applications. </a:t>
            </a:r>
          </a:p>
          <a:p>
            <a:r>
              <a:rPr lang="en-US" dirty="0"/>
              <a:t>PaaS includes infrastructure—servers, storage, and networking—but also middleware, development tools, business intelligence (BI) services, database management systems, and more. PaaS is designed to support the complete web application lifecycle: building, testing, deploying, managing, and updating.</a:t>
            </a:r>
          </a:p>
          <a:p>
            <a:endParaRPr lang="en-US" dirty="0"/>
          </a:p>
          <a:p>
            <a:r>
              <a:rPr lang="en-US" dirty="0"/>
              <a:t>PaaS allows you to avoid the expense and complexity of buying and managing software licenses, the underlying application infrastructure and middleware or the development tools and other resources. You manage the applications and services you develop, and the cloud service provider typically manages everything else.</a:t>
            </a:r>
          </a:p>
          <a:p>
            <a:endParaRPr lang="en-US" dirty="0"/>
          </a:p>
          <a:p>
            <a:r>
              <a:rPr lang="en-US" dirty="0"/>
              <a:t>App Service:</a:t>
            </a:r>
          </a:p>
          <a:p>
            <a:pPr marL="174708" indent="-174708">
              <a:buFont typeface="Arial" panose="020B0604020202020204" pitchFamily="34" charset="0"/>
              <a:buChar char="•"/>
            </a:pPr>
            <a:r>
              <a:rPr lang="en-US" dirty="0"/>
              <a:t>Create web and mobile apps for any platform or device. Integrate your apps with SaaS solutions, connect with on-premises applications, and automate your business processes. Azure runs your apps on fully managed virtual machines (VMs), with your choice of shared VM resources or dedicated VMs.</a:t>
            </a:r>
          </a:p>
          <a:p>
            <a:pPr marL="174708" indent="-174708">
              <a:buFont typeface="Arial" panose="020B0604020202020204" pitchFamily="34" charset="0"/>
              <a:buChar char="•"/>
            </a:pPr>
            <a:r>
              <a:rPr lang="en-US" dirty="0"/>
              <a:t>App Service includes the web and mobile capabilities that we previously delivered separately as Azure Websites and Azure Mobile Services. It also includes new capabilities for automating business processes and hosting cloud APIs. As a single integrated service, App Service lets you compose various components -- websites, mobile app back ends, RESTful APIs, and business processes -- into a single solution.</a:t>
            </a:r>
          </a:p>
          <a:p>
            <a:r>
              <a:rPr lang="en-US" dirty="0"/>
              <a:t>DevTest Labs:</a:t>
            </a:r>
          </a:p>
          <a:p>
            <a:pPr marL="174708" indent="-174708">
              <a:buFont typeface="Arial" panose="020B0604020202020204" pitchFamily="34" charset="0"/>
              <a:buChar char="•"/>
            </a:pPr>
            <a:r>
              <a:rPr lang="en-US" dirty="0"/>
              <a:t>Azure DevTest Labs is a service that helps developers and testers quickly create environments in Azure while minimizing waste and controlling cost. You can test the latest version of your application by quickly provisioning Windows and Linux environments using reusable templates and artifacts. Easily integrate your deployment pipeline with DevTest Labs to provision on-demand environments. Scale up your load testing by provisioning multiple test agents, and create pre-provisioned environments for training and demos.</a:t>
            </a:r>
          </a:p>
          <a:p>
            <a:r>
              <a:rPr lang="en-US" dirty="0"/>
              <a:t>Logic apps:</a:t>
            </a:r>
          </a:p>
          <a:p>
            <a:pPr marL="174708" indent="-174708">
              <a:buFont typeface="Arial" panose="020B0604020202020204" pitchFamily="34" charset="0"/>
              <a:buChar char="•"/>
            </a:pPr>
            <a:r>
              <a:rPr lang="en-US" dirty="0"/>
              <a:t>Logic Apps provide a way to simplify and implement scalable integrations and workflows in the cloud. It provides a visual designer to model and automate your process as a series of steps known as a workflow. There are many connectors across the cloud and on-premises to quickly integrate across services and protocols. A logic app begins with a trigger (like 'When an account is added to Dynamics CRM') and after firing can begin many combinations of actions, conversions, and condition logic.</a:t>
            </a:r>
          </a:p>
          <a:p>
            <a:pPr marL="174708" indent="-174708">
              <a:buFont typeface="Arial" panose="020B0604020202020204" pitchFamily="34" charset="0"/>
              <a:buChar char="•"/>
            </a:pPr>
            <a:r>
              <a:rPr lang="en-US" dirty="0"/>
              <a:t>Logic Apps is a fully managed </a:t>
            </a:r>
            <a:r>
              <a:rPr lang="en-US" dirty="0" err="1"/>
              <a:t>iPaaS</a:t>
            </a:r>
            <a:r>
              <a:rPr lang="en-US" dirty="0"/>
              <a:t> (integration Platform as a Service) allowing developers not to have to worry about building hosting, scalability, availability and management. Logic Apps will scale up automatically to meet demand.</a:t>
            </a:r>
          </a:p>
          <a:p>
            <a:r>
              <a:rPr lang="en-US" dirty="0"/>
              <a:t>Cosmos DB:</a:t>
            </a:r>
          </a:p>
          <a:p>
            <a:pPr marL="174708" indent="-174708">
              <a:buFont typeface="Arial" panose="020B0604020202020204" pitchFamily="34" charset="0"/>
              <a:buChar char="•"/>
            </a:pPr>
            <a:r>
              <a:rPr lang="en-US" dirty="0"/>
              <a:t>Azure Cosmos DB is Microsoft's globally distributed, multi-model database. With the click of a button, Azure Cosmos DB enables you to elastically and independently scale throughput and storage across any number of Azure's geographic regions. It offers throughput, latency, availability, and consistency guarantees with comprehensive service level agreements (SLAs), something no other database service can offer.</a:t>
            </a:r>
          </a:p>
          <a:p>
            <a:pPr marL="174708" indent="-174708">
              <a:buFont typeface="Arial" panose="020B0604020202020204" pitchFamily="34" charset="0"/>
              <a:buChar char="•"/>
            </a:pPr>
            <a:r>
              <a:rPr lang="en-US" dirty="0"/>
              <a:t>Any web, mobile, gaming, and IoT applications that need to handle massive amounts of reads and writes on a global scale with low response times for a variety of data will benefit from Azure Cosmos DB's guaranteed availability, high throughput, low latency, and tunable consistency.</a:t>
            </a:r>
          </a:p>
          <a:p>
            <a:endParaRPr lang="en-US" dirty="0"/>
          </a:p>
          <a:p>
            <a:r>
              <a:rPr lang="en-US" dirty="0"/>
              <a:t>Some other recent enhancements to Azure include:</a:t>
            </a:r>
          </a:p>
          <a:p>
            <a:endParaRPr lang="en-US" dirty="0"/>
          </a:p>
          <a:p>
            <a:r>
              <a:rPr lang="en-US" dirty="0"/>
              <a:t>- Scalable quantum computing: </a:t>
            </a:r>
            <a:r>
              <a:rPr lang="en-US" dirty="0">
                <a:hlinkClick r:id="rId3"/>
              </a:rPr>
              <a:t>https://www.microsoft.com/en-us/quantum/default.aspx</a:t>
            </a:r>
            <a:endParaRPr lang="en-US" dirty="0"/>
          </a:p>
          <a:p>
            <a:pPr marL="174708" indent="-174708">
              <a:buFontTx/>
              <a:buChar char="-"/>
            </a:pPr>
            <a:r>
              <a:rPr lang="en-US" dirty="0"/>
              <a:t>Azure Container Instances (Kubernetes or Docker): </a:t>
            </a:r>
            <a:r>
              <a:rPr lang="en-US" dirty="0">
                <a:hlinkClick r:id="rId4"/>
              </a:rPr>
              <a:t>https://azure.microsoft.com/en-us/blog/announcing-azure-container-instances/</a:t>
            </a:r>
            <a:endParaRPr lang="en-US" dirty="0"/>
          </a:p>
          <a:p>
            <a:r>
              <a:rPr lang="en-US" dirty="0"/>
              <a:t>- Cosmos DB and Azure Functions native integration: </a:t>
            </a:r>
            <a:r>
              <a:rPr lang="en-US" dirty="0">
                <a:hlinkClick r:id="rId5"/>
              </a:rPr>
              <a:t>https://azure.microsoft.com/en-us/blog/azure-cosmosdb-database-for-serverless-era/</a:t>
            </a:r>
            <a:endParaRPr lang="en-US" dirty="0"/>
          </a:p>
        </p:txBody>
      </p:sp>
      <p:sp>
        <p:nvSpPr>
          <p:cNvPr id="4" name="Slide Number Placeholder 3"/>
          <p:cNvSpPr>
            <a:spLocks noGrp="1"/>
          </p:cNvSpPr>
          <p:nvPr>
            <p:ph type="sldNum" sz="quarter" idx="10"/>
          </p:nvPr>
        </p:nvSpPr>
        <p:spPr/>
        <p:txBody>
          <a:bodyPr/>
          <a:lstStyle/>
          <a:p>
            <a:pPr defTabSz="950464">
              <a:defRPr/>
            </a:pPr>
            <a:fld id="{D87653DB-B31F-428D-9506-C3E312885146}" type="slidenum">
              <a:rPr lang="en-US">
                <a:solidFill>
                  <a:prstClr val="black"/>
                </a:solidFill>
                <a:latin typeface="Segoe UI" pitchFamily="34" charset="0"/>
              </a:rPr>
              <a:pPr defTabSz="950464">
                <a:defRPr/>
              </a:pPr>
              <a:t>14</a:t>
            </a:fld>
            <a:endParaRPr lang="en-US">
              <a:solidFill>
                <a:prstClr val="black"/>
              </a:solidFill>
              <a:latin typeface="Segoe UI" pitchFamily="34" charset="0"/>
            </a:endParaRPr>
          </a:p>
        </p:txBody>
      </p:sp>
    </p:spTree>
    <p:extLst>
      <p:ext uri="{BB962C8B-B14F-4D97-AF65-F5344CB8AC3E}">
        <p14:creationId xmlns:p14="http://schemas.microsoft.com/office/powerpoint/2010/main" val="11492235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rusted</a:t>
            </a:r>
          </a:p>
          <a:p>
            <a:endParaRPr lang="en-US" b="1"/>
          </a:p>
          <a:p>
            <a:pPr marL="171450" indent="-171450">
              <a:buFont typeface="Arial" panose="020B0604020202020204" pitchFamily="34" charset="0"/>
              <a:buChar char="•"/>
            </a:pPr>
            <a:r>
              <a:rPr lang="en-US"/>
              <a:t>Azure is continuing expand its infrastructure footprint around the globe.</a:t>
            </a:r>
          </a:p>
          <a:p>
            <a:pPr marL="171450" indent="-171450">
              <a:buFont typeface="Arial" panose="020B0604020202020204" pitchFamily="34" charset="0"/>
              <a:buChar char="•"/>
            </a:pPr>
            <a:r>
              <a:rPr lang="en-US"/>
              <a:t>In fact, Microsoft is the first cloud provider to put data centers in South Africa. </a:t>
            </a:r>
          </a:p>
          <a:p>
            <a:pPr marL="171450" indent="-171450">
              <a:buFont typeface="Arial" panose="020B0604020202020204" pitchFamily="34" charset="0"/>
              <a:buChar char="•"/>
            </a:pPr>
            <a:r>
              <a:rPr lang="en-US"/>
              <a:t>Right now, we’re at 42 Azure regions—which is more than AWS and Google </a:t>
            </a:r>
            <a:r>
              <a:rPr lang="en-US" i="1"/>
              <a:t>combined.</a:t>
            </a:r>
            <a:endParaRPr lang="en-US"/>
          </a:p>
          <a:p>
            <a:pPr marL="171450" indent="-171450">
              <a:buFont typeface="Arial" panose="020B0604020202020204" pitchFamily="34" charset="0"/>
              <a:buChar char="•"/>
            </a:pPr>
            <a:r>
              <a:rPr lang="en-US"/>
              <a:t>The approach Azure takes is different as it is important for enterprise customers to have data in region, close to employees, close to customers as well as have unique data handling capabilities.</a:t>
            </a:r>
          </a:p>
          <a:p>
            <a:endParaRPr lang="en-US"/>
          </a:p>
          <a:p>
            <a:r>
              <a:rPr lang="en-US"/>
              <a:t>Learn more:</a:t>
            </a:r>
          </a:p>
          <a:p>
            <a:pPr marL="171450" indent="-171450">
              <a:buFont typeface="Arial" panose="020B0604020202020204" pitchFamily="34" charset="0"/>
              <a:buChar char="•"/>
            </a:pPr>
            <a:r>
              <a:rPr lang="en-US"/>
              <a:t>For more information on how we run and secure the datacenters, there are more resources online.</a:t>
            </a:r>
          </a:p>
          <a:p>
            <a:pPr marL="171450" indent="-171450">
              <a:buFont typeface="Arial" panose="020B0604020202020204" pitchFamily="34" charset="0"/>
              <a:buChar char="•"/>
            </a:pPr>
            <a:r>
              <a:rPr lang="en-US"/>
              <a:t>Tours are available for our datacenters if you wish to see the capabilities and technologies that are in use in Azure.</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r>
              <a:rPr lang="en-US" sz="900" kern="1200">
                <a:solidFill>
                  <a:schemeClr val="tx1"/>
                </a:solidFill>
                <a:effectLst/>
                <a:latin typeface="Segoe UI Light" pitchFamily="34" charset="0"/>
                <a:ea typeface="+mn-ea"/>
                <a:cs typeface="+mn-cs"/>
              </a:rPr>
              <a:t>Trusted:</a:t>
            </a:r>
          </a:p>
          <a:p>
            <a:pPr lvl="0"/>
            <a:r>
              <a:rPr lang="en-US" sz="900" kern="1200">
                <a:solidFill>
                  <a:schemeClr val="tx1"/>
                </a:solidFill>
                <a:effectLst/>
                <a:latin typeface="Segoe UI Light" pitchFamily="34" charset="0"/>
                <a:ea typeface="+mn-ea"/>
                <a:cs typeface="+mn-cs"/>
              </a:rPr>
              <a:t>We understand every company, organization, and industry has unique needs and requirements.</a:t>
            </a:r>
          </a:p>
          <a:p>
            <a:pPr lvl="0"/>
            <a:r>
              <a:rPr lang="en-US" sz="900" kern="1200">
                <a:solidFill>
                  <a:schemeClr val="tx1"/>
                </a:solidFill>
                <a:effectLst/>
                <a:latin typeface="Segoe UI Light" pitchFamily="34" charset="0"/>
                <a:ea typeface="+mn-ea"/>
                <a:cs typeface="+mn-cs"/>
              </a:rPr>
              <a:t>That’s why we’re building our global infrastructure to provide the scale and performance needed to bring applications closer to users, keep them running with robust resiliency features, and meet your local data residency and compliance needs.</a:t>
            </a:r>
          </a:p>
          <a:p>
            <a:pPr lvl="0"/>
            <a:r>
              <a:rPr lang="en-US" sz="900" kern="1200">
                <a:solidFill>
                  <a:schemeClr val="tx1"/>
                </a:solidFill>
                <a:effectLst/>
                <a:latin typeface="Segoe UI Light" pitchFamily="34" charset="0"/>
                <a:ea typeface="+mn-ea"/>
                <a:cs typeface="+mn-cs"/>
              </a:rPr>
              <a:t>Microsoft has invested to more than double the number of Azure regions available to customers over the last three years.</a:t>
            </a:r>
          </a:p>
          <a:p>
            <a:pPr lvl="0"/>
            <a:r>
              <a:rPr lang="en-US" sz="900" kern="1200">
                <a:solidFill>
                  <a:schemeClr val="tx1"/>
                </a:solidFill>
                <a:effectLst/>
                <a:latin typeface="Segoe UI Light" pitchFamily="34" charset="0"/>
                <a:ea typeface="+mn-ea"/>
                <a:cs typeface="+mn-cs"/>
              </a:rPr>
              <a:t>We’ve announced 50 regions around the globe, more than any provider – 38 (40 as of April 2) available now, 12 coming soon</a:t>
            </a:r>
          </a:p>
          <a:p>
            <a:pPr lvl="0"/>
            <a:r>
              <a:rPr lang="en-US" sz="900" kern="1200">
                <a:solidFill>
                  <a:schemeClr val="tx1"/>
                </a:solidFill>
                <a:effectLst/>
                <a:latin typeface="Segoe UI Light" pitchFamily="34" charset="0"/>
                <a:ea typeface="+mn-ea"/>
                <a:cs typeface="+mn-cs"/>
              </a:rPr>
              <a:t>In March alone we announced: </a:t>
            </a:r>
          </a:p>
          <a:p>
            <a:pPr lvl="1"/>
            <a:r>
              <a:rPr lang="en-US" sz="900" kern="1200">
                <a:solidFill>
                  <a:schemeClr val="tx1"/>
                </a:solidFill>
                <a:effectLst/>
                <a:latin typeface="Segoe UI Light" pitchFamily="34" charset="0"/>
                <a:ea typeface="+mn-ea"/>
                <a:cs typeface="+mn-cs"/>
              </a:rPr>
              <a:t>Our first cloud regions in the Middle East (UAE - Abu Dhabi &amp; Dubai)</a:t>
            </a:r>
          </a:p>
          <a:p>
            <a:pPr lvl="1"/>
            <a:r>
              <a:rPr lang="en-US" sz="900" kern="1200">
                <a:solidFill>
                  <a:schemeClr val="tx1"/>
                </a:solidFill>
                <a:effectLst/>
                <a:latin typeface="Segoe UI Light" pitchFamily="34" charset="0"/>
                <a:ea typeface="+mn-ea"/>
                <a:cs typeface="+mn-cs"/>
              </a:rPr>
              <a:t>Our intention to be the first global cloud operator to introduce regions in Switzerland (cantons of Geneva and Zurich)</a:t>
            </a:r>
          </a:p>
          <a:p>
            <a:pPr lvl="1"/>
            <a:r>
              <a:rPr lang="en-US" sz="900" kern="1200">
                <a:solidFill>
                  <a:schemeClr val="tx1"/>
                </a:solidFill>
                <a:effectLst/>
                <a:latin typeface="Segoe UI Light" pitchFamily="34" charset="0"/>
                <a:ea typeface="+mn-ea"/>
                <a:cs typeface="+mn-cs"/>
              </a:rPr>
              <a:t>New datacenter regions in Germany</a:t>
            </a:r>
          </a:p>
          <a:p>
            <a:pPr lvl="1"/>
            <a:r>
              <a:rPr lang="en-US" sz="900" kern="1200">
                <a:solidFill>
                  <a:schemeClr val="tx1"/>
                </a:solidFill>
                <a:effectLst/>
                <a:latin typeface="Segoe UI Light" pitchFamily="34" charset="0"/>
                <a:ea typeface="+mn-ea"/>
                <a:cs typeface="+mn-cs"/>
              </a:rPr>
              <a:t>New regions dedicated to the US government</a:t>
            </a:r>
          </a:p>
          <a:p>
            <a:pPr lvl="1"/>
            <a:r>
              <a:rPr lang="en-US" sz="900" kern="1200">
                <a:solidFill>
                  <a:schemeClr val="tx1"/>
                </a:solidFill>
                <a:effectLst/>
                <a:latin typeface="Segoe UI Light" pitchFamily="34" charset="0"/>
                <a:ea typeface="+mn-ea"/>
                <a:cs typeface="+mn-cs"/>
              </a:rPr>
              <a:t>General availability of our France and (as of April 2) Australia (Canberra) regions</a:t>
            </a:r>
          </a:p>
          <a:p>
            <a:pPr marL="0" indent="0">
              <a:buFont typeface="Arial" panose="020B0604020202020204" pitchFamily="34" charset="0"/>
              <a:buNone/>
            </a:pPr>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57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http://aka.ms/AzureCompliance for more information.</a:t>
            </a:r>
            <a:r>
              <a:rPr lang="en-US" baseline="0" dirty="0"/>
              <a:t> </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3937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03263"/>
            <a:ext cx="6248400" cy="3514725"/>
          </a:xfrm>
        </p:spPr>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mn-lt"/>
                <a:ea typeface="+mn-ea"/>
                <a:cs typeface="+mn-cs"/>
              </a:rPr>
              <a:t>Microsoft has one of the largest WW fiber networks, and is constantly expanding. We either own or operate the fiber, meaning Microsoft always controls the actual traffic. </a:t>
            </a:r>
          </a:p>
        </p:txBody>
      </p:sp>
      <p:sp>
        <p:nvSpPr>
          <p:cNvPr id="4" name="Slide Number Placeholder 3"/>
          <p:cNvSpPr>
            <a:spLocks noGrp="1"/>
          </p:cNvSpPr>
          <p:nvPr>
            <p:ph type="sldNum" sz="quarter" idx="10"/>
          </p:nvPr>
        </p:nvSpPr>
        <p:spPr/>
        <p:txBody>
          <a:bodyPr/>
          <a:lstStyle/>
          <a:p>
            <a:pPr marL="0" marR="0" lvl="0" indent="0" algn="r" defTabSz="909372" rtl="0" eaLnBrk="1" fontAlgn="auto" latinLnBrk="0" hangingPunct="1">
              <a:lnSpc>
                <a:spcPct val="100000"/>
              </a:lnSpc>
              <a:spcBef>
                <a:spcPts val="0"/>
              </a:spcBef>
              <a:spcAft>
                <a:spcPts val="0"/>
              </a:spcAft>
              <a:buClrTx/>
              <a:buSzTx/>
              <a:buFontTx/>
              <a:buNone/>
              <a:tabLst/>
              <a:defRPr/>
            </a:pPr>
            <a:fld id="{D1885A3C-47E3-4F47-B5F1-8B0C56D0A77B}" type="slidenum">
              <a:rPr kumimoji="0" lang="en-US" sz="1200" b="0" i="0" u="none" strike="noStrike" kern="1200" cap="none" spc="0" normalizeH="0" baseline="0" noProof="0" smtClean="0">
                <a:ln>
                  <a:noFill/>
                </a:ln>
                <a:solidFill>
                  <a:srgbClr val="505050"/>
                </a:solidFill>
                <a:effectLst/>
                <a:uLnTx/>
                <a:uFillTx/>
                <a:latin typeface="Calibri"/>
                <a:ea typeface="+mn-ea"/>
                <a:cs typeface="+mn-cs"/>
              </a:rPr>
              <a:pPr marL="0" marR="0" lvl="0" indent="0" algn="r" defTabSz="90937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515302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latin typeface="Segoe UI Light" pitchFamily="34" charset="0"/>
              </a:rPr>
              <a:t>Comprehensive set of native business continuity solutions</a:t>
            </a:r>
          </a:p>
          <a:p>
            <a:pPr lvl="0"/>
            <a:endParaRPr lang="en-US" sz="900" dirty="0">
              <a:latin typeface="Segoe UI Light" pitchFamily="34" charset="0"/>
            </a:endParaRPr>
          </a:p>
          <a:p>
            <a:pPr lvl="0"/>
            <a:r>
              <a:rPr lang="en-US" sz="900" dirty="0">
                <a:latin typeface="Segoe UI Light" pitchFamily="34" charset="0"/>
              </a:rPr>
              <a:t>industry’s only single VM SLA.  </a:t>
            </a:r>
          </a:p>
          <a:p>
            <a:pPr lvl="1"/>
            <a:r>
              <a:rPr lang="en-US" sz="900" dirty="0">
                <a:latin typeface="Segoe UI Light" pitchFamily="34" charset="0"/>
              </a:rPr>
              <a:t>99.9% SLA guarantee on Single Instance Virtual Machines which are backed by Premium Storage</a:t>
            </a:r>
          </a:p>
          <a:p>
            <a:pPr lvl="1"/>
            <a:r>
              <a:rPr lang="en-US" sz="900" dirty="0">
                <a:latin typeface="Segoe UI Light" pitchFamily="34" charset="0"/>
              </a:rPr>
              <a:t>High availability across datacenters</a:t>
            </a:r>
          </a:p>
          <a:p>
            <a:pPr lvl="0"/>
            <a:endParaRPr lang="en-US" sz="900" dirty="0">
              <a:latin typeface="Segoe UI Light" pitchFamily="34" charset="0"/>
            </a:endParaRPr>
          </a:p>
          <a:p>
            <a:pPr lvl="0"/>
            <a:r>
              <a:rPr lang="en-US" sz="900" b="1" dirty="0">
                <a:latin typeface="Segoe UI Light" pitchFamily="34" charset="0"/>
              </a:rPr>
              <a:t>Availability zones </a:t>
            </a:r>
            <a:r>
              <a:rPr lang="en-US" sz="900" dirty="0">
                <a:latin typeface="Segoe UI Light" pitchFamily="34" charset="0"/>
              </a:rPr>
              <a:t>– protect against loss of entire datacenters, 99.99% SLA at GA</a:t>
            </a:r>
          </a:p>
          <a:p>
            <a:pPr lvl="1"/>
            <a:r>
              <a:rPr lang="en-US" sz="900" dirty="0">
                <a:latin typeface="Segoe UI Light" pitchFamily="34" charset="0"/>
              </a:rPr>
              <a:t>Combination – higher than any other vendor</a:t>
            </a:r>
          </a:p>
          <a:p>
            <a:pPr lvl="1"/>
            <a:endParaRPr lang="en-US" sz="900" dirty="0">
              <a:latin typeface="Segoe UI Light" pitchFamily="34" charset="0"/>
            </a:endParaRPr>
          </a:p>
          <a:p>
            <a:pPr lvl="0"/>
            <a:r>
              <a:rPr lang="en-US" sz="900" dirty="0">
                <a:latin typeface="Segoe UI Light" pitchFamily="34" charset="0"/>
              </a:rPr>
              <a:t>Disaster recovery and backup solutions</a:t>
            </a:r>
          </a:p>
          <a:p>
            <a:pPr marL="174708" indent="-174708">
              <a:buFont typeface="Arial" panose="020B0604020202020204" pitchFamily="34" charset="0"/>
              <a:buChar char="•"/>
            </a:pPr>
            <a:r>
              <a:rPr lang="en-US" sz="900" dirty="0">
                <a:latin typeface="Segoe UI Light" pitchFamily="34" charset="0"/>
              </a:rPr>
              <a:t>DR via Azure Site Recovery provides orchestrated failover.</a:t>
            </a:r>
          </a:p>
          <a:p>
            <a:pPr lvl="0"/>
            <a:endParaRPr lang="en-US" sz="900" dirty="0">
              <a:latin typeface="Segoe UI Light" pitchFamily="34" charset="0"/>
            </a:endParaRPr>
          </a:p>
          <a:p>
            <a:r>
              <a:rPr lang="en-US" sz="900" b="1" dirty="0">
                <a:latin typeface="Segoe UI Light" pitchFamily="34" charset="0"/>
              </a:rPr>
              <a:t>Only Azure provides this comprehensive level of service</a:t>
            </a:r>
            <a:endParaRPr lang="en-US" b="1" dirty="0"/>
          </a:p>
        </p:txBody>
      </p:sp>
      <p:sp>
        <p:nvSpPr>
          <p:cNvPr id="4" name="Header Placeholder 3"/>
          <p:cNvSpPr>
            <a:spLocks noGrp="1"/>
          </p:cNvSpPr>
          <p:nvPr>
            <p:ph type="hdr" sz="quarter" idx="10"/>
          </p:nvPr>
        </p:nvSpPr>
        <p:spPr/>
        <p:txBody>
          <a:bodyPr/>
          <a:lstStyle/>
          <a:p>
            <a:pPr defTabSz="950464">
              <a:defRPr/>
            </a:pPr>
            <a:endParaRPr lang="en-US" sz="130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615612" defTabSz="98465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D18B56EA-E28F-4F92-9F16-7A6F2501B303}" type="datetime8">
              <a:rPr lang="en-US" sz="1300">
                <a:solidFill>
                  <a:prstClr val="black"/>
                </a:solidFill>
                <a:latin typeface="Segoe UI" pitchFamily="34" charset="0"/>
              </a:rPr>
              <a:pPr defTabSz="950464">
                <a:defRPr/>
              </a:pPr>
              <a:t>12/3/2018 2:03 PM</a:t>
            </a:fld>
            <a:endParaRPr lang="en-US" sz="130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18</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12239216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M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a broad overview of the 140+ azure services we have available for customer u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y are organized by Tools, Advanced workloads (PaaS), core infra (IaaS), and Azure Stack + hybri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not a complete listing of all the of the services, but highlights some of the key/main areas that customers need.</a:t>
            </a: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2728743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Digital transformation: </a:t>
            </a:r>
          </a:p>
          <a:p>
            <a:pPr marL="171450" indent="-171450">
              <a:buFont typeface="Arial" panose="020B0604020202020204" pitchFamily="34" charset="0"/>
              <a:buChar char="•"/>
            </a:pPr>
            <a:r>
              <a:rPr lang="en-US" sz="1200" kern="1200">
                <a:solidFill>
                  <a:schemeClr val="tx1"/>
                </a:solidFill>
                <a:effectLst/>
                <a:latin typeface="+mn-lt"/>
                <a:ea typeface="+mn-ea"/>
                <a:cs typeface="+mn-cs"/>
              </a:rPr>
              <a:t>Technology is omnipresent. </a:t>
            </a:r>
          </a:p>
          <a:p>
            <a:pPr marL="171450" indent="-171450">
              <a:buFont typeface="Arial" panose="020B0604020202020204" pitchFamily="34" charset="0"/>
              <a:buChar char="•"/>
            </a:pPr>
            <a:r>
              <a:rPr lang="en-US" sz="1200" kern="1200">
                <a:solidFill>
                  <a:schemeClr val="tx1"/>
                </a:solidFill>
                <a:effectLst/>
                <a:latin typeface="+mn-lt"/>
                <a:ea typeface="+mn-ea"/>
                <a:cs typeface="+mn-cs"/>
              </a:rPr>
              <a:t>It’s shaping how</a:t>
            </a:r>
            <a:r>
              <a:rPr lang="en-US" sz="1200" kern="1200" baseline="0">
                <a:solidFill>
                  <a:schemeClr val="tx1"/>
                </a:solidFill>
                <a:effectLst/>
                <a:latin typeface="+mn-lt"/>
                <a:ea typeface="+mn-ea"/>
                <a:cs typeface="+mn-cs"/>
              </a:rPr>
              <a:t> businesses plan for innovation and growth within their markets. </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The importance of digital transformation is urgent; Since 2000, 52% of Fortune 500 companies are gone due to digital disruption.</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We see companies </a:t>
            </a:r>
            <a:r>
              <a:rPr lang="en-US" sz="1200" kern="1200">
                <a:solidFill>
                  <a:schemeClr val="tx1"/>
                </a:solidFill>
                <a:effectLst/>
                <a:latin typeface="+mn-lt"/>
                <a:ea typeface="+mn-ea"/>
                <a:cs typeface="+mn-cs"/>
              </a:rPr>
              <a:t>responding by creating digital strategies across</a:t>
            </a:r>
            <a:r>
              <a:rPr lang="en-US" sz="1200" kern="1200" baseline="0">
                <a:solidFill>
                  <a:schemeClr val="tx1"/>
                </a:solidFill>
                <a:effectLst/>
                <a:latin typeface="+mn-lt"/>
                <a:ea typeface="+mn-ea"/>
                <a:cs typeface="+mn-cs"/>
              </a:rPr>
              <a:t> four core areas: </a:t>
            </a:r>
            <a:r>
              <a:rPr lang="en-US" sz="1200" kern="1200">
                <a:solidFill>
                  <a:schemeClr val="tx1"/>
                </a:solidFill>
                <a:effectLst/>
                <a:latin typeface="+mn-lt"/>
                <a:ea typeface="+mn-ea"/>
                <a:cs typeface="+mn-cs"/>
              </a:rPr>
              <a:t>engag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customers, empowering their employees, optimiz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operations, and transform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products.</a:t>
            </a:r>
            <a:endParaRPr lang="en-US" sz="1200" b="1" kern="1200">
              <a:solidFill>
                <a:schemeClr val="tx1"/>
              </a:solidFill>
              <a:effectLst/>
              <a:latin typeface="+mn-lt"/>
              <a:ea typeface="+mn-ea"/>
              <a:cs typeface="+mn-cs"/>
            </a:endParaRPr>
          </a:p>
          <a:p>
            <a:pPr marL="171450" indent="-171450">
              <a:buFont typeface="Arial" panose="020B0604020202020204" pitchFamily="34" charset="0"/>
              <a:buChar char="•"/>
            </a:pPr>
            <a:r>
              <a:rPr lang="en-US" sz="1200" b="0" kern="1200">
                <a:solidFill>
                  <a:schemeClr val="tx1"/>
                </a:solidFill>
                <a:effectLst/>
                <a:latin typeface="+mn-lt"/>
                <a:ea typeface="+mn-ea"/>
                <a:cs typeface="+mn-cs"/>
              </a:rPr>
              <a:t>Every</a:t>
            </a:r>
            <a:r>
              <a:rPr lang="en-US" sz="1200" b="0" kern="1200" baseline="0">
                <a:solidFill>
                  <a:schemeClr val="tx1"/>
                </a:solidFill>
                <a:effectLst/>
                <a:latin typeface="+mn-lt"/>
                <a:ea typeface="+mn-ea"/>
                <a:cs typeface="+mn-cs"/>
              </a:rPr>
              <a:t>one is aware of how important this is. Look at a company like Uber for example.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digital model for the taxi industry that has allowed them to surpass every other taxi company by double or more, recently valued at $62.5 Billion.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significant shift in an industry that has been largely untouched for decades.</a:t>
            </a:r>
          </a:p>
          <a:p>
            <a:pPr marL="171450" indent="-171450">
              <a:buFont typeface="Arial" panose="020B0604020202020204" pitchFamily="34" charset="0"/>
              <a:buChar char="•"/>
            </a:pPr>
            <a:endParaRPr lang="en-US" sz="1200" b="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effectLst/>
                <a:latin typeface="+mn-lt"/>
                <a:ea typeface="+mn-ea"/>
                <a:cs typeface="+mn-cs"/>
              </a:rPr>
              <a:t>[</a:t>
            </a:r>
            <a:r>
              <a:rPr lang="en-US" sz="1200" i="1" kern="1200">
                <a:solidFill>
                  <a:schemeClr val="tx1"/>
                </a:solidFill>
                <a:effectLst/>
                <a:latin typeface="+mn-lt"/>
                <a:ea typeface="+mn-ea"/>
                <a:cs typeface="+mn-cs"/>
              </a:rPr>
              <a:t>This slide is a good opportunity to share a personal anecdote about yourself or one of your customers in which you/they realized the importance of digital transformation and how it influences customers and end user expectations.]</a:t>
            </a:r>
            <a:endParaRPr lang="en-US" sz="1200" kern="1200">
              <a:solidFill>
                <a:schemeClr val="tx1"/>
              </a:solidFill>
              <a:effectLst/>
              <a:latin typeface="+mn-lt"/>
              <a:ea typeface="+mn-ea"/>
              <a:cs typeface="+mn-cs"/>
            </a:endParaRPr>
          </a:p>
          <a:p>
            <a:pPr marL="0" indent="0">
              <a:buFont typeface="Arial" panose="020B0604020202020204" pitchFamily="34" charset="0"/>
              <a:buNone/>
            </a:pPr>
            <a:endParaRPr lang="en-US" sz="1200" b="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93060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84224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9125272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2555562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1" kern="1200">
                <a:solidFill>
                  <a:schemeClr val="tx1"/>
                </a:solidFill>
                <a:effectLst/>
                <a:latin typeface="Segoe UI Light" pitchFamily="34" charset="0"/>
                <a:ea typeface="+mn-ea"/>
                <a:cs typeface="+mn-cs"/>
              </a:rPr>
              <a:t>Classless inter-domain routing</a:t>
            </a:r>
            <a:r>
              <a:rPr lang="en-GB" sz="900" b="0" kern="1200">
                <a:solidFill>
                  <a:schemeClr val="tx1"/>
                </a:solidFill>
                <a:effectLst/>
                <a:latin typeface="Segoe UI Light" pitchFamily="34" charset="0"/>
                <a:ea typeface="+mn-ea"/>
                <a:cs typeface="+mn-cs"/>
              </a:rPr>
              <a:t> (</a:t>
            </a:r>
            <a:r>
              <a:rPr lang="en-GB" sz="900" b="1" kern="1200">
                <a:solidFill>
                  <a:schemeClr val="tx1"/>
                </a:solidFill>
                <a:effectLst/>
                <a:latin typeface="Segoe UI Light" pitchFamily="34" charset="0"/>
                <a:ea typeface="+mn-ea"/>
                <a:cs typeface="+mn-cs"/>
              </a:rPr>
              <a:t>CIDR</a:t>
            </a:r>
            <a:r>
              <a:rPr lang="en-GB" sz="900" b="0" kern="1200">
                <a:solidFill>
                  <a:schemeClr val="tx1"/>
                </a:solidFill>
                <a:effectLst/>
                <a:latin typeface="Segoe UI Light" pitchFamily="34" charset="0"/>
                <a:ea typeface="+mn-ea"/>
                <a:cs typeface="+mn-cs"/>
              </a:rPr>
              <a:t>)</a:t>
            </a:r>
            <a:endParaRPr lang="en-GB"/>
          </a:p>
          <a:p>
            <a:endParaRPr lang="en-GB"/>
          </a:p>
          <a:p>
            <a:r>
              <a:rPr lang="en-GB"/>
              <a:t>Address space for 10.4.0.0/20 is 10.4.0.0 – 10.4.15.255</a:t>
            </a:r>
          </a:p>
          <a:p>
            <a:endParaRPr lang="en-GB"/>
          </a:p>
          <a:p>
            <a:r>
              <a:rPr lang="en-GB"/>
              <a:t>Private address spaces:</a:t>
            </a:r>
          </a:p>
          <a:p>
            <a:r>
              <a:rPr lang="en-GB"/>
              <a:t>10.x.x.x/8</a:t>
            </a:r>
          </a:p>
          <a:p>
            <a:r>
              <a:rPr lang="en-GB"/>
              <a:t>172.16-31.x.x/12</a:t>
            </a:r>
          </a:p>
          <a:p>
            <a:r>
              <a:rPr lang="en-GB"/>
              <a:t>192.168.x.x/16</a:t>
            </a:r>
          </a:p>
          <a:p>
            <a:r>
              <a:rPr lang="en-GB"/>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7683275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rivate address spaces:</a:t>
            </a:r>
          </a:p>
          <a:p>
            <a:r>
              <a:rPr lang="en-GB"/>
              <a:t>10.x.x.x/8</a:t>
            </a:r>
          </a:p>
          <a:p>
            <a:r>
              <a:rPr lang="en-GB"/>
              <a:t>172.16-31.x.x/12</a:t>
            </a:r>
          </a:p>
          <a:p>
            <a:r>
              <a:rPr lang="en-GB"/>
              <a:t>192.168.x.x/16</a:t>
            </a:r>
          </a:p>
          <a:p>
            <a:r>
              <a:rPr lang="en-GB"/>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359462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oad balancer rules for probes</a:t>
            </a:r>
          </a:p>
          <a:p>
            <a:r>
              <a:rPr lang="en-GB"/>
              <a:t>RDP port is 3389/UDP</a:t>
            </a:r>
          </a:p>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7855873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9847886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7532528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peering-overview</a:t>
            </a:r>
          </a:p>
        </p:txBody>
      </p:sp>
    </p:spTree>
    <p:extLst>
      <p:ext uri="{BB962C8B-B14F-4D97-AF65-F5344CB8AC3E}">
        <p14:creationId xmlns:p14="http://schemas.microsoft.com/office/powerpoint/2010/main" val="22006784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125932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Productive, hybrid, intelligent, trus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 order to satisfy the demands of keeping up in the modern world, you need a platform that has these four qua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is is the unique value proposition that Microsoft off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is a good place to give a personal story of how your customers are making their journey to the cloud]</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6451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IP from external address range for that region</a:t>
            </a:r>
          </a:p>
          <a:p>
            <a:r>
              <a:rPr lang="en-GB"/>
              <a:t>May be reserved as well</a:t>
            </a:r>
          </a:p>
          <a:p>
            <a:r>
              <a:rPr lang="en-GB"/>
              <a:t>Public DNS name to fixed format for all public services</a:t>
            </a:r>
          </a:p>
          <a:p>
            <a:r>
              <a:rPr lang="en-GB"/>
              <a:t>Can use company public DNS with CNAME to redirect</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8518117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5323736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lking points:</a:t>
            </a:r>
          </a:p>
          <a:p>
            <a:endParaRPr lang="en-US" sz="1100" b="1" dirty="0"/>
          </a:p>
          <a:p>
            <a:r>
              <a:rPr lang="en-US" sz="1200" b="0" i="0" kern="1200" dirty="0">
                <a:solidFill>
                  <a:schemeClr val="tx1"/>
                </a:solidFill>
                <a:effectLst/>
                <a:latin typeface="+mn-lt"/>
                <a:ea typeface="+mn-ea"/>
                <a:cs typeface="+mn-cs"/>
              </a:rPr>
              <a:t>Azure Storage Firewalls and Virtual Networks uses </a:t>
            </a:r>
            <a:r>
              <a:rPr lang="en-US" sz="1200" b="0" i="0" u="none" strike="noStrike" kern="1200" dirty="0">
                <a:solidFill>
                  <a:schemeClr val="tx1"/>
                </a:solidFill>
                <a:effectLst/>
                <a:latin typeface="+mn-lt"/>
                <a:ea typeface="+mn-ea"/>
                <a:cs typeface="+mn-cs"/>
                <a:hlinkClick r:id="rId3"/>
              </a:rPr>
              <a:t>Virtual Network Service Endpoints</a:t>
            </a:r>
            <a:r>
              <a:rPr lang="en-US" sz="1200" b="0" i="0" kern="1200" dirty="0">
                <a:solidFill>
                  <a:schemeClr val="tx1"/>
                </a:solidFill>
                <a:effectLst/>
                <a:latin typeface="+mn-lt"/>
                <a:ea typeface="+mn-ea"/>
                <a:cs typeface="+mn-cs"/>
              </a:rPr>
              <a:t> to allow administrators to create network rules that allow traffic only from selected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and subnets, creating a secure network boundary for their data. These features are now available in all Azure public cloud regions and Azure Government. As part of moving to general availability it is now backed by the standard </a:t>
            </a:r>
            <a:r>
              <a:rPr lang="en-US" sz="1200" b="0" i="0" u="none" strike="noStrike" kern="1200" dirty="0">
                <a:solidFill>
                  <a:schemeClr val="tx1"/>
                </a:solidFill>
                <a:effectLst/>
                <a:latin typeface="+mn-lt"/>
                <a:ea typeface="+mn-ea"/>
                <a:cs typeface="+mn-cs"/>
                <a:hlinkClick r:id="rId4"/>
              </a:rPr>
              <a:t>SLAs</a:t>
            </a:r>
            <a:r>
              <a:rPr lang="en-US" sz="1200" b="0" i="0" kern="1200" dirty="0">
                <a:solidFill>
                  <a:schemeClr val="tx1"/>
                </a:solidFill>
                <a:effectLst/>
                <a:latin typeface="+mn-lt"/>
                <a:ea typeface="+mn-ea"/>
                <a:cs typeface="+mn-cs"/>
              </a:rPr>
              <a:t>. There is no additional billing for virtual network access through service endpoints. </a:t>
            </a:r>
            <a:endParaRPr lang="en-US" sz="1100"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51308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tx1"/>
                </a:solidFill>
              </a:rPr>
              <a:t>https://azure.microsoft.com/roadmap/azure-dns-private-zon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docs.microsoft.com/en-us/azure/dns/private-dns-overview</a:t>
            </a:r>
          </a:p>
        </p:txBody>
      </p:sp>
    </p:spTree>
    <p:extLst>
      <p:ext uri="{BB962C8B-B14F-4D97-AF65-F5344CB8AC3E}">
        <p14:creationId xmlns:p14="http://schemas.microsoft.com/office/powerpoint/2010/main" val="3306590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docs.microsoft.com/en-us/azure/virtual-network/virtual-network-create-vm-accelerated-networking </a:t>
            </a:r>
          </a:p>
          <a:p>
            <a:endParaRPr lang="en-US" dirty="0"/>
          </a:p>
        </p:txBody>
      </p:sp>
    </p:spTree>
    <p:extLst>
      <p:ext uri="{BB962C8B-B14F-4D97-AF65-F5344CB8AC3E}">
        <p14:creationId xmlns:p14="http://schemas.microsoft.com/office/powerpoint/2010/main" val="38678081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ttps://azure.microsoft.com/roadmap/load-balancer-standard/</a:t>
            </a:r>
          </a:p>
          <a:p>
            <a:r>
              <a:rPr lang="en-US" sz="900" kern="1200" dirty="0">
                <a:solidFill>
                  <a:schemeClr val="tx1"/>
                </a:solidFill>
                <a:effectLst/>
                <a:latin typeface="Segoe UI Light" pitchFamily="34" charset="0"/>
                <a:ea typeface="+mn-ea"/>
                <a:cs typeface="+mn-cs"/>
              </a:rPr>
              <a:t>https://azure.microsoft.com/roadmap/azure-load-balancer-standard-ha-ports/</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zure Load Balancer HA Ports is now in Public Preview</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Networking announces the Public Preview of HA Ports. With this, customers can now configure a single Load Balancing rule to process traffic from all the Protocols and Ports. Salient points of this feature</a:t>
            </a:r>
          </a:p>
          <a:p>
            <a:pPr lvl="0"/>
            <a:r>
              <a:rPr lang="en-US" sz="900" b="1" kern="1200" dirty="0">
                <a:solidFill>
                  <a:schemeClr val="tx1"/>
                </a:solidFill>
                <a:effectLst/>
                <a:latin typeface="Segoe UI Light" pitchFamily="34" charset="0"/>
                <a:ea typeface="+mn-ea"/>
                <a:cs typeface="+mn-cs"/>
              </a:rPr>
              <a:t>All Traffic</a:t>
            </a:r>
            <a:r>
              <a:rPr lang="en-US" sz="900" kern="1200" dirty="0">
                <a:solidFill>
                  <a:schemeClr val="tx1"/>
                </a:solidFill>
                <a:effectLst/>
                <a:latin typeface="Segoe UI Light" pitchFamily="34" charset="0"/>
                <a:ea typeface="+mn-ea"/>
                <a:cs typeface="+mn-cs"/>
              </a:rPr>
              <a:t> - This new capability makes it easier to load balance the Virtual network traffic from multiple different sources on to the backend pool – irrespective of the port numbers.</a:t>
            </a:r>
          </a:p>
          <a:p>
            <a:pPr lvl="0"/>
            <a:r>
              <a:rPr lang="en-US" sz="900" b="1" kern="1200" dirty="0">
                <a:solidFill>
                  <a:schemeClr val="tx1"/>
                </a:solidFill>
                <a:effectLst/>
                <a:latin typeface="Segoe UI Light" pitchFamily="34" charset="0"/>
                <a:ea typeface="+mn-ea"/>
                <a:cs typeface="+mn-cs"/>
              </a:rPr>
              <a:t>Simpler Configuration</a:t>
            </a:r>
            <a:r>
              <a:rPr lang="en-US" sz="900" kern="1200" dirty="0">
                <a:solidFill>
                  <a:schemeClr val="tx1"/>
                </a:solidFill>
                <a:effectLst/>
                <a:latin typeface="Segoe UI Light" pitchFamily="34" charset="0"/>
                <a:ea typeface="+mn-ea"/>
                <a:cs typeface="+mn-cs"/>
              </a:rPr>
              <a:t> - By replacing multiple load balancing rules with a single rule, customers can now avoid the max rule limit, and reduce complexity of ARM templates.</a:t>
            </a:r>
          </a:p>
          <a:p>
            <a:pPr lvl="0"/>
            <a:r>
              <a:rPr lang="en-US" sz="900" b="1" kern="1200" dirty="0">
                <a:solidFill>
                  <a:schemeClr val="tx1"/>
                </a:solidFill>
                <a:effectLst/>
                <a:latin typeface="Segoe UI Light" pitchFamily="34" charset="0"/>
                <a:ea typeface="+mn-ea"/>
                <a:cs typeface="+mn-cs"/>
              </a:rPr>
              <a:t>NVA HA</a:t>
            </a:r>
            <a:r>
              <a:rPr lang="en-US" sz="900" kern="1200" dirty="0">
                <a:solidFill>
                  <a:schemeClr val="tx1"/>
                </a:solidFill>
                <a:effectLst/>
                <a:latin typeface="Segoe UI Light" pitchFamily="34" charset="0"/>
                <a:ea typeface="+mn-ea"/>
                <a:cs typeface="+mn-cs"/>
              </a:rPr>
              <a:t> – Appliances can be deployed in an N-Active Pool behind a load balancer by using the HA Ports, and can be made highly available and process all traffic.</a:t>
            </a:r>
          </a:p>
          <a:p>
            <a:pPr lvl="0"/>
            <a:r>
              <a:rPr lang="en-US" sz="900" b="1" kern="1200" dirty="0">
                <a:solidFill>
                  <a:schemeClr val="tx1"/>
                </a:solidFill>
                <a:effectLst/>
                <a:latin typeface="Segoe UI Light" pitchFamily="34" charset="0"/>
                <a:ea typeface="+mn-ea"/>
                <a:cs typeface="+mn-cs"/>
              </a:rPr>
              <a:t>Load balancing for Port Range</a:t>
            </a:r>
            <a:r>
              <a:rPr lang="en-US" sz="900" kern="1200" dirty="0">
                <a:solidFill>
                  <a:schemeClr val="tx1"/>
                </a:solidFill>
                <a:effectLst/>
                <a:latin typeface="Segoe UI Light" pitchFamily="34" charset="0"/>
                <a:ea typeface="+mn-ea"/>
                <a:cs typeface="+mn-cs"/>
              </a:rPr>
              <a:t> – this feature, combined with NSGs can be used for Load Balancing traffic for certain port ranges for custom applications.</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oad Balancer Standard | Public Preview</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oad Balancer Standard” allows you to create load balanced deployments with much greater scale, resiliency, and ease of use for all your Virtual Machine instances inside a Virtual Network.  Load Balancer Standard unlocks a wide range of scenarios and abilities, including: </a:t>
            </a:r>
          </a:p>
          <a:p>
            <a:pPr lvl="0"/>
            <a:r>
              <a:rPr lang="en-US" sz="900" kern="1200" dirty="0">
                <a:solidFill>
                  <a:schemeClr val="tx1"/>
                </a:solidFill>
                <a:effectLst/>
                <a:latin typeface="Segoe UI Light" pitchFamily="34" charset="0"/>
                <a:ea typeface="+mn-ea"/>
                <a:cs typeface="+mn-cs"/>
              </a:rPr>
              <a:t>Availability Zones with regionally resilient and zonal frontends, cross-zone load balancing for high availability scenarios to constrain to a zone or span multiple zones.</a:t>
            </a:r>
          </a:p>
          <a:p>
            <a:pPr lvl="0"/>
            <a:r>
              <a:rPr lang="en-US" sz="900" kern="1200" dirty="0">
                <a:solidFill>
                  <a:schemeClr val="tx1"/>
                </a:solidFill>
                <a:effectLst/>
                <a:latin typeface="Segoe UI Light" pitchFamily="34" charset="0"/>
                <a:ea typeface="+mn-ea"/>
                <a:cs typeface="+mn-cs"/>
              </a:rPr>
              <a:t>Any Virtual Machine instances in a Virtual Network, including 1000 instance VM Scale Sets.</a:t>
            </a:r>
          </a:p>
          <a:p>
            <a:pPr lvl="0"/>
            <a:r>
              <a:rPr lang="en-US" sz="900" kern="1200" dirty="0">
                <a:solidFill>
                  <a:schemeClr val="tx1"/>
                </a:solidFill>
                <a:effectLst/>
                <a:latin typeface="Segoe UI Light" pitchFamily="34" charset="0"/>
                <a:ea typeface="+mn-ea"/>
                <a:cs typeface="+mn-cs"/>
              </a:rPr>
              <a:t>Instance load balancing rules to internally load balance all TCP and UDP flows for scenarios including Network Virtual Appliance high availability.</a:t>
            </a:r>
          </a:p>
          <a:p>
            <a:pPr lvl="0"/>
            <a:r>
              <a:rPr lang="en-US" sz="900" kern="1200" dirty="0">
                <a:solidFill>
                  <a:schemeClr val="tx1"/>
                </a:solidFill>
                <a:effectLst/>
                <a:latin typeface="Segoe UI Light" pitchFamily="34" charset="0"/>
                <a:ea typeface="+mn-ea"/>
                <a:cs typeface="+mn-cs"/>
              </a:rPr>
              <a:t>Diagnostic insights including data plane health, per endpoint health probe status, and counters for packets, bytes, SYN packets, and outbound SNAT connections.</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14306161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1496595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4186690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offers a </a:t>
            </a:r>
            <a:r>
              <a:rPr lang="en-US" baseline="0"/>
              <a:t>broad set of compute family that customers can take advantage from dev test to large database workloads</a:t>
            </a:r>
          </a:p>
          <a:p>
            <a:endParaRPr lang="en-US" baseline="0"/>
          </a:p>
        </p:txBody>
      </p:sp>
      <p:sp>
        <p:nvSpPr>
          <p:cNvPr id="4" name="Slide Number Placeholder 3"/>
          <p:cNvSpPr>
            <a:spLocks noGrp="1"/>
          </p:cNvSpPr>
          <p:nvPr>
            <p:ph type="sldNum" sz="quarter" idx="10"/>
          </p:nvPr>
        </p:nvSpPr>
        <p:spPr/>
        <p:txBody>
          <a:bodyPr/>
          <a:lstStyle/>
          <a:p>
            <a:fld id="{8F657078-6DF4-4B15-AEE7-8504F49DC1D1}" type="slidenum">
              <a:rPr lang="en-US" smtClean="0"/>
              <a:t>38</a:t>
            </a:fld>
            <a:endParaRPr lang="en-US"/>
          </a:p>
        </p:txBody>
      </p:sp>
    </p:spTree>
    <p:extLst>
      <p:ext uri="{BB962C8B-B14F-4D97-AF65-F5344CB8AC3E}">
        <p14:creationId xmlns:p14="http://schemas.microsoft.com/office/powerpoint/2010/main" val="29036459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Key talking</a:t>
            </a:r>
            <a:r>
              <a:rPr lang="en-US" sz="1200" b="1" baseline="0"/>
              <a:t> points: </a:t>
            </a:r>
          </a:p>
          <a:p>
            <a:r>
              <a:rPr lang="en-US"/>
              <a:t>There are several new instance sizes that</a:t>
            </a:r>
            <a:r>
              <a:rPr lang="en-US" baseline="0"/>
              <a:t> will be introduced over the next 6 months. </a:t>
            </a:r>
          </a:p>
          <a:p>
            <a:r>
              <a:rPr lang="en-US" baseline="0"/>
              <a:t>Each of these instance sizes are designed for increased performance and flexibility with capabilities tailored to specific workloads:  B, Dv3, Ev3, L &amp; M Series.</a:t>
            </a:r>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39</a:t>
            </a:fld>
            <a:endParaRPr lang="en-US"/>
          </a:p>
        </p:txBody>
      </p:sp>
    </p:spTree>
    <p:extLst>
      <p:ext uri="{BB962C8B-B14F-4D97-AF65-F5344CB8AC3E}">
        <p14:creationId xmlns:p14="http://schemas.microsoft.com/office/powerpoint/2010/main" val="469973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1555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N – GPU enabled</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H – High performanc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D, L and G have enhanced networking – Smart NIC with FPGA, so VM latency is down to 25 us.</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b="1"/>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b="1"/>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Key talking</a:t>
            </a:r>
            <a:r>
              <a:rPr lang="en-US" sz="1200" b="1" baseline="0"/>
              <a:t> points: </a:t>
            </a:r>
          </a:p>
          <a:p>
            <a:r>
              <a:rPr lang="en-US"/>
              <a:t>There are several new instance sizes that</a:t>
            </a:r>
            <a:r>
              <a:rPr lang="en-US" baseline="0"/>
              <a:t> will be introduced over the next 6 months. </a:t>
            </a:r>
          </a:p>
          <a:p>
            <a:r>
              <a:rPr lang="en-US" baseline="0"/>
              <a:t>Each of these instance sizes are designed for increased performance and flexibility with capabilities tailored to specific workloads </a:t>
            </a:r>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40</a:t>
            </a:fld>
            <a:endParaRPr lang="en-US"/>
          </a:p>
        </p:txBody>
      </p:sp>
    </p:spTree>
    <p:extLst>
      <p:ext uri="{BB962C8B-B14F-4D97-AF65-F5344CB8AC3E}">
        <p14:creationId xmlns:p14="http://schemas.microsoft.com/office/powerpoint/2010/main" val="42888145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1046203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So,</a:t>
            </a:r>
            <a:r>
              <a:rPr lang="en-US" baseline="0"/>
              <a:t> VMs are great</a:t>
            </a:r>
            <a:r>
              <a:rPr lang="is-IS" baseline="0"/>
              <a:t>… but managing a lot of them individually can be hard. </a:t>
            </a:r>
            <a:r>
              <a:rPr lang="en-US"/>
              <a:t>That’s where VM scale</a:t>
            </a:r>
            <a:r>
              <a:rPr lang="en-US" baseline="0"/>
              <a:t> sets comes in..</a:t>
            </a:r>
          </a:p>
          <a:p>
            <a:pPr marL="171450" indent="-171450">
              <a:buFontTx/>
              <a:buChar char="-"/>
            </a:pPr>
            <a:r>
              <a:rPr lang="en-US" baseline="0"/>
              <a:t>The goal here is to enable management of like VMs as a group and make it easy to scale them in/out based on demand.</a:t>
            </a:r>
          </a:p>
          <a:p>
            <a:pPr marL="171450" indent="-171450">
              <a:buFontTx/>
              <a:buChar char="-"/>
            </a:pPr>
            <a:endParaRPr lang="en-US" baseline="0"/>
          </a:p>
          <a:p>
            <a:r>
              <a:rPr lang="en-US"/>
              <a:t>Horizontal vs. vertical scale</a:t>
            </a:r>
          </a:p>
          <a:p>
            <a:r>
              <a:rPr lang="en-US"/>
              <a:t>Change the “capacity” property and redeploy</a:t>
            </a:r>
          </a:p>
          <a:p>
            <a:r>
              <a:rPr lang="en-US"/>
              <a:t>New VMs are spread across UDs, FDs, storage accounts</a:t>
            </a:r>
          </a:p>
          <a:p>
            <a:pPr marL="171450" indent="-171450">
              <a:buFontTx/>
              <a:buChar char="-"/>
            </a:pPr>
            <a:endParaRPr lang="en-US"/>
          </a:p>
          <a:p>
            <a:pPr marL="171450" indent="-171450">
              <a:buFontTx/>
              <a:buChar char="-"/>
            </a:pPr>
            <a:r>
              <a:rPr lang="en-US"/>
              <a:t>Define Max – Min VMs</a:t>
            </a:r>
          </a:p>
          <a:p>
            <a:pPr marL="171450" indent="-171450">
              <a:buFontTx/>
              <a:buChar char="-"/>
            </a:pPr>
            <a:r>
              <a:rPr lang="en-US"/>
              <a:t>Triggers and action rules</a:t>
            </a:r>
          </a:p>
          <a:p>
            <a:pPr marL="171450" indent="-171450">
              <a:buFontTx/>
              <a:buChar char="-"/>
            </a:pPr>
            <a:r>
              <a:rPr lang="en-US"/>
              <a:t>Standard audit / email notifications</a:t>
            </a:r>
          </a:p>
          <a:p>
            <a:pPr marL="171450" indent="-171450">
              <a:buFontTx/>
              <a:buChar char="-"/>
            </a:pPr>
            <a:r>
              <a:rPr lang="en-US"/>
              <a:t>Define web hooks for custom notifications and actions (e.g. runbook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8 2:03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289480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0" indent="0">
              <a:buFontTx/>
              <a:buNone/>
            </a:pPr>
            <a:r>
              <a:rPr lang="is-IS" b="1" baseline="0" dirty="0"/>
              <a:t>3 types of HPC </a:t>
            </a:r>
            <a:r>
              <a:rPr lang="is-IS" baseline="0" dirty="0"/>
              <a:t>in Azure:</a:t>
            </a:r>
          </a:p>
          <a:p>
            <a:pPr marL="171450" lvl="0" indent="-171450">
              <a:buFont typeface="Arial" panose="020B0604020202020204" pitchFamily="34" charset="0"/>
              <a:buChar char="•"/>
            </a:pPr>
            <a:r>
              <a:rPr lang="en-GB" sz="900" b="1" kern="1200" dirty="0">
                <a:solidFill>
                  <a:schemeClr val="tx1"/>
                </a:solidFill>
                <a:effectLst/>
                <a:latin typeface="Segoe UI Light" pitchFamily="34" charset="0"/>
                <a:ea typeface="+mn-ea"/>
                <a:cs typeface="+mn-cs"/>
              </a:rPr>
              <a:t>Custom Build </a:t>
            </a:r>
            <a:r>
              <a:rPr lang="en-GB" sz="900" kern="1200" dirty="0">
                <a:solidFill>
                  <a:schemeClr val="tx1"/>
                </a:solidFill>
                <a:effectLst/>
                <a:latin typeface="Segoe UI Light" pitchFamily="34" charset="0"/>
                <a:ea typeface="+mn-ea"/>
                <a:cs typeface="+mn-cs"/>
              </a:rPr>
              <a:t>– Manual configuration taking advantage of different workload managers, applications and specialised VM capabilities like GPU, high throughput back-end RDMA network.</a:t>
            </a:r>
          </a:p>
          <a:p>
            <a:pPr marL="171450" lvl="0" indent="-171450">
              <a:buFont typeface="Arial" panose="020B0604020202020204" pitchFamily="34" charset="0"/>
              <a:buChar char="•"/>
            </a:pPr>
            <a:r>
              <a:rPr lang="en-GB" sz="900" kern="1200" dirty="0">
                <a:solidFill>
                  <a:schemeClr val="tx1"/>
                </a:solidFill>
                <a:effectLst/>
                <a:latin typeface="Segoe UI Light" pitchFamily="34" charset="0"/>
                <a:ea typeface="+mn-ea"/>
                <a:cs typeface="+mn-cs"/>
              </a:rPr>
              <a:t>Big compute solutions as a service – Develop custom solutions using </a:t>
            </a:r>
            <a:r>
              <a:rPr lang="en-GB" sz="900" b="1" kern="1200" dirty="0">
                <a:solidFill>
                  <a:schemeClr val="tx1"/>
                </a:solidFill>
                <a:effectLst/>
                <a:latin typeface="Segoe UI Light" pitchFamily="34" charset="0"/>
                <a:ea typeface="+mn-ea"/>
                <a:cs typeface="+mn-cs"/>
              </a:rPr>
              <a:t>Azure Batch </a:t>
            </a:r>
            <a:r>
              <a:rPr lang="en-GB" sz="900" kern="1200" dirty="0">
                <a:solidFill>
                  <a:schemeClr val="tx1"/>
                </a:solidFill>
                <a:effectLst/>
                <a:latin typeface="Segoe UI Light" pitchFamily="34" charset="0"/>
                <a:ea typeface="+mn-ea"/>
                <a:cs typeface="+mn-cs"/>
              </a:rPr>
              <a:t>taking advantage out of box scheduling and scaling capability with options to use low priority </a:t>
            </a:r>
            <a:r>
              <a:rPr lang="en-GB" sz="900" kern="1200" dirty="0" err="1">
                <a:solidFill>
                  <a:schemeClr val="tx1"/>
                </a:solidFill>
                <a:effectLst/>
                <a:latin typeface="Segoe UI Light" pitchFamily="34" charset="0"/>
                <a:ea typeface="+mn-ea"/>
                <a:cs typeface="+mn-cs"/>
              </a:rPr>
              <a:t>vms</a:t>
            </a:r>
            <a:r>
              <a:rPr lang="en-GB" sz="900" kern="1200" dirty="0">
                <a:solidFill>
                  <a:schemeClr val="tx1"/>
                </a:solidFill>
                <a:effectLst/>
                <a:latin typeface="Segoe UI Light" pitchFamily="34" charset="0"/>
                <a:ea typeface="+mn-ea"/>
                <a:cs typeface="+mn-cs"/>
              </a:rPr>
              <a:t> to reduce the cost of computing.</a:t>
            </a:r>
          </a:p>
          <a:p>
            <a:pPr marL="171450" lvl="0" indent="-171450">
              <a:buFont typeface="Arial" panose="020B0604020202020204" pitchFamily="34" charset="0"/>
              <a:buChar char="•"/>
            </a:pPr>
            <a:r>
              <a:rPr lang="en-GB" sz="900" b="1" kern="1200" dirty="0">
                <a:solidFill>
                  <a:schemeClr val="tx1"/>
                </a:solidFill>
                <a:effectLst/>
                <a:latin typeface="Segoe UI Light" pitchFamily="34" charset="0"/>
                <a:ea typeface="+mn-ea"/>
                <a:cs typeface="+mn-cs"/>
              </a:rPr>
              <a:t>Marketplace Solutions</a:t>
            </a:r>
            <a:r>
              <a:rPr lang="en-GB" sz="900" kern="1200" dirty="0">
                <a:solidFill>
                  <a:schemeClr val="tx1"/>
                </a:solidFill>
                <a:effectLst/>
                <a:latin typeface="Segoe UI Light" pitchFamily="34" charset="0"/>
                <a:ea typeface="+mn-ea"/>
                <a:cs typeface="+mn-cs"/>
              </a:rPr>
              <a:t>: Use ready to deploy HPC solutions  offered  by different vendors.</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2/3/2018 2:03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43</a:t>
            </a:fld>
            <a:endParaRPr lang="en-US" altLang="en-US"/>
          </a:p>
        </p:txBody>
      </p:sp>
    </p:spTree>
    <p:extLst>
      <p:ext uri="{BB962C8B-B14F-4D97-AF65-F5344CB8AC3E}">
        <p14:creationId xmlns:p14="http://schemas.microsoft.com/office/powerpoint/2010/main" val="35932541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51210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98900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84084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9023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e announced the public preview of Azure Availability Zones in two regions with more being added in the coming months. We’re building upon our existing regions with Availability Zones to provide a comprehensive set of high-availability and disaster recovery capabilities to meet the most demanding business continuity needs of your customers.</a:t>
            </a:r>
          </a:p>
          <a:p>
            <a:r>
              <a:rPr lang="en-US" sz="900" kern="1200" dirty="0">
                <a:solidFill>
                  <a:schemeClr val="tx1"/>
                </a:solidFill>
                <a:effectLst/>
                <a:latin typeface="Segoe UI Light" pitchFamily="34" charset="0"/>
                <a:ea typeface="+mn-ea"/>
                <a:cs typeface="+mn-cs"/>
              </a:rPr>
              <a:t>Availability Zones are fault-isolated locations within an Azure region, providing redundant power, cooling, and networking. Availability Zones allow your customers to run mission critical applications with high availability and fault tolerance to data center failures. We will be offering a financially backed 99.99% SLA for Virtual Machines deployed in two or more zones within a region when it is generally available.</a:t>
            </a:r>
          </a:p>
          <a:p>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https://www.youtube.com/watch?v=ryiNkqYCcY4</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https://www.youtube.com/watch?v=DXOTJPZzP6Q</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endParaRPr lang="en-US" dirty="0"/>
          </a:p>
        </p:txBody>
      </p:sp>
    </p:spTree>
    <p:extLst>
      <p:ext uri="{BB962C8B-B14F-4D97-AF65-F5344CB8AC3E}">
        <p14:creationId xmlns:p14="http://schemas.microsoft.com/office/powerpoint/2010/main" val="40408632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loud</a:t>
            </a:r>
            <a:r>
              <a:rPr lang="en-US" baseline="0"/>
              <a:t> services and cloud usage are broadly defined as existing across infrastructure services or IaaS and higher layer platform services or PaaS. The Azure Storage services span both categories. </a:t>
            </a:r>
          </a:p>
          <a:p>
            <a:endParaRPr lang="en-US" baseline="0"/>
          </a:p>
          <a:p>
            <a:r>
              <a:rPr lang="en-US" baseline="0"/>
              <a:t>On the IaaS side we provide single instance storage for VMs in the form of our Disks service and SMB shared storage which we call Azure Files.</a:t>
            </a:r>
          </a:p>
          <a:p>
            <a:endParaRPr lang="en-US" baseline="0"/>
          </a:p>
          <a:p>
            <a:r>
              <a:rPr lang="en-US" baseline="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a:p>
        </p:txBody>
      </p:sp>
      <p:sp>
        <p:nvSpPr>
          <p:cNvPr id="4" name="Header Placeholder 3"/>
          <p:cNvSpPr>
            <a:spLocks noGrp="1"/>
          </p:cNvSpPr>
          <p:nvPr>
            <p:ph type="hdr" sz="quarter" idx="10"/>
          </p:nvPr>
        </p:nvSpPr>
        <p:spPr/>
        <p:txBody>
          <a:bodyPr/>
          <a:lstStyle/>
          <a:p>
            <a:r>
              <a:rPr lang="en-US"/>
              <a:t>Microsoft Build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4042227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se any dev tool or language</a:t>
            </a:r>
          </a:p>
          <a:p>
            <a:r>
              <a:rPr lang="en-US" dirty="0"/>
              <a:t>Build applications using the language of your choice including </a:t>
            </a:r>
            <a:r>
              <a:rPr lang="en-US" dirty="0">
                <a:hlinkClick r:id="rId3"/>
              </a:rPr>
              <a:t>Node.js</a:t>
            </a:r>
            <a:r>
              <a:rPr lang="en-US" dirty="0"/>
              <a:t>, </a:t>
            </a:r>
            <a:r>
              <a:rPr lang="en-US" dirty="0">
                <a:hlinkClick r:id="rId4"/>
              </a:rPr>
              <a:t>Java</a:t>
            </a:r>
            <a:r>
              <a:rPr lang="en-US" dirty="0"/>
              <a:t>, </a:t>
            </a:r>
            <a:r>
              <a:rPr lang="en-US" dirty="0">
                <a:hlinkClick r:id="rId5"/>
              </a:rPr>
              <a:t>.NET</a:t>
            </a:r>
            <a:r>
              <a:rPr lang="en-US" dirty="0"/>
              <a:t>. </a:t>
            </a:r>
          </a:p>
          <a:p>
            <a:r>
              <a:rPr lang="en-US" dirty="0"/>
              <a:t>Leverage best in class development tools, Visual Studio or Visual Studio Code, either on your PC or Mac.</a:t>
            </a:r>
          </a:p>
          <a:p>
            <a:r>
              <a:rPr lang="en-US" dirty="0"/>
              <a:t>Get apps to users faster by streamlining the mobile development lifecycle with Visual Studio Mobile Center, including automated builds and testing.</a:t>
            </a:r>
          </a:p>
          <a:p>
            <a:endParaRPr lang="en-US" dirty="0"/>
          </a:p>
          <a:p>
            <a:r>
              <a:rPr lang="en-US" b="1" dirty="0"/>
              <a:t>Choice of more than 100 services</a:t>
            </a:r>
          </a:p>
          <a:p>
            <a:r>
              <a:rPr lang="en-US" dirty="0"/>
              <a:t>Engage with users in richer ways whether in native mobile apps, responsive web apps, or through new experiences like bots and mixed reality. Use the best in class support by Visual Studio family of tools and 100+ of Azure Cloud Services.</a:t>
            </a:r>
          </a:p>
          <a:p>
            <a:r>
              <a:rPr lang="en-US" dirty="0"/>
              <a:t>Develop with open source technologies like Kubernetes, modernize applications using </a:t>
            </a:r>
            <a:r>
              <a:rPr lang="en-US" dirty="0" err="1"/>
              <a:t>serverless</a:t>
            </a:r>
            <a:r>
              <a:rPr lang="en-US" dirty="0"/>
              <a:t> computing with Azure Functions, and use AI and data to infuse intelligence into your solutions. </a:t>
            </a:r>
          </a:p>
          <a:p>
            <a:r>
              <a:rPr lang="en-US" dirty="0"/>
              <a:t>Easily connect applications, data, and devices taking advantage of 150+ out-of-the-box Azure Logic Apps connectors for Salesforce, Office 365, Twitter, Dropbox, Google services, and more.</a:t>
            </a:r>
          </a:p>
          <a:p>
            <a:r>
              <a:rPr lang="en-US" dirty="0">
                <a:hlinkClick r:id="rId6"/>
              </a:rPr>
              <a:t>Explore Azure products and services</a:t>
            </a:r>
            <a:r>
              <a:rPr lang="en-US" dirty="0"/>
              <a:t> </a:t>
            </a:r>
          </a:p>
          <a:p>
            <a:endParaRPr lang="en-US" dirty="0"/>
          </a:p>
          <a:p>
            <a:r>
              <a:rPr lang="en-US" b="1" dirty="0"/>
              <a:t>End-to-end management experience</a:t>
            </a:r>
          </a:p>
          <a:p>
            <a:r>
              <a:rPr lang="en-US" dirty="0"/>
              <a:t>Manage applications no matter how large or complex. Use your choice of management tools including the Azure portal, Power Shell, BASH, or REST APIs. </a:t>
            </a:r>
          </a:p>
          <a:p>
            <a:r>
              <a:rPr lang="en-US" dirty="0"/>
              <a:t>Azure provides built-in support for things like monitoring, log analytics, patching, backup and site recovery. </a:t>
            </a:r>
          </a:p>
          <a:p>
            <a:r>
              <a:rPr lang="en-US" dirty="0">
                <a:hlinkClick r:id="rId7"/>
              </a:rPr>
              <a:t>Azure portal</a:t>
            </a:r>
            <a:r>
              <a:rPr lang="en-US" dirty="0"/>
              <a:t> </a:t>
            </a:r>
            <a:br>
              <a:rPr lang="en-US" dirty="0"/>
            </a:br>
            <a:r>
              <a:rPr lang="en-US" dirty="0">
                <a:hlinkClick r:id="rId8"/>
              </a:rPr>
              <a:t>Azure Cloud Shell</a:t>
            </a:r>
            <a:r>
              <a:rPr lang="en-US" dirty="0"/>
              <a:t> </a:t>
            </a:r>
          </a:p>
          <a:p>
            <a:endParaRPr lang="en-US" dirty="0"/>
          </a:p>
          <a:p>
            <a:r>
              <a:rPr lang="en-US" b="1" dirty="0"/>
              <a:t>Accelerate application delivery with agile development practices</a:t>
            </a:r>
          </a:p>
          <a:p>
            <a:r>
              <a:rPr lang="en-US" dirty="0"/>
              <a:t>Encourage </a:t>
            </a:r>
            <a:r>
              <a:rPr lang="en-US" dirty="0" err="1"/>
              <a:t>devops</a:t>
            </a:r>
            <a:r>
              <a:rPr lang="en-US" dirty="0"/>
              <a:t> practices and cross-team collaboration using Visual Studio Team Services. Enable continuous integration and delivery (CI/CD) for any app written in any language.</a:t>
            </a:r>
          </a:p>
          <a:p>
            <a:r>
              <a:rPr lang="en-US" dirty="0"/>
              <a:t>Quickly find production issues with Azure Application Insights, while saving time and money spinning up and maintaining cloud dev-test environments.</a:t>
            </a:r>
          </a:p>
          <a:p>
            <a:r>
              <a:rPr lang="en-US" dirty="0"/>
              <a:t>Build software your way with integration to popular open-source software and tools such as Jenkins and Chef.</a:t>
            </a:r>
          </a:p>
          <a:p>
            <a:r>
              <a:rPr lang="en-US" dirty="0">
                <a:hlinkClick r:id="rId9"/>
              </a:rPr>
              <a:t>Learn more about Visual Studio Team Services</a:t>
            </a:r>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00380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fr-FR" dirty="0"/>
              <a:t>https://azure.microsoft.com/roadmap/azure-file-sync/</a:t>
            </a:r>
          </a:p>
          <a:p>
            <a:r>
              <a:rPr lang="fr-FR" dirty="0"/>
              <a:t>https://azure.microsoft.com/en-us/blog/announcing-the-public-preview-for-azure-file-sync/</a:t>
            </a:r>
          </a:p>
          <a:p>
            <a:r>
              <a:rPr lang="fr-FR" dirty="0"/>
              <a:t>Microsoft Azure File Sync: https://www.youtube.com/watch?v=r26jWDGF_rg</a:t>
            </a:r>
          </a:p>
          <a:p>
            <a:endParaRPr lang="fr-FR" dirty="0"/>
          </a:p>
          <a:p>
            <a:r>
              <a:rPr lang="en-US" sz="900" b="1" kern="1200" dirty="0">
                <a:solidFill>
                  <a:schemeClr val="tx1"/>
                </a:solidFill>
                <a:effectLst/>
                <a:latin typeface="Segoe UI Light" pitchFamily="34" charset="0"/>
                <a:ea typeface="+mn-ea"/>
                <a:cs typeface="+mn-cs"/>
              </a:rPr>
              <a:t>Azure File Sync Public Preview Field Announcement</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File Sync is a new capability of Azure Files that allows customers to easily synchronize existing directories and files from Windows Server 2012R2 and 2016 to Azure Files. The public preview blog announcement will be released on September 25th. See for blog post. Azure File Sync provides the following scenarios to our customers:</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Multi-site sync and access – Azure File Sync synchronizes between Azure File Shares and Windows Servers. Customers with branches that require the same files to be accessed across these servers can use Azure File Sync to keep them consistent via a fully managed cloud service.</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loud tiering (server becomes cache) – Servers that are low on capacity can benefit from Azure File Sync cloud-tiering feature where less recently used data is removed from the local server and then recalled when an application or user accesses the file. This allows the local server to provide the same application compatibility and performance while increasing the storage capacity and simplifying management.</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Integrated server data backup – Azure File Sync works with Azure Backup to provide integrated backup and restoration. In the example of a branch office deployment instead of backing up each branch office file server, instead, use Azure Backup to backup the Azure File Share to safeguard the data. Azure File snapshots are supported where an entire share or a specific file version can be retrieved for point-in-time recovery.</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Direct cloud data access – Moving a workload (lift and shift) can be done with sync to allow both on premise and cloud access to the same data during the migration. This can allow portions of the workload to be moved into the cloud.</a:t>
            </a:r>
            <a:endParaRPr lang="en-US" sz="105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Public Preview Structure</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Azure File Sync public preview will launch in US West, West Europe, Southeast Asia, and Australia East. After public preview launch we will add other public regions based on demand. The public preview launches with the following restrictions:</a:t>
            </a:r>
            <a:endParaRPr lang="en-US" sz="105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Cloud-Cloud sync is not supported but is being developed. Cloud to cloud sync allows 2 or more Azure File shares to also be in the same sync group.  One common use case would be to provide a new type of replication across regions that offers read/write access to multiple regions. A second use case would be to optimize a replication latency where servers exist in multiple regions.</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Azure Files LRS and GRS is supported. GRS will provide a copy of the data that can be used in the case of region failover. Should a region failover occur, the Azure File Sync deployment would have to be recreated using the ‘copy’ of the data from the backup region.</a:t>
            </a:r>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urrent limits for Azure File Sync (if any of these are blocking, please do contact xsyncpm@microsoft.com as these will increase through time) </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torage Sync Service objects per subscription:          15</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ync Groups per Storage Sync Service:                      3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Registered Servers per Storage Sync Service:            10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Cloud Endpoints per Sync Group:                               1</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erver Endpoints per Sync Group:                              100</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Items (files &amp; directories) per Sync Group:                4M</a:t>
            </a:r>
            <a:endParaRPr lang="en-US" sz="105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Max File Size:                                                              500GB</a:t>
            </a:r>
            <a:endParaRPr lang="en-US" sz="1050" kern="1200" dirty="0">
              <a:solidFill>
                <a:schemeClr val="tx1"/>
              </a:solidFill>
              <a:effectLst/>
              <a:latin typeface="Segoe UI Light" pitchFamily="34" charset="0"/>
              <a:ea typeface="+mn-ea"/>
              <a:cs typeface="+mn-cs"/>
            </a:endParaRPr>
          </a:p>
          <a:p>
            <a:endParaRPr lang="fr-FR" dirty="0"/>
          </a:p>
        </p:txBody>
      </p:sp>
    </p:spTree>
    <p:extLst>
      <p:ext uri="{BB962C8B-B14F-4D97-AF65-F5344CB8AC3E}">
        <p14:creationId xmlns:p14="http://schemas.microsoft.com/office/powerpoint/2010/main" val="372005943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azure.microsoft.com/roadmap/azure-data-box/</a:t>
            </a:r>
          </a:p>
          <a:p>
            <a:r>
              <a:rPr lang="en-US" dirty="0"/>
              <a:t>https://azure.microsoft.com/en-us/blog/announcing-the-preview-for-the-azure-data-box-achievements-will-be-unlocked/</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nnouncing the limited preview of Azure Data Box</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e’re excited to announce the limited preview of Azure Data Box. The Azure Data Box is a secure, ruggedized, tamper resistant appliance created by Microsoft to help customers transfer large amounts of data into Azure Storage. Customers can order the Data Box through the Azure portal. The Data Box can connect to a customer’s networks via DHCP or customer supplied IP address. Customers can copy data to the Azure Data Box using the SMB 3.0 protocol and encrypt it using 256-bit AES encryption keys. When returned to Microsoft, customers can store their data in Azure Blob or Files storage and the device is erased after data upload. Partners can also use the Azure Data Box to help their customers with large Azure Data transfer projects. Availability for the preview will be limited US regions but we encourage all interested customers to express interest in participating.</a:t>
            </a:r>
          </a:p>
          <a:p>
            <a:r>
              <a:rPr lang="en-US" sz="900" kern="1200" dirty="0">
                <a:solidFill>
                  <a:schemeClr val="tx1"/>
                </a:solidFill>
                <a:effectLst/>
                <a:latin typeface="Segoe UI Light" pitchFamily="34" charset="0"/>
                <a:ea typeface="+mn-ea"/>
                <a:cs typeface="+mn-cs"/>
              </a:rPr>
              <a:t>Key points:</a:t>
            </a:r>
          </a:p>
          <a:p>
            <a:pPr lvl="0"/>
            <a:r>
              <a:rPr lang="en-US" sz="900" kern="1200" dirty="0">
                <a:solidFill>
                  <a:schemeClr val="tx1"/>
                </a:solidFill>
                <a:effectLst/>
                <a:latin typeface="Segoe UI Light" pitchFamily="34" charset="0"/>
                <a:ea typeface="+mn-ea"/>
                <a:cs typeface="+mn-cs"/>
              </a:rPr>
              <a:t>Limited inventory (Team will review each customer submission) </a:t>
            </a:r>
          </a:p>
          <a:p>
            <a:pPr lvl="0"/>
            <a:r>
              <a:rPr lang="en-US" sz="900" kern="1200" dirty="0">
                <a:solidFill>
                  <a:schemeClr val="tx1"/>
                </a:solidFill>
                <a:effectLst/>
                <a:latin typeface="Segoe UI Light" pitchFamily="34" charset="0"/>
                <a:ea typeface="+mn-ea"/>
                <a:cs typeface="+mn-cs"/>
              </a:rPr>
              <a:t>Early preview will use ‘proxy HW’ (Not final devices) while manufacturing ramps up for new devices </a:t>
            </a:r>
          </a:p>
          <a:p>
            <a:pPr lvl="0"/>
            <a:r>
              <a:rPr lang="en-US" sz="900" kern="1200" dirty="0">
                <a:solidFill>
                  <a:schemeClr val="tx1"/>
                </a:solidFill>
                <a:effectLst/>
                <a:latin typeface="Segoe UI Light" pitchFamily="34" charset="0"/>
                <a:ea typeface="+mn-ea"/>
                <a:cs typeface="+mn-cs"/>
              </a:rPr>
              <a:t>No charge to use devices during preview stages however normal storage charges apply for data</a:t>
            </a: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20022082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Run through Availability Sets vs Availability Zones</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Talk about UD (5) and FD (2)</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2 VMs in Availability Sets for 99.95% SLA</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baseline="0"/>
              <a:t>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a:p>
          <a:p>
            <a:pPr marL="0" marR="0" lvl="0" indent="0" algn="l" defTabSz="932425" rtl="0" eaLnBrk="1" fontAlgn="auto" latinLnBrk="0" hangingPunct="1">
              <a:lnSpc>
                <a:spcPct val="100000"/>
              </a:lnSpc>
              <a:spcBef>
                <a:spcPts val="0"/>
              </a:spcBef>
              <a:spcAft>
                <a:spcPts val="0"/>
              </a:spcAft>
              <a:buClrTx/>
              <a:buSzTx/>
              <a:buFontTx/>
              <a:buNone/>
              <a:tabLst/>
              <a:defRPr/>
            </a:pPr>
            <a:r>
              <a:rPr lang="en-US"/>
              <a:t>Today disk management is a fairly complex process. Users must understand service limits of storage accounts and directly manage page blobs in one or more storage accounts to ensure they have enough storage capacity and IOPs. Availability is also an issue as a storage account could potentially be a single point of failure.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a:p>
          <a:p>
            <a:pPr marL="0" marR="0" lvl="0" indent="0" algn="l" defTabSz="932425" rtl="0" eaLnBrk="1" fontAlgn="auto" latinLnBrk="0" hangingPunct="1">
              <a:lnSpc>
                <a:spcPct val="100000"/>
              </a:lnSpc>
              <a:spcBef>
                <a:spcPts val="0"/>
              </a:spcBef>
              <a:spcAft>
                <a:spcPts val="0"/>
              </a:spcAft>
              <a:buClrTx/>
              <a:buSzTx/>
              <a:buFontTx/>
              <a:buNone/>
              <a:tabLst/>
              <a:defRPr/>
            </a:pPr>
            <a:r>
              <a:rPr lang="en-US"/>
              <a:t>Managed disks solves</a:t>
            </a:r>
            <a:r>
              <a:rPr lang="en-US" baseline="0"/>
              <a:t> the availability problem by ensuring the disks are created on physically separate stamps of storage when provisioned with VMs in an availability set. </a:t>
            </a:r>
            <a:endParaRPr lang="en-US"/>
          </a:p>
          <a:p>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52</a:t>
            </a:fld>
            <a:endParaRPr lang="en-US"/>
          </a:p>
        </p:txBody>
      </p:sp>
    </p:spTree>
    <p:extLst>
      <p:ext uri="{BB962C8B-B14F-4D97-AF65-F5344CB8AC3E}">
        <p14:creationId xmlns:p14="http://schemas.microsoft.com/office/powerpoint/2010/main" val="130911514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19275360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8 2:03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56382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21859440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86786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dirty="0"/>
              <a:t>https://azure.microsoft.com/roadmap/introducing-azure-policy/</a:t>
            </a:r>
          </a:p>
          <a:p>
            <a:r>
              <a:rPr lang="en-US" dirty="0"/>
              <a:t>http://azure.com/policy</a:t>
            </a:r>
          </a:p>
          <a:p>
            <a:r>
              <a:rPr lang="en-US" dirty="0"/>
              <a:t>Implement governance in Azure at scale with policy based management: https://www.youtube.com/watch?v=4umiAqJMTKM </a:t>
            </a:r>
          </a:p>
        </p:txBody>
      </p:sp>
    </p:spTree>
    <p:extLst>
      <p:ext uri="{BB962C8B-B14F-4D97-AF65-F5344CB8AC3E}">
        <p14:creationId xmlns:p14="http://schemas.microsoft.com/office/powerpoint/2010/main" val="7099313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226737931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
        <p:nvSpPr>
          <p:cNvPr id="3" name="Notes Placeholder 2">
            <a:extLst>
              <a:ext uri="{FF2B5EF4-FFF2-40B4-BE49-F238E27FC236}">
                <a16:creationId xmlns:a16="http://schemas.microsoft.com/office/drawing/2014/main" id="{58B7967E-AC8C-4630-A5B8-7FF496A55148}"/>
              </a:ext>
            </a:extLst>
          </p:cNvPr>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ttps://azure.microsoft.com/roadmap/azure-network-watcher-connectivity-check-for-express-route/</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zure Network Watcher Connectivity Check for Azure ExpressRoute - Preview</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Network Watcher announces the preview of Connectivity Check for Express Route circuits. This advanced capability added to the existing connectivity check feature enable you to identify hybrid connectivity issues from your Azure Virtual Machine to an on-premise machine connected over an Azure ExpressRoute circuit.</a:t>
            </a:r>
          </a:p>
          <a:p>
            <a:pPr lvl="0"/>
            <a:r>
              <a:rPr lang="en-US" sz="900" kern="1200" dirty="0">
                <a:solidFill>
                  <a:schemeClr val="tx1"/>
                </a:solidFill>
                <a:effectLst/>
                <a:latin typeface="Segoe UI Light" pitchFamily="34" charset="0"/>
                <a:ea typeface="+mn-ea"/>
                <a:cs typeface="+mn-cs"/>
              </a:rPr>
              <a:t>Hop by hop information with latency from your source VM to destination on-premise machine connected over Express Route circuit.</a:t>
            </a:r>
          </a:p>
          <a:p>
            <a:pPr lvl="0"/>
            <a:r>
              <a:rPr lang="en-US" sz="900" kern="1200" dirty="0">
                <a:solidFill>
                  <a:schemeClr val="tx1"/>
                </a:solidFill>
                <a:effectLst/>
                <a:latin typeface="Segoe UI Light" pitchFamily="34" charset="0"/>
                <a:ea typeface="+mn-ea"/>
                <a:cs typeface="+mn-cs"/>
              </a:rPr>
              <a:t>Get insights into possible paths the packet can take between source and destination.</a:t>
            </a:r>
          </a:p>
          <a:p>
            <a:pPr lvl="0"/>
            <a:r>
              <a:rPr lang="en-US" sz="900" kern="1200" dirty="0">
                <a:solidFill>
                  <a:schemeClr val="tx1"/>
                </a:solidFill>
                <a:effectLst/>
                <a:latin typeface="Segoe UI Light" pitchFamily="34" charset="0"/>
                <a:ea typeface="+mn-ea"/>
                <a:cs typeface="+mn-cs"/>
              </a:rPr>
              <a:t>Identify potential configuration issues like traffic blocked by NSG or guest firewall, routes issues due to user defined or system routes, incomplete or missing Address Resolution Protocol (ARP) table entry, missing routes in the Express Route gateway for the destination.</a:t>
            </a:r>
          </a:p>
          <a:p>
            <a:endParaRPr lang="en-US" sz="90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3453385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dirty="0"/>
          </a:p>
          <a:p>
            <a:pPr lvl="0"/>
            <a:r>
              <a:rPr lang="en-US" b="0" i="1" dirty="0"/>
              <a:t>Start in the middle with the Azure portal</a:t>
            </a:r>
          </a:p>
          <a:p>
            <a:pPr lvl="0"/>
            <a:r>
              <a:rPr lang="en-US" b="1" dirty="0"/>
              <a:t> - </a:t>
            </a:r>
            <a:r>
              <a:rPr lang="en-US" b="0" dirty="0"/>
              <a:t>With Azure you get enterprise </a:t>
            </a:r>
            <a:r>
              <a:rPr lang="en-US" dirty="0"/>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Using out-of-the-box tools (like Azure Advisor, Azure Service Health, and Cost Management + Billing), you can optimize and right-size your investment and get personalized recommendations to enhance your experience.</a:t>
            </a:r>
          </a:p>
          <a:p>
            <a:pPr lvl="0"/>
            <a:endParaRPr lang="en-US" dirty="0"/>
          </a:p>
          <a:p>
            <a:r>
              <a:rPr lang="en-US" i="1" dirty="0"/>
              <a:t>Expand to the 5 areas of security and management</a:t>
            </a:r>
          </a:p>
          <a:p>
            <a:r>
              <a:rPr lang="en-US" dirty="0"/>
              <a:t>5 main areas:</a:t>
            </a:r>
          </a:p>
          <a:p>
            <a:pPr marL="232943" indent="-232943">
              <a:buAutoNum type="arabicPeriod"/>
            </a:pPr>
            <a:r>
              <a:rPr lang="en-US" b="1" dirty="0"/>
              <a:t>Secure: </a:t>
            </a:r>
            <a:r>
              <a:rPr lang="en-US" dirty="0"/>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dirty="0"/>
              <a:t>Protect: </a:t>
            </a:r>
            <a:r>
              <a:rPr lang="en-US" dirty="0"/>
              <a:t>Your VMs and applications in the cloud need to be backed up and protected in the event of data loss. With disaster recovery from on-</a:t>
            </a:r>
            <a:r>
              <a:rPr lang="en-US" dirty="0" err="1"/>
              <a:t>prem</a:t>
            </a:r>
            <a:r>
              <a:rPr lang="en-US" dirty="0"/>
              <a:t> to the cloud, or from one cloud to another, you can avoid downtime and keep your applications up and running.</a:t>
            </a:r>
          </a:p>
          <a:p>
            <a:pPr marL="232943" indent="-232943">
              <a:buAutoNum type="arabicPeriod"/>
            </a:pPr>
            <a:r>
              <a:rPr lang="en-US" b="1" dirty="0"/>
              <a:t>Monitor: </a:t>
            </a:r>
            <a:r>
              <a:rPr lang="en-US" dirty="0"/>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dirty="0"/>
              <a:t>Configure: </a:t>
            </a:r>
            <a:r>
              <a:rPr lang="en-US" dirty="0"/>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dirty="0"/>
              <a:t>Govern: </a:t>
            </a:r>
            <a:r>
              <a:rPr lang="en-US" b="0" dirty="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dirty="0"/>
          </a:p>
          <a:p>
            <a:pPr marL="0" indent="0">
              <a:buNone/>
            </a:pPr>
            <a:r>
              <a:rPr lang="en-US" b="0" dirty="0"/>
              <a:t>Lastly, Azure gives you the flexibility to manage your hybrid environments with most of these services. And you can choose which areas to invest more in, and how much to consume. </a:t>
            </a:r>
          </a:p>
          <a:p>
            <a:pPr marL="0" indent="0">
              <a:buNone/>
            </a:pPr>
            <a:r>
              <a:rPr lang="en-US" b="0" dirty="0"/>
              <a:t>With Azure you have the flexibility to choose what and how to manage your IT.</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51836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nderstand security state across on-premises and cloud workloads</a:t>
            </a:r>
          </a:p>
          <a:p>
            <a:r>
              <a:rPr lang="en-US" dirty="0"/>
              <a:t>Get a unified view of security across all of your on-premises and cloud workloads. Automatically discover and onboard new Azure resources, and apply security policies across your hybrid cloud workloads to ensure compliance with security standards. Collect, search, and analyze security data from a variety of sources, including firewalls and other partner solutions.</a:t>
            </a:r>
          </a:p>
          <a:p>
            <a:endParaRPr lang="en-US" dirty="0"/>
          </a:p>
          <a:p>
            <a:endParaRPr lang="en-US" dirty="0"/>
          </a:p>
          <a:p>
            <a:r>
              <a:rPr lang="en-US" b="1" dirty="0"/>
              <a:t>Find vulnerabilities and remediate quickly</a:t>
            </a:r>
          </a:p>
          <a:p>
            <a:r>
              <a:rPr lang="en-US" dirty="0"/>
              <a:t>Continuously monitor the security of your machines, networks, and Azure services using hundreds of built-in security assessments or create your own. Use actionable security recommendations to remediate issues before they can be exploited.</a:t>
            </a:r>
          </a:p>
          <a:p>
            <a:endParaRPr lang="en-US" dirty="0"/>
          </a:p>
          <a:p>
            <a:r>
              <a:rPr lang="en-US" b="1" dirty="0"/>
              <a:t>Limit your exposure to threats</a:t>
            </a:r>
          </a:p>
          <a:p>
            <a:r>
              <a:rPr lang="en-US" dirty="0"/>
              <a:t>Enable adaptive threat protections to reduce exposure to attacks. Block malware and other unwanted code by applying application controls adapted to your specific workloads and powered by machine learning. Enable just-in-time, controlled access to management ports on Azure VMs to drastically reduce surface area exposed to brute force and other network attacks.</a:t>
            </a:r>
          </a:p>
          <a:p>
            <a:endParaRPr lang="en-US" dirty="0"/>
          </a:p>
          <a:p>
            <a:endParaRPr lang="en-US" dirty="0"/>
          </a:p>
          <a:p>
            <a:r>
              <a:rPr lang="en-US" b="1" dirty="0"/>
              <a:t>Detect and respond swiftly to attacks</a:t>
            </a:r>
          </a:p>
          <a:p>
            <a:r>
              <a:rPr lang="en-US" dirty="0"/>
              <a:t>Use advanced analytics and the Microsoft Intelligent Security Graph to get an edge over evolving cyber attacks. Leverage built-in behavioral analytics and machine learning to identify attacks and zero-day exploits. Monitor networks, machines, and cloud services for incoming attacks and post-breach activity. Streamline investigation with interactive tools and contextual threat intelligenc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9434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2936892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346899772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Objective:</a:t>
            </a:r>
          </a:p>
          <a:p>
            <a:r>
              <a:rPr lang="en-US" sz="1200"/>
              <a:t>Illustrate</a:t>
            </a:r>
            <a:r>
              <a:rPr lang="en-US" sz="1200" baseline="0"/>
              <a:t> the differences between IaaS, PaaS and SaaS in a more technical way</a:t>
            </a:r>
          </a:p>
          <a:p>
            <a:endParaRPr lang="en-US" sz="1200" baseline="0"/>
          </a:p>
          <a:p>
            <a:r>
              <a:rPr lang="en-US" sz="1200" b="1" baseline="0"/>
              <a:t>Key 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balance of control and responsibility for managing solutions depends on the category of the servic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chart summarizes the balance of responsibility for both Microsoft and the customer. </a:t>
            </a:r>
            <a:endParaRPr lang="en-US"/>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b="1" kern="1200">
                <a:solidFill>
                  <a:schemeClr val="tx1"/>
                </a:solidFill>
                <a:effectLst/>
                <a:latin typeface="+mn-lt"/>
                <a:ea typeface="+mn-ea"/>
                <a:cs typeface="+mn-cs"/>
              </a:rPr>
              <a:t>Conclusion:</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If your primary business function isn’t running compute infrastructure, you can get more from your scarce developer time by using an application platform that removes complexity and maintenance responsibility. There might be some trade-off considerations around flexibility, but overall, you can get more done faster and with lower total cost of ownership building on platform as a service (PaaS). </a:t>
            </a:r>
          </a:p>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FDAFBEB-CD6F-47F6-A4B0-C6110FC4185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3152741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Azure Platform as a service (PaaS) is a complete development and deployment environment in the cloud, with resources that enable you to deliver everything from simple cloud-based apps to sophisticated, cloud-enabled enterprise applications. </a:t>
            </a:r>
          </a:p>
          <a:p>
            <a:r>
              <a:rPr lang="en-US" sz="900" kern="1200" dirty="0">
                <a:solidFill>
                  <a:schemeClr val="tx1"/>
                </a:solidFill>
                <a:effectLst/>
                <a:latin typeface="Segoe UI Light" pitchFamily="34" charset="0"/>
                <a:ea typeface="+mn-ea"/>
                <a:cs typeface="+mn-cs"/>
              </a:rPr>
              <a:t>PaaS includes infrastructure—servers, storage, and networking—but also middleware, development tools, business intelligence (BI) services, database management systems, and more. PaaS is designed to support the complete web application lifecycle: building, testing, deploying, managing, and updating.</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PaaS allows you to avoid the expense and complexity of buying and managing software licenses, the underlying application infrastructure and middleware or the development tools and other resources. You manage the applications and services you develop, and the cloud service provider typically manages everything else.</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pp Service:</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web and mobile apps for any platform or device. Integrate your apps with SaaS solutions, connect with on-premises applications, and automate your business processes. Azure runs your apps on fully managed virtual machines (VMs), with your choice of shared VM resources or dedicated VM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pp Service includes the web and mobile capabilities that we previously delivered separately as Azure Websites and Azure Mobile Services. It also includes new capabilities for automating business processes and hosting cloud APIs. As a single integrated service, App Service lets you compose various components -- websites, mobile app back ends, RESTful APIs, and business processes -- into a single solution.</a:t>
            </a:r>
          </a:p>
          <a:p>
            <a:r>
              <a:rPr lang="en-US" sz="900" kern="1200" dirty="0">
                <a:solidFill>
                  <a:schemeClr val="tx1"/>
                </a:solidFill>
                <a:effectLst/>
                <a:latin typeface="Segoe UI Light" pitchFamily="34" charset="0"/>
                <a:ea typeface="+mn-ea"/>
                <a:cs typeface="+mn-cs"/>
              </a:rPr>
              <a:t>Today we are announcing the preview releases of managed Kubernetes in AKS, Azure Container Service, and the release of geo-replication in Azure Container Registry - new container innovations that will drive adoption and simplify the use of container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the rising adoption of Kubernetes as the most popular open source container orchestrator, Microsoft has invested in a fully managed container service, making using Kubernetes easy and effective without requiring in-depth knowledge, installation, or infrastructure management.  </a:t>
            </a:r>
            <a:r>
              <a:rPr lang="en-US" sz="900" u="sng" kern="1200" dirty="0">
                <a:solidFill>
                  <a:schemeClr val="tx1"/>
                </a:solidFill>
                <a:effectLst/>
                <a:latin typeface="Segoe UI Light" pitchFamily="34" charset="0"/>
                <a:ea typeface="+mn-ea"/>
                <a:cs typeface="+mn-cs"/>
                <a:hlinkClick r:id="rId3"/>
              </a:rPr>
              <a:t>AKS</a:t>
            </a:r>
            <a:r>
              <a:rPr lang="en-US" sz="900" kern="1200" dirty="0">
                <a:solidFill>
                  <a:schemeClr val="tx1"/>
                </a:solidFill>
                <a:effectLst/>
                <a:latin typeface="Segoe UI Light" pitchFamily="34" charset="0"/>
                <a:ea typeface="+mn-ea"/>
                <a:cs typeface="+mn-cs"/>
              </a:rPr>
              <a:t> is a free container service that simplifies the deployment, management, and operations of Kubernetes by providing a fully managed Kubernetes container orchestrator service. AKS eliminates the complicated planning and deployment of fully orchestrated containerized applications while avoiding being locked into any one vendor or resource.   </a:t>
            </a:r>
          </a:p>
          <a:p>
            <a:r>
              <a:rPr lang="en-US" sz="900" kern="1200" dirty="0">
                <a:solidFill>
                  <a:schemeClr val="tx1"/>
                </a:solidFill>
                <a:effectLst/>
                <a:latin typeface="Segoe UI Light" pitchFamily="34" charset="0"/>
                <a:ea typeface="+mn-ea"/>
                <a:cs typeface="+mn-cs"/>
              </a:rPr>
              <a:t>Logic app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Logic Apps provide a way to simplify and implement scalable integrations and workflows in the cloud. It provides a visual designer to model and automate your process as a series of steps known as a workflow. There are many connectors across the cloud and on-premises to quickly integrate across services and protocols. A logic app begins with a trigger (like 'When an account is added to Dynamics CRM') and after firing can begin many combinations of actions, conversions, and condition logic.</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Logic Apps is a fully managed iPaaS (integration Platform as a Service) allowing developers not to have to worry about building hosting, scalability, availability and management. Logic Apps will scale up automatically to meet demand.</a:t>
            </a:r>
          </a:p>
          <a:p>
            <a:r>
              <a:rPr lang="en-US" sz="900" kern="1200" dirty="0">
                <a:solidFill>
                  <a:schemeClr val="tx1"/>
                </a:solidFill>
                <a:effectLst/>
                <a:latin typeface="Segoe UI Light" pitchFamily="34" charset="0"/>
                <a:ea typeface="+mn-ea"/>
                <a:cs typeface="+mn-cs"/>
              </a:rPr>
              <a:t>Cosmos DB:</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Cosmos DB is Microsoft's globally distributed, multi-model database. With the click of a button, Azure Cosmos DB enables you to elastically and independently scale throughput and storage across any number of Azure's geographic regions. It offers throughput, latency, availability, and consistency guarantees with comprehensive service level agreements (SLAs), something no other database service can offer.</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ny web, mobile, gaming, and IoT applications that need to handle massive amounts of reads and writes on a global scale with low response times for a variety of data will benefit from Azure Cosmos DB's guaranteed availability, high throughput, low latency, and tunable consistency.</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ome other recent enhancements to Azure include:</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Data Lake Storage and Analytics: </a:t>
            </a:r>
            <a:r>
              <a:rPr lang="en-US" sz="900" u="none" strike="noStrike" kern="1200" dirty="0">
                <a:solidFill>
                  <a:schemeClr val="tx1"/>
                </a:solidFill>
                <a:effectLst/>
                <a:latin typeface="Segoe UI Light" pitchFamily="34" charset="0"/>
                <a:ea typeface="+mn-ea"/>
                <a:cs typeface="+mn-cs"/>
                <a:hlinkClick r:id="rId4"/>
              </a:rPr>
              <a:t>https://azure.microsoft.com/en-us/blog/azure-data-lake-analytics-now-generally-available/</a:t>
            </a:r>
            <a:r>
              <a:rPr lang="en-US" sz="900" kern="1200" dirty="0">
                <a:solidFill>
                  <a:schemeClr val="tx1"/>
                </a:solidFill>
                <a:effectLst/>
                <a:latin typeface="Segoe UI Light" pitchFamily="34" charset="0"/>
                <a:ea typeface="+mn-ea"/>
                <a:cs typeface="+mn-cs"/>
              </a:rPr>
              <a:t>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Container Instances Service: </a:t>
            </a:r>
            <a:r>
              <a:rPr lang="en-US" sz="900" u="none" strike="noStrike" kern="1200" dirty="0">
                <a:solidFill>
                  <a:schemeClr val="tx1"/>
                </a:solidFill>
                <a:effectLst/>
                <a:latin typeface="Segoe UI Light" pitchFamily="34" charset="0"/>
                <a:ea typeface="+mn-ea"/>
                <a:cs typeface="+mn-cs"/>
                <a:hlinkClick r:id="rId5"/>
              </a:rPr>
              <a:t>https://azure.microsoft.com/en-us/blog/announcing-azure-container-instances/</a:t>
            </a:r>
            <a:r>
              <a:rPr lang="en-US" sz="900" kern="1200" dirty="0">
                <a:solidFill>
                  <a:schemeClr val="tx1"/>
                </a:solidFill>
                <a:effectLst/>
                <a:latin typeface="Segoe UI Light" pitchFamily="34" charset="0"/>
                <a:ea typeface="+mn-ea"/>
                <a:cs typeface="+mn-cs"/>
              </a:rPr>
              <a:t>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Visual Studio for Mac: </a:t>
            </a:r>
            <a:r>
              <a:rPr lang="en-US" sz="900" u="none" strike="noStrike" kern="1200" dirty="0">
                <a:solidFill>
                  <a:schemeClr val="tx1"/>
                </a:solidFill>
                <a:effectLst/>
                <a:latin typeface="Segoe UI Light" pitchFamily="34" charset="0"/>
                <a:ea typeface="+mn-ea"/>
                <a:cs typeface="+mn-cs"/>
                <a:hlinkClick r:id="rId6"/>
              </a:rPr>
              <a:t>https://blogs.msdn.microsoft.com/visualstudio/2017/05/10/visual-studio-for-mac-now-generally-available/</a:t>
            </a:r>
            <a:r>
              <a:rPr lang="en-US" sz="900" kern="1200" dirty="0">
                <a:solidFill>
                  <a:schemeClr val="tx1"/>
                </a:solidFill>
                <a:effectLst/>
                <a:latin typeface="Segoe UI Light" pitchFamily="34" charset="0"/>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627643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65</a:t>
            </a:fld>
            <a:endParaRPr lang="en-US">
              <a:solidFill>
                <a:prstClr val="black"/>
              </a:solidFill>
            </a:endParaRPr>
          </a:p>
        </p:txBody>
      </p:sp>
    </p:spTree>
    <p:extLst>
      <p:ext uri="{BB962C8B-B14F-4D97-AF65-F5344CB8AC3E}">
        <p14:creationId xmlns:p14="http://schemas.microsoft.com/office/powerpoint/2010/main" val="4269985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166103768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4000"/>
              </a:lnSpc>
              <a:spcBef>
                <a:spcPts val="300"/>
              </a:spcBef>
              <a:spcAft>
                <a:spcPts val="600"/>
              </a:spcAft>
              <a:buClrTx/>
              <a:buSzPct val="116000"/>
              <a:buFont typeface="+mj-lt"/>
              <a:buNone/>
              <a:tabLst/>
              <a:defRPr/>
            </a:pPr>
            <a:r>
              <a:rPr kumimoji="0" lang="en-US" sz="1050" b="0" i="0" u="none" strike="noStrike" kern="0" cap="none" spc="30" normalizeH="0" baseline="0" noProof="0">
                <a:ln>
                  <a:noFill/>
                </a:ln>
                <a:solidFill>
                  <a:srgbClr val="FFFFFF"/>
                </a:solidFill>
                <a:effectLst/>
                <a:uLnTx/>
                <a:uFillTx/>
              </a:rPr>
              <a:t>Main Point: </a:t>
            </a:r>
          </a:p>
          <a:p>
            <a:pPr marL="228600" marR="0" lvl="0" indent="-228600" algn="l" defTabSz="914400" rtl="0" eaLnBrk="1" fontAlgn="auto" latinLnBrk="0" hangingPunct="1">
              <a:lnSpc>
                <a:spcPct val="114000"/>
              </a:lnSpc>
              <a:spcBef>
                <a:spcPts val="300"/>
              </a:spcBef>
              <a:spcAft>
                <a:spcPts val="600"/>
              </a:spcAft>
              <a:buClrTx/>
              <a:buSzPct val="116000"/>
              <a:buFont typeface="+mj-lt"/>
              <a:buAutoNum type="arabicPeriod"/>
              <a:tabLst/>
              <a:defRPr/>
            </a:pPr>
            <a:r>
              <a:rPr kumimoji="0" lang="en-US" sz="1050" b="0" i="0" u="none" strike="noStrike" kern="0" cap="none" spc="30" normalizeH="0" baseline="0" noProof="0">
                <a:ln>
                  <a:noFill/>
                </a:ln>
                <a:solidFill>
                  <a:srgbClr val="FFFFFF"/>
                </a:solidFill>
                <a:effectLst/>
                <a:uLnTx/>
                <a:uFillTx/>
              </a:rPr>
              <a:t>Telemetry is collected at each</a:t>
            </a:r>
            <a:r>
              <a:rPr kumimoji="0" lang="en-US" sz="1050" b="0" i="0" u="none" strike="noStrike" kern="0" cap="none" spc="0" normalizeH="0" baseline="0" noProof="0">
                <a:ln>
                  <a:noFill/>
                </a:ln>
                <a:solidFill>
                  <a:srgbClr val="FFFFFF"/>
                </a:solidFill>
                <a:effectLst/>
                <a:uLnTx/>
                <a:uFillTx/>
              </a:rPr>
              <a:t> </a:t>
            </a:r>
            <a:r>
              <a:rPr kumimoji="0" lang="en-US" sz="1050" b="0" i="0" u="none" strike="noStrike" kern="0" cap="none" spc="-40" normalizeH="0" baseline="0" noProof="0">
                <a:ln>
                  <a:noFill/>
                </a:ln>
                <a:solidFill>
                  <a:srgbClr val="FFFFFF"/>
                </a:solidFill>
                <a:effectLst/>
                <a:uLnTx/>
                <a:uFillTx/>
              </a:rPr>
              <a:t>tier: server backend, middleware,</a:t>
            </a:r>
            <a:r>
              <a:rPr kumimoji="0" lang="en-US" sz="1050" b="0" i="0" u="none" strike="noStrike" kern="0" cap="none" spc="0" normalizeH="0" baseline="0" noProof="0">
                <a:ln>
                  <a:noFill/>
                </a:ln>
                <a:solidFill>
                  <a:srgbClr val="FFFFFF"/>
                </a:solidFill>
                <a:effectLst/>
                <a:uLnTx/>
                <a:uFillTx/>
              </a:rPr>
              <a:t> web service &amp; browser</a:t>
            </a:r>
          </a:p>
          <a:p>
            <a:pPr marL="228600" lvl="0" indent="-228600" defTabSz="914400">
              <a:lnSpc>
                <a:spcPct val="120000"/>
              </a:lnSpc>
              <a:buFont typeface="+mj-lt"/>
              <a:buAutoNum type="arabicPeriod"/>
              <a:defRPr/>
            </a:pPr>
            <a:r>
              <a:rPr lang="en-US" sz="1050" kern="0" spc="-20"/>
              <a:t>Telemetry arrives in the cloud where</a:t>
            </a:r>
            <a:r>
              <a:rPr lang="en-US" sz="1050" kern="0"/>
              <a:t> </a:t>
            </a:r>
            <a:r>
              <a:rPr lang="en-US" sz="1050" kern="0" spc="-20"/>
              <a:t>it is stored &amp; processed with Machine Learning technology</a:t>
            </a:r>
            <a:endParaRPr lang="en-US" sz="1050" kern="0"/>
          </a:p>
          <a:p>
            <a:pPr marL="228600" marR="0" lvl="0" indent="-228600" algn="l" defTabSz="914400" rtl="0" eaLnBrk="1" fontAlgn="auto" latinLnBrk="0" hangingPunct="1">
              <a:lnSpc>
                <a:spcPct val="114000"/>
              </a:lnSpc>
              <a:spcBef>
                <a:spcPts val="300"/>
              </a:spcBef>
              <a:spcAft>
                <a:spcPts val="600"/>
              </a:spcAft>
              <a:buClrTx/>
              <a:buSzPct val="116000"/>
              <a:buFont typeface="+mj-lt"/>
              <a:buAutoNum type="arabicPeriod"/>
              <a:tabLst/>
              <a:defRPr/>
            </a:pPr>
            <a:r>
              <a:rPr lang="en-US" sz="1050" kern="0"/>
              <a:t>Detect &amp; Diagnose problems in Azure Portal; Ask ad-hoc queries in Analytics; Integrate, Extend &amp; Customize</a:t>
            </a:r>
          </a:p>
          <a:p>
            <a:endParaRPr lang="en-US"/>
          </a:p>
        </p:txBody>
      </p:sp>
      <p:sp>
        <p:nvSpPr>
          <p:cNvPr id="4" name="Header Placeholder 3"/>
          <p:cNvSpPr>
            <a:spLocks noGrp="1"/>
          </p:cNvSpPr>
          <p:nvPr>
            <p:ph type="hdr" sz="quarter" idx="10"/>
          </p:nvPr>
        </p:nvSpPr>
        <p:spPr/>
        <p:txBody>
          <a:bodyPr/>
          <a:lstStyle/>
          <a:p>
            <a:r>
              <a:rPr lang="en-US"/>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1576728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404526114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1071085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aking a deeper look at some of the key services that constitute Azure IaaS. We will go into a little bit more detail into each of these services</a:t>
            </a:r>
          </a:p>
          <a:p>
            <a:pPr marL="0" lvl="1" defTabSz="968072">
              <a:spcBef>
                <a:spcPts val="1271"/>
              </a:spcBef>
              <a:buClr>
                <a:srgbClr val="FFFFFF"/>
              </a:buCl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 four core technologies are Compute, Network, Storage and Management</a:t>
            </a:r>
          </a:p>
          <a:p>
            <a:pPr marL="0" lvl="1" defTabSz="968072">
              <a:spcBef>
                <a:spcPts val="1271"/>
              </a:spcBef>
              <a:buClr>
                <a:srgbClr val="FFFFFF"/>
              </a:buCl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Comput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Machines is no different from the Virtual Machines you run on premis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go into the concept of Availability sets that provides you better availability on the platform. Create available solutions. 99.95%</a:t>
            </a: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M Scale sets, for </a:t>
            </a:r>
            <a:r>
              <a:rPr lang="en-US" sz="1600" kern="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utoscaling</a:t>
            </a: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M extensions – custom run scripts</a:t>
            </a:r>
          </a:p>
          <a:p>
            <a:pPr marL="296711" lvl="1" indent="-296711" defTabSz="968072">
              <a:spcBef>
                <a:spcPts val="1271"/>
              </a:spcBef>
              <a:buClr>
                <a:srgbClr val="FFFFFF"/>
              </a:buClr>
              <a:buFontTx/>
              <a:buChar cha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twork:</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network similar to on-</a:t>
            </a:r>
            <a:r>
              <a:rPr lang="en-US" sz="1600" kern="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prem</a:t>
            </a: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allow VMs to connect on a private network in the cloud. It provides an isolated and secure environment for your applications.</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different types of connectivity – </a:t>
            </a:r>
            <a:r>
              <a:rPr lang="en-US" sz="1600" kern="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IPSec</a:t>
            </a: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PN or ExpressRoute (private network on a telecom provider, highest level of security)</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Bring your own network to Azure, most of the networking technologies you are familiar with are available on Azur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re are different ways to connect to Azure such as VPN, ExpressRoute that we will talk about</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also talk about features like Load balancing, DNS</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hat does Traffic manager do – distribute traffic</a:t>
            </a:r>
          </a:p>
          <a:p>
            <a:pPr marL="0" lvl="1" indent="0" defTabSz="968072">
              <a:spcBef>
                <a:spcPts val="1271"/>
              </a:spcBef>
              <a:buClr>
                <a:srgbClr val="FFFFFF"/>
              </a:buClr>
              <a:buFontTx/>
              <a:buNone/>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torage:</a:t>
            </a:r>
          </a:p>
          <a:p>
            <a:pPr marL="296711" lvl="1" indent="-296711" defTabSz="968072">
              <a:spcBef>
                <a:spcPts val="1271"/>
              </a:spcBef>
              <a:buClr>
                <a:srgbClr val="FFFFFF"/>
              </a:buClr>
              <a:buFontTx/>
              <a:buChar char="-"/>
              <a:defRPr/>
            </a:pPr>
            <a:r>
              <a:rPr lang="en-US" sz="1600"/>
              <a:t>Azure Storage offers different sets of storage services for various business needs. Some of them being disks connecting to a VM or Blob storage for unstructured data</a:t>
            </a: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Ms connect to Disks – there are different options Standard or Premium disks based on whether you want higher throughput and lower latency</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object storage for your storage needs. We recently launched also Cool storage if you don’t need frequent access</a:t>
            </a:r>
          </a:p>
          <a:p>
            <a:pPr marL="0" lvl="1" defTabSz="950022">
              <a:lnSpc>
                <a:spcPct val="90000"/>
              </a:lnSpc>
              <a:spcBef>
                <a:spcPts val="1247"/>
              </a:spcBef>
              <a:spcAft>
                <a:spcPts val="346"/>
              </a:spcAft>
              <a:buClr>
                <a:srgbClr val="FFFFFF"/>
              </a:buClr>
              <a:defRPr/>
            </a:pPr>
            <a:r>
              <a:rPr lang="en-US" sz="1600"/>
              <a:t>  </a:t>
            </a:r>
          </a:p>
          <a:p>
            <a:pPr marL="0" lvl="1" defTabSz="950022">
              <a:lnSpc>
                <a:spcPct val="90000"/>
              </a:lnSpc>
              <a:spcBef>
                <a:spcPts val="1247"/>
              </a:spcBef>
              <a:spcAft>
                <a:spcPts val="346"/>
              </a:spcAft>
              <a:buClr>
                <a:srgbClr val="FFFFFF"/>
              </a:buClr>
              <a:defRPr/>
            </a:pPr>
            <a:r>
              <a:rPr lang="en-US" sz="1600"/>
              <a:t>Management</a:t>
            </a:r>
          </a:p>
          <a:p>
            <a:pPr marL="291179" lvl="1" indent="-291179" defTabSz="950022">
              <a:lnSpc>
                <a:spcPct val="90000"/>
              </a:lnSpc>
              <a:spcBef>
                <a:spcPts val="1247"/>
              </a:spcBef>
              <a:spcAft>
                <a:spcPts val="346"/>
              </a:spcAft>
              <a:buClr>
                <a:srgbClr val="FFFFFF"/>
              </a:buClr>
              <a:buFontTx/>
              <a:buChar char="-"/>
              <a:defRPr/>
            </a:pPr>
            <a:r>
              <a:rPr lang="en-US" sz="1600"/>
              <a:t>Management across the these various foundational services. Some of the services including portal, AD, MFA, </a:t>
            </a:r>
            <a:r>
              <a:rPr lang="en-US" sz="1600" err="1"/>
              <a:t>KeyVault</a:t>
            </a:r>
            <a:r>
              <a:rPr lang="en-US" sz="1600"/>
              <a:t>, marketplace.</a:t>
            </a:r>
          </a:p>
          <a:p>
            <a:pPr marL="291179" lvl="1" indent="-291179" defTabSz="950022">
              <a:lnSpc>
                <a:spcPct val="90000"/>
              </a:lnSpc>
              <a:spcBef>
                <a:spcPts val="1247"/>
              </a:spcBef>
              <a:spcAft>
                <a:spcPts val="346"/>
              </a:spcAft>
              <a:buClr>
                <a:srgbClr val="FFFFFF"/>
              </a:buClr>
              <a:buFontTx/>
              <a:buChar char="-"/>
              <a:defRPr/>
            </a:pPr>
            <a:r>
              <a:rPr lang="en-US" sz="1600"/>
              <a:t>Security</a:t>
            </a:r>
          </a:p>
          <a:p>
            <a:pPr marL="291179" lvl="1" indent="-291179" defTabSz="950022">
              <a:lnSpc>
                <a:spcPct val="90000"/>
              </a:lnSpc>
              <a:spcBef>
                <a:spcPts val="1247"/>
              </a:spcBef>
              <a:spcAft>
                <a:spcPts val="346"/>
              </a:spcAft>
              <a:buClr>
                <a:srgbClr val="FFFFFF"/>
              </a:buClr>
              <a:buFontTx/>
              <a:buChar char="-"/>
              <a:defRPr/>
            </a:pPr>
            <a:r>
              <a:rPr lang="en-US" sz="1600"/>
              <a:t>AD for identity management</a:t>
            </a:r>
          </a:p>
          <a:p>
            <a:pPr marL="291179" lvl="1" indent="-291179" defTabSz="950022">
              <a:lnSpc>
                <a:spcPct val="90000"/>
              </a:lnSpc>
              <a:spcBef>
                <a:spcPts val="1247"/>
              </a:spcBef>
              <a:spcAft>
                <a:spcPts val="346"/>
              </a:spcAft>
              <a:buClr>
                <a:srgbClr val="FFFFFF"/>
              </a:buClr>
              <a:buFontTx/>
              <a:buChar char="-"/>
              <a:defRPr/>
            </a:pPr>
            <a:r>
              <a:rPr lang="en-US" sz="1600"/>
              <a:t>ARM management, powerful - </a:t>
            </a:r>
            <a:r>
              <a:rPr lang="en-US" sz="1600" err="1"/>
              <a:t>templatized</a:t>
            </a:r>
            <a:endParaRPr lang="en-US"/>
          </a:p>
        </p:txBody>
      </p:sp>
      <p:sp>
        <p:nvSpPr>
          <p:cNvPr id="4" name="Slide Number Placeholder 3"/>
          <p:cNvSpPr>
            <a:spLocks noGrp="1"/>
          </p:cNvSpPr>
          <p:nvPr>
            <p:ph type="sldNum" sz="quarter" idx="10"/>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477664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liver continuous innovation faster and more reliably with DevOps and Microsoft Azure.</a:t>
            </a:r>
          </a:p>
          <a:p>
            <a:pPr marL="285750" indent="-285750">
              <a:buFont typeface="+mj-lt"/>
              <a:buAutoNum type="arabicPeriod"/>
            </a:pPr>
            <a:r>
              <a:rPr lang="en-US" dirty="0"/>
              <a:t>Azure DevOps projects, powered by Visual Studio Team Services, makes it </a:t>
            </a:r>
            <a:r>
              <a:rPr lang="en-US" b="1" u="sng" dirty="0"/>
              <a:t>simple</a:t>
            </a:r>
            <a:r>
              <a:rPr lang="en-US" b="1" dirty="0"/>
              <a:t> </a:t>
            </a:r>
            <a:r>
              <a:rPr lang="en-US" dirty="0"/>
              <a:t>to create an entire DevOps pipeline to deploy to Azure, including monitoring integration, in three easy steps – just bring your GitHub repo!</a:t>
            </a:r>
          </a:p>
          <a:p>
            <a:pPr marL="285750" indent="-285750">
              <a:buFont typeface="+mj-lt"/>
              <a:buAutoNum type="arabicPeriod"/>
            </a:pPr>
            <a:r>
              <a:rPr lang="en-US" dirty="0"/>
              <a:t>With the addition of Visual Studio App Center, you can continuously build, test, release, and monitor apps for every platform – including iOS, Android, MacOS, Windows and more.</a:t>
            </a:r>
          </a:p>
          <a:p>
            <a:pPr marL="742950" lvl="1" indent="-285750">
              <a:buFont typeface="+mj-lt"/>
              <a:buAutoNum type="arabicPeriod"/>
            </a:pPr>
            <a:r>
              <a:rPr lang="en-US" sz="1200" b="0" i="0" u="none" strike="noStrike" kern="1200" dirty="0">
                <a:solidFill>
                  <a:schemeClr val="tx1"/>
                </a:solidFill>
                <a:effectLst/>
                <a:latin typeface="Segoe UI Light" pitchFamily="34" charset="0"/>
                <a:ea typeface="+mn-ea"/>
                <a:cs typeface="+mn-cs"/>
              </a:rPr>
              <a:t>Does your mobile app still work after your latest change? How does it perform on an LG G2? Find out by testing your app in a hosted device lab with 1000s of real iOS and Android devices. You’ll receive test results, full-resolution screenshots of every step, along with performance metrics.</a:t>
            </a:r>
            <a:endParaRPr lang="en-US" dirty="0"/>
          </a:p>
          <a:p>
            <a:pPr marL="285750" indent="-285750">
              <a:buFont typeface="+mj-lt"/>
              <a:buAutoNum type="arabicPeriod"/>
            </a:pPr>
            <a:r>
              <a:rPr lang="en-US" dirty="0"/>
              <a:t>Azure is </a:t>
            </a:r>
            <a:r>
              <a:rPr lang="en-US" b="1" u="sng" dirty="0"/>
              <a:t>open</a:t>
            </a:r>
            <a:r>
              <a:rPr lang="en-US" b="1" dirty="0"/>
              <a:t> </a:t>
            </a:r>
            <a:r>
              <a:rPr lang="en-US" dirty="0"/>
              <a:t>– so If you've already made tooling choices such as Jenkins, Terraform or Ansible, we provide clear guidance and documentation to help you get started on Azure, fast.</a:t>
            </a:r>
          </a:p>
          <a:p>
            <a:pPr marL="742950" lvl="1" indent="-285750">
              <a:buFont typeface="+mj-lt"/>
              <a:buAutoNum type="arabicPeriod"/>
            </a:pPr>
            <a:r>
              <a:rPr lang="en-US" dirty="0"/>
              <a:t>If you’ve made choices in some areas, but have gaps in others, you can take advantage of Visual Studio Team Services to orchestrate and supplement you end-to-end DevOps toolchain.</a:t>
            </a:r>
          </a:p>
          <a:p>
            <a:pPr marL="285750" indent="-285750">
              <a:buFont typeface="+mj-lt"/>
              <a:buAutoNum type="arabicPeriod"/>
            </a:pPr>
            <a:r>
              <a:rPr lang="en-US" dirty="0"/>
              <a:t>Regardless of your toolchain choice, take advantage of the </a:t>
            </a:r>
            <a:r>
              <a:rPr lang="en-US" b="1" u="sng" dirty="0"/>
              <a:t>reliable</a:t>
            </a:r>
            <a:r>
              <a:rPr lang="en-US" b="1" dirty="0"/>
              <a:t> </a:t>
            </a:r>
            <a:r>
              <a:rPr lang="en-US" dirty="0"/>
              <a:t>and integrated security, monitoring &amp; management capabilities of the Azure platform such as Azure Security Center, Azure Monitor and Application Insights – spend less time fighting fires and more time meeting business requirements</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9F23E6A-3945-4101-B321-93EC5C297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847250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re are many powerful best-of-breed point solutions – both OSS and commercial – available toda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se tools cover individual DevOps tasks or entire phases, and teams choose and integrate their preferred tools in order to get an end-to-end toolchain that works for the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VSTS is technology-agnostic.</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Doesn’t matter what tool, language or platform, VSTS can integrate and work with i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e see VSTS being used more and more as an </a:t>
            </a: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tegration platform</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for diverse toolchains – it enables end-to-end visibility and traceabilit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e have integrations and partners in the Marketplace for all popular OSS tools out the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VSTS works great as an integration platform that helps cut down on cost and effort of wiring together diverse tools from different sources or as a general value-add to existing OSS DevOps toolchains.</a:t>
            </a: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619135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29251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26882977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286654311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All about responding</a:t>
            </a:r>
            <a:r>
              <a:rPr lang="en-US" baseline="0"/>
              <a:t> to events</a:t>
            </a:r>
          </a:p>
          <a:p>
            <a:pPr marL="171450" indent="-171450">
              <a:buFontTx/>
              <a:buChar char="-"/>
            </a:pPr>
            <a:r>
              <a:rPr lang="en-US" baseline="0"/>
              <a:t>An event happens – say a change in one of your storage accounts or there’s a merge happens in your GitHub repo..</a:t>
            </a:r>
          </a:p>
          <a:p>
            <a:pPr marL="171450" indent="-171450">
              <a:buFontTx/>
              <a:buChar char="-"/>
            </a:pPr>
            <a:r>
              <a:rPr lang="en-US" baseline="0"/>
              <a:t>You only pay when your code runs.</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2/3/2018 2:03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75</a:t>
            </a:fld>
            <a:endParaRPr lang="en-US" altLang="en-US"/>
          </a:p>
        </p:txBody>
      </p:sp>
    </p:spTree>
    <p:extLst>
      <p:ext uri="{BB962C8B-B14F-4D97-AF65-F5344CB8AC3E}">
        <p14:creationId xmlns:p14="http://schemas.microsoft.com/office/powerpoint/2010/main" val="265019095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953650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35875539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239344939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32"/>
              </a:spcAft>
            </a:pPr>
            <a:r>
              <a:rPr lang="en-US">
                <a:latin typeface="Segoe UI Light" panose="020B0502040204020203" pitchFamily="34" charset="0"/>
                <a:cs typeface="Segoe UI Light" panose="020B0502040204020203" pitchFamily="34" charset="0"/>
              </a:rPr>
              <a:t>Today we announced the Azure SQL DB Managed Instance feature.</a:t>
            </a:r>
          </a:p>
          <a:p>
            <a:pPr>
              <a:lnSpc>
                <a:spcPct val="90000"/>
              </a:lnSpc>
              <a:spcAft>
                <a:spcPts val="632"/>
              </a:spcAft>
            </a:pPr>
            <a:r>
              <a:rPr lang="en-US">
                <a:latin typeface="Segoe UI Light" panose="020B0502040204020203" pitchFamily="34" charset="0"/>
                <a:cs typeface="Segoe UI Light" panose="020B0502040204020203" pitchFamily="34" charset="0"/>
              </a:rPr>
              <a:t>It makes it easy to migrate a fleet of SQL Server Databases from on-premises to the cloud without application re-architecture. </a:t>
            </a:r>
          </a:p>
          <a:p>
            <a:pPr>
              <a:lnSpc>
                <a:spcPct val="90000"/>
              </a:lnSpc>
              <a:spcAft>
                <a:spcPts val="632"/>
              </a:spcAft>
            </a:pPr>
            <a:r>
              <a:rPr lang="en-US">
                <a:latin typeface="Segoe UI Light" panose="020B0502040204020203" pitchFamily="34" charset="0"/>
                <a:cs typeface="Segoe UI Light" panose="020B0502040204020203" pitchFamily="34" charset="0"/>
              </a:rPr>
              <a:t>Enables security policy with </a:t>
            </a:r>
            <a:r>
              <a:rPr lang="en-US" err="1">
                <a:latin typeface="Segoe UI Light" panose="020B0502040204020203" pitchFamily="34" charset="0"/>
                <a:cs typeface="Segoe UI Light" panose="020B0502040204020203" pitchFamily="34" charset="0"/>
              </a:rPr>
              <a:t>Vnet</a:t>
            </a:r>
            <a:r>
              <a:rPr lang="en-US">
                <a:latin typeface="Segoe UI Light" panose="020B0502040204020203" pitchFamily="34" charset="0"/>
                <a:cs typeface="Segoe UI Light" panose="020B0502040204020203" pitchFamily="34" charset="0"/>
              </a:rPr>
              <a:t> support</a:t>
            </a:r>
          </a:p>
          <a:p>
            <a:pPr>
              <a:lnSpc>
                <a:spcPct val="90000"/>
              </a:lnSpc>
              <a:spcAft>
                <a:spcPts val="632"/>
              </a:spcAft>
            </a:pPr>
            <a:r>
              <a:rPr lang="en-US">
                <a:latin typeface="Segoe UI Light" panose="020B0502040204020203" pitchFamily="34" charset="0"/>
                <a:cs typeface="Segoe UI Light" panose="020B0502040204020203" pitchFamily="34" charset="0"/>
              </a:rPr>
              <a:t>Near 100% </a:t>
            </a:r>
            <a:r>
              <a:rPr lang="en-US" err="1">
                <a:latin typeface="Segoe UI Light" panose="020B0502040204020203" pitchFamily="34" charset="0"/>
                <a:cs typeface="Segoe UI Light" panose="020B0502040204020203" pitchFamily="34" charset="0"/>
              </a:rPr>
              <a:t>compatibitility</a:t>
            </a:r>
            <a:r>
              <a:rPr lang="en-US">
                <a:latin typeface="Segoe UI Light" panose="020B0502040204020203" pitchFamily="34" charset="0"/>
                <a:cs typeface="Segoe UI Light" panose="020B0502040204020203" pitchFamily="34" charset="0"/>
              </a:rPr>
              <a:t> to SQL Server, with SQL Agent, 3-part names, </a:t>
            </a:r>
            <a:r>
              <a:rPr lang="en-US" err="1">
                <a:latin typeface="Segoe UI Light" panose="020B0502040204020203" pitchFamily="34" charset="0"/>
                <a:cs typeface="Segoe UI Light" panose="020B0502040204020203" pitchFamily="34" charset="0"/>
              </a:rPr>
              <a:t>DBMail</a:t>
            </a:r>
            <a:r>
              <a:rPr lang="en-US">
                <a:latin typeface="Segoe UI Light" panose="020B0502040204020203" pitchFamily="34" charset="0"/>
                <a:cs typeface="Segoe UI Light" panose="020B0502040204020203" pitchFamily="34" charset="0"/>
              </a:rPr>
              <a:t>, CDC, Service Broker</a:t>
            </a:r>
          </a:p>
          <a:p>
            <a:pPr>
              <a:lnSpc>
                <a:spcPct val="90000"/>
              </a:lnSpc>
              <a:spcAft>
                <a:spcPts val="632"/>
              </a:spcAft>
            </a:pPr>
            <a:r>
              <a:rPr lang="en-US">
                <a:latin typeface="Segoe UI Light" panose="020B0502040204020203" pitchFamily="34" charset="0"/>
                <a:cs typeface="Segoe UI Light" panose="020B0502040204020203" pitchFamily="34" charset="0"/>
              </a:rPr>
              <a:t>Now let’s hear from a developer like you about how they are using SQL Server.</a:t>
            </a:r>
          </a:p>
          <a:p>
            <a:pPr>
              <a:lnSpc>
                <a:spcPct val="90000"/>
              </a:lnSpc>
              <a:spcAft>
                <a:spcPts val="632"/>
              </a:spcAft>
            </a:pPr>
            <a:endParaRPr lang="en-US">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2925">
              <a:defRPr/>
            </a:pPr>
            <a:fld id="{D6FCFD6A-4BD9-4516-9E31-F047A5C70304}" type="slidenum">
              <a:rPr lang="en-US">
                <a:solidFill>
                  <a:prstClr val="black"/>
                </a:solidFill>
                <a:latin typeface="Calibri" panose="020F0502020204030204"/>
              </a:rPr>
              <a:pPr defTabSz="962925">
                <a:defRPr/>
              </a:pPr>
              <a:t>79</a:t>
            </a:fld>
            <a:endParaRPr lang="en-US">
              <a:solidFill>
                <a:prstClr val="black"/>
              </a:solidFill>
              <a:latin typeface="Calibri" panose="020F0502020204030204"/>
            </a:endParaRPr>
          </a:p>
        </p:txBody>
      </p:sp>
    </p:spTree>
    <p:extLst>
      <p:ext uri="{BB962C8B-B14F-4D97-AF65-F5344CB8AC3E}">
        <p14:creationId xmlns:p14="http://schemas.microsoft.com/office/powerpoint/2010/main" val="626451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Remember our earlier statistic that b</a:t>
            </a:r>
            <a:r>
              <a:rPr lang="en-US" baseline="0" dirty="0"/>
              <a:t>y 2020, the number of mobile devices coming online will reach 1 million per hour? Mobile development couldn’t be a more important response to targeting customers and providing connected experiences across different interaction points.</a:t>
            </a:r>
          </a:p>
          <a:p>
            <a:pPr defTabSz="931774">
              <a:defRPr/>
            </a:pPr>
            <a:endParaRPr lang="en-US" baseline="0" dirty="0"/>
          </a:p>
          <a:p>
            <a:pPr defTabSz="931774">
              <a:defRPr/>
            </a:pPr>
            <a:r>
              <a:rPr lang="en-US" baseline="0" dirty="0"/>
              <a:t>That’s why we’ve been investing in mobile capabilities to help customers build mobile apps fast across platforms, with continuous integration and continuous deliver.</a:t>
            </a:r>
          </a:p>
          <a:p>
            <a:pPr defTabSz="931774">
              <a:defRPr/>
            </a:pPr>
            <a:endParaRPr lang="en-US" baseline="0" dirty="0"/>
          </a:p>
          <a:p>
            <a:pPr defTabSz="931774">
              <a:defRPr/>
            </a:pPr>
            <a:r>
              <a:rPr lang="en-US" baseline="0" dirty="0"/>
              <a:t>On the front-end of development, Xamarin helps developer productivity for building mobile apps with C# compiling code across platforms: iOS, Android, Microsoft. Xamarin Test Cloud, provides automated testing to find bugs quickly before you deploy. </a:t>
            </a:r>
          </a:p>
          <a:p>
            <a:pPr defTabSz="931774">
              <a:defRPr/>
            </a:pPr>
            <a:endParaRPr lang="en-US" baseline="0" dirty="0"/>
          </a:p>
          <a:p>
            <a:pPr defTabSz="931774">
              <a:defRPr/>
            </a:pPr>
            <a:r>
              <a:rPr lang="en-US" baseline="0" dirty="0"/>
              <a:t>With HockeyApp we can manage beta distribution, get real-time crash reports, and engage with customer feedback for continuous integration.</a:t>
            </a:r>
            <a:endParaRPr lang="en-US" dirty="0"/>
          </a:p>
          <a:p>
            <a:pPr defTabSz="931774">
              <a:defRPr/>
            </a:pPr>
            <a:endParaRPr lang="en-US" dirty="0"/>
          </a:p>
          <a:p>
            <a:pPr defTabSz="931774">
              <a:defRPr/>
            </a:pPr>
            <a:r>
              <a:rPr lang="en-US" dirty="0"/>
              <a:t>Azure Mobile</a:t>
            </a:r>
            <a:r>
              <a:rPr lang="en-US" baseline="0" dirty="0"/>
              <a:t> App Service provides the back-end services that customers require, including offline data sync, user authentication, and push notifications. Mobile App Service is also tool agnostic, so whether you’re using Xamarin/HockeyApp or another tool, you can leverage the mobile back-end services all the same.</a:t>
            </a:r>
          </a:p>
        </p:txBody>
      </p:sp>
      <p:sp>
        <p:nvSpPr>
          <p:cNvPr id="4" name="Slide Number Placeholder 3"/>
          <p:cNvSpPr>
            <a:spLocks noGrp="1"/>
          </p:cNvSpPr>
          <p:nvPr>
            <p:ph type="sldNum" sz="quarter" idx="10"/>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107441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0</a:t>
            </a:fld>
            <a:endParaRPr lang="en-US"/>
          </a:p>
        </p:txBody>
      </p:sp>
    </p:spTree>
    <p:extLst>
      <p:ext uri="{BB962C8B-B14F-4D97-AF65-F5344CB8AC3E}">
        <p14:creationId xmlns:p14="http://schemas.microsoft.com/office/powerpoint/2010/main" val="322488864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4107372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In the cloud, we have taken relational databases to a whole new level of simplicity and manageability. </a:t>
            </a:r>
          </a:p>
          <a:p>
            <a:r>
              <a:rPr lang="en-US" baseline="0"/>
              <a:t>We have a fully managed service that now supports the top three most popular databases in the world – SQL Server, and announced today, MySQL and PostgreSQL. </a:t>
            </a:r>
          </a:p>
          <a:p>
            <a:endParaRPr lang="en-US" baseline="0"/>
          </a:p>
          <a:p>
            <a:r>
              <a:rPr lang="en-US" baseline="0"/>
              <a:t>The Azure RDMS platform is intelligent, flexible and secure. </a:t>
            </a:r>
          </a:p>
          <a:p>
            <a:r>
              <a:rPr lang="en-US" baseline="0"/>
              <a:t>It’s built on top of the scalable Azure compute, storage fabric, and the Azure cloud that is available in more regions than any other clouds.</a:t>
            </a:r>
          </a:p>
          <a:p>
            <a:r>
              <a:rPr lang="en-US" baseline="0"/>
              <a:t>On this fabric, we deliver capabilities such as built-in HA, backup/restore services, full isolation for each databases with resource governance, monitoring and performance tuning and security advisors. </a:t>
            </a:r>
          </a:p>
          <a:p>
            <a:pPr defTabSz="948507"/>
            <a:r>
              <a:rPr lang="en-US">
                <a:solidFill>
                  <a:srgbClr val="FFFFFF"/>
                </a:solidFill>
                <a:cs typeface="Segoe UI" panose="020B0502040204020203" pitchFamily="34" charset="0"/>
              </a:rPr>
              <a:t>And the platform allows you to scale on the fly with no application downtime. </a:t>
            </a:r>
            <a:endParaRPr lang="en-US" baseline="0"/>
          </a:p>
          <a:p>
            <a:pPr defTabSz="948507">
              <a:defRPr/>
            </a:pPr>
            <a:r>
              <a:rPr lang="en-US" baseline="0"/>
              <a:t>For MySQL and PostgreSQL, we are using fully compatible community versions </a:t>
            </a:r>
            <a:r>
              <a:rPr lang="en-US"/>
              <a:t>with native tools, drivers and libraries.</a:t>
            </a:r>
          </a:p>
          <a:p>
            <a:endParaRPr lang="en-US" baseline="0"/>
          </a:p>
        </p:txBody>
      </p:sp>
      <p:sp>
        <p:nvSpPr>
          <p:cNvPr id="4" name="Slide Number Placeholder 3"/>
          <p:cNvSpPr>
            <a:spLocks noGrp="1"/>
          </p:cNvSpPr>
          <p:nvPr>
            <p:ph type="sldNum" sz="quarter" idx="10"/>
          </p:nvPr>
        </p:nvSpPr>
        <p:spPr/>
        <p:txBody>
          <a:bodyPr/>
          <a:lstStyle/>
          <a:p>
            <a:pPr defTabSz="967533">
              <a:defRPr/>
            </a:pPr>
            <a:fld id="{7D89A995-4568-46E8-8D9C-53A8C4B4CDE6}" type="slidenum">
              <a:rPr lang="en-US">
                <a:solidFill>
                  <a:prstClr val="black"/>
                </a:solidFill>
                <a:latin typeface="Segoe UI" pitchFamily="34" charset="0"/>
              </a:rPr>
              <a:pPr defTabSz="967533">
                <a:defRPr/>
              </a:pPr>
              <a:t>82</a:t>
            </a:fld>
            <a:endParaRPr lang="en-US">
              <a:solidFill>
                <a:prstClr val="black"/>
              </a:solidFill>
              <a:latin typeface="Segoe UI" pitchFamily="34" charset="0"/>
            </a:endParaRPr>
          </a:p>
        </p:txBody>
      </p:sp>
    </p:spTree>
    <p:extLst>
      <p:ext uri="{BB962C8B-B14F-4D97-AF65-F5344CB8AC3E}">
        <p14:creationId xmlns:p14="http://schemas.microsoft.com/office/powerpoint/2010/main" val="300982054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484220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damentally a different database proposition to meet the global requirements of today’s applications.  Data is automatically replicated to where the users are.  Other database services are region resident, and may replicate to another region, but Cosmos is the only one to massively simplify creating applications for a truly global audience.  And Cosmos DV is flexible, so you can select the data model that naturally fits the data being stored and the API most appropriate for the application.  </a:t>
            </a:r>
          </a:p>
          <a:p>
            <a:endParaRPr lang="en-US" dirty="0"/>
          </a:p>
          <a:p>
            <a:r>
              <a:rPr lang="en-US" dirty="0"/>
              <a:t>Another area that Azure score highly in comparisons with the competition is in the SLAs.  Cosmos has multiple SLAs for availability, consistency, latency and throughput whilst database services such as DynamoDB only provid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119105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6363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r>
              <a:rPr lang="en-US" sz="1200" b="1"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More SLA coverage for key services than AW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15000"/>
              </a:lnSpc>
              <a:spcBef>
                <a:spcPts val="0"/>
              </a:spcBef>
              <a:spcAft>
                <a:spcPts val="1000"/>
              </a:spcAft>
              <a:buFont typeface="Arial" panose="020B0604020202020204" pitchFamily="34" charset="0"/>
              <a:buChar char="•"/>
            </a:pPr>
            <a:r>
              <a:rPr lang="en-US" sz="12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Having service level agreements on cloud services is a critical part of trusting your cloud provider. It means we stand behind the availability. In some industries, it may be a requirement that your vendor have an SLA.</a:t>
            </a:r>
          </a:p>
          <a:p>
            <a:pPr marL="171450" marR="0" indent="-171450">
              <a:lnSpc>
                <a:spcPct val="115000"/>
              </a:lnSpc>
              <a:spcBef>
                <a:spcPts val="0"/>
              </a:spcBef>
              <a:spcAft>
                <a:spcPts val="1000"/>
              </a:spcAft>
              <a:buFont typeface="Arial" panose="020B0604020202020204" pitchFamily="34" charset="0"/>
              <a:buChar char="•"/>
            </a:pPr>
            <a:r>
              <a:rPr lang="en-US" sz="12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Azure not only provides SLAs on key services, but we also have service credits in the unlikely event those services do go down.</a:t>
            </a:r>
          </a:p>
          <a:p>
            <a:pPr marL="171450" marR="0" indent="-171450">
              <a:lnSpc>
                <a:spcPct val="115000"/>
              </a:lnSpc>
              <a:spcBef>
                <a:spcPts val="0"/>
              </a:spcBef>
              <a:spcAft>
                <a:spcPts val="1000"/>
              </a:spcAft>
              <a:buFont typeface="Arial" panose="020B0604020202020204" pitchFamily="34" charset="0"/>
              <a:buChar char="•"/>
            </a:pPr>
            <a:r>
              <a:rPr lang="en-US" sz="12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Here are a few examples of commonly used services where AWS does not provide an SLA on their equivalent service:</a:t>
            </a:r>
          </a:p>
          <a:p>
            <a:pPr marL="628650" marR="0" lvl="1" indent="-171450">
              <a:lnSpc>
                <a:spcPct val="115000"/>
              </a:lnSpc>
              <a:spcBef>
                <a:spcPts val="0"/>
              </a:spcBef>
              <a:spcAft>
                <a:spcPts val="1000"/>
              </a:spcAft>
              <a:buFont typeface="Arial" panose="020B0604020202020204" pitchFamily="34" charset="0"/>
              <a:buChar char="•"/>
            </a:pPr>
            <a:r>
              <a:rPr lang="en-US" sz="18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Azure App Service give you a 99.95% SLA; Elastic Beanstalk does not have an SLA.</a:t>
            </a:r>
          </a:p>
          <a:p>
            <a:pPr marL="628650" marR="0" lvl="1" indent="-171450">
              <a:lnSpc>
                <a:spcPct val="115000"/>
              </a:lnSpc>
              <a:spcBef>
                <a:spcPts val="0"/>
              </a:spcBef>
              <a:spcAft>
                <a:spcPts val="1000"/>
              </a:spcAft>
              <a:buFont typeface="Arial" panose="020B0604020202020204" pitchFamily="34" charset="0"/>
              <a:buChar char="•"/>
            </a:pPr>
            <a:r>
              <a:rPr lang="en-US" sz="18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Azure Functions also provides a 99.95% SLA; Lambda does not have an SLA.</a:t>
            </a:r>
          </a:p>
          <a:p>
            <a:pPr marL="628650" marR="0" lvl="1" indent="-171450">
              <a:lnSpc>
                <a:spcPct val="115000"/>
              </a:lnSpc>
              <a:spcBef>
                <a:spcPts val="0"/>
              </a:spcBef>
              <a:spcAft>
                <a:spcPts val="1000"/>
              </a:spcAft>
              <a:buFont typeface="Arial" panose="020B0604020202020204" pitchFamily="34" charset="0"/>
              <a:buChar char="•"/>
            </a:pPr>
            <a:r>
              <a:rPr lang="en-US" sz="1800" i="0" dirty="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Azure Cosmos DB has an industry leading 4 9’s SLA; DocumentDB does not have an SLA.</a:t>
            </a:r>
            <a:endParaRPr lang="en-US" sz="1200"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E4F836-4BA8-49D2-817B-A1822B526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32307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427788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3592E1-4F6D-4873-91F7-FDCD328D5A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646319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3592E1-4F6D-4873-91F7-FDCD328D5A8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9076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174708">
              <a:buChar char="•"/>
            </a:pPr>
            <a:r>
              <a:rPr lang="en-US"/>
              <a:t>Microsoft has a comprehensive approach to open source in the cloud that spans enabling, integrating, releasing and contributing to open source, with a strong emphasis on ecosystem partnerships </a:t>
            </a:r>
          </a:p>
          <a:p>
            <a:pPr indent="-174708">
              <a:buChar char="•"/>
            </a:pPr>
            <a:r>
              <a:rPr lang="en-US"/>
              <a:t>Microsoft Azure is an open and flexible cloud that is all about choice, and allows you to build applications in the cloud the way you want with your choice of tools, applications and frameworks</a:t>
            </a:r>
          </a:p>
          <a:p>
            <a:pPr indent="-174708">
              <a:buChar char="•"/>
            </a:pPr>
            <a:r>
              <a:rPr lang="en-US"/>
              <a:t>Microsoft also integrates open source into many of Azure products and services, such as Hadoop and Linux in HDInsight, fluent in OMS or DC/OS, Kubernetes and Docker Swarm in ACS, and has open sourced ACS-Engine</a:t>
            </a:r>
          </a:p>
        </p:txBody>
      </p:sp>
      <p:sp>
        <p:nvSpPr>
          <p:cNvPr id="4" name="Slide Number Placeholder 3"/>
          <p:cNvSpPr>
            <a:spLocks noGrp="1"/>
          </p:cNvSpPr>
          <p:nvPr>
            <p:ph type="sldNum" sz="quarter" idx="10"/>
          </p:nvPr>
        </p:nvSpPr>
        <p:spPr/>
        <p:txBody>
          <a:bodyPr/>
          <a:lstStyle/>
          <a:p>
            <a:pPr defTabSz="931774">
              <a:defRPr/>
            </a:pPr>
            <a:fld id="{36DAC288-28CF-40C3-A408-271E9A37F250}" type="slidenum">
              <a:rPr lang="en-US">
                <a:solidFill>
                  <a:prstClr val="black"/>
                </a:solidFill>
                <a:latin typeface="Arial"/>
                <a:cs typeface="Arial" pitchFamily="34" charset="0"/>
              </a:rPr>
              <a:pPr defTabSz="931774">
                <a:defRPr/>
              </a:pPr>
              <a:t>9</a:t>
            </a:fld>
            <a:endParaRPr lang="en-US">
              <a:solidFill>
                <a:prstClr val="black"/>
              </a:solidFill>
              <a:latin typeface="Arial"/>
              <a:cs typeface="Arial" pitchFamily="34" charset="0"/>
            </a:endParaRPr>
          </a:p>
        </p:txBody>
      </p:sp>
    </p:spTree>
    <p:extLst>
      <p:ext uri="{BB962C8B-B14F-4D97-AF65-F5344CB8AC3E}">
        <p14:creationId xmlns:p14="http://schemas.microsoft.com/office/powerpoint/2010/main" val="180494896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000" b="0" i="0" u="none" strike="noStrike" kern="1200" cap="none" spc="0" normalizeH="0" baseline="0" noProof="0">
                <a:ln>
                  <a:noFill/>
                </a:ln>
                <a:solidFill>
                  <a:prstClr val="black"/>
                </a:solidFill>
                <a:effectLst/>
                <a:uLnTx/>
                <a:uFillTx/>
                <a:latin typeface="Segoe UI Light" pitchFamily="34" charset="0"/>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000" b="0" i="0" u="none" strike="noStrike" kern="1200" cap="none" spc="0" normalizeH="0" baseline="0" noProof="0">
              <a:ln>
                <a:noFill/>
              </a:ln>
              <a:solidFill>
                <a:prstClr val="black"/>
              </a:solidFill>
              <a:effectLst/>
              <a:uLnTx/>
              <a:uFillTx/>
              <a:latin typeface="Segoe UI Light" pitchFamily="34" charset="0"/>
              <a:ea typeface="+mn-ea"/>
              <a:cs typeface="+mn-cs"/>
            </a:endParaRPr>
          </a:p>
          <a:p>
            <a:r>
              <a:rPr kumimoji="0" lang="en-US" sz="1000" b="0" i="0" u="none" strike="noStrike" kern="1200" cap="none" spc="0" normalizeH="0" baseline="0" noProof="0">
                <a:ln>
                  <a:noFill/>
                </a:ln>
                <a:solidFill>
                  <a:prstClr val="black"/>
                </a:solidFill>
                <a:effectLst/>
                <a:uLnTx/>
                <a:uFillTx/>
                <a:latin typeface="Segoe UI Light" pitchFamily="34" charset="0"/>
                <a:ea typeface="+mn-ea"/>
                <a:cs typeface="+mn-cs"/>
              </a:rPr>
              <a:t>Our examples here shine some light on how some of these APIs work in real-world situations:</a:t>
            </a:r>
          </a:p>
          <a:p>
            <a:endParaRPr kumimoji="0" lang="en-US" sz="1000" b="0" i="0" u="none" strike="noStrike" kern="1200" cap="none" spc="0" normalizeH="0" baseline="0" noProof="0">
              <a:ln>
                <a:noFill/>
              </a:ln>
              <a:solidFill>
                <a:prstClr val="black"/>
              </a:solidFill>
              <a:effectLst/>
              <a:uLnTx/>
              <a:uFillTx/>
              <a:latin typeface="Segoe UI Light" pitchFamily="34" charset="0"/>
              <a:ea typeface="+mn-ea"/>
              <a:cs typeface="+mn-cs"/>
            </a:endParaRPr>
          </a:p>
          <a:p>
            <a:r>
              <a:rPr lang="en-US" sz="1000" b="1"/>
              <a:t>Vision</a:t>
            </a:r>
          </a:p>
          <a:p>
            <a:pPr marL="171450" indent="-171450">
              <a:buFont typeface="Arial" panose="020B0604020202020204" pitchFamily="34" charset="0"/>
              <a:buChar char="•"/>
            </a:pPr>
            <a:r>
              <a:rPr lang="en-US" sz="900"/>
              <a:t>The </a:t>
            </a:r>
            <a:r>
              <a:rPr lang="en-US" sz="900" b="1"/>
              <a:t>Computer Vision</a:t>
            </a:r>
            <a:r>
              <a:rPr lang="en-US" sz="900"/>
              <a:t> API </a:t>
            </a:r>
            <a:r>
              <a:rPr lang="en-US" sz="900">
                <a:effectLst/>
              </a:rPr>
              <a:t>is</a:t>
            </a:r>
            <a:r>
              <a:rPr lang="en-US" sz="900" baseline="0">
                <a:effectLst/>
              </a:rPr>
              <a:t> able to e</a:t>
            </a:r>
            <a:r>
              <a:rPr lang="en-US" sz="900">
                <a:effectLst/>
              </a:rPr>
              <a:t>xtract rich information from images to categorize and process visual data</a:t>
            </a:r>
            <a:r>
              <a:rPr lang="en-US" sz="900" baseline="0">
                <a:effectLst/>
              </a:rPr>
              <a:t> </a:t>
            </a:r>
            <a:r>
              <a:rPr lang="en-US" sz="900">
                <a:effectLst/>
              </a:rPr>
              <a:t>and protect your users from unwanted content. Here,</a:t>
            </a:r>
            <a:r>
              <a:rPr lang="en-US" sz="900" baseline="0">
                <a:effectLst/>
              </a:rPr>
              <a:t> the API is able to tell us what the photo contains, indicate the most common colors, and lets us know that the content would not be considered inappropriate for users.</a:t>
            </a:r>
            <a:endParaRPr lang="en-US" sz="900"/>
          </a:p>
          <a:p>
            <a:endParaRPr lang="en-US" sz="1000"/>
          </a:p>
          <a:p>
            <a:r>
              <a:rPr lang="en-US" sz="1000" b="1"/>
              <a:t>Speech</a:t>
            </a:r>
          </a:p>
          <a:p>
            <a:pPr marL="171450" indent="-171450">
              <a:buFont typeface="Arial" panose="020B0604020202020204" pitchFamily="34" charset="0"/>
              <a:buChar char="•"/>
            </a:pPr>
            <a:r>
              <a:rPr lang="en-US" sz="900"/>
              <a:t>The </a:t>
            </a:r>
            <a:r>
              <a:rPr lang="en-US" sz="900" b="1"/>
              <a:t>Bing Speech API </a:t>
            </a:r>
            <a:r>
              <a:rPr lang="en-US" sz="900">
                <a:effectLst/>
              </a:rPr>
              <a:t>is</a:t>
            </a:r>
            <a:r>
              <a:rPr lang="en-US" sz="900" baseline="0">
                <a:effectLst/>
              </a:rPr>
              <a:t> capable of c</a:t>
            </a:r>
            <a:r>
              <a:rPr lang="en-US" sz="900">
                <a:effectLst/>
              </a:rPr>
              <a:t>onverting audio to text, understanding intent, and converting text back to speech for natural responsiveness. This</a:t>
            </a:r>
            <a:r>
              <a:rPr lang="en-US" sz="900" baseline="0">
                <a:effectLst/>
              </a:rPr>
              <a:t> case shows us that the user has asked for directions verbally, the intent has been extracted, and a map with directions provided.</a:t>
            </a:r>
            <a:endParaRPr lang="en-US" sz="900"/>
          </a:p>
          <a:p>
            <a:pPr marL="0" indent="0">
              <a:buFontTx/>
              <a:buNone/>
            </a:pPr>
            <a:endParaRPr lang="en-US" sz="900"/>
          </a:p>
          <a:p>
            <a:pPr marL="0" indent="0">
              <a:buFontTx/>
              <a:buNone/>
            </a:pPr>
            <a:r>
              <a:rPr lang="en-US" sz="1000" b="1"/>
              <a:t>Language:</a:t>
            </a:r>
          </a:p>
          <a:p>
            <a:pPr marL="171450" indent="-171450">
              <a:buFont typeface="Arial" panose="020B0604020202020204" pitchFamily="34" charset="0"/>
              <a:buChar char="•"/>
            </a:pPr>
            <a:r>
              <a:rPr lang="en-US" sz="900"/>
              <a:t>Language Understanding Intelligent Service,</a:t>
            </a:r>
            <a:r>
              <a:rPr lang="en-US" sz="900" baseline="0"/>
              <a:t> known as </a:t>
            </a:r>
            <a:r>
              <a:rPr lang="en-US" sz="900"/>
              <a:t>LUIS,</a:t>
            </a:r>
            <a:r>
              <a:rPr lang="en-US" sz="900" baseline="0"/>
              <a:t> can be trained to u</a:t>
            </a:r>
            <a:r>
              <a:rPr lang="en-US" sz="900">
                <a:effectLst/>
              </a:rPr>
              <a:t>nderstand user language contextually, so your app communicates with people in the way they speak. The example we see</a:t>
            </a:r>
            <a:r>
              <a:rPr lang="en-US" sz="900" baseline="0">
                <a:effectLst/>
              </a:rPr>
              <a:t> here demonstrates Language Understanding’s ability to </a:t>
            </a:r>
            <a:r>
              <a:rPr lang="en-US" sz="900">
                <a:effectLst/>
              </a:rPr>
              <a:t>understand what a person wants, and to find the pieces of information that are relevant to the</a:t>
            </a:r>
            <a:r>
              <a:rPr lang="en-US" sz="900" baseline="0">
                <a:effectLst/>
              </a:rPr>
              <a:t> user’s</a:t>
            </a:r>
            <a:r>
              <a:rPr lang="en-US" sz="900">
                <a:effectLst/>
              </a:rPr>
              <a:t> intent.</a:t>
            </a:r>
            <a:endParaRPr lang="en-US" sz="900"/>
          </a:p>
          <a:p>
            <a:endParaRPr lang="en-US" sz="1000"/>
          </a:p>
          <a:p>
            <a:r>
              <a:rPr lang="en-US" sz="1000" b="1"/>
              <a:t>Knowledge</a:t>
            </a:r>
          </a:p>
          <a:p>
            <a:pPr marL="171450" indent="-171450">
              <a:buFont typeface="Arial" panose="020B0604020202020204" pitchFamily="34" charset="0"/>
              <a:buChar char="•"/>
            </a:pPr>
            <a:r>
              <a:rPr lang="en-US" sz="900"/>
              <a:t>Knowledge Exploration Service</a:t>
            </a:r>
            <a:r>
              <a:rPr lang="en-US" sz="900" baseline="0"/>
              <a:t> a</a:t>
            </a:r>
            <a:r>
              <a:rPr lang="en-US" sz="900"/>
              <a:t>dds interactive search over structured data to reduce user effort and increase</a:t>
            </a:r>
            <a:r>
              <a:rPr lang="en-US" sz="900" baseline="0"/>
              <a:t> efficiency. Our Knowledge Exploration API example here demonstrates the usefulness of this API for answering questions posed in natural language in an interactive experience.</a:t>
            </a:r>
            <a:endParaRPr lang="en-US" sz="900"/>
          </a:p>
          <a:p>
            <a:endParaRPr lang="en-US" sz="1050" b="1"/>
          </a:p>
          <a:p>
            <a:r>
              <a:rPr lang="en-US" sz="1050" b="1"/>
              <a:t>Search</a:t>
            </a:r>
          </a:p>
          <a:p>
            <a:pPr marL="171450" indent="-171450">
              <a:buFont typeface="Arial" panose="020B0604020202020204" pitchFamily="34" charset="0"/>
              <a:buChar char="•"/>
            </a:pPr>
            <a:r>
              <a:rPr lang="en-US" sz="900"/>
              <a:t>Bing Image Search API</a:t>
            </a:r>
            <a:r>
              <a:rPr lang="en-US" sz="900" baseline="0"/>
              <a:t> enables you to </a:t>
            </a:r>
            <a:r>
              <a:rPr lang="en-US" sz="900" baseline="0">
                <a:effectLst/>
              </a:rPr>
              <a:t>a</a:t>
            </a:r>
            <a:r>
              <a:rPr lang="en-US" sz="900">
                <a:effectLst/>
              </a:rPr>
              <a:t>dd a variety of image search options to your app or website, from trending images to detailed insights. Users</a:t>
            </a:r>
            <a:r>
              <a:rPr lang="en-US" sz="900" baseline="0">
                <a:effectLst/>
              </a:rPr>
              <a:t> can do a simple search, and this API scours the web for </a:t>
            </a:r>
            <a:r>
              <a:rPr lang="en-US" sz="900">
                <a:effectLst/>
              </a:rPr>
              <a:t>thumbnails, full image URLs, publishing website info, image metadata, and more</a:t>
            </a:r>
            <a:r>
              <a:rPr lang="en-US" sz="900" baseline="0">
                <a:effectLst/>
              </a:rPr>
              <a:t> before returning result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744123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Vision: </a:t>
            </a:r>
            <a:r>
              <a:rPr lang="en-US" sz="1200" kern="120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uter vision: </a:t>
            </a:r>
            <a:r>
              <a:rPr lang="en-US" sz="1200" kern="120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ntent Moderator: </a:t>
            </a:r>
            <a:r>
              <a:rPr lang="en-US" sz="1200" kern="120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Vision Service: </a:t>
            </a:r>
            <a:r>
              <a:rPr lang="en-US" sz="1200" kern="120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Face</a:t>
            </a:r>
            <a:r>
              <a:rPr lang="en-US" sz="1200" kern="120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Video indexer: </a:t>
            </a:r>
            <a:r>
              <a:rPr lang="en-US" sz="1200" kern="1200">
                <a:solidFill>
                  <a:schemeClr val="tx1"/>
                </a:solidFill>
                <a:effectLst/>
                <a:latin typeface="+mn-lt"/>
                <a:ea typeface="+mn-ea"/>
                <a:cs typeface="+mn-cs"/>
              </a:rPr>
              <a:t>Easily extract insights from your videos to enrich your applications</a:t>
            </a:r>
          </a:p>
          <a:p>
            <a:r>
              <a:rPr lang="en-US" sz="1200" b="1" kern="1200">
                <a:solidFill>
                  <a:schemeClr val="tx1"/>
                </a:solidFill>
                <a:effectLst/>
                <a:latin typeface="+mn-lt"/>
                <a:ea typeface="+mn-ea"/>
                <a:cs typeface="+mn-cs"/>
              </a:rPr>
              <a:t>Speech:</a:t>
            </a:r>
            <a:r>
              <a:rPr lang="en-US" sz="1200" kern="120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ech: </a:t>
            </a:r>
            <a:r>
              <a:rPr lang="en-US" sz="1200" kern="120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peaker Recognition:</a:t>
            </a:r>
            <a:r>
              <a:rPr lang="en-US" sz="1200" kern="120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 Speech Service: </a:t>
            </a:r>
            <a:r>
              <a:rPr lang="en-US" sz="1200" kern="120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Speech:</a:t>
            </a:r>
            <a:r>
              <a:rPr lang="en-US" sz="1200" kern="1200">
                <a:solidFill>
                  <a:schemeClr val="tx1"/>
                </a:solidFill>
                <a:effectLst/>
                <a:latin typeface="+mn-lt"/>
                <a:ea typeface="+mn-ea"/>
                <a:cs typeface="+mn-cs"/>
              </a:rPr>
              <a:t> Easily conduct real-time speech translation on your app</a:t>
            </a:r>
          </a:p>
          <a:p>
            <a:r>
              <a:rPr lang="en-US" sz="1200" b="1" kern="1200">
                <a:solidFill>
                  <a:schemeClr val="tx1"/>
                </a:solidFill>
                <a:effectLst/>
                <a:latin typeface="+mn-lt"/>
                <a:ea typeface="+mn-ea"/>
                <a:cs typeface="+mn-cs"/>
              </a:rPr>
              <a:t>Language: </a:t>
            </a:r>
            <a:r>
              <a:rPr lang="en-US" sz="1200" kern="120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Spell Check: </a:t>
            </a:r>
            <a:r>
              <a:rPr lang="en-US" sz="1200" kern="120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anguage Understanding (LUIS): </a:t>
            </a:r>
            <a:r>
              <a:rPr lang="en-US" sz="1200" kern="120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Linguistic Analysis: </a:t>
            </a:r>
            <a:r>
              <a:rPr lang="en-US" sz="1200" kern="120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ext Analytics: </a:t>
            </a:r>
            <a:r>
              <a:rPr lang="en-US" sz="1200" kern="120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anslator Text:</a:t>
            </a:r>
            <a:r>
              <a:rPr lang="en-US" sz="1200" kern="1200">
                <a:solidFill>
                  <a:schemeClr val="tx1"/>
                </a:solidFill>
                <a:effectLst/>
                <a:latin typeface="+mn-lt"/>
                <a:ea typeface="+mn-ea"/>
                <a:cs typeface="+mn-cs"/>
              </a:rPr>
              <a:t> Easily conduct machine translation for 60+ languages</a:t>
            </a:r>
          </a:p>
          <a:p>
            <a:r>
              <a:rPr lang="en-US" sz="1200" b="1" kern="1200">
                <a:solidFill>
                  <a:schemeClr val="tx1"/>
                </a:solidFill>
                <a:effectLst/>
                <a:latin typeface="+mn-lt"/>
                <a:ea typeface="+mn-ea"/>
                <a:cs typeface="+mn-cs"/>
              </a:rPr>
              <a:t>Knowledge: </a:t>
            </a:r>
            <a:r>
              <a:rPr lang="en-US" sz="1200" kern="120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Knowledge Exploration Service: </a:t>
            </a:r>
            <a:r>
              <a:rPr lang="en-US" sz="1200" kern="120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Entity Linking Service: </a:t>
            </a:r>
            <a:r>
              <a:rPr lang="en-US" sz="1200" kern="120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Academic Knowledge:</a:t>
            </a:r>
            <a:r>
              <a:rPr lang="en-US" sz="1200" kern="120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err="1">
                <a:solidFill>
                  <a:schemeClr val="tx1"/>
                </a:solidFill>
                <a:effectLst/>
                <a:latin typeface="+mn-lt"/>
                <a:ea typeface="+mn-ea"/>
                <a:cs typeface="+mn-cs"/>
              </a:rPr>
              <a:t>QnA</a:t>
            </a:r>
            <a:r>
              <a:rPr lang="en-US" sz="1200" b="1" kern="1200">
                <a:solidFill>
                  <a:schemeClr val="tx1"/>
                </a:solidFill>
                <a:effectLst/>
                <a:latin typeface="+mn-lt"/>
                <a:ea typeface="+mn-ea"/>
                <a:cs typeface="+mn-cs"/>
              </a:rPr>
              <a:t> Maker:</a:t>
            </a:r>
            <a:r>
              <a:rPr lang="en-US" sz="1200" kern="120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ustomer Decision Service:</a:t>
            </a:r>
            <a:r>
              <a:rPr lang="en-US" sz="1200" kern="1200">
                <a:solidFill>
                  <a:schemeClr val="tx1"/>
                </a:solidFill>
                <a:effectLst/>
                <a:latin typeface="+mn-lt"/>
                <a:ea typeface="+mn-ea"/>
                <a:cs typeface="+mn-cs"/>
              </a:rPr>
              <a:t> Create custom experiences with adaptive, contextual decision-making</a:t>
            </a:r>
          </a:p>
          <a:p>
            <a:r>
              <a:rPr lang="en-US" sz="1200" b="1" kern="1200">
                <a:solidFill>
                  <a:schemeClr val="tx1"/>
                </a:solidFill>
                <a:effectLst/>
                <a:latin typeface="+mn-lt"/>
                <a:ea typeface="+mn-ea"/>
                <a:cs typeface="+mn-cs"/>
              </a:rPr>
              <a:t>Search: </a:t>
            </a:r>
            <a:r>
              <a:rPr lang="en-US" sz="1200" kern="120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Autosuggest: </a:t>
            </a:r>
            <a:r>
              <a:rPr lang="en-US" sz="1200" kern="120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News Search: </a:t>
            </a:r>
            <a:r>
              <a:rPr lang="en-US" sz="1200" kern="120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Web Search: </a:t>
            </a:r>
            <a:r>
              <a:rPr lang="en-US" sz="1200" kern="120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Entity Search: </a:t>
            </a:r>
            <a:r>
              <a:rPr lang="en-US" sz="1200" kern="120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Image Search: </a:t>
            </a:r>
            <a:r>
              <a:rPr lang="en-US" sz="1200" kern="120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Video Search: </a:t>
            </a:r>
            <a:r>
              <a:rPr lang="en-US" sz="1200" kern="120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Bing Custom Search: </a:t>
            </a:r>
            <a:r>
              <a:rPr lang="en-US" sz="1200" kern="1200">
                <a:solidFill>
                  <a:schemeClr val="tx1"/>
                </a:solidFill>
                <a:effectLst/>
                <a:latin typeface="+mn-lt"/>
                <a:ea typeface="+mn-ea"/>
                <a:cs typeface="+mn-cs"/>
              </a:rPr>
              <a:t>Create tailored site search or vertical search experiences for topics you care about</a:t>
            </a:r>
          </a:p>
          <a:p>
            <a:r>
              <a:rPr lang="en-US" sz="1200" b="1" kern="1200">
                <a:solidFill>
                  <a:schemeClr val="tx1"/>
                </a:solidFill>
                <a:effectLst/>
                <a:latin typeface="+mn-lt"/>
                <a:ea typeface="+mn-ea"/>
                <a:cs typeface="+mn-cs"/>
              </a:rPr>
              <a:t>Labs: </a:t>
            </a:r>
            <a:r>
              <a:rPr lang="en-US" sz="1200" kern="120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a:solidFill>
                  <a:schemeClr val="tx1"/>
                </a:solidFill>
                <a:effectLst/>
                <a:latin typeface="+mn-lt"/>
                <a:ea typeface="+mn-ea"/>
                <a:cs typeface="+mn-cs"/>
              </a:rPr>
              <a:t>Project Prague: </a:t>
            </a:r>
            <a:r>
              <a:rPr lang="en-US" sz="1200" kern="120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a:solidFill>
                  <a:schemeClr val="tx1"/>
                </a:solidFill>
                <a:effectLst/>
                <a:latin typeface="+mn-lt"/>
                <a:ea typeface="+mn-ea"/>
                <a:cs typeface="+mn-cs"/>
              </a:rPr>
              <a:t>Project Cuzco: </a:t>
            </a:r>
            <a:r>
              <a:rPr lang="en-US" sz="1200" kern="120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a:solidFill>
                  <a:schemeClr val="tx1"/>
                </a:solidFill>
                <a:effectLst/>
                <a:latin typeface="+mn-lt"/>
                <a:ea typeface="+mn-ea"/>
                <a:cs typeface="+mn-cs"/>
              </a:rPr>
              <a:t>Project Johannesburg: </a:t>
            </a:r>
            <a:r>
              <a:rPr lang="en-US" sz="1200" kern="120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a:solidFill>
                  <a:schemeClr val="tx1"/>
                </a:solidFill>
                <a:effectLst/>
                <a:latin typeface="+mn-lt"/>
                <a:ea typeface="+mn-ea"/>
                <a:cs typeface="+mn-cs"/>
              </a:rPr>
              <a:t>Project Nanjing: </a:t>
            </a:r>
            <a:r>
              <a:rPr lang="en-US" sz="1200" kern="1200">
                <a:solidFill>
                  <a:schemeClr val="tx1"/>
                </a:solidFill>
                <a:effectLst/>
                <a:latin typeface="+mn-lt"/>
                <a:ea typeface="+mn-ea"/>
                <a:cs typeface="+mn-cs"/>
              </a:rPr>
              <a:t>API to calculate isochrones - time and distance-based recommendations for enterprise route optimization.</a:t>
            </a:r>
          </a:p>
          <a:p>
            <a:pPr lvl="0"/>
            <a:r>
              <a:rPr lang="en-US" sz="1200" b="1" kern="1200">
                <a:solidFill>
                  <a:schemeClr val="tx1"/>
                </a:solidFill>
                <a:effectLst/>
                <a:latin typeface="+mn-lt"/>
                <a:ea typeface="+mn-ea"/>
                <a:cs typeface="+mn-cs"/>
              </a:rPr>
              <a:t>Project Abu Dhabi: </a:t>
            </a:r>
            <a:r>
              <a:rPr lang="en-US" sz="1200" kern="120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a:solidFill>
                  <a:schemeClr val="tx1"/>
                </a:solidFill>
                <a:effectLst/>
                <a:latin typeface="+mn-lt"/>
                <a:ea typeface="+mn-ea"/>
                <a:cs typeface="+mn-cs"/>
              </a:rPr>
              <a:t>Project Wollongong: </a:t>
            </a:r>
            <a:r>
              <a:rPr lang="en-US" sz="1200" kern="120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a:solidFill>
                  <a:schemeClr val="tx1"/>
                </a:solidFill>
                <a:effectLst/>
                <a:latin typeface="Segoe UI Light" pitchFamily="34" charset="0"/>
                <a:ea typeface="+mn-ea"/>
                <a:cs typeface="+mn-cs"/>
              </a:rPr>
              <a:t> </a:t>
            </a:r>
            <a:endParaRPr lang="en-US">
              <a:effectLst/>
            </a:endParaRPr>
          </a:p>
          <a:p>
            <a:r>
              <a:rPr lang="en-US">
                <a:effectLst/>
              </a:rPr>
              <a:t>With Cognitive Services, developers can easily</a:t>
            </a:r>
            <a:r>
              <a:rPr lang="en-US" sz="1200" kern="1200">
                <a:solidFill>
                  <a:schemeClr val="tx1"/>
                </a:solidFill>
                <a:effectLst/>
                <a:latin typeface="Segoe UI Light" pitchFamily="34" charset="0"/>
                <a:ea typeface="+mn-ea"/>
                <a:cs typeface="+mn-cs"/>
              </a:rPr>
              <a:t> add intelligent features – such as emotion and sentiment </a:t>
            </a:r>
            <a:r>
              <a:rPr lang="en-US">
                <a:effectLst/>
              </a:rPr>
              <a:t>detection, vision and speech recognition, knowledge, search and language understanding – into their applications. The collection will continuously improve, adding new APIs and updating existing ones.</a:t>
            </a:r>
          </a:p>
          <a:p>
            <a:endParaRPr lang="en-US" b="1">
              <a:effectLst/>
            </a:endParaRPr>
          </a:p>
          <a:p>
            <a:r>
              <a:rPr lang="en-US" b="1">
                <a:effectLst/>
              </a:rPr>
              <a:t>Cognitive Services includes:</a:t>
            </a:r>
          </a:p>
          <a:p>
            <a:r>
              <a:rPr lang="en-US">
                <a:effectLst/>
              </a:rPr>
              <a:t>&lt;click&gt;</a:t>
            </a:r>
          </a:p>
          <a:p>
            <a:endParaRPr lang="en-US" b="1">
              <a:effectLst/>
            </a:endParaRPr>
          </a:p>
          <a:p>
            <a:pPr lvl="0"/>
            <a:r>
              <a:rPr lang="en-US">
                <a:effectLst/>
              </a:rPr>
              <a:t>Vision: From faces to feelings, allow apps to understand images and video</a:t>
            </a:r>
          </a:p>
          <a:p>
            <a:pPr lvl="0"/>
            <a:r>
              <a:rPr lang="en-US">
                <a:effectLst/>
              </a:rPr>
              <a:t>&lt;click&gt;</a:t>
            </a:r>
          </a:p>
          <a:p>
            <a:pPr lvl="0"/>
            <a:endParaRPr lang="en-US">
              <a:effectLst/>
            </a:endParaRPr>
          </a:p>
          <a:p>
            <a:pPr lvl="0"/>
            <a:r>
              <a:rPr lang="en-US">
                <a:effectLst/>
              </a:rPr>
              <a:t>Speech: Hear and speak to users by filtering noise, identifying speakers, and understanding intent</a:t>
            </a:r>
          </a:p>
          <a:p>
            <a:pPr lvl="0"/>
            <a:r>
              <a:rPr lang="en-US">
                <a:effectLst/>
              </a:rPr>
              <a:t>&lt;click&gt;</a:t>
            </a:r>
          </a:p>
          <a:p>
            <a:pPr lvl="0"/>
            <a:endParaRPr lang="en-US">
              <a:effectLst/>
            </a:endParaRPr>
          </a:p>
          <a:p>
            <a:pPr lvl="0"/>
            <a:r>
              <a:rPr lang="en-US">
                <a:effectLst/>
              </a:rPr>
              <a:t>Language: Process text and learn how to recognize what users want</a:t>
            </a:r>
          </a:p>
          <a:p>
            <a:pPr lvl="0"/>
            <a:r>
              <a:rPr lang="en-US">
                <a:effectLst/>
              </a:rPr>
              <a:t>&lt;click&gt;</a:t>
            </a:r>
          </a:p>
          <a:p>
            <a:pPr lvl="0"/>
            <a:endParaRPr lang="en-US">
              <a:effectLst/>
            </a:endParaRPr>
          </a:p>
          <a:p>
            <a:pPr lvl="0"/>
            <a:r>
              <a:rPr lang="en-US">
                <a:effectLst/>
              </a:rPr>
              <a:t>Knowledge: Tap into rich knowledge amassed from the web, academia, or your own data</a:t>
            </a:r>
          </a:p>
          <a:p>
            <a:pPr lvl="0"/>
            <a:r>
              <a:rPr lang="en-US">
                <a:effectLst/>
              </a:rPr>
              <a:t>&lt;click&gt;</a:t>
            </a:r>
          </a:p>
          <a:p>
            <a:pPr lvl="0"/>
            <a:endParaRPr lang="en-US">
              <a:effectLst/>
            </a:endParaRPr>
          </a:p>
          <a:p>
            <a:pPr lvl="0"/>
            <a:r>
              <a:rPr lang="en-US">
                <a:effectLst/>
              </a:rPr>
              <a:t>Search: Access billions of web pages, images, videos, and news with the power of Bing APIs</a:t>
            </a:r>
          </a:p>
          <a:p>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Why choose these APIs?</a:t>
            </a:r>
            <a:r>
              <a:rPr lang="en-US" sz="1200" b="1" baseline="0"/>
              <a:t> </a:t>
            </a:r>
            <a:r>
              <a:rPr lang="en-US" sz="1200" baseline="0"/>
              <a:t>They </a:t>
            </a:r>
            <a:r>
              <a:rPr lang="en-US" sz="120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lt;click&gt;</a:t>
            </a:r>
          </a:p>
          <a:p>
            <a:endParaRPr lang="en-US" sz="1200"/>
          </a:p>
          <a:p>
            <a:r>
              <a:rPr lang="en-US" sz="1200" b="1"/>
              <a:t>Easy:</a:t>
            </a:r>
            <a:r>
              <a:rPr lang="en-US" sz="1200" b="0"/>
              <a:t> T</a:t>
            </a:r>
            <a:r>
              <a:rPr lang="en-US" sz="1200"/>
              <a:t>he APIs are easy to implement because of the simple REST calls. There’s a common way to implement, and you can get started with all of them for free simply by going to one place, one website, www.microsoft.com/cognitive. </a:t>
            </a:r>
          </a:p>
          <a:p>
            <a:endParaRPr lang="en-US" sz="1200"/>
          </a:p>
          <a:p>
            <a:r>
              <a:rPr lang="en-US" sz="1200" b="1"/>
              <a:t>Flexible:</a:t>
            </a:r>
            <a:r>
              <a:rPr lang="en-US" sz="1200" b="0"/>
              <a:t> </a:t>
            </a:r>
            <a:r>
              <a:rPr lang="en-US" sz="1200"/>
              <a:t>We’ve got a breadth of intelligence and knowledge APIs so developers will be able to find what intelligence feature they need.</a:t>
            </a:r>
            <a:r>
              <a:rPr lang="en-US" sz="1200" baseline="0"/>
              <a:t> A</a:t>
            </a:r>
            <a:r>
              <a:rPr lang="en-US" sz="1200"/>
              <a:t>nd, importantly, they all work on whatever language, framework, or platform developers choose. So, developers can integrate into their apps—iOS, Android, Windows—using their own tools they know and love.</a:t>
            </a:r>
          </a:p>
          <a:p>
            <a:endParaRPr lang="en-US" sz="120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a:t>Tested:</a:t>
            </a:r>
            <a:r>
              <a:rPr lang="en-US" sz="1200" b="1" baseline="0"/>
              <a:t> </a:t>
            </a:r>
            <a:r>
              <a:rPr lang="en-US" sz="1200" b="0"/>
              <a:t>Tap into </a:t>
            </a:r>
            <a:r>
              <a:rPr lang="en-US" sz="12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a:t> and Skype</a:t>
            </a:r>
            <a:r>
              <a:rPr lang="en-US" sz="120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pPr lvl="0"/>
            <a:endParaRPr lang="en-US">
              <a:effectLst/>
            </a:endParaRPr>
          </a:p>
          <a:p>
            <a:pPr lvl="0"/>
            <a:endParaRPr lang="en-US">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b="1" baseline="0"/>
              <a:t>Transition:</a:t>
            </a:r>
            <a:r>
              <a:rPr lang="en-US" baseline="0"/>
              <a:t> </a:t>
            </a:r>
            <a:r>
              <a:rPr lang="en-US" b="1" baseline="0"/>
              <a:t>When it comes to real-world applications for Cognitive Services, the sky is the limit! Let’s look at some examples. </a:t>
            </a:r>
          </a:p>
          <a:p>
            <a:r>
              <a:rPr lang="en-US" b="1" baseline="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5349160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customers.microsoft.com/en-US/story/aso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53562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87338" indent="-287338">
              <a:spcBef>
                <a:spcPts val="300"/>
              </a:spcBef>
              <a:buFont typeface="Arial" panose="020B0604020202020204" pitchFamily="34" charset="0"/>
              <a:buChar char="•"/>
            </a:pPr>
            <a:r>
              <a:rPr lang="en-US" sz="1200"/>
              <a:t>More natural human / computer interaction</a:t>
            </a:r>
          </a:p>
          <a:p>
            <a:pPr marL="287338" indent="-287338">
              <a:spcBef>
                <a:spcPts val="300"/>
              </a:spcBef>
              <a:buFont typeface="Arial" panose="020B0604020202020204" pitchFamily="34" charset="0"/>
              <a:buChar char="•"/>
            </a:pPr>
            <a:r>
              <a:rPr lang="en-US" sz="1200"/>
              <a:t>Appealing. Efficient. Easy. Natural.</a:t>
            </a:r>
          </a:p>
          <a:p>
            <a:pPr marL="287338" indent="-287338">
              <a:spcBef>
                <a:spcPts val="300"/>
              </a:spcBef>
              <a:buFont typeface="Arial" panose="020B0604020202020204" pitchFamily="34" charset="0"/>
              <a:buChar char="•"/>
            </a:pPr>
            <a:r>
              <a:rPr lang="en-US" sz="1200"/>
              <a:t>Adapts to the user depending on circumstance</a:t>
            </a:r>
          </a:p>
          <a:p>
            <a:pPr marL="287338" indent="-287338">
              <a:spcBef>
                <a:spcPts val="300"/>
              </a:spcBef>
              <a:buFont typeface="Arial" panose="020B0604020202020204" pitchFamily="34" charset="0"/>
              <a:buChar char="•"/>
            </a:pPr>
            <a:endParaRPr lang="en-US" sz="1200"/>
          </a:p>
          <a:p>
            <a:pPr marL="287338" marR="0" lvl="0" indent="-287338"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t>Available where you are (Web, Mobile, Car, Desktop, …)</a:t>
            </a:r>
          </a:p>
          <a:p>
            <a:pPr marL="287338" indent="-287338">
              <a:spcBef>
                <a:spcPts val="300"/>
              </a:spcBef>
              <a:buFont typeface="Arial" panose="020B0604020202020204" pitchFamily="34" charset="0"/>
              <a:buChar char="•"/>
            </a:pPr>
            <a:endParaRPr lang="en-US" sz="1200"/>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02418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574AC-D2DB-4A35-A06C-C252C3BD320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976893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Good quick demo at http:/captionbot.a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ir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200" kern="1200" dirty="0" err="1">
                <a:solidFill>
                  <a:schemeClr val="tx1"/>
                </a:solidFill>
                <a:effectLst/>
                <a:latin typeface="Segoe UI Light" pitchFamily="34" charset="0"/>
                <a:ea typeface="+mn-ea"/>
                <a:cs typeface="+mn-cs"/>
              </a:rPr>
              <a:t>etc</a:t>
            </a:r>
            <a:r>
              <a:rPr lang="en-US" sz="12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1200" kern="1200" baseline="0" dirty="0">
                <a:solidFill>
                  <a:schemeClr val="tx1"/>
                </a:solidFill>
                <a:effectLst/>
                <a:latin typeface="Segoe UI Light" pitchFamily="34" charset="0"/>
                <a:ea typeface="+mn-ea"/>
                <a:cs typeface="+mn-cs"/>
              </a:rPr>
              <a:t> Warehous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1200" kern="1200" baseline="0" dirty="0">
                <a:solidFill>
                  <a:schemeClr val="tx1"/>
                </a:solidFill>
                <a:effectLst/>
                <a:latin typeface="Segoe UI Light" pitchFamily="34" charset="0"/>
                <a:ea typeface="+mn-ea"/>
                <a:cs typeface="+mn-cs"/>
              </a:rPr>
              <a:t> or with </a:t>
            </a:r>
            <a:r>
              <a:rPr lang="en-US" sz="12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1200" kern="1200" baseline="0" dirty="0">
                <a:solidFill>
                  <a:schemeClr val="tx1"/>
                </a:solidFill>
                <a:effectLst/>
                <a:latin typeface="Segoe UI Light" pitchFamily="34" charset="0"/>
                <a:ea typeface="+mn-ea"/>
                <a:cs typeface="+mn-cs"/>
              </a:rPr>
              <a:t> based applications.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 </a:t>
            </a:r>
            <a:endParaRPr lang="en-US" sz="1200" kern="1200" dirty="0">
              <a:solidFill>
                <a:schemeClr val="tx1"/>
              </a:solidFill>
              <a:effectLst/>
              <a:latin typeface="Segoe UI Light" pitchFamily="34" charset="0"/>
              <a:ea typeface="+mn-ea"/>
              <a:cs typeface="+mn-cs"/>
            </a:endParaRP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Transition&gt;: We’re going to dive into each one, starting with data.</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73170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678854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a:t>Added cow ico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4, Solution Specialist Sale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0860904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30 BYE WORDS</a:t>
            </a:r>
          </a:p>
          <a:p>
            <a:r>
              <a:rPr lang="en-US" b="1" dirty="0"/>
              <a:t>Speaker Notes: </a:t>
            </a:r>
          </a:p>
          <a:p>
            <a:endParaRPr lang="en-US" dirty="0"/>
          </a:p>
          <a:p>
            <a:r>
              <a:rPr lang="en-US" dirty="0"/>
              <a:t>Businesses</a:t>
            </a:r>
            <a:r>
              <a:rPr lang="en-US" baseline="0" dirty="0"/>
              <a:t> move at the speed of thought and the competitive edge is measured in seconds and minutes—not days or weeks. The first and second consideration for holistic defense for businesses is data protection and business continuity. For enterprises—regardless of industry—there exists a set of common objectives for thriving in the digital landscape. Organizations that want to succeed tend to focus on:</a:t>
            </a:r>
          </a:p>
          <a:p>
            <a:endParaRPr lang="en-US" baseline="0" dirty="0"/>
          </a:p>
          <a:p>
            <a:pPr marL="174708" indent="-174708">
              <a:buFont typeface="Arial" panose="020B0604020202020204" pitchFamily="34" charset="0"/>
              <a:buChar char="•"/>
            </a:pPr>
            <a:r>
              <a:rPr lang="en-US" b="1" baseline="0" dirty="0"/>
              <a:t>Limiting downtime</a:t>
            </a:r>
          </a:p>
          <a:p>
            <a:pPr marL="396098" lvl="1" indent="-174708">
              <a:buFont typeface="Arial" panose="020B0604020202020204" pitchFamily="34" charset="0"/>
              <a:buChar char="•"/>
            </a:pPr>
            <a:r>
              <a:rPr lang="en-US" baseline="0" dirty="0"/>
              <a:t> Line of business applications are the lifeblood of modern enterprise and just a minute of downtime is far too long. Companies that want to succeed do everything in their power to achieve “the nine’s” of availability and uptime. </a:t>
            </a:r>
          </a:p>
          <a:p>
            <a:pPr marL="174708" indent="-174708">
              <a:buFont typeface="Arial" panose="020B0604020202020204" pitchFamily="34" charset="0"/>
              <a:buChar char="•"/>
            </a:pPr>
            <a:r>
              <a:rPr lang="en-US" b="1" baseline="0" dirty="0"/>
              <a:t>Reducing costs</a:t>
            </a:r>
            <a:endParaRPr lang="en-US" b="0" baseline="0" dirty="0"/>
          </a:p>
          <a:p>
            <a:pPr marL="396098" lvl="1" indent="-174708">
              <a:buFont typeface="Arial" panose="020B0604020202020204" pitchFamily="34" charset="0"/>
              <a:buChar char="•"/>
            </a:pPr>
            <a:r>
              <a:rPr lang="en-US" b="0" baseline="0" dirty="0"/>
              <a:t>Selling and increasing revenue are only part of the equation. Enterprises always look for ways to reduce costs and unnecessary overhead.</a:t>
            </a:r>
          </a:p>
          <a:p>
            <a:pPr marL="174708" indent="-174708">
              <a:buFont typeface="Arial" panose="020B0604020202020204" pitchFamily="34" charset="0"/>
              <a:buChar char="•"/>
            </a:pPr>
            <a:r>
              <a:rPr lang="en-US" b="1" baseline="0" dirty="0"/>
              <a:t>Managing complexity</a:t>
            </a:r>
            <a:endParaRPr lang="en-US" b="0" baseline="0" dirty="0"/>
          </a:p>
          <a:p>
            <a:pPr marL="396098" lvl="1" indent="-174708">
              <a:buFont typeface="Arial" panose="020B0604020202020204" pitchFamily="34" charset="0"/>
              <a:buChar char="•"/>
            </a:pPr>
            <a:r>
              <a:rPr lang="en-US" b="0" baseline="0" dirty="0"/>
              <a:t>Navigating some modern IT environments can be like making your way through a labyrinth. Primary, secondary, and tertiary data centers, DR protocols, heterogeneous operating environments, colocation facilities, disparate toolsets, it’s a lot to keep track of. Enterprises often look for ways to untangle the knot of 21</a:t>
            </a:r>
            <a:r>
              <a:rPr lang="en-US" b="0" baseline="30000" dirty="0"/>
              <a:t>st</a:t>
            </a:r>
            <a:r>
              <a:rPr lang="en-US" b="0" baseline="0" dirty="0"/>
              <a:t> Century IT.</a:t>
            </a:r>
          </a:p>
          <a:p>
            <a:pPr marL="174708" indent="-174708">
              <a:buFont typeface="Arial" panose="020B0604020202020204" pitchFamily="34" charset="0"/>
              <a:buChar char="•"/>
            </a:pPr>
            <a:r>
              <a:rPr lang="en-US" b="1" baseline="0" dirty="0"/>
              <a:t>Ensuring compliance</a:t>
            </a:r>
          </a:p>
          <a:p>
            <a:pPr marL="396098" lvl="1" indent="-174708">
              <a:buFont typeface="Arial" panose="020B0604020202020204" pitchFamily="34" charset="0"/>
              <a:buChar char="•"/>
            </a:pPr>
            <a:r>
              <a:rPr lang="en-US" b="0" baseline="0" dirty="0"/>
              <a:t>With modernization and globalization of business—and the vast array of business models and industries--oversight is required. Businesses need to adhere to complex (and sometimes confusing) compliance mandates from many different regulatory bodies based on a number of factors—or risk costly litigation and negative effects to their brand and bottom line.</a:t>
            </a:r>
          </a:p>
          <a:p>
            <a:pPr marL="174708" indent="-174708">
              <a:buFont typeface="Arial" panose="020B0604020202020204" pitchFamily="34" charset="0"/>
              <a:buChar char="•"/>
            </a:pPr>
            <a:r>
              <a:rPr lang="en-US" b="1" baseline="0" dirty="0"/>
              <a:t>Scaling protection</a:t>
            </a:r>
          </a:p>
          <a:p>
            <a:pPr marL="396098" lvl="1" indent="-174708">
              <a:buFont typeface="Arial" panose="020B0604020202020204" pitchFamily="34" charset="0"/>
              <a:buChar char="•"/>
            </a:pPr>
            <a:r>
              <a:rPr lang="en-US" b="0" baseline="0" dirty="0"/>
              <a:t>It’s a given that enterprises need protection when the unthinkable happens. But more than that, they need holistic defense solutions that can continue to protect them as they grow. In short, they need scalable, complete protection from human and natural disaster. </a:t>
            </a:r>
            <a:endParaRPr lang="en-US" b="1" baseline="0" dirty="0"/>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3/2018 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98095259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8 2:03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172797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6.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1.emf"/><Relationship Id="rId4" Type="http://schemas.openxmlformats.org/officeDocument/2006/relationships/oleObject" Target="../embeddings/oleObject1.bin"/></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emf"/><Relationship Id="rId1" Type="http://schemas.openxmlformats.org/officeDocument/2006/relationships/slideMaster" Target="../slideMasters/slideMaster14.xml"/><Relationship Id="rId4" Type="http://schemas.openxmlformats.org/officeDocument/2006/relationships/image" Target="../media/image36.png"/></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10.emf"/><Relationship Id="rId5" Type="http://schemas.openxmlformats.org/officeDocument/2006/relationships/image" Target="../media/image8.emf"/><Relationship Id="rId4" Type="http://schemas.openxmlformats.org/officeDocument/2006/relationships/image" Target="../media/image19.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12434711" cy="6994525"/>
          </a:xfrm>
          <a:prstGeom prst="rect">
            <a:avLst/>
          </a:prstGeom>
        </p:spPr>
      </p:pic>
      <p:sp>
        <p:nvSpPr>
          <p:cNvPr id="4" name="Rectangle 3"/>
          <p:cNvSpPr/>
          <p:nvPr userDrawn="1"/>
        </p:nvSpPr>
        <p:spPr bwMode="auto">
          <a:xfrm>
            <a:off x="272986" y="2125677"/>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2986" y="3954457"/>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57518" y="479425"/>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78429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436475" cy="6994525"/>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4733176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95813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6403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19513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444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867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808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2793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39806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27750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5541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109545"/>
            <a:r>
              <a:rPr lang="en-US">
                <a:solidFill>
                  <a:srgbClr val="505050"/>
                </a:solidFill>
              </a:rPr>
              <a:t>Data as of December 16, 2016</a:t>
            </a:r>
          </a:p>
        </p:txBody>
      </p:sp>
    </p:spTree>
    <p:extLst>
      <p:ext uri="{BB962C8B-B14F-4D97-AF65-F5344CB8AC3E}">
        <p14:creationId xmlns:p14="http://schemas.microsoft.com/office/powerpoint/2010/main" val="220032293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Data as of December 16, 2016</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748814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2184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308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7540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01237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2687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7250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3240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8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9468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0022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414301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25512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3562805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05826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7938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22737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785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045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101996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61539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3308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041188" y="1942799"/>
            <a:ext cx="5237730" cy="4569444"/>
          </a:xfrm>
          <a:prstGeom prst="rect">
            <a:avLst/>
          </a:prstGeom>
        </p:spPr>
      </p:pic>
      <p:grpSp>
        <p:nvGrpSpPr>
          <p:cNvPr id="10" name="Group 9"/>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119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a:t>Speaker Name</a:t>
            </a:r>
          </a:p>
        </p:txBody>
      </p:sp>
      <p:pic>
        <p:nvPicPr>
          <p:cNvPr id="10" name="Picture 9"/>
          <p:cNvPicPr>
            <a:picLocks noChangeAspect="1"/>
          </p:cNvPicPr>
          <p:nvPr userDrawn="1"/>
        </p:nvPicPr>
        <p:blipFill>
          <a:blip r:embed="rId2"/>
          <a:stretch>
            <a:fillRect/>
          </a:stretch>
        </p:blipFill>
        <p:spPr>
          <a:xfrm>
            <a:off x="7139240" y="1942799"/>
            <a:ext cx="5117100" cy="4572000"/>
          </a:xfrm>
          <a:prstGeom prst="rect">
            <a:avLst/>
          </a:prstGeom>
        </p:spPr>
      </p:pic>
      <p:grpSp>
        <p:nvGrpSpPr>
          <p:cNvPr id="11" name="Group 10"/>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61190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141493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576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3445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27570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37676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380546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93042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609093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4444239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2167060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55147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6792571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184985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50152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65177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23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1104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40532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91057302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2666808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t>12/3/2018</a:t>
            </a:fld>
            <a:endParaRPr lang="en-US"/>
          </a:p>
        </p:txBody>
      </p:sp>
      <p:sp>
        <p:nvSpPr>
          <p:cNvPr id="5" name="Slide Number Placeholder 4"/>
          <p:cNvSpPr>
            <a:spLocks noGrp="1"/>
          </p:cNvSpPr>
          <p:nvPr>
            <p:ph type="sldNum" sz="quarter" idx="12"/>
          </p:nvPr>
        </p:nvSpPr>
        <p:spPr>
          <a:xfrm>
            <a:off x="9028104" y="6482889"/>
            <a:ext cx="2798207" cy="372394"/>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10404" y="1165754"/>
            <a:ext cx="11398029" cy="2689967"/>
          </a:xfrm>
        </p:spPr>
        <p:txBody>
          <a:bodyPr/>
          <a:lstStyle>
            <a:lvl1pPr>
              <a:lnSpc>
                <a:spcPct val="114000"/>
              </a:lnSpc>
              <a:spcAft>
                <a:spcPts val="306"/>
              </a:spcAft>
              <a:defRPr/>
            </a:lvl1pPr>
            <a:lvl2pPr>
              <a:lnSpc>
                <a:spcPct val="114000"/>
              </a:lnSpc>
              <a:spcAft>
                <a:spcPts val="306"/>
              </a:spcAft>
              <a:buSzPct val="90000"/>
              <a:defRPr/>
            </a:lvl2pPr>
            <a:lvl3pPr>
              <a:lnSpc>
                <a:spcPct val="114000"/>
              </a:lnSpc>
              <a:spcAft>
                <a:spcPts val="306"/>
              </a:spcAft>
              <a:defRPr/>
            </a:lvl3pPr>
            <a:lvl4pPr>
              <a:lnSpc>
                <a:spcPct val="114000"/>
              </a:lnSpc>
              <a:spcAft>
                <a:spcPts val="306"/>
              </a:spcAft>
              <a:defRPr/>
            </a:lvl4pPr>
            <a:lvl5pPr>
              <a:lnSpc>
                <a:spcPct val="114000"/>
              </a:lnSpc>
              <a:spcAft>
                <a:spcPts val="30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2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4497277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80685614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190799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587388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a:t>Speaker Name</a:t>
            </a:r>
          </a:p>
        </p:txBody>
      </p:sp>
      <p:pic>
        <p:nvPicPr>
          <p:cNvPr id="13" name="Picture 12"/>
          <p:cNvPicPr>
            <a:picLocks noChangeAspect="1"/>
          </p:cNvPicPr>
          <p:nvPr userDrawn="1"/>
        </p:nvPicPr>
        <p:blipFill>
          <a:blip r:embed="rId2"/>
          <a:stretch>
            <a:fillRect/>
          </a:stretch>
        </p:blipFill>
        <p:spPr>
          <a:xfrm>
            <a:off x="7041188" y="1942799"/>
            <a:ext cx="5237730" cy="4569444"/>
          </a:xfrm>
          <a:prstGeom prst="rect">
            <a:avLst/>
          </a:prstGeom>
        </p:spPr>
      </p:pic>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5965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Option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57200" y="6154121"/>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userDrawn="1"/>
        </p:nvPicPr>
        <p:blipFill>
          <a:blip r:embed="rId3"/>
          <a:stretch>
            <a:fillRect/>
          </a:stretch>
        </p:blipFill>
        <p:spPr>
          <a:xfrm>
            <a:off x="7139240" y="1942799"/>
            <a:ext cx="5117100" cy="4572000"/>
          </a:xfrm>
          <a:prstGeom prst="rect">
            <a:avLst/>
          </a:prstGeom>
        </p:spPr>
      </p:pic>
    </p:spTree>
    <p:extLst>
      <p:ext uri="{BB962C8B-B14F-4D97-AF65-F5344CB8AC3E}">
        <p14:creationId xmlns:p14="http://schemas.microsoft.com/office/powerpoint/2010/main" val="691069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4" name="Rectangle 3"/>
          <p:cNvSpPr/>
          <p:nvPr userDrawn="1"/>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userDrawn="1"/>
        </p:nvPicPr>
        <p:blipFill>
          <a:blip r:embed="rId3"/>
          <a:stretch>
            <a:fillRect/>
          </a:stretch>
        </p:blipFill>
        <p:spPr>
          <a:xfrm>
            <a:off x="8118861" y="2282575"/>
            <a:ext cx="4003902" cy="3474720"/>
          </a:xfrm>
          <a:prstGeom prst="rect">
            <a:avLst/>
          </a:prstGeom>
        </p:spPr>
      </p:pic>
    </p:spTree>
    <p:extLst>
      <p:ext uri="{BB962C8B-B14F-4D97-AF65-F5344CB8AC3E}">
        <p14:creationId xmlns:p14="http://schemas.microsoft.com/office/powerpoint/2010/main" val="2526103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Option 4">
    <p:spTree>
      <p:nvGrpSpPr>
        <p:cNvPr id="1" name=""/>
        <p:cNvGrpSpPr/>
        <p:nvPr/>
      </p:nvGrpSpPr>
      <p:grpSpPr>
        <a:xfrm>
          <a:off x="0" y="0"/>
          <a:ext cx="0" cy="0"/>
          <a:chOff x="0" y="0"/>
          <a:chExt cx="0" cy="0"/>
        </a:xfrm>
      </p:grpSpPr>
      <p:sp>
        <p:nvSpPr>
          <p:cNvPr id="4" name="Rectangle 3"/>
          <p:cNvSpPr/>
          <p:nvPr userDrawn="1"/>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userDrawn="1"/>
        </p:nvPicPr>
        <p:blipFill>
          <a:blip r:embed="rId3"/>
          <a:stretch>
            <a:fillRect/>
          </a:stretch>
        </p:blipFill>
        <p:spPr>
          <a:xfrm>
            <a:off x="8142676" y="2235625"/>
            <a:ext cx="3954586" cy="3533323"/>
          </a:xfrm>
          <a:prstGeom prst="rect">
            <a:avLst/>
          </a:prstGeom>
        </p:spPr>
      </p:pic>
    </p:spTree>
    <p:extLst>
      <p:ext uri="{BB962C8B-B14F-4D97-AF65-F5344CB8AC3E}">
        <p14:creationId xmlns:p14="http://schemas.microsoft.com/office/powerpoint/2010/main" val="1121785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977098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23368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300090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494730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83874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36656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999110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64799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265251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98376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21378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33317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31005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2794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474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67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971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356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2841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09718366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40626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11_Title Only white background">
    <p:spTree>
      <p:nvGrpSpPr>
        <p:cNvPr id="1" name=""/>
        <p:cNvGrpSpPr/>
        <p:nvPr/>
      </p:nvGrpSpPr>
      <p:grpSpPr>
        <a:xfrm>
          <a:off x="0" y="0"/>
          <a:ext cx="0" cy="0"/>
          <a:chOff x="0" y="0"/>
          <a:chExt cx="0" cy="0"/>
        </a:xfrm>
      </p:grpSpPr>
      <p:sp>
        <p:nvSpPr>
          <p:cNvPr id="179" name="Rectangle 178"/>
          <p:cNvSpPr/>
          <p:nvPr userDrawn="1"/>
        </p:nvSpPr>
        <p:spPr bwMode="auto">
          <a:xfrm>
            <a:off x="-1" y="6461711"/>
            <a:ext cx="12436475"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303795" y="6094106"/>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338575" y="6351176"/>
            <a:ext cx="1824626" cy="773723"/>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86558" y="3919738"/>
            <a:ext cx="182438" cy="555555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686283" y="6822755"/>
            <a:ext cx="3820134" cy="16351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49681" y="5845557"/>
            <a:ext cx="7843864" cy="757825"/>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224377" y="6437658"/>
            <a:ext cx="709317" cy="266055"/>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536785" y="6745184"/>
            <a:ext cx="325590" cy="26605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89231" y="6735384"/>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431636" y="6597569"/>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6886" y="6994525"/>
            <a:ext cx="12870248"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91886" y="6209243"/>
            <a:ext cx="391886"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511704"/>
            <a:ext cx="12436475" cy="95735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469063"/>
            <a:ext cx="12436475" cy="525462"/>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71510" y="6626059"/>
            <a:ext cx="936609" cy="206372"/>
          </a:xfrm>
          <a:prstGeom prst="rect">
            <a:avLst/>
          </a:prstGeom>
        </p:spPr>
      </p:pic>
    </p:spTree>
    <p:extLst>
      <p:ext uri="{BB962C8B-B14F-4D97-AF65-F5344CB8AC3E}">
        <p14:creationId xmlns:p14="http://schemas.microsoft.com/office/powerpoint/2010/main" val="20714922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8758506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09216362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175605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4366960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301981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65384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5433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2661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03998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0152712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72947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62850120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97746465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18" y="479425"/>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55692197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93279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842261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1984839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68492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43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936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36027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59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6135301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Datacenter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7D95924-BB51-48E0-8B15-958CB38E3AA7}"/>
              </a:ext>
            </a:extLst>
          </p:cNvPr>
          <p:cNvSpPr/>
          <p:nvPr userDrawn="1"/>
        </p:nvSpPr>
        <p:spPr bwMode="auto">
          <a:xfrm rot="5400000" flipV="1">
            <a:off x="2714520" y="-2727430"/>
            <a:ext cx="6994525" cy="12449385"/>
          </a:xfrm>
          <a:prstGeom prst="rect">
            <a:avLst/>
          </a:prstGeom>
          <a:gradFill>
            <a:gsLst>
              <a:gs pos="0">
                <a:srgbClr val="000000">
                  <a:alpha val="20000"/>
                </a:srgbClr>
              </a:gs>
              <a:gs pos="26000">
                <a:srgbClr val="000000">
                  <a:alpha val="25000"/>
                </a:srgbClr>
              </a:gs>
              <a:gs pos="62000">
                <a:srgbClr val="000000">
                  <a:alpha val="0"/>
                </a:srgbClr>
              </a:gs>
            </a:gsLst>
            <a:lin ang="15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gray">
          <a:xfrm>
            <a:off x="6538477" y="1436209"/>
            <a:ext cx="5447176" cy="3030961"/>
          </a:xfrm>
          <a:prstGeom prst="rect">
            <a:avLst/>
          </a:prstGeom>
          <a:solidFill>
            <a:srgbClr val="D83B01">
              <a:alpha val="9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grpSp>
        <p:nvGrpSpPr>
          <p:cNvPr id="9" name="Group 8">
            <a:extLst>
              <a:ext uri="{FF2B5EF4-FFF2-40B4-BE49-F238E27FC236}">
                <a16:creationId xmlns:a16="http://schemas.microsoft.com/office/drawing/2014/main" id="{8C3ACC32-7BED-4834-B064-37026A6EF299}"/>
              </a:ext>
            </a:extLst>
          </p:cNvPr>
          <p:cNvGrpSpPr/>
          <p:nvPr userDrawn="1"/>
        </p:nvGrpSpPr>
        <p:grpSpPr>
          <a:xfrm>
            <a:off x="9870766" y="444080"/>
            <a:ext cx="2127249" cy="455612"/>
            <a:chOff x="9759951" y="481013"/>
            <a:chExt cx="2127249" cy="455612"/>
          </a:xfrm>
        </p:grpSpPr>
        <p:sp>
          <p:nvSpPr>
            <p:cNvPr id="10" name="AutoShape 3">
              <a:extLst>
                <a:ext uri="{FF2B5EF4-FFF2-40B4-BE49-F238E27FC236}">
                  <a16:creationId xmlns:a16="http://schemas.microsoft.com/office/drawing/2014/main" id="{D4B2A583-878B-4F92-9B57-5F9FA4239269}"/>
                </a:ext>
              </a:extLst>
            </p:cNvPr>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11" name="Group 10">
              <a:extLst>
                <a:ext uri="{FF2B5EF4-FFF2-40B4-BE49-F238E27FC236}">
                  <a16:creationId xmlns:a16="http://schemas.microsoft.com/office/drawing/2014/main" id="{B3272615-FA4F-4D55-9015-AABF2A253EF9}"/>
                </a:ext>
              </a:extLst>
            </p:cNvPr>
            <p:cNvGrpSpPr/>
            <p:nvPr userDrawn="1"/>
          </p:nvGrpSpPr>
          <p:grpSpPr>
            <a:xfrm>
              <a:off x="10352088" y="552450"/>
              <a:ext cx="1535112" cy="296862"/>
              <a:chOff x="10352088" y="552450"/>
              <a:chExt cx="1535112" cy="296862"/>
            </a:xfrm>
            <a:solidFill>
              <a:schemeClr val="bg1"/>
            </a:solidFill>
          </p:grpSpPr>
          <p:sp>
            <p:nvSpPr>
              <p:cNvPr id="17" name="Freeform 5">
                <a:extLst>
                  <a:ext uri="{FF2B5EF4-FFF2-40B4-BE49-F238E27FC236}">
                    <a16:creationId xmlns:a16="http://schemas.microsoft.com/office/drawing/2014/main" id="{328548BB-D520-4ABE-AC39-23E083C099D7}"/>
                  </a:ext>
                </a:extLst>
              </p:cNvPr>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Rectangle 6">
                <a:extLst>
                  <a:ext uri="{FF2B5EF4-FFF2-40B4-BE49-F238E27FC236}">
                    <a16:creationId xmlns:a16="http://schemas.microsoft.com/office/drawing/2014/main" id="{4734BDD9-E6B0-4CCB-A341-8FFF579091E3}"/>
                  </a:ext>
                </a:extLst>
              </p:cNvPr>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7">
                <a:extLst>
                  <a:ext uri="{FF2B5EF4-FFF2-40B4-BE49-F238E27FC236}">
                    <a16:creationId xmlns:a16="http://schemas.microsoft.com/office/drawing/2014/main" id="{9E9DE016-4E24-4539-97C8-8956B9E45D04}"/>
                  </a:ext>
                </a:extLst>
              </p:cNvPr>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8">
                <a:extLst>
                  <a:ext uri="{FF2B5EF4-FFF2-40B4-BE49-F238E27FC236}">
                    <a16:creationId xmlns:a16="http://schemas.microsoft.com/office/drawing/2014/main" id="{F9BD1085-4E64-4BC8-BC67-FF75E4321D33}"/>
                  </a:ext>
                </a:extLst>
              </p:cNvPr>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9">
                <a:extLst>
                  <a:ext uri="{FF2B5EF4-FFF2-40B4-BE49-F238E27FC236}">
                    <a16:creationId xmlns:a16="http://schemas.microsoft.com/office/drawing/2014/main" id="{6BE19BE2-1E7A-4F04-B006-C8525E180134}"/>
                  </a:ext>
                </a:extLst>
              </p:cNvPr>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0">
                <a:extLst>
                  <a:ext uri="{FF2B5EF4-FFF2-40B4-BE49-F238E27FC236}">
                    <a16:creationId xmlns:a16="http://schemas.microsoft.com/office/drawing/2014/main" id="{1617790B-8291-4BBC-B75C-15426B7A8CFC}"/>
                  </a:ext>
                </a:extLst>
              </p:cNvPr>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3" name="Freeform 11">
                <a:extLst>
                  <a:ext uri="{FF2B5EF4-FFF2-40B4-BE49-F238E27FC236}">
                    <a16:creationId xmlns:a16="http://schemas.microsoft.com/office/drawing/2014/main" id="{B36129A8-3DF3-43A9-AB8F-507299929FE4}"/>
                  </a:ext>
                </a:extLst>
              </p:cNvPr>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4" name="Freeform 12">
                <a:extLst>
                  <a:ext uri="{FF2B5EF4-FFF2-40B4-BE49-F238E27FC236}">
                    <a16:creationId xmlns:a16="http://schemas.microsoft.com/office/drawing/2014/main" id="{28AE4D27-F2CD-497F-82FB-7D801A9C5FFD}"/>
                  </a:ext>
                </a:extLst>
              </p:cNvPr>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5" name="Freeform 13">
                <a:extLst>
                  <a:ext uri="{FF2B5EF4-FFF2-40B4-BE49-F238E27FC236}">
                    <a16:creationId xmlns:a16="http://schemas.microsoft.com/office/drawing/2014/main" id="{0A2586C7-E063-4E27-895B-1E247031FB3D}"/>
                  </a:ext>
                </a:extLst>
              </p:cNvPr>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2" name="Rectangle 14">
              <a:extLst>
                <a:ext uri="{FF2B5EF4-FFF2-40B4-BE49-F238E27FC236}">
                  <a16:creationId xmlns:a16="http://schemas.microsoft.com/office/drawing/2014/main" id="{FD684FE3-0BFD-4855-91CF-CADBC2EFC14E}"/>
                </a:ext>
              </a:extLst>
            </p:cNvPr>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Rectangle 15">
              <a:extLst>
                <a:ext uri="{FF2B5EF4-FFF2-40B4-BE49-F238E27FC236}">
                  <a16:creationId xmlns:a16="http://schemas.microsoft.com/office/drawing/2014/main" id="{0118DB7E-15ED-46D0-92D4-8A1282E26584}"/>
                </a:ext>
              </a:extLst>
            </p:cNvPr>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16">
              <a:extLst>
                <a:ext uri="{FF2B5EF4-FFF2-40B4-BE49-F238E27FC236}">
                  <a16:creationId xmlns:a16="http://schemas.microsoft.com/office/drawing/2014/main" id="{1A0A91C4-0363-4688-AB8A-B5E1550480B2}"/>
                </a:ext>
              </a:extLst>
            </p:cNvPr>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Rectangle 17">
              <a:extLst>
                <a:ext uri="{FF2B5EF4-FFF2-40B4-BE49-F238E27FC236}">
                  <a16:creationId xmlns:a16="http://schemas.microsoft.com/office/drawing/2014/main" id="{0153EC32-D008-4CDC-BF56-07A820E4C503}"/>
                </a:ext>
              </a:extLst>
            </p:cNvPr>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Tree>
    <p:extLst>
      <p:ext uri="{BB962C8B-B14F-4D97-AF65-F5344CB8AC3E}">
        <p14:creationId xmlns:p14="http://schemas.microsoft.com/office/powerpoint/2010/main" val="299912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952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4"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103390914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a:t>
            </a:r>
          </a:p>
        </p:txBody>
      </p:sp>
    </p:spTree>
    <p:extLst>
      <p:ext uri="{BB962C8B-B14F-4D97-AF65-F5344CB8AC3E}">
        <p14:creationId xmlns:p14="http://schemas.microsoft.com/office/powerpoint/2010/main" val="40203708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97248993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3" name="Picture Placeholder 2"/>
          <p:cNvSpPr>
            <a:spLocks noGrp="1"/>
          </p:cNvSpPr>
          <p:nvPr>
            <p:ph type="pic" sz="quarter" idx="11" hasCustomPrompt="1"/>
          </p:nvPr>
        </p:nvSpPr>
        <p:spPr>
          <a:xfrm>
            <a:off x="1964752" y="2291376"/>
            <a:ext cx="1408819" cy="1408620"/>
          </a:xfrm>
        </p:spPr>
        <p:txBody>
          <a:bodyPr/>
          <a:lstStyle>
            <a:lvl1pPr marL="0" indent="0">
              <a:buNone/>
              <a:defRPr/>
            </a:lvl1pPr>
          </a:lstStyle>
          <a:p>
            <a:r>
              <a:rPr lang="en-US"/>
              <a:t>icon</a:t>
            </a:r>
          </a:p>
        </p:txBody>
      </p:sp>
      <p:cxnSp>
        <p:nvCxnSpPr>
          <p:cNvPr id="5" name="Straight Connector 4"/>
          <p:cNvCxnSpPr/>
          <p:nvPr userDrawn="1"/>
        </p:nvCxnSpPr>
        <p:spPr>
          <a:xfrm>
            <a:off x="1200426"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200427" y="4187000"/>
            <a:ext cx="2937469" cy="2300746"/>
          </a:xfrm>
        </p:spPr>
        <p:txBody>
          <a:bodyPr/>
          <a:lstStyle>
            <a:lvl1pPr marL="0" indent="0">
              <a:buNone/>
              <a:defRPr/>
            </a:lvl1pPr>
          </a:lstStyle>
          <a:p>
            <a:pPr lvl="0"/>
            <a:r>
              <a:rPr lang="en-US"/>
              <a:t>Click to edit Master text styles</a:t>
            </a:r>
          </a:p>
        </p:txBody>
      </p:sp>
      <p:sp>
        <p:nvSpPr>
          <p:cNvPr id="11" name="Picture Placeholder 2"/>
          <p:cNvSpPr>
            <a:spLocks noGrp="1"/>
          </p:cNvSpPr>
          <p:nvPr>
            <p:ph type="pic" sz="quarter" idx="13" hasCustomPrompt="1"/>
          </p:nvPr>
        </p:nvSpPr>
        <p:spPr>
          <a:xfrm>
            <a:off x="5568180" y="2291376"/>
            <a:ext cx="1408819" cy="1408620"/>
          </a:xfrm>
        </p:spPr>
        <p:txBody>
          <a:bodyPr/>
          <a:lstStyle>
            <a:lvl1pPr marL="0" indent="0">
              <a:buNone/>
              <a:defRPr/>
            </a:lvl1pPr>
          </a:lstStyle>
          <a:p>
            <a:r>
              <a:rPr lang="en-US"/>
              <a:t>icon</a:t>
            </a:r>
          </a:p>
        </p:txBody>
      </p:sp>
      <p:cxnSp>
        <p:nvCxnSpPr>
          <p:cNvPr id="12" name="Straight Connector 11"/>
          <p:cNvCxnSpPr/>
          <p:nvPr userDrawn="1"/>
        </p:nvCxnSpPr>
        <p:spPr>
          <a:xfrm>
            <a:off x="4804027"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803855" y="4187000"/>
            <a:ext cx="2937469" cy="2300746"/>
          </a:xfrm>
        </p:spPr>
        <p:txBody>
          <a:bodyPr/>
          <a:lstStyle>
            <a:lvl1pPr marL="0" indent="0">
              <a:buNone/>
              <a:defRPr/>
            </a:lvl1pPr>
          </a:lstStyle>
          <a:p>
            <a:pPr lvl="0"/>
            <a:r>
              <a:rPr lang="en-US"/>
              <a:t>Click to edit Master text styles</a:t>
            </a:r>
          </a:p>
        </p:txBody>
      </p:sp>
      <p:sp>
        <p:nvSpPr>
          <p:cNvPr id="14" name="Picture Placeholder 2"/>
          <p:cNvSpPr>
            <a:spLocks noGrp="1"/>
          </p:cNvSpPr>
          <p:nvPr>
            <p:ph type="pic" sz="quarter" idx="15" hasCustomPrompt="1"/>
          </p:nvPr>
        </p:nvSpPr>
        <p:spPr>
          <a:xfrm>
            <a:off x="9171609" y="2291376"/>
            <a:ext cx="1408819" cy="1408620"/>
          </a:xfrm>
        </p:spPr>
        <p:txBody>
          <a:bodyPr/>
          <a:lstStyle>
            <a:lvl1pPr marL="0" indent="0">
              <a:buNone/>
              <a:defRPr/>
            </a:lvl1pPr>
          </a:lstStyle>
          <a:p>
            <a:r>
              <a:rPr lang="en-US"/>
              <a:t>icon</a:t>
            </a:r>
          </a:p>
        </p:txBody>
      </p:sp>
      <p:cxnSp>
        <p:nvCxnSpPr>
          <p:cNvPr id="15" name="Straight Connector 14"/>
          <p:cNvCxnSpPr/>
          <p:nvPr userDrawn="1"/>
        </p:nvCxnSpPr>
        <p:spPr>
          <a:xfrm>
            <a:off x="8407629"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407284" y="4187000"/>
            <a:ext cx="2937469" cy="2300746"/>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01283227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67759"/>
            <a:ext cx="12436475" cy="1688792"/>
          </a:xfrm>
        </p:spPr>
        <p:txBody>
          <a:bodyPr lIns="393192" rIns="182880" bIns="91440">
            <a:normAutofit/>
          </a:bodyPr>
          <a:lstStyle>
            <a:lvl1pPr marL="0" indent="0">
              <a:buNone/>
              <a:defRPr sz="2040">
                <a:solidFill>
                  <a:schemeClr val="tx1"/>
                </a:solidFill>
                <a:latin typeface="+mj-lt"/>
              </a:defRPr>
            </a:lvl1pPr>
            <a:lvl2pPr marL="466298" indent="0">
              <a:buNone/>
              <a:defRPr/>
            </a:lvl2pPr>
          </a:lstStyle>
          <a:p>
            <a:pPr lvl="0"/>
            <a:r>
              <a:rPr lang="en-US"/>
              <a:t>Body text</a:t>
            </a:r>
          </a:p>
        </p:txBody>
      </p:sp>
      <p:sp>
        <p:nvSpPr>
          <p:cNvPr id="4" name="Table Placeholder 3"/>
          <p:cNvSpPr>
            <a:spLocks noGrp="1"/>
          </p:cNvSpPr>
          <p:nvPr>
            <p:ph type="tbl" sz="quarter" idx="12"/>
          </p:nvPr>
        </p:nvSpPr>
        <p:spPr>
          <a:xfrm>
            <a:off x="426676" y="2956483"/>
            <a:ext cx="11559970" cy="4038043"/>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19499436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52681190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0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10" name="Text Placeholder 9"/>
          <p:cNvSpPr>
            <a:spLocks noGrp="1"/>
          </p:cNvSpPr>
          <p:nvPr>
            <p:ph type="body" sz="quarter" idx="12" hasCustomPrompt="1"/>
          </p:nvPr>
        </p:nvSpPr>
        <p:spPr>
          <a:xfrm>
            <a:off x="0" y="1257443"/>
            <a:ext cx="12436475" cy="5737082"/>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64608191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11139006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Copyright</a:t>
            </a:r>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92228476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356044145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1650816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73362474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8323893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97611827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361851026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3"/>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01257325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4"/>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33113798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758057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1"/>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97209294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tx1">
              <a:lumMod val="75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5517365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67151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671520"/>
            <a:ext cx="4169782" cy="432300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53140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3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00868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892109"/>
            <a:ext cx="4169782" cy="5102416"/>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04536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2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853529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599509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12644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27164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20401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18676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81123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165806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260428885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
        <p:nvSpPr>
          <p:cNvPr id="14" name="Text Placeholder 5"/>
          <p:cNvSpPr>
            <a:spLocks noGrp="1"/>
          </p:cNvSpPr>
          <p:nvPr>
            <p:ph type="body" sz="quarter" idx="13"/>
          </p:nvPr>
        </p:nvSpPr>
        <p:spPr>
          <a:xfrm>
            <a:off x="4182737" y="4434826"/>
            <a:ext cx="406295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15" name="Text Placeholder 5"/>
          <p:cNvSpPr>
            <a:spLocks noGrp="1"/>
          </p:cNvSpPr>
          <p:nvPr>
            <p:ph type="body" sz="quarter" idx="16"/>
          </p:nvPr>
        </p:nvSpPr>
        <p:spPr>
          <a:xfrm>
            <a:off x="8269914" y="4434826"/>
            <a:ext cx="4065284"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9" name="Rectangle 8"/>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6"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1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Tree>
    <p:extLst>
      <p:ext uri="{BB962C8B-B14F-4D97-AF65-F5344CB8AC3E}">
        <p14:creationId xmlns:p14="http://schemas.microsoft.com/office/powerpoint/2010/main" val="229323990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7" name="Text Placeholder 7"/>
          <p:cNvSpPr>
            <a:spLocks noGrp="1"/>
          </p:cNvSpPr>
          <p:nvPr>
            <p:ph type="body" sz="quarter" idx="11" hasCustomPrompt="1"/>
          </p:nvPr>
        </p:nvSpPr>
        <p:spPr>
          <a:xfrm>
            <a:off x="1" y="2581882"/>
            <a:ext cx="4183177" cy="1833101"/>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3" name="Text Placeholder 2"/>
          <p:cNvSpPr>
            <a:spLocks noGrp="1"/>
          </p:cNvSpPr>
          <p:nvPr>
            <p:ph type="body" sz="quarter" idx="12" hasCustomPrompt="1"/>
          </p:nvPr>
        </p:nvSpPr>
        <p:spPr>
          <a:xfrm>
            <a:off x="1" y="4414984"/>
            <a:ext cx="4169782" cy="2579541"/>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322406456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4434827"/>
            <a:ext cx="825373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4"/>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122474911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Picture Placeholder 6"/>
          <p:cNvSpPr>
            <a:spLocks noGrp="1"/>
          </p:cNvSpPr>
          <p:nvPr>
            <p:ph type="pic" sz="quarter" idx="13" hasCustomPrompt="1"/>
          </p:nvPr>
        </p:nvSpPr>
        <p:spPr>
          <a:xfrm>
            <a:off x="5307966" y="476912"/>
            <a:ext cx="1399103" cy="1398905"/>
          </a:xfrm>
        </p:spPr>
        <p:txBody>
          <a:bodyPr>
            <a:normAutofit/>
          </a:bodyPr>
          <a:lstStyle>
            <a:lvl1pPr marL="0" indent="0">
              <a:buNone/>
              <a:defRPr sz="1632"/>
            </a:lvl1pPr>
          </a:lstStyle>
          <a:p>
            <a:r>
              <a:rPr lang="en-US"/>
              <a:t>icon</a:t>
            </a:r>
          </a:p>
        </p:txBody>
      </p:sp>
      <p:sp>
        <p:nvSpPr>
          <p:cNvPr id="10" name="Text Placeholder 9"/>
          <p:cNvSpPr>
            <a:spLocks noGrp="1"/>
          </p:cNvSpPr>
          <p:nvPr>
            <p:ph type="body" sz="quarter" idx="14" hasCustomPrompt="1"/>
          </p:nvPr>
        </p:nvSpPr>
        <p:spPr>
          <a:xfrm>
            <a:off x="7154004" y="688256"/>
            <a:ext cx="4872331" cy="976217"/>
          </a:xfrm>
        </p:spPr>
        <p:txBody>
          <a:bodyPr/>
          <a:lstStyle>
            <a:lvl1pPr marL="0" indent="0">
              <a:spcAft>
                <a:spcPts val="0"/>
              </a:spcAft>
              <a:buNone/>
              <a:defRPr>
                <a:solidFill>
                  <a:schemeClr val="tx2"/>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7" name="Picture Placeholder 6"/>
          <p:cNvSpPr>
            <a:spLocks noGrp="1"/>
          </p:cNvSpPr>
          <p:nvPr>
            <p:ph type="pic" sz="quarter" idx="15" hasCustomPrompt="1"/>
          </p:nvPr>
        </p:nvSpPr>
        <p:spPr>
          <a:xfrm>
            <a:off x="5307966" y="2051094"/>
            <a:ext cx="1399103" cy="1398905"/>
          </a:xfrm>
        </p:spPr>
        <p:txBody>
          <a:bodyPr>
            <a:normAutofit/>
          </a:bodyPr>
          <a:lstStyle>
            <a:lvl1pPr marL="0" indent="0">
              <a:buNone/>
              <a:defRPr sz="1632"/>
            </a:lvl1pPr>
          </a:lstStyle>
          <a:p>
            <a:r>
              <a:rPr lang="en-US"/>
              <a:t>icon</a:t>
            </a:r>
          </a:p>
        </p:txBody>
      </p:sp>
      <p:sp>
        <p:nvSpPr>
          <p:cNvPr id="18" name="Text Placeholder 9"/>
          <p:cNvSpPr>
            <a:spLocks noGrp="1"/>
          </p:cNvSpPr>
          <p:nvPr>
            <p:ph type="body" sz="quarter" idx="16" hasCustomPrompt="1"/>
          </p:nvPr>
        </p:nvSpPr>
        <p:spPr>
          <a:xfrm>
            <a:off x="7154004" y="2262438"/>
            <a:ext cx="4872331" cy="976217"/>
          </a:xfrm>
        </p:spPr>
        <p:txBody>
          <a:bodyPr/>
          <a:lstStyle>
            <a:lvl1pPr marL="0" indent="0">
              <a:spcAft>
                <a:spcPts val="0"/>
              </a:spcAft>
              <a:buNone/>
              <a:defRPr>
                <a:solidFill>
                  <a:schemeClr val="accent6">
                    <a:lumMod val="50000"/>
                  </a:schemeClr>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9" name="Picture Placeholder 6"/>
          <p:cNvSpPr>
            <a:spLocks noGrp="1"/>
          </p:cNvSpPr>
          <p:nvPr>
            <p:ph type="pic" sz="quarter" idx="17" hasCustomPrompt="1"/>
          </p:nvPr>
        </p:nvSpPr>
        <p:spPr>
          <a:xfrm>
            <a:off x="5307966" y="3625276"/>
            <a:ext cx="1399103" cy="1398905"/>
          </a:xfrm>
        </p:spPr>
        <p:txBody>
          <a:bodyPr>
            <a:normAutofit/>
          </a:bodyPr>
          <a:lstStyle>
            <a:lvl1pPr marL="0" indent="0">
              <a:buNone/>
              <a:defRPr sz="1632"/>
            </a:lvl1pPr>
          </a:lstStyle>
          <a:p>
            <a:r>
              <a:rPr lang="en-US"/>
              <a:t>icon</a:t>
            </a:r>
          </a:p>
        </p:txBody>
      </p:sp>
      <p:sp>
        <p:nvSpPr>
          <p:cNvPr id="20" name="Text Placeholder 9"/>
          <p:cNvSpPr>
            <a:spLocks noGrp="1"/>
          </p:cNvSpPr>
          <p:nvPr>
            <p:ph type="body" sz="quarter" idx="18" hasCustomPrompt="1"/>
          </p:nvPr>
        </p:nvSpPr>
        <p:spPr>
          <a:xfrm>
            <a:off x="7154004" y="3836620"/>
            <a:ext cx="4872331" cy="976217"/>
          </a:xfrm>
        </p:spPr>
        <p:txBody>
          <a:bodyPr/>
          <a:lstStyle>
            <a:lvl1pPr marL="0" indent="0">
              <a:spcAft>
                <a:spcPts val="0"/>
              </a:spcAft>
              <a:buNone/>
              <a:defRPr>
                <a:solidFill>
                  <a:schemeClr val="accent5"/>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21" name="Picture Placeholder 6"/>
          <p:cNvSpPr>
            <a:spLocks noGrp="1"/>
          </p:cNvSpPr>
          <p:nvPr>
            <p:ph type="pic" sz="quarter" idx="19" hasCustomPrompt="1"/>
          </p:nvPr>
        </p:nvSpPr>
        <p:spPr>
          <a:xfrm>
            <a:off x="5307966" y="5199458"/>
            <a:ext cx="1399103" cy="1398905"/>
          </a:xfrm>
        </p:spPr>
        <p:txBody>
          <a:bodyPr>
            <a:normAutofit/>
          </a:bodyPr>
          <a:lstStyle>
            <a:lvl1pPr marL="0" indent="0">
              <a:buNone/>
              <a:defRPr sz="1632"/>
            </a:lvl1pPr>
          </a:lstStyle>
          <a:p>
            <a:r>
              <a:rPr lang="en-US"/>
              <a:t>icon</a:t>
            </a:r>
          </a:p>
        </p:txBody>
      </p:sp>
      <p:sp>
        <p:nvSpPr>
          <p:cNvPr id="22" name="Text Placeholder 9"/>
          <p:cNvSpPr>
            <a:spLocks noGrp="1"/>
          </p:cNvSpPr>
          <p:nvPr>
            <p:ph type="body" sz="quarter" idx="20" hasCustomPrompt="1"/>
          </p:nvPr>
        </p:nvSpPr>
        <p:spPr>
          <a:xfrm>
            <a:off x="7154004" y="5410802"/>
            <a:ext cx="4872331" cy="976217"/>
          </a:xfrm>
        </p:spPr>
        <p:txBody>
          <a:bodyPr/>
          <a:lstStyle>
            <a:lvl1pPr marL="0" indent="0">
              <a:spcAft>
                <a:spcPts val="0"/>
              </a:spcAft>
              <a:buNone/>
              <a:defRPr>
                <a:solidFill>
                  <a:schemeClr val="accent6"/>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Tree>
    <p:extLst>
      <p:ext uri="{BB962C8B-B14F-4D97-AF65-F5344CB8AC3E}">
        <p14:creationId xmlns:p14="http://schemas.microsoft.com/office/powerpoint/2010/main" val="334478464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142695009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1" y="1"/>
            <a:ext cx="4183177" cy="3502222"/>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8" name="Text Placeholder 2"/>
          <p:cNvSpPr>
            <a:spLocks noGrp="1"/>
          </p:cNvSpPr>
          <p:nvPr>
            <p:ph type="body" sz="quarter" idx="12" hasCustomPrompt="1"/>
          </p:nvPr>
        </p:nvSpPr>
        <p:spPr>
          <a:xfrm>
            <a:off x="1" y="3502223"/>
            <a:ext cx="4169782" cy="349230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24518589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8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68088452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7650416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t>12/3/2018</a:t>
            </a:fld>
            <a:endParaRPr lang="en-US"/>
          </a:p>
        </p:txBody>
      </p:sp>
      <p:sp>
        <p:nvSpPr>
          <p:cNvPr id="5" name="Slide Number Placeholder 4"/>
          <p:cNvSpPr>
            <a:spLocks noGrp="1"/>
          </p:cNvSpPr>
          <p:nvPr>
            <p:ph type="sldNum" sz="quarter" idx="12"/>
          </p:nvPr>
        </p:nvSpPr>
        <p:spPr>
          <a:xfrm>
            <a:off x="9028104" y="6482889"/>
            <a:ext cx="2798207" cy="372394"/>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10404" y="1165754"/>
            <a:ext cx="11398029" cy="2689967"/>
          </a:xfrm>
        </p:spPr>
        <p:txBody>
          <a:bodyPr/>
          <a:lstStyle>
            <a:lvl1pPr>
              <a:lnSpc>
                <a:spcPct val="114000"/>
              </a:lnSpc>
              <a:spcAft>
                <a:spcPts val="306"/>
              </a:spcAft>
              <a:defRPr/>
            </a:lvl1pPr>
            <a:lvl2pPr>
              <a:lnSpc>
                <a:spcPct val="114000"/>
              </a:lnSpc>
              <a:spcAft>
                <a:spcPts val="306"/>
              </a:spcAft>
              <a:buSzPct val="90000"/>
              <a:defRPr/>
            </a:lvl2pPr>
            <a:lvl3pPr>
              <a:lnSpc>
                <a:spcPct val="114000"/>
              </a:lnSpc>
              <a:spcAft>
                <a:spcPts val="306"/>
              </a:spcAft>
              <a:defRPr/>
            </a:lvl3pPr>
            <a:lvl4pPr>
              <a:lnSpc>
                <a:spcPct val="114000"/>
              </a:lnSpc>
              <a:spcAft>
                <a:spcPts val="306"/>
              </a:spcAft>
              <a:defRPr/>
            </a:lvl4pPr>
            <a:lvl5pPr>
              <a:lnSpc>
                <a:spcPct val="114000"/>
              </a:lnSpc>
              <a:spcAft>
                <a:spcPts val="30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27348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4349561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41147360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36705777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43808938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358445820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84312999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73148378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85878010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3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427625195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4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20026451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12434711" cy="6994525"/>
          </a:xfrm>
          <a:prstGeom prst="rect">
            <a:avLst/>
          </a:prstGeom>
        </p:spPr>
      </p:pic>
      <p:grpSp>
        <p:nvGrpSpPr>
          <p:cNvPr id="11" name="Group 10"/>
          <p:cNvGrpSpPr>
            <a:grpSpLocks noChangeAspect="1"/>
          </p:cNvGrpSpPr>
          <p:nvPr userDrawn="1"/>
        </p:nvGrpSpPr>
        <p:grpSpPr bwMode="gray">
          <a:xfrm>
            <a:off x="457518" y="479425"/>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Rectangle 3"/>
          <p:cNvSpPr/>
          <p:nvPr userDrawn="1"/>
        </p:nvSpPr>
        <p:spPr bwMode="auto">
          <a:xfrm>
            <a:off x="272986" y="2125677"/>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2986" y="3954457"/>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64994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58980758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6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52091024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rgbClr val="D83B0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79719871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rgbClr val="D83B0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17861271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478930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7617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fld id="{9C1ADB0A-731F-4CCD-A03C-3F7BE99405DC}" type="datetimeFigureOut">
              <a:rPr lang="en-US" smtClean="0"/>
              <a:t>12/3/2018</a:t>
            </a:fld>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329733615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417412687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4580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5"/>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031898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1543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88848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0548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18130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8301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8550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24040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626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7851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74639" y="1047362"/>
          <a:ext cx="11896291" cy="471179"/>
        </p:xfrm>
        <a:graphic>
          <a:graphicData uri="http://schemas.openxmlformats.org/drawingml/2006/table">
            <a:tbl>
              <a:tblPr firstRow="1" bandRow="1">
                <a:tableStyleId>{5C22544A-7EE6-4342-B048-85BDC9FD1C3A}</a:tableStyleId>
              </a:tblPr>
              <a:tblGrid>
                <a:gridCol w="2785100">
                  <a:extLst>
                    <a:ext uri="{9D8B030D-6E8A-4147-A177-3AD203B41FA5}">
                      <a16:colId xmlns:a16="http://schemas.microsoft.com/office/drawing/2014/main" val="3197870306"/>
                    </a:ext>
                  </a:extLst>
                </a:gridCol>
                <a:gridCol w="1301599">
                  <a:extLst>
                    <a:ext uri="{9D8B030D-6E8A-4147-A177-3AD203B41FA5}">
                      <a16:colId xmlns:a16="http://schemas.microsoft.com/office/drawing/2014/main" val="1739178816"/>
                    </a:ext>
                  </a:extLst>
                </a:gridCol>
                <a:gridCol w="1301599">
                  <a:extLst>
                    <a:ext uri="{9D8B030D-6E8A-4147-A177-3AD203B41FA5}">
                      <a16:colId xmlns:a16="http://schemas.microsoft.com/office/drawing/2014/main" val="2428224096"/>
                    </a:ext>
                  </a:extLst>
                </a:gridCol>
                <a:gridCol w="1301599">
                  <a:extLst>
                    <a:ext uri="{9D8B030D-6E8A-4147-A177-3AD203B41FA5}">
                      <a16:colId xmlns:a16="http://schemas.microsoft.com/office/drawing/2014/main" val="256736033"/>
                    </a:ext>
                  </a:extLst>
                </a:gridCol>
                <a:gridCol w="1301599">
                  <a:extLst>
                    <a:ext uri="{9D8B030D-6E8A-4147-A177-3AD203B41FA5}">
                      <a16:colId xmlns:a16="http://schemas.microsoft.com/office/drawing/2014/main" val="3336588490"/>
                    </a:ext>
                  </a:extLst>
                </a:gridCol>
                <a:gridCol w="1301599">
                  <a:extLst>
                    <a:ext uri="{9D8B030D-6E8A-4147-A177-3AD203B41FA5}">
                      <a16:colId xmlns:a16="http://schemas.microsoft.com/office/drawing/2014/main" val="580631682"/>
                    </a:ext>
                  </a:extLst>
                </a:gridCol>
                <a:gridCol w="1301599">
                  <a:extLst>
                    <a:ext uri="{9D8B030D-6E8A-4147-A177-3AD203B41FA5}">
                      <a16:colId xmlns:a16="http://schemas.microsoft.com/office/drawing/2014/main" val="4066938788"/>
                    </a:ext>
                  </a:extLst>
                </a:gridCol>
                <a:gridCol w="1301599">
                  <a:extLst>
                    <a:ext uri="{9D8B030D-6E8A-4147-A177-3AD203B41FA5}">
                      <a16:colId xmlns:a16="http://schemas.microsoft.com/office/drawing/2014/main" val="680228258"/>
                    </a:ext>
                  </a:extLst>
                </a:gridCol>
              </a:tblGrid>
              <a:tr h="235589">
                <a:tc rowSpan="2">
                  <a:txBody>
                    <a:bodyPr/>
                    <a:lstStyle/>
                    <a:p>
                      <a:endParaRPr lang="en-US" sz="900">
                        <a:solidFill>
                          <a:schemeClr val="tx1"/>
                        </a:solidFill>
                        <a:latin typeface="Segoe UI Semibold" panose="020B0702040204020203" pitchFamily="34" charset="0"/>
                      </a:endParaRPr>
                    </a:p>
                  </a:txBody>
                  <a:tcPr marL="46637" marR="46637" marT="46630" marB="4663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dirty="0">
                          <a:solidFill>
                            <a:schemeClr val="tx1"/>
                          </a:solidFill>
                          <a:latin typeface="Segoe UI Semibold" panose="020B0702040204020203" pitchFamily="34" charset="0"/>
                        </a:rPr>
                        <a:t>N-R</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5589">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Arizon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Iow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Texas</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Virgini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Central</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East</a:t>
                      </a: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2" name="Group 21">
            <a:extLst>
              <a:ext uri="{FF2B5EF4-FFF2-40B4-BE49-F238E27FC236}">
                <a16:creationId xmlns:a16="http://schemas.microsoft.com/office/drawing/2014/main" id="{2DB033BD-17F3-4A14-89FF-57E9609B3762}"/>
              </a:ext>
            </a:extLst>
          </p:cNvPr>
          <p:cNvGrpSpPr/>
          <p:nvPr userDrawn="1"/>
        </p:nvGrpSpPr>
        <p:grpSpPr>
          <a:xfrm>
            <a:off x="10714644" y="130499"/>
            <a:ext cx="1638274" cy="780149"/>
            <a:chOff x="10046660" y="80423"/>
            <a:chExt cx="1606069" cy="764921"/>
          </a:xfrm>
          <a:noFill/>
        </p:grpSpPr>
        <p:grpSp>
          <p:nvGrpSpPr>
            <p:cNvPr id="23" name="Group 22">
              <a:extLst>
                <a:ext uri="{FF2B5EF4-FFF2-40B4-BE49-F238E27FC236}">
                  <a16:creationId xmlns:a16="http://schemas.microsoft.com/office/drawing/2014/main" id="{0FE9B27E-F738-4453-9B09-4A0B76C3CB39}"/>
                </a:ext>
              </a:extLst>
            </p:cNvPr>
            <p:cNvGrpSpPr/>
            <p:nvPr/>
          </p:nvGrpSpPr>
          <p:grpSpPr>
            <a:xfrm>
              <a:off x="10046660" y="80423"/>
              <a:ext cx="1606069" cy="752294"/>
              <a:chOff x="9851788" y="230324"/>
              <a:chExt cx="1606069" cy="752294"/>
            </a:xfrm>
            <a:grpFill/>
          </p:grpSpPr>
          <p:sp>
            <p:nvSpPr>
              <p:cNvPr id="27" name="Rectangle 26">
                <a:extLst>
                  <a:ext uri="{FF2B5EF4-FFF2-40B4-BE49-F238E27FC236}">
                    <a16:creationId xmlns:a16="http://schemas.microsoft.com/office/drawing/2014/main" id="{6E220BA5-3588-4B15-B58C-83B0888F7374}"/>
                  </a:ext>
                </a:extLst>
              </p:cNvPr>
              <p:cNvSpPr/>
              <p:nvPr userDrawn="1"/>
            </p:nvSpPr>
            <p:spPr>
              <a:xfrm>
                <a:off x="1013372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8DB201C-0966-430E-B1BC-B708FE89C30B}"/>
                  </a:ext>
                </a:extLst>
              </p:cNvPr>
              <p:cNvSpPr/>
              <p:nvPr userDrawn="1"/>
            </p:nvSpPr>
            <p:spPr>
              <a:xfrm>
                <a:off x="1013372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4" name="Rectangle 33">
                <a:extLst>
                  <a:ext uri="{FF2B5EF4-FFF2-40B4-BE49-F238E27FC236}">
                    <a16:creationId xmlns:a16="http://schemas.microsoft.com/office/drawing/2014/main" id="{ACA98912-7A89-4C1C-894A-F929EC5BF74B}"/>
                  </a:ext>
                </a:extLst>
              </p:cNvPr>
              <p:cNvSpPr/>
              <p:nvPr/>
            </p:nvSpPr>
            <p:spPr>
              <a:xfrm>
                <a:off x="1013372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t available</a:t>
                </a:r>
              </a:p>
            </p:txBody>
          </p:sp>
          <p:sp>
            <p:nvSpPr>
              <p:cNvPr id="35" name="Rectangle 34">
                <a:extLst>
                  <a:ext uri="{FF2B5EF4-FFF2-40B4-BE49-F238E27FC236}">
                    <a16:creationId xmlns:a16="http://schemas.microsoft.com/office/drawing/2014/main" id="{20ECD2A4-A880-4833-85A4-0FFE1A26900B}"/>
                  </a:ext>
                </a:extLst>
              </p:cNvPr>
              <p:cNvSpPr/>
              <p:nvPr userDrawn="1"/>
            </p:nvSpPr>
            <p:spPr>
              <a:xfrm>
                <a:off x="10133725" y="230324"/>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n-regional</a:t>
                </a:r>
              </a:p>
            </p:txBody>
          </p:sp>
          <p:sp>
            <p:nvSpPr>
              <p:cNvPr id="36" name="Rectangle 35">
                <a:extLst>
                  <a:ext uri="{FF2B5EF4-FFF2-40B4-BE49-F238E27FC236}">
                    <a16:creationId xmlns:a16="http://schemas.microsoft.com/office/drawing/2014/main" id="{AD3A1836-D3EC-4C0A-AB72-A8C259EB7A19}"/>
                  </a:ext>
                </a:extLst>
              </p:cNvPr>
              <p:cNvSpPr/>
              <p:nvPr userDrawn="1"/>
            </p:nvSpPr>
            <p:spPr>
              <a:xfrm>
                <a:off x="9851788" y="235828"/>
                <a:ext cx="441503" cy="233590"/>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4" name="Rectangle 23">
              <a:extLst>
                <a:ext uri="{FF2B5EF4-FFF2-40B4-BE49-F238E27FC236}">
                  <a16:creationId xmlns:a16="http://schemas.microsoft.com/office/drawing/2014/main" id="{8D89CD33-31FC-423E-B720-82AFC0C5538B}"/>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C77B79D-C614-4E3A-932F-BD2F47FBF58E}"/>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B1D90F3D-4D58-49FF-B279-8422CB252D17}"/>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12286790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y 4, 2018</a:t>
            </a: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74639" y="1047373"/>
          <a:ext cx="11896292" cy="351544"/>
        </p:xfrm>
        <a:graphic>
          <a:graphicData uri="http://schemas.openxmlformats.org/drawingml/2006/table">
            <a:tbl>
              <a:tblPr firstRow="1" bandRow="1">
                <a:tableStyleId>{5C22544A-7EE6-4342-B048-85BDC9FD1C3A}</a:tableStyleId>
              </a:tblPr>
              <a:tblGrid>
                <a:gridCol w="1946430">
                  <a:extLst>
                    <a:ext uri="{9D8B030D-6E8A-4147-A177-3AD203B41FA5}">
                      <a16:colId xmlns:a16="http://schemas.microsoft.com/office/drawing/2014/main" val="3197870306"/>
                    </a:ext>
                  </a:extLst>
                </a:gridCol>
                <a:gridCol w="673422">
                  <a:extLst>
                    <a:ext uri="{9D8B030D-6E8A-4147-A177-3AD203B41FA5}">
                      <a16:colId xmlns:a16="http://schemas.microsoft.com/office/drawing/2014/main" val="1658188280"/>
                    </a:ext>
                  </a:extLst>
                </a:gridCol>
                <a:gridCol w="843313">
                  <a:extLst>
                    <a:ext uri="{9D8B030D-6E8A-4147-A177-3AD203B41FA5}">
                      <a16:colId xmlns:a16="http://schemas.microsoft.com/office/drawing/2014/main" val="2622186844"/>
                    </a:ext>
                  </a:extLst>
                </a:gridCol>
                <a:gridCol w="843313">
                  <a:extLst>
                    <a:ext uri="{9D8B030D-6E8A-4147-A177-3AD203B41FA5}">
                      <a16:colId xmlns:a16="http://schemas.microsoft.com/office/drawing/2014/main" val="2255672095"/>
                    </a:ext>
                  </a:extLst>
                </a:gridCol>
                <a:gridCol w="843313">
                  <a:extLst>
                    <a:ext uri="{9D8B030D-6E8A-4147-A177-3AD203B41FA5}">
                      <a16:colId xmlns:a16="http://schemas.microsoft.com/office/drawing/2014/main" val="929329240"/>
                    </a:ext>
                  </a:extLst>
                </a:gridCol>
                <a:gridCol w="843313">
                  <a:extLst>
                    <a:ext uri="{9D8B030D-6E8A-4147-A177-3AD203B41FA5}">
                      <a16:colId xmlns:a16="http://schemas.microsoft.com/office/drawing/2014/main" val="1739178816"/>
                    </a:ext>
                  </a:extLst>
                </a:gridCol>
                <a:gridCol w="843313">
                  <a:extLst>
                    <a:ext uri="{9D8B030D-6E8A-4147-A177-3AD203B41FA5}">
                      <a16:colId xmlns:a16="http://schemas.microsoft.com/office/drawing/2014/main" val="4066938788"/>
                    </a:ext>
                  </a:extLst>
                </a:gridCol>
                <a:gridCol w="843313">
                  <a:extLst>
                    <a:ext uri="{9D8B030D-6E8A-4147-A177-3AD203B41FA5}">
                      <a16:colId xmlns:a16="http://schemas.microsoft.com/office/drawing/2014/main" val="1993623972"/>
                    </a:ext>
                  </a:extLst>
                </a:gridCol>
                <a:gridCol w="843313">
                  <a:extLst>
                    <a:ext uri="{9D8B030D-6E8A-4147-A177-3AD203B41FA5}">
                      <a16:colId xmlns:a16="http://schemas.microsoft.com/office/drawing/2014/main" val="1474986278"/>
                    </a:ext>
                  </a:extLst>
                </a:gridCol>
                <a:gridCol w="843313">
                  <a:extLst>
                    <a:ext uri="{9D8B030D-6E8A-4147-A177-3AD203B41FA5}">
                      <a16:colId xmlns:a16="http://schemas.microsoft.com/office/drawing/2014/main" val="325501089"/>
                    </a:ext>
                  </a:extLst>
                </a:gridCol>
                <a:gridCol w="843313">
                  <a:extLst>
                    <a:ext uri="{9D8B030D-6E8A-4147-A177-3AD203B41FA5}">
                      <a16:colId xmlns:a16="http://schemas.microsoft.com/office/drawing/2014/main" val="2480923566"/>
                    </a:ext>
                  </a:extLst>
                </a:gridCol>
                <a:gridCol w="843313">
                  <a:extLst>
                    <a:ext uri="{9D8B030D-6E8A-4147-A177-3AD203B41FA5}">
                      <a16:colId xmlns:a16="http://schemas.microsoft.com/office/drawing/2014/main" val="581428332"/>
                    </a:ext>
                  </a:extLst>
                </a:gridCol>
                <a:gridCol w="843313">
                  <a:extLst>
                    <a:ext uri="{9D8B030D-6E8A-4147-A177-3AD203B41FA5}">
                      <a16:colId xmlns:a16="http://schemas.microsoft.com/office/drawing/2014/main" val="478997332"/>
                    </a:ext>
                  </a:extLst>
                </a:gridCol>
              </a:tblGrid>
              <a:tr h="175772">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dirty="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5772">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dirty="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Nor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Sou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West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We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dirty="0">
                          <a:solidFill>
                            <a:schemeClr val="tx1"/>
                          </a:solidFill>
                          <a:latin typeface="Segoe UI Semibold" panose="020B0702040204020203" pitchFamily="34" charset="0"/>
                        </a:rPr>
                        <a:t>Central</a:t>
                      </a: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3" name="Group 22">
            <a:extLst>
              <a:ext uri="{FF2B5EF4-FFF2-40B4-BE49-F238E27FC236}">
                <a16:creationId xmlns:a16="http://schemas.microsoft.com/office/drawing/2014/main" id="{2DB033BD-17F3-4A14-89FF-57E9609B3762}"/>
              </a:ext>
            </a:extLst>
          </p:cNvPr>
          <p:cNvGrpSpPr/>
          <p:nvPr userDrawn="1"/>
        </p:nvGrpSpPr>
        <p:grpSpPr>
          <a:xfrm>
            <a:off x="10714644" y="130499"/>
            <a:ext cx="1638274" cy="780149"/>
            <a:chOff x="10046660" y="80423"/>
            <a:chExt cx="1606069" cy="764921"/>
          </a:xfrm>
          <a:noFill/>
        </p:grpSpPr>
        <p:grpSp>
          <p:nvGrpSpPr>
            <p:cNvPr id="24" name="Group 23">
              <a:extLst>
                <a:ext uri="{FF2B5EF4-FFF2-40B4-BE49-F238E27FC236}">
                  <a16:creationId xmlns:a16="http://schemas.microsoft.com/office/drawing/2014/main" id="{0FE9B27E-F738-4453-9B09-4A0B76C3CB39}"/>
                </a:ext>
              </a:extLst>
            </p:cNvPr>
            <p:cNvGrpSpPr/>
            <p:nvPr/>
          </p:nvGrpSpPr>
          <p:grpSpPr>
            <a:xfrm>
              <a:off x="10046660" y="80423"/>
              <a:ext cx="1606069" cy="752294"/>
              <a:chOff x="9851788" y="230324"/>
              <a:chExt cx="1606069" cy="752294"/>
            </a:xfrm>
            <a:grpFill/>
          </p:grpSpPr>
          <p:sp>
            <p:nvSpPr>
              <p:cNvPr id="29" name="Rectangle 28">
                <a:extLst>
                  <a:ext uri="{FF2B5EF4-FFF2-40B4-BE49-F238E27FC236}">
                    <a16:creationId xmlns:a16="http://schemas.microsoft.com/office/drawing/2014/main" id="{6E220BA5-3588-4B15-B58C-83B0888F7374}"/>
                  </a:ext>
                </a:extLst>
              </p:cNvPr>
              <p:cNvSpPr/>
              <p:nvPr userDrawn="1"/>
            </p:nvSpPr>
            <p:spPr>
              <a:xfrm>
                <a:off x="1013372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General availability</a:t>
                </a:r>
              </a:p>
            </p:txBody>
          </p:sp>
          <p:sp>
            <p:nvSpPr>
              <p:cNvPr id="44" name="Rectangle 43">
                <a:extLst>
                  <a:ext uri="{FF2B5EF4-FFF2-40B4-BE49-F238E27FC236}">
                    <a16:creationId xmlns:a16="http://schemas.microsoft.com/office/drawing/2014/main" id="{C8DB201C-0966-430E-B1BC-B708FE89C30B}"/>
                  </a:ext>
                </a:extLst>
              </p:cNvPr>
              <p:cNvSpPr/>
              <p:nvPr userDrawn="1"/>
            </p:nvSpPr>
            <p:spPr>
              <a:xfrm>
                <a:off x="1013372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45" name="Rectangle 44">
                <a:extLst>
                  <a:ext uri="{FF2B5EF4-FFF2-40B4-BE49-F238E27FC236}">
                    <a16:creationId xmlns:a16="http://schemas.microsoft.com/office/drawing/2014/main" id="{ACA98912-7A89-4C1C-894A-F929EC5BF74B}"/>
                  </a:ext>
                </a:extLst>
              </p:cNvPr>
              <p:cNvSpPr/>
              <p:nvPr/>
            </p:nvSpPr>
            <p:spPr>
              <a:xfrm>
                <a:off x="1013372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t available</a:t>
                </a:r>
              </a:p>
            </p:txBody>
          </p:sp>
          <p:sp>
            <p:nvSpPr>
              <p:cNvPr id="46" name="Rectangle 45">
                <a:extLst>
                  <a:ext uri="{FF2B5EF4-FFF2-40B4-BE49-F238E27FC236}">
                    <a16:creationId xmlns:a16="http://schemas.microsoft.com/office/drawing/2014/main" id="{20ECD2A4-A880-4833-85A4-0FFE1A26900B}"/>
                  </a:ext>
                </a:extLst>
              </p:cNvPr>
              <p:cNvSpPr/>
              <p:nvPr userDrawn="1"/>
            </p:nvSpPr>
            <p:spPr>
              <a:xfrm>
                <a:off x="10133725" y="230324"/>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n-regional</a:t>
                </a:r>
              </a:p>
            </p:txBody>
          </p:sp>
          <p:sp>
            <p:nvSpPr>
              <p:cNvPr id="47" name="Rectangle 46">
                <a:extLst>
                  <a:ext uri="{FF2B5EF4-FFF2-40B4-BE49-F238E27FC236}">
                    <a16:creationId xmlns:a16="http://schemas.microsoft.com/office/drawing/2014/main" id="{AD3A1836-D3EC-4C0A-AB72-A8C259EB7A19}"/>
                  </a:ext>
                </a:extLst>
              </p:cNvPr>
              <p:cNvSpPr/>
              <p:nvPr userDrawn="1"/>
            </p:nvSpPr>
            <p:spPr>
              <a:xfrm>
                <a:off x="9851788" y="235828"/>
                <a:ext cx="441503" cy="233590"/>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5" name="Rectangle 24">
              <a:extLst>
                <a:ext uri="{FF2B5EF4-FFF2-40B4-BE49-F238E27FC236}">
                  <a16:creationId xmlns:a16="http://schemas.microsoft.com/office/drawing/2014/main" id="{8D89CD33-31FC-423E-B720-82AFC0C5538B}"/>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C77B79D-C614-4E3A-932F-BD2F47FBF58E}"/>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1D90F3D-4D58-49FF-B279-8422CB252D17}"/>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24743887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72272" y="1049355"/>
          <a:ext cx="11896286" cy="469186"/>
        </p:xfrm>
        <a:graphic>
          <a:graphicData uri="http://schemas.openxmlformats.org/drawingml/2006/table">
            <a:tbl>
              <a:tblPr firstRow="1" bandRow="1">
                <a:tableStyleId>{5C22544A-7EE6-4342-B048-85BDC9FD1C3A}</a:tableStyleId>
              </a:tblPr>
              <a:tblGrid>
                <a:gridCol w="2389911">
                  <a:extLst>
                    <a:ext uri="{9D8B030D-6E8A-4147-A177-3AD203B41FA5}">
                      <a16:colId xmlns:a16="http://schemas.microsoft.com/office/drawing/2014/main" val="3197870306"/>
                    </a:ext>
                  </a:extLst>
                </a:gridCol>
                <a:gridCol w="950638">
                  <a:extLst>
                    <a:ext uri="{9D8B030D-6E8A-4147-A177-3AD203B41FA5}">
                      <a16:colId xmlns:a16="http://schemas.microsoft.com/office/drawing/2014/main" val="3223459776"/>
                    </a:ext>
                  </a:extLst>
                </a:gridCol>
                <a:gridCol w="950638">
                  <a:extLst>
                    <a:ext uri="{9D8B030D-6E8A-4147-A177-3AD203B41FA5}">
                      <a16:colId xmlns:a16="http://schemas.microsoft.com/office/drawing/2014/main" val="2622186844"/>
                    </a:ext>
                  </a:extLst>
                </a:gridCol>
                <a:gridCol w="950638">
                  <a:extLst>
                    <a:ext uri="{9D8B030D-6E8A-4147-A177-3AD203B41FA5}">
                      <a16:colId xmlns:a16="http://schemas.microsoft.com/office/drawing/2014/main" val="2437352463"/>
                    </a:ext>
                  </a:extLst>
                </a:gridCol>
                <a:gridCol w="950638">
                  <a:extLst>
                    <a:ext uri="{9D8B030D-6E8A-4147-A177-3AD203B41FA5}">
                      <a16:colId xmlns:a16="http://schemas.microsoft.com/office/drawing/2014/main" val="1806727261"/>
                    </a:ext>
                  </a:extLst>
                </a:gridCol>
                <a:gridCol w="950638">
                  <a:extLst>
                    <a:ext uri="{9D8B030D-6E8A-4147-A177-3AD203B41FA5}">
                      <a16:colId xmlns:a16="http://schemas.microsoft.com/office/drawing/2014/main" val="660294748"/>
                    </a:ext>
                  </a:extLst>
                </a:gridCol>
                <a:gridCol w="950638">
                  <a:extLst>
                    <a:ext uri="{9D8B030D-6E8A-4147-A177-3AD203B41FA5}">
                      <a16:colId xmlns:a16="http://schemas.microsoft.com/office/drawing/2014/main" val="2255672095"/>
                    </a:ext>
                  </a:extLst>
                </a:gridCol>
                <a:gridCol w="950638">
                  <a:extLst>
                    <a:ext uri="{9D8B030D-6E8A-4147-A177-3AD203B41FA5}">
                      <a16:colId xmlns:a16="http://schemas.microsoft.com/office/drawing/2014/main" val="2925835340"/>
                    </a:ext>
                  </a:extLst>
                </a:gridCol>
                <a:gridCol w="950638">
                  <a:extLst>
                    <a:ext uri="{9D8B030D-6E8A-4147-A177-3AD203B41FA5}">
                      <a16:colId xmlns:a16="http://schemas.microsoft.com/office/drawing/2014/main" val="2506138795"/>
                    </a:ext>
                  </a:extLst>
                </a:gridCol>
                <a:gridCol w="950638">
                  <a:extLst>
                    <a:ext uri="{9D8B030D-6E8A-4147-A177-3AD203B41FA5}">
                      <a16:colId xmlns:a16="http://schemas.microsoft.com/office/drawing/2014/main" val="929329240"/>
                    </a:ext>
                  </a:extLst>
                </a:gridCol>
                <a:gridCol w="950638">
                  <a:extLst>
                    <a:ext uri="{9D8B030D-6E8A-4147-A177-3AD203B41FA5}">
                      <a16:colId xmlns:a16="http://schemas.microsoft.com/office/drawing/2014/main" val="891335525"/>
                    </a:ext>
                  </a:extLst>
                </a:gridCol>
              </a:tblGrid>
              <a:tr h="234593">
                <a:tc rowSpan="2">
                  <a:txBody>
                    <a:bodyPr/>
                    <a:lstStyle/>
                    <a:p>
                      <a:endParaRPr lang="en-US" sz="900" dirty="0">
                        <a:solidFill>
                          <a:schemeClr val="tx1"/>
                        </a:solidFill>
                        <a:latin typeface="Segoe UI Semibold" panose="020B0702040204020203" pitchFamily="34" charset="0"/>
                      </a:endParaRPr>
                    </a:p>
                  </a:txBody>
                  <a:tcPr marL="46637" marR="46637"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dirty="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dirty="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dirty="0">
                          <a:solidFill>
                            <a:schemeClr val="tx1"/>
                          </a:solidFill>
                          <a:latin typeface="Segoe UI Semibold" panose="020B0702040204020203" pitchFamily="34" charset="0"/>
                        </a:rPr>
                        <a:t>Franc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9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dirty="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4593">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Nor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dirty="0">
                          <a:solidFill>
                            <a:schemeClr val="tx1"/>
                          </a:solidFill>
                          <a:latin typeface="Segoe UI Semibold" panose="020B0702040204020203" pitchFamily="34" charset="0"/>
                        </a:rPr>
                        <a:t>Northeast</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35" name="Group 34">
            <a:extLst>
              <a:ext uri="{FF2B5EF4-FFF2-40B4-BE49-F238E27FC236}">
                <a16:creationId xmlns:a16="http://schemas.microsoft.com/office/drawing/2014/main" id="{2DB033BD-17F3-4A14-89FF-57E9609B3762}"/>
              </a:ext>
            </a:extLst>
          </p:cNvPr>
          <p:cNvGrpSpPr/>
          <p:nvPr userDrawn="1"/>
        </p:nvGrpSpPr>
        <p:grpSpPr>
          <a:xfrm>
            <a:off x="10714644" y="130499"/>
            <a:ext cx="1638274" cy="780149"/>
            <a:chOff x="10046660" y="80423"/>
            <a:chExt cx="1606069" cy="764921"/>
          </a:xfrm>
          <a:noFill/>
        </p:grpSpPr>
        <p:grpSp>
          <p:nvGrpSpPr>
            <p:cNvPr id="36" name="Group 35">
              <a:extLst>
                <a:ext uri="{FF2B5EF4-FFF2-40B4-BE49-F238E27FC236}">
                  <a16:creationId xmlns:a16="http://schemas.microsoft.com/office/drawing/2014/main" id="{0FE9B27E-F738-4453-9B09-4A0B76C3CB39}"/>
                </a:ext>
              </a:extLst>
            </p:cNvPr>
            <p:cNvGrpSpPr/>
            <p:nvPr/>
          </p:nvGrpSpPr>
          <p:grpSpPr>
            <a:xfrm>
              <a:off x="10046660" y="80423"/>
              <a:ext cx="1606069" cy="752294"/>
              <a:chOff x="9851788" y="230324"/>
              <a:chExt cx="1606069" cy="752294"/>
            </a:xfrm>
            <a:grpFill/>
          </p:grpSpPr>
          <p:sp>
            <p:nvSpPr>
              <p:cNvPr id="42" name="Rectangle 41">
                <a:extLst>
                  <a:ext uri="{FF2B5EF4-FFF2-40B4-BE49-F238E27FC236}">
                    <a16:creationId xmlns:a16="http://schemas.microsoft.com/office/drawing/2014/main" id="{6E220BA5-3588-4B15-B58C-83B0888F7374}"/>
                  </a:ext>
                </a:extLst>
              </p:cNvPr>
              <p:cNvSpPr/>
              <p:nvPr userDrawn="1"/>
            </p:nvSpPr>
            <p:spPr>
              <a:xfrm>
                <a:off x="1013372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General availability</a:t>
                </a:r>
              </a:p>
            </p:txBody>
          </p:sp>
          <p:sp>
            <p:nvSpPr>
              <p:cNvPr id="43" name="Rectangle 42">
                <a:extLst>
                  <a:ext uri="{FF2B5EF4-FFF2-40B4-BE49-F238E27FC236}">
                    <a16:creationId xmlns:a16="http://schemas.microsoft.com/office/drawing/2014/main" id="{C8DB201C-0966-430E-B1BC-B708FE89C30B}"/>
                  </a:ext>
                </a:extLst>
              </p:cNvPr>
              <p:cNvSpPr/>
              <p:nvPr userDrawn="1"/>
            </p:nvSpPr>
            <p:spPr>
              <a:xfrm>
                <a:off x="1013372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44" name="Rectangle 43">
                <a:extLst>
                  <a:ext uri="{FF2B5EF4-FFF2-40B4-BE49-F238E27FC236}">
                    <a16:creationId xmlns:a16="http://schemas.microsoft.com/office/drawing/2014/main" id="{ACA98912-7A89-4C1C-894A-F929EC5BF74B}"/>
                  </a:ext>
                </a:extLst>
              </p:cNvPr>
              <p:cNvSpPr/>
              <p:nvPr/>
            </p:nvSpPr>
            <p:spPr>
              <a:xfrm>
                <a:off x="1013372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t available</a:t>
                </a:r>
              </a:p>
            </p:txBody>
          </p:sp>
          <p:sp>
            <p:nvSpPr>
              <p:cNvPr id="45" name="Rectangle 44">
                <a:extLst>
                  <a:ext uri="{FF2B5EF4-FFF2-40B4-BE49-F238E27FC236}">
                    <a16:creationId xmlns:a16="http://schemas.microsoft.com/office/drawing/2014/main" id="{20ECD2A4-A880-4833-85A4-0FFE1A26900B}"/>
                  </a:ext>
                </a:extLst>
              </p:cNvPr>
              <p:cNvSpPr/>
              <p:nvPr userDrawn="1"/>
            </p:nvSpPr>
            <p:spPr>
              <a:xfrm>
                <a:off x="10133725" y="230324"/>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n-regional</a:t>
                </a:r>
              </a:p>
            </p:txBody>
          </p:sp>
          <p:sp>
            <p:nvSpPr>
              <p:cNvPr id="46" name="Rectangle 45">
                <a:extLst>
                  <a:ext uri="{FF2B5EF4-FFF2-40B4-BE49-F238E27FC236}">
                    <a16:creationId xmlns:a16="http://schemas.microsoft.com/office/drawing/2014/main" id="{AD3A1836-D3EC-4C0A-AB72-A8C259EB7A19}"/>
                  </a:ext>
                </a:extLst>
              </p:cNvPr>
              <p:cNvSpPr/>
              <p:nvPr userDrawn="1"/>
            </p:nvSpPr>
            <p:spPr>
              <a:xfrm>
                <a:off x="9851788" y="235828"/>
                <a:ext cx="441503" cy="233590"/>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37" name="Rectangle 36">
              <a:extLst>
                <a:ext uri="{FF2B5EF4-FFF2-40B4-BE49-F238E27FC236}">
                  <a16:creationId xmlns:a16="http://schemas.microsoft.com/office/drawing/2014/main" id="{8D89CD33-31FC-423E-B720-82AFC0C5538B}"/>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id="{5C77B79D-C614-4E3A-932F-BD2F47FBF58E}"/>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B1D90F3D-4D58-49FF-B279-8422CB252D17}"/>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1810165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72274" y="1075946"/>
          <a:ext cx="11889567" cy="389452"/>
        </p:xfrm>
        <a:graphic>
          <a:graphicData uri="http://schemas.openxmlformats.org/drawingml/2006/table">
            <a:tbl>
              <a:tblPr firstRow="1" bandRow="1">
                <a:tableStyleId>{5C22544A-7EE6-4342-B048-85BDC9FD1C3A}</a:tableStyleId>
              </a:tblPr>
              <a:tblGrid>
                <a:gridCol w="1612630">
                  <a:extLst>
                    <a:ext uri="{9D8B030D-6E8A-4147-A177-3AD203B41FA5}">
                      <a16:colId xmlns:a16="http://schemas.microsoft.com/office/drawing/2014/main" val="3197870306"/>
                    </a:ext>
                  </a:extLst>
                </a:gridCol>
                <a:gridCol w="604526">
                  <a:extLst>
                    <a:ext uri="{9D8B030D-6E8A-4147-A177-3AD203B41FA5}">
                      <a16:colId xmlns:a16="http://schemas.microsoft.com/office/drawing/2014/main" val="1658188280"/>
                    </a:ext>
                  </a:extLst>
                </a:gridCol>
                <a:gridCol w="604526">
                  <a:extLst>
                    <a:ext uri="{9D8B030D-6E8A-4147-A177-3AD203B41FA5}">
                      <a16:colId xmlns:a16="http://schemas.microsoft.com/office/drawing/2014/main" val="2622186844"/>
                    </a:ext>
                  </a:extLst>
                </a:gridCol>
                <a:gridCol w="604526">
                  <a:extLst>
                    <a:ext uri="{9D8B030D-6E8A-4147-A177-3AD203B41FA5}">
                      <a16:colId xmlns:a16="http://schemas.microsoft.com/office/drawing/2014/main" val="2255672095"/>
                    </a:ext>
                  </a:extLst>
                </a:gridCol>
                <a:gridCol w="604526">
                  <a:extLst>
                    <a:ext uri="{9D8B030D-6E8A-4147-A177-3AD203B41FA5}">
                      <a16:colId xmlns:a16="http://schemas.microsoft.com/office/drawing/2014/main" val="2215749402"/>
                    </a:ext>
                  </a:extLst>
                </a:gridCol>
                <a:gridCol w="604526">
                  <a:extLst>
                    <a:ext uri="{9D8B030D-6E8A-4147-A177-3AD203B41FA5}">
                      <a16:colId xmlns:a16="http://schemas.microsoft.com/office/drawing/2014/main" val="3346969378"/>
                    </a:ext>
                  </a:extLst>
                </a:gridCol>
                <a:gridCol w="604526">
                  <a:extLst>
                    <a:ext uri="{9D8B030D-6E8A-4147-A177-3AD203B41FA5}">
                      <a16:colId xmlns:a16="http://schemas.microsoft.com/office/drawing/2014/main" val="929329240"/>
                    </a:ext>
                  </a:extLst>
                </a:gridCol>
                <a:gridCol w="604526">
                  <a:extLst>
                    <a:ext uri="{9D8B030D-6E8A-4147-A177-3AD203B41FA5}">
                      <a16:colId xmlns:a16="http://schemas.microsoft.com/office/drawing/2014/main" val="1739178816"/>
                    </a:ext>
                  </a:extLst>
                </a:gridCol>
                <a:gridCol w="604526">
                  <a:extLst>
                    <a:ext uri="{9D8B030D-6E8A-4147-A177-3AD203B41FA5}">
                      <a16:colId xmlns:a16="http://schemas.microsoft.com/office/drawing/2014/main" val="4066938788"/>
                    </a:ext>
                  </a:extLst>
                </a:gridCol>
                <a:gridCol w="604526">
                  <a:extLst>
                    <a:ext uri="{9D8B030D-6E8A-4147-A177-3AD203B41FA5}">
                      <a16:colId xmlns:a16="http://schemas.microsoft.com/office/drawing/2014/main" val="1993623972"/>
                    </a:ext>
                  </a:extLst>
                </a:gridCol>
                <a:gridCol w="604526">
                  <a:extLst>
                    <a:ext uri="{9D8B030D-6E8A-4147-A177-3AD203B41FA5}">
                      <a16:colId xmlns:a16="http://schemas.microsoft.com/office/drawing/2014/main" val="1474986278"/>
                    </a:ext>
                  </a:extLst>
                </a:gridCol>
                <a:gridCol w="604526">
                  <a:extLst>
                    <a:ext uri="{9D8B030D-6E8A-4147-A177-3AD203B41FA5}">
                      <a16:colId xmlns:a16="http://schemas.microsoft.com/office/drawing/2014/main" val="2480923566"/>
                    </a:ext>
                  </a:extLst>
                </a:gridCol>
                <a:gridCol w="604526">
                  <a:extLst>
                    <a:ext uri="{9D8B030D-6E8A-4147-A177-3AD203B41FA5}">
                      <a16:colId xmlns:a16="http://schemas.microsoft.com/office/drawing/2014/main" val="581428332"/>
                    </a:ext>
                  </a:extLst>
                </a:gridCol>
                <a:gridCol w="604526">
                  <a:extLst>
                    <a:ext uri="{9D8B030D-6E8A-4147-A177-3AD203B41FA5}">
                      <a16:colId xmlns:a16="http://schemas.microsoft.com/office/drawing/2014/main" val="478997332"/>
                    </a:ext>
                  </a:extLst>
                </a:gridCol>
                <a:gridCol w="604526">
                  <a:extLst>
                    <a:ext uri="{9D8B030D-6E8A-4147-A177-3AD203B41FA5}">
                      <a16:colId xmlns:a16="http://schemas.microsoft.com/office/drawing/2014/main" val="771603986"/>
                    </a:ext>
                  </a:extLst>
                </a:gridCol>
                <a:gridCol w="604526">
                  <a:extLst>
                    <a:ext uri="{9D8B030D-6E8A-4147-A177-3AD203B41FA5}">
                      <a16:colId xmlns:a16="http://schemas.microsoft.com/office/drawing/2014/main" val="3065061441"/>
                    </a:ext>
                  </a:extLst>
                </a:gridCol>
                <a:gridCol w="604526">
                  <a:extLst>
                    <a:ext uri="{9D8B030D-6E8A-4147-A177-3AD203B41FA5}">
                      <a16:colId xmlns:a16="http://schemas.microsoft.com/office/drawing/2014/main" val="3151267513"/>
                    </a:ext>
                  </a:extLst>
                </a:gridCol>
                <a:gridCol w="604526">
                  <a:extLst>
                    <a:ext uri="{9D8B030D-6E8A-4147-A177-3AD203B41FA5}">
                      <a16:colId xmlns:a16="http://schemas.microsoft.com/office/drawing/2014/main" val="1457104768"/>
                    </a:ext>
                  </a:extLst>
                </a:gridCol>
              </a:tblGrid>
              <a:tr h="194726">
                <a:tc rowSpan="2">
                  <a:txBody>
                    <a:bodyPr/>
                    <a:lstStyle/>
                    <a:p>
                      <a:endParaRPr lang="en-US" sz="600" dirty="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dirty="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800" dirty="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4726">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dirty="0">
                          <a:solidFill>
                            <a:schemeClr val="tx1"/>
                          </a:solidFill>
                          <a:latin typeface="Segoe UI Semibold" panose="020B0702040204020203" pitchFamily="34" charset="0"/>
                        </a:rPr>
                        <a:t>East</a:t>
                      </a:r>
                      <a:r>
                        <a:rPr lang="en-US" sz="800" baseline="0" dirty="0">
                          <a:solidFill>
                            <a:schemeClr val="tx1"/>
                          </a:solidFill>
                          <a:latin typeface="Segoe UI Semibold" panose="020B0702040204020203" pitchFamily="34" charset="0"/>
                        </a:rPr>
                        <a:t> Asia</a:t>
                      </a: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Central 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Central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dirty="0">
                          <a:solidFill>
                            <a:schemeClr val="tx1"/>
                          </a:solidFill>
                          <a:latin typeface="Segoe UI Semibold" panose="020B0702040204020203" pitchFamily="34" charset="0"/>
                        </a:rPr>
                        <a:t>SE</a:t>
                      </a: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dirty="0">
                          <a:solidFill>
                            <a:schemeClr val="tx1"/>
                          </a:solidFill>
                          <a:latin typeface="Segoe UI Semibold" panose="020B0702040204020203" pitchFamily="34" charset="0"/>
                        </a:rPr>
                        <a:t>West</a:t>
                      </a: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dirty="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dirty="0">
                          <a:solidFill>
                            <a:schemeClr val="tx1"/>
                          </a:solidFill>
                          <a:latin typeface="Segoe UI Semibold" panose="020B0702040204020203" pitchFamily="34" charset="0"/>
                        </a:rPr>
                        <a:t>North</a:t>
                      </a:r>
                      <a:endParaRPr lang="en-US" sz="800" dirty="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3" name="Group 22">
            <a:extLst>
              <a:ext uri="{FF2B5EF4-FFF2-40B4-BE49-F238E27FC236}">
                <a16:creationId xmlns:a16="http://schemas.microsoft.com/office/drawing/2014/main" id="{2DB033BD-17F3-4A14-89FF-57E9609B3762}"/>
              </a:ext>
            </a:extLst>
          </p:cNvPr>
          <p:cNvGrpSpPr/>
          <p:nvPr userDrawn="1"/>
        </p:nvGrpSpPr>
        <p:grpSpPr>
          <a:xfrm>
            <a:off x="10714644" y="130499"/>
            <a:ext cx="1638274" cy="780149"/>
            <a:chOff x="10046660" y="80423"/>
            <a:chExt cx="1606069" cy="764921"/>
          </a:xfrm>
          <a:noFill/>
        </p:grpSpPr>
        <p:grpSp>
          <p:nvGrpSpPr>
            <p:cNvPr id="24" name="Group 23">
              <a:extLst>
                <a:ext uri="{FF2B5EF4-FFF2-40B4-BE49-F238E27FC236}">
                  <a16:creationId xmlns:a16="http://schemas.microsoft.com/office/drawing/2014/main" id="{0FE9B27E-F738-4453-9B09-4A0B76C3CB39}"/>
                </a:ext>
              </a:extLst>
            </p:cNvPr>
            <p:cNvGrpSpPr/>
            <p:nvPr/>
          </p:nvGrpSpPr>
          <p:grpSpPr>
            <a:xfrm>
              <a:off x="10046660" y="80423"/>
              <a:ext cx="1606069" cy="752294"/>
              <a:chOff x="9851788" y="230324"/>
              <a:chExt cx="1606069" cy="752294"/>
            </a:xfrm>
            <a:grpFill/>
          </p:grpSpPr>
          <p:sp>
            <p:nvSpPr>
              <p:cNvPr id="29" name="Rectangle 28">
                <a:extLst>
                  <a:ext uri="{FF2B5EF4-FFF2-40B4-BE49-F238E27FC236}">
                    <a16:creationId xmlns:a16="http://schemas.microsoft.com/office/drawing/2014/main" id="{6E220BA5-3588-4B15-B58C-83B0888F7374}"/>
                  </a:ext>
                </a:extLst>
              </p:cNvPr>
              <p:cNvSpPr/>
              <p:nvPr userDrawn="1"/>
            </p:nvSpPr>
            <p:spPr>
              <a:xfrm>
                <a:off x="1013372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General availability</a:t>
                </a:r>
              </a:p>
            </p:txBody>
          </p:sp>
          <p:sp>
            <p:nvSpPr>
              <p:cNvPr id="33" name="Rectangle 32">
                <a:extLst>
                  <a:ext uri="{FF2B5EF4-FFF2-40B4-BE49-F238E27FC236}">
                    <a16:creationId xmlns:a16="http://schemas.microsoft.com/office/drawing/2014/main" id="{C8DB201C-0966-430E-B1BC-B708FE89C30B}"/>
                  </a:ext>
                </a:extLst>
              </p:cNvPr>
              <p:cNvSpPr/>
              <p:nvPr userDrawn="1"/>
            </p:nvSpPr>
            <p:spPr>
              <a:xfrm>
                <a:off x="1013372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5" name="Rectangle 34">
                <a:extLst>
                  <a:ext uri="{FF2B5EF4-FFF2-40B4-BE49-F238E27FC236}">
                    <a16:creationId xmlns:a16="http://schemas.microsoft.com/office/drawing/2014/main" id="{ACA98912-7A89-4C1C-894A-F929EC5BF74B}"/>
                  </a:ext>
                </a:extLst>
              </p:cNvPr>
              <p:cNvSpPr/>
              <p:nvPr/>
            </p:nvSpPr>
            <p:spPr>
              <a:xfrm>
                <a:off x="1013372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t available</a:t>
                </a:r>
              </a:p>
            </p:txBody>
          </p:sp>
          <p:sp>
            <p:nvSpPr>
              <p:cNvPr id="36" name="Rectangle 35">
                <a:extLst>
                  <a:ext uri="{FF2B5EF4-FFF2-40B4-BE49-F238E27FC236}">
                    <a16:creationId xmlns:a16="http://schemas.microsoft.com/office/drawing/2014/main" id="{20ECD2A4-A880-4833-85A4-0FFE1A26900B}"/>
                  </a:ext>
                </a:extLst>
              </p:cNvPr>
              <p:cNvSpPr/>
              <p:nvPr userDrawn="1"/>
            </p:nvSpPr>
            <p:spPr>
              <a:xfrm>
                <a:off x="10133725" y="230324"/>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n-regional</a:t>
                </a:r>
              </a:p>
            </p:txBody>
          </p:sp>
          <p:sp>
            <p:nvSpPr>
              <p:cNvPr id="37" name="Rectangle 36">
                <a:extLst>
                  <a:ext uri="{FF2B5EF4-FFF2-40B4-BE49-F238E27FC236}">
                    <a16:creationId xmlns:a16="http://schemas.microsoft.com/office/drawing/2014/main" id="{AD3A1836-D3EC-4C0A-AB72-A8C259EB7A19}"/>
                  </a:ext>
                </a:extLst>
              </p:cNvPr>
              <p:cNvSpPr/>
              <p:nvPr userDrawn="1"/>
            </p:nvSpPr>
            <p:spPr>
              <a:xfrm>
                <a:off x="9851788" y="235828"/>
                <a:ext cx="441503" cy="233590"/>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5" name="Rectangle 24">
              <a:extLst>
                <a:ext uri="{FF2B5EF4-FFF2-40B4-BE49-F238E27FC236}">
                  <a16:creationId xmlns:a16="http://schemas.microsoft.com/office/drawing/2014/main" id="{8D89CD33-31FC-423E-B720-82AFC0C5538B}"/>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C77B79D-C614-4E3A-932F-BD2F47FBF58E}"/>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1D90F3D-4D58-49FF-B279-8422CB252D17}"/>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4009334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74639" y="1047362"/>
          <a:ext cx="11896291" cy="471179"/>
        </p:xfrm>
        <a:graphic>
          <a:graphicData uri="http://schemas.openxmlformats.org/drawingml/2006/table">
            <a:tbl>
              <a:tblPr firstRow="1" bandRow="1">
                <a:tableStyleId>{5C22544A-7EE6-4342-B048-85BDC9FD1C3A}</a:tableStyleId>
              </a:tblPr>
              <a:tblGrid>
                <a:gridCol w="2785100">
                  <a:extLst>
                    <a:ext uri="{9D8B030D-6E8A-4147-A177-3AD203B41FA5}">
                      <a16:colId xmlns:a16="http://schemas.microsoft.com/office/drawing/2014/main" val="3197870306"/>
                    </a:ext>
                  </a:extLst>
                </a:gridCol>
                <a:gridCol w="1301599">
                  <a:extLst>
                    <a:ext uri="{9D8B030D-6E8A-4147-A177-3AD203B41FA5}">
                      <a16:colId xmlns:a16="http://schemas.microsoft.com/office/drawing/2014/main" val="1739178816"/>
                    </a:ext>
                  </a:extLst>
                </a:gridCol>
                <a:gridCol w="1301599">
                  <a:extLst>
                    <a:ext uri="{9D8B030D-6E8A-4147-A177-3AD203B41FA5}">
                      <a16:colId xmlns:a16="http://schemas.microsoft.com/office/drawing/2014/main" val="2428224096"/>
                    </a:ext>
                  </a:extLst>
                </a:gridCol>
                <a:gridCol w="1301599">
                  <a:extLst>
                    <a:ext uri="{9D8B030D-6E8A-4147-A177-3AD203B41FA5}">
                      <a16:colId xmlns:a16="http://schemas.microsoft.com/office/drawing/2014/main" val="256736033"/>
                    </a:ext>
                  </a:extLst>
                </a:gridCol>
                <a:gridCol w="1301599">
                  <a:extLst>
                    <a:ext uri="{9D8B030D-6E8A-4147-A177-3AD203B41FA5}">
                      <a16:colId xmlns:a16="http://schemas.microsoft.com/office/drawing/2014/main" val="3336588490"/>
                    </a:ext>
                  </a:extLst>
                </a:gridCol>
                <a:gridCol w="1301599">
                  <a:extLst>
                    <a:ext uri="{9D8B030D-6E8A-4147-A177-3AD203B41FA5}">
                      <a16:colId xmlns:a16="http://schemas.microsoft.com/office/drawing/2014/main" val="580631682"/>
                    </a:ext>
                  </a:extLst>
                </a:gridCol>
                <a:gridCol w="1301599">
                  <a:extLst>
                    <a:ext uri="{9D8B030D-6E8A-4147-A177-3AD203B41FA5}">
                      <a16:colId xmlns:a16="http://schemas.microsoft.com/office/drawing/2014/main" val="4066938788"/>
                    </a:ext>
                  </a:extLst>
                </a:gridCol>
                <a:gridCol w="1301599">
                  <a:extLst>
                    <a:ext uri="{9D8B030D-6E8A-4147-A177-3AD203B41FA5}">
                      <a16:colId xmlns:a16="http://schemas.microsoft.com/office/drawing/2014/main" val="680228258"/>
                    </a:ext>
                  </a:extLst>
                </a:gridCol>
              </a:tblGrid>
              <a:tr h="235589">
                <a:tc rowSpan="2">
                  <a:txBody>
                    <a:bodyPr/>
                    <a:lstStyle/>
                    <a:p>
                      <a:endParaRPr lang="en-US" sz="900">
                        <a:solidFill>
                          <a:schemeClr val="tx1"/>
                        </a:solidFill>
                        <a:latin typeface="Segoe UI Semibold" panose="020B0702040204020203" pitchFamily="34" charset="0"/>
                      </a:endParaRPr>
                    </a:p>
                  </a:txBody>
                  <a:tcPr marL="46637" marR="46637" marT="46630" marB="4663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5589">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Segoe UI"/>
                <a:ea typeface="+mn-ea"/>
                <a:cs typeface="+mn-cs"/>
              </a:rPr>
              <a:t>* Data as of April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2" name="Group 21">
            <a:extLst>
              <a:ext uri="{FF2B5EF4-FFF2-40B4-BE49-F238E27FC236}">
                <a16:creationId xmlns:a16="http://schemas.microsoft.com/office/drawing/2014/main" id="{2DB033BD-17F3-4A14-89FF-57E9609B3762}"/>
              </a:ext>
            </a:extLst>
          </p:cNvPr>
          <p:cNvGrpSpPr/>
          <p:nvPr userDrawn="1"/>
        </p:nvGrpSpPr>
        <p:grpSpPr>
          <a:xfrm>
            <a:off x="10714644" y="130499"/>
            <a:ext cx="1638274" cy="780149"/>
            <a:chOff x="10046660" y="80423"/>
            <a:chExt cx="1606069" cy="764921"/>
          </a:xfrm>
          <a:noFill/>
        </p:grpSpPr>
        <p:grpSp>
          <p:nvGrpSpPr>
            <p:cNvPr id="23" name="Group 22">
              <a:extLst>
                <a:ext uri="{FF2B5EF4-FFF2-40B4-BE49-F238E27FC236}">
                  <a16:creationId xmlns:a16="http://schemas.microsoft.com/office/drawing/2014/main" id="{0FE9B27E-F738-4453-9B09-4A0B76C3CB39}"/>
                </a:ext>
              </a:extLst>
            </p:cNvPr>
            <p:cNvGrpSpPr/>
            <p:nvPr/>
          </p:nvGrpSpPr>
          <p:grpSpPr>
            <a:xfrm>
              <a:off x="10046660" y="80423"/>
              <a:ext cx="1606069" cy="752294"/>
              <a:chOff x="9851788" y="230324"/>
              <a:chExt cx="1606069" cy="752294"/>
            </a:xfrm>
            <a:grpFill/>
          </p:grpSpPr>
          <p:sp>
            <p:nvSpPr>
              <p:cNvPr id="27" name="Rectangle 26">
                <a:extLst>
                  <a:ext uri="{FF2B5EF4-FFF2-40B4-BE49-F238E27FC236}">
                    <a16:creationId xmlns:a16="http://schemas.microsoft.com/office/drawing/2014/main" id="{6E220BA5-3588-4B15-B58C-83B0888F7374}"/>
                  </a:ext>
                </a:extLst>
              </p:cNvPr>
              <p:cNvSpPr/>
              <p:nvPr userDrawn="1"/>
            </p:nvSpPr>
            <p:spPr>
              <a:xfrm>
                <a:off x="1013372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8DB201C-0966-430E-B1BC-B708FE89C30B}"/>
                  </a:ext>
                </a:extLst>
              </p:cNvPr>
              <p:cNvSpPr/>
              <p:nvPr userDrawn="1"/>
            </p:nvSpPr>
            <p:spPr>
              <a:xfrm>
                <a:off x="1013372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4" name="Rectangle 33">
                <a:extLst>
                  <a:ext uri="{FF2B5EF4-FFF2-40B4-BE49-F238E27FC236}">
                    <a16:creationId xmlns:a16="http://schemas.microsoft.com/office/drawing/2014/main" id="{ACA98912-7A89-4C1C-894A-F929EC5BF74B}"/>
                  </a:ext>
                </a:extLst>
              </p:cNvPr>
              <p:cNvSpPr/>
              <p:nvPr/>
            </p:nvSpPr>
            <p:spPr>
              <a:xfrm>
                <a:off x="1013372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t available</a:t>
                </a:r>
              </a:p>
            </p:txBody>
          </p:sp>
          <p:sp>
            <p:nvSpPr>
              <p:cNvPr id="35" name="Rectangle 34">
                <a:extLst>
                  <a:ext uri="{FF2B5EF4-FFF2-40B4-BE49-F238E27FC236}">
                    <a16:creationId xmlns:a16="http://schemas.microsoft.com/office/drawing/2014/main" id="{20ECD2A4-A880-4833-85A4-0FFE1A26900B}"/>
                  </a:ext>
                </a:extLst>
              </p:cNvPr>
              <p:cNvSpPr/>
              <p:nvPr userDrawn="1"/>
            </p:nvSpPr>
            <p:spPr>
              <a:xfrm>
                <a:off x="10133725" y="230324"/>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schemeClr val="tx1"/>
                    </a:solidFill>
                    <a:effectLst/>
                    <a:uLnTx/>
                    <a:uFillTx/>
                    <a:latin typeface="Segoe UI"/>
                    <a:ea typeface="+mn-ea"/>
                    <a:cs typeface="+mn-cs"/>
                  </a:rPr>
                  <a:t>Non-regional</a:t>
                </a:r>
              </a:p>
            </p:txBody>
          </p:sp>
          <p:sp>
            <p:nvSpPr>
              <p:cNvPr id="36" name="Rectangle 35">
                <a:extLst>
                  <a:ext uri="{FF2B5EF4-FFF2-40B4-BE49-F238E27FC236}">
                    <a16:creationId xmlns:a16="http://schemas.microsoft.com/office/drawing/2014/main" id="{AD3A1836-D3EC-4C0A-AB72-A8C259EB7A19}"/>
                  </a:ext>
                </a:extLst>
              </p:cNvPr>
              <p:cNvSpPr/>
              <p:nvPr userDrawn="1"/>
            </p:nvSpPr>
            <p:spPr>
              <a:xfrm>
                <a:off x="9851788" y="235828"/>
                <a:ext cx="441503" cy="233590"/>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4" name="Rectangle 23">
              <a:extLst>
                <a:ext uri="{FF2B5EF4-FFF2-40B4-BE49-F238E27FC236}">
                  <a16:creationId xmlns:a16="http://schemas.microsoft.com/office/drawing/2014/main" id="{8D89CD33-31FC-423E-B720-82AFC0C5538B}"/>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C77B79D-C614-4E3A-932F-BD2F47FBF58E}"/>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B1D90F3D-4D58-49FF-B279-8422CB252D17}"/>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2274639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Segoe UI"/>
                <a:ea typeface="+mn-ea"/>
                <a:cs typeface="+mn-cs"/>
              </a:rPr>
              <a:t>* Data as of </a:t>
            </a:r>
            <a:r>
              <a:rPr kumimoji="0" lang="en-US" sz="816" b="0" i="0" u="none" strike="noStrike" kern="1200" cap="none" spc="0" normalizeH="0" baseline="0" noProof="0" dirty="0">
                <a:ln>
                  <a:noFill/>
                </a:ln>
                <a:solidFill>
                  <a:schemeClr val="tx1"/>
                </a:solidFill>
                <a:effectLst/>
                <a:uLnTx/>
                <a:uFillTx/>
                <a:latin typeface="+mn-lt"/>
                <a:ea typeface="+mn-ea"/>
                <a:cs typeface="+mn-cs"/>
              </a:rPr>
              <a:t>April 12, 2018</a:t>
            </a:r>
            <a:endParaRPr kumimoji="0" lang="en-US" sz="816" b="0" i="0" u="none" strike="noStrike" kern="1200" cap="none" spc="0" normalizeH="0" baseline="0" noProof="0" dirty="0">
              <a:ln>
                <a:noFill/>
              </a:ln>
              <a:solidFill>
                <a:schemeClr val="tx1"/>
              </a:solidFill>
              <a:effectLst/>
              <a:uLnTx/>
              <a:uFillTx/>
              <a:latin typeface="Segoe UI"/>
              <a:ea typeface="+mn-ea"/>
              <a:cs typeface="+mn-cs"/>
            </a:endParaRP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74639" y="1047373"/>
          <a:ext cx="11896292" cy="351544"/>
        </p:xfrm>
        <a:graphic>
          <a:graphicData uri="http://schemas.openxmlformats.org/drawingml/2006/table">
            <a:tbl>
              <a:tblPr firstRow="1" bandRow="1">
                <a:tableStyleId>{5C22544A-7EE6-4342-B048-85BDC9FD1C3A}</a:tableStyleId>
              </a:tblPr>
              <a:tblGrid>
                <a:gridCol w="1946430">
                  <a:extLst>
                    <a:ext uri="{9D8B030D-6E8A-4147-A177-3AD203B41FA5}">
                      <a16:colId xmlns:a16="http://schemas.microsoft.com/office/drawing/2014/main" val="3197870306"/>
                    </a:ext>
                  </a:extLst>
                </a:gridCol>
                <a:gridCol w="673422">
                  <a:extLst>
                    <a:ext uri="{9D8B030D-6E8A-4147-A177-3AD203B41FA5}">
                      <a16:colId xmlns:a16="http://schemas.microsoft.com/office/drawing/2014/main" val="1658188280"/>
                    </a:ext>
                  </a:extLst>
                </a:gridCol>
                <a:gridCol w="843313">
                  <a:extLst>
                    <a:ext uri="{9D8B030D-6E8A-4147-A177-3AD203B41FA5}">
                      <a16:colId xmlns:a16="http://schemas.microsoft.com/office/drawing/2014/main" val="2622186844"/>
                    </a:ext>
                  </a:extLst>
                </a:gridCol>
                <a:gridCol w="843313">
                  <a:extLst>
                    <a:ext uri="{9D8B030D-6E8A-4147-A177-3AD203B41FA5}">
                      <a16:colId xmlns:a16="http://schemas.microsoft.com/office/drawing/2014/main" val="2255672095"/>
                    </a:ext>
                  </a:extLst>
                </a:gridCol>
                <a:gridCol w="843313">
                  <a:extLst>
                    <a:ext uri="{9D8B030D-6E8A-4147-A177-3AD203B41FA5}">
                      <a16:colId xmlns:a16="http://schemas.microsoft.com/office/drawing/2014/main" val="929329240"/>
                    </a:ext>
                  </a:extLst>
                </a:gridCol>
                <a:gridCol w="843313">
                  <a:extLst>
                    <a:ext uri="{9D8B030D-6E8A-4147-A177-3AD203B41FA5}">
                      <a16:colId xmlns:a16="http://schemas.microsoft.com/office/drawing/2014/main" val="1739178816"/>
                    </a:ext>
                  </a:extLst>
                </a:gridCol>
                <a:gridCol w="843313">
                  <a:extLst>
                    <a:ext uri="{9D8B030D-6E8A-4147-A177-3AD203B41FA5}">
                      <a16:colId xmlns:a16="http://schemas.microsoft.com/office/drawing/2014/main" val="4066938788"/>
                    </a:ext>
                  </a:extLst>
                </a:gridCol>
                <a:gridCol w="843313">
                  <a:extLst>
                    <a:ext uri="{9D8B030D-6E8A-4147-A177-3AD203B41FA5}">
                      <a16:colId xmlns:a16="http://schemas.microsoft.com/office/drawing/2014/main" val="1993623972"/>
                    </a:ext>
                  </a:extLst>
                </a:gridCol>
                <a:gridCol w="843313">
                  <a:extLst>
                    <a:ext uri="{9D8B030D-6E8A-4147-A177-3AD203B41FA5}">
                      <a16:colId xmlns:a16="http://schemas.microsoft.com/office/drawing/2014/main" val="1474986278"/>
                    </a:ext>
                  </a:extLst>
                </a:gridCol>
                <a:gridCol w="843313">
                  <a:extLst>
                    <a:ext uri="{9D8B030D-6E8A-4147-A177-3AD203B41FA5}">
                      <a16:colId xmlns:a16="http://schemas.microsoft.com/office/drawing/2014/main" val="325501089"/>
                    </a:ext>
                  </a:extLst>
                </a:gridCol>
                <a:gridCol w="843313">
                  <a:extLst>
                    <a:ext uri="{9D8B030D-6E8A-4147-A177-3AD203B41FA5}">
                      <a16:colId xmlns:a16="http://schemas.microsoft.com/office/drawing/2014/main" val="2480923566"/>
                    </a:ext>
                  </a:extLst>
                </a:gridCol>
                <a:gridCol w="843313">
                  <a:extLst>
                    <a:ext uri="{9D8B030D-6E8A-4147-A177-3AD203B41FA5}">
                      <a16:colId xmlns:a16="http://schemas.microsoft.com/office/drawing/2014/main" val="581428332"/>
                    </a:ext>
                  </a:extLst>
                </a:gridCol>
                <a:gridCol w="843313">
                  <a:extLst>
                    <a:ext uri="{9D8B030D-6E8A-4147-A177-3AD203B41FA5}">
                      <a16:colId xmlns:a16="http://schemas.microsoft.com/office/drawing/2014/main" val="478997332"/>
                    </a:ext>
                  </a:extLst>
                </a:gridCol>
              </a:tblGrid>
              <a:tr h="175772">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5772">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a:t>
                      </a:r>
                      <a:r>
                        <a:rPr lang="en-US" sz="800" baseline="0">
                          <a:solidFill>
                            <a:schemeClr val="tx1"/>
                          </a:solidFill>
                          <a:latin typeface="Segoe UI Semibold" panose="020B0702040204020203" pitchFamily="34" charset="0"/>
                        </a:rPr>
                        <a:t> 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 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pSp>
        <p:nvGrpSpPr>
          <p:cNvPr id="20" name="Group 19">
            <a:extLst>
              <a:ext uri="{FF2B5EF4-FFF2-40B4-BE49-F238E27FC236}">
                <a16:creationId xmlns:a16="http://schemas.microsoft.com/office/drawing/2014/main" id="{327A7F0E-3565-4C5F-A959-631388591CEC}"/>
              </a:ext>
            </a:extLst>
          </p:cNvPr>
          <p:cNvGrpSpPr/>
          <p:nvPr userDrawn="1"/>
        </p:nvGrpSpPr>
        <p:grpSpPr>
          <a:xfrm>
            <a:off x="10747231" y="295275"/>
            <a:ext cx="1582369" cy="615373"/>
            <a:chOff x="10078606" y="241982"/>
            <a:chExt cx="1551263" cy="603362"/>
          </a:xfrm>
          <a:noFill/>
        </p:grpSpPr>
        <p:grpSp>
          <p:nvGrpSpPr>
            <p:cNvPr id="22" name="Group 21">
              <a:extLst>
                <a:ext uri="{FF2B5EF4-FFF2-40B4-BE49-F238E27FC236}">
                  <a16:creationId xmlns:a16="http://schemas.microsoft.com/office/drawing/2014/main" id="{5E3AD354-4782-417A-9A65-3C13176EAC5C}"/>
                </a:ext>
              </a:extLst>
            </p:cNvPr>
            <p:cNvGrpSpPr/>
            <p:nvPr/>
          </p:nvGrpSpPr>
          <p:grpSpPr>
            <a:xfrm>
              <a:off x="10305738" y="241982"/>
              <a:ext cx="1324131" cy="590735"/>
              <a:chOff x="10110866" y="391883"/>
              <a:chExt cx="1324131" cy="590735"/>
            </a:xfrm>
            <a:grpFill/>
          </p:grpSpPr>
          <p:sp>
            <p:nvSpPr>
              <p:cNvPr id="26" name="Rectangle 25">
                <a:extLst>
                  <a:ext uri="{FF2B5EF4-FFF2-40B4-BE49-F238E27FC236}">
                    <a16:creationId xmlns:a16="http://schemas.microsoft.com/office/drawing/2014/main" id="{D7D16C8C-058C-4822-98D2-2DC4F8E8C2AA}"/>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7" name="Rectangle 26">
                <a:extLst>
                  <a:ext uri="{FF2B5EF4-FFF2-40B4-BE49-F238E27FC236}">
                    <a16:creationId xmlns:a16="http://schemas.microsoft.com/office/drawing/2014/main" id="{387950BD-0D9F-4830-B304-A7D40400D3FA}"/>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29" name="Rectangle 28">
                <a:extLst>
                  <a:ext uri="{FF2B5EF4-FFF2-40B4-BE49-F238E27FC236}">
                    <a16:creationId xmlns:a16="http://schemas.microsoft.com/office/drawing/2014/main" id="{7FEEB74B-7037-48C6-8675-6FC2527A1048}"/>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3" name="Rectangle 22">
              <a:extLst>
                <a:ext uri="{FF2B5EF4-FFF2-40B4-BE49-F238E27FC236}">
                  <a16:creationId xmlns:a16="http://schemas.microsoft.com/office/drawing/2014/main" id="{4E1B5E47-2791-423B-98C0-DA1E8BC0E2B8}"/>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4477ECA3-7EEE-4732-B476-336C4D862B67}"/>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07A0FA60-B99D-4B31-AE11-17C84C70B5BF}"/>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484868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72272" y="1049355"/>
          <a:ext cx="11896288" cy="469186"/>
        </p:xfrm>
        <a:graphic>
          <a:graphicData uri="http://schemas.openxmlformats.org/drawingml/2006/table">
            <a:tbl>
              <a:tblPr firstRow="1" bandRow="1">
                <a:tableStyleId>{5C22544A-7EE6-4342-B048-85BDC9FD1C3A}</a:tableStyleId>
              </a:tblPr>
              <a:tblGrid>
                <a:gridCol w="2393842">
                  <a:extLst>
                    <a:ext uri="{9D8B030D-6E8A-4147-A177-3AD203B41FA5}">
                      <a16:colId xmlns:a16="http://schemas.microsoft.com/office/drawing/2014/main" val="3197870306"/>
                    </a:ext>
                  </a:extLst>
                </a:gridCol>
                <a:gridCol w="1187806">
                  <a:extLst>
                    <a:ext uri="{9D8B030D-6E8A-4147-A177-3AD203B41FA5}">
                      <a16:colId xmlns:a16="http://schemas.microsoft.com/office/drawing/2014/main" val="3223459776"/>
                    </a:ext>
                  </a:extLst>
                </a:gridCol>
                <a:gridCol w="1187806">
                  <a:extLst>
                    <a:ext uri="{9D8B030D-6E8A-4147-A177-3AD203B41FA5}">
                      <a16:colId xmlns:a16="http://schemas.microsoft.com/office/drawing/2014/main" val="2622186844"/>
                    </a:ext>
                  </a:extLst>
                </a:gridCol>
                <a:gridCol w="1187806">
                  <a:extLst>
                    <a:ext uri="{9D8B030D-6E8A-4147-A177-3AD203B41FA5}">
                      <a16:colId xmlns:a16="http://schemas.microsoft.com/office/drawing/2014/main" val="2437352463"/>
                    </a:ext>
                  </a:extLst>
                </a:gridCol>
                <a:gridCol w="1187806">
                  <a:extLst>
                    <a:ext uri="{9D8B030D-6E8A-4147-A177-3AD203B41FA5}">
                      <a16:colId xmlns:a16="http://schemas.microsoft.com/office/drawing/2014/main" val="2255672095"/>
                    </a:ext>
                  </a:extLst>
                </a:gridCol>
                <a:gridCol w="1187806">
                  <a:extLst>
                    <a:ext uri="{9D8B030D-6E8A-4147-A177-3AD203B41FA5}">
                      <a16:colId xmlns:a16="http://schemas.microsoft.com/office/drawing/2014/main" val="2925835340"/>
                    </a:ext>
                  </a:extLst>
                </a:gridCol>
                <a:gridCol w="1187806">
                  <a:extLst>
                    <a:ext uri="{9D8B030D-6E8A-4147-A177-3AD203B41FA5}">
                      <a16:colId xmlns:a16="http://schemas.microsoft.com/office/drawing/2014/main" val="2506138795"/>
                    </a:ext>
                  </a:extLst>
                </a:gridCol>
                <a:gridCol w="1187806">
                  <a:extLst>
                    <a:ext uri="{9D8B030D-6E8A-4147-A177-3AD203B41FA5}">
                      <a16:colId xmlns:a16="http://schemas.microsoft.com/office/drawing/2014/main" val="929329240"/>
                    </a:ext>
                  </a:extLst>
                </a:gridCol>
                <a:gridCol w="1187806">
                  <a:extLst>
                    <a:ext uri="{9D8B030D-6E8A-4147-A177-3AD203B41FA5}">
                      <a16:colId xmlns:a16="http://schemas.microsoft.com/office/drawing/2014/main" val="891335525"/>
                    </a:ext>
                  </a:extLst>
                </a:gridCol>
              </a:tblGrid>
              <a:tr h="234593">
                <a:tc rowSpan="2">
                  <a:txBody>
                    <a:bodyPr/>
                    <a:lstStyle/>
                    <a:p>
                      <a:endParaRPr lang="en-US" sz="900">
                        <a:solidFill>
                          <a:schemeClr val="tx1"/>
                        </a:solidFill>
                        <a:latin typeface="Segoe UI Semibold" panose="020B0702040204020203" pitchFamily="34" charset="0"/>
                      </a:endParaRPr>
                    </a:p>
                  </a:txBody>
                  <a:tcPr marL="46637" marR="46637"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4593">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747231" y="295275"/>
            <a:ext cx="1582369" cy="615373"/>
            <a:chOff x="10078606" y="241982"/>
            <a:chExt cx="1551263" cy="603362"/>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90735"/>
              <a:chOff x="10110866" y="391883"/>
              <a:chExt cx="1324131" cy="590735"/>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65798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72274" y="1075946"/>
          <a:ext cx="11889573" cy="389452"/>
        </p:xfrm>
        <a:graphic>
          <a:graphicData uri="http://schemas.openxmlformats.org/drawingml/2006/table">
            <a:tbl>
              <a:tblPr firstRow="1" bandRow="1">
                <a:tableStyleId>{5C22544A-7EE6-4342-B048-85BDC9FD1C3A}</a:tableStyleId>
              </a:tblPr>
              <a:tblGrid>
                <a:gridCol w="1604419">
                  <a:extLst>
                    <a:ext uri="{9D8B030D-6E8A-4147-A177-3AD203B41FA5}">
                      <a16:colId xmlns:a16="http://schemas.microsoft.com/office/drawing/2014/main" val="3197870306"/>
                    </a:ext>
                  </a:extLst>
                </a:gridCol>
                <a:gridCol w="685677">
                  <a:extLst>
                    <a:ext uri="{9D8B030D-6E8A-4147-A177-3AD203B41FA5}">
                      <a16:colId xmlns:a16="http://schemas.microsoft.com/office/drawing/2014/main" val="1658188280"/>
                    </a:ext>
                  </a:extLst>
                </a:gridCol>
                <a:gridCol w="685677">
                  <a:extLst>
                    <a:ext uri="{9D8B030D-6E8A-4147-A177-3AD203B41FA5}">
                      <a16:colId xmlns:a16="http://schemas.microsoft.com/office/drawing/2014/main" val="2622186844"/>
                    </a:ext>
                  </a:extLst>
                </a:gridCol>
                <a:gridCol w="685677">
                  <a:extLst>
                    <a:ext uri="{9D8B030D-6E8A-4147-A177-3AD203B41FA5}">
                      <a16:colId xmlns:a16="http://schemas.microsoft.com/office/drawing/2014/main" val="2255672095"/>
                    </a:ext>
                  </a:extLst>
                </a:gridCol>
                <a:gridCol w="685677">
                  <a:extLst>
                    <a:ext uri="{9D8B030D-6E8A-4147-A177-3AD203B41FA5}">
                      <a16:colId xmlns:a16="http://schemas.microsoft.com/office/drawing/2014/main" val="929329240"/>
                    </a:ext>
                  </a:extLst>
                </a:gridCol>
                <a:gridCol w="685677">
                  <a:extLst>
                    <a:ext uri="{9D8B030D-6E8A-4147-A177-3AD203B41FA5}">
                      <a16:colId xmlns:a16="http://schemas.microsoft.com/office/drawing/2014/main" val="1739178816"/>
                    </a:ext>
                  </a:extLst>
                </a:gridCol>
                <a:gridCol w="685677">
                  <a:extLst>
                    <a:ext uri="{9D8B030D-6E8A-4147-A177-3AD203B41FA5}">
                      <a16:colId xmlns:a16="http://schemas.microsoft.com/office/drawing/2014/main" val="4066938788"/>
                    </a:ext>
                  </a:extLst>
                </a:gridCol>
                <a:gridCol w="685677">
                  <a:extLst>
                    <a:ext uri="{9D8B030D-6E8A-4147-A177-3AD203B41FA5}">
                      <a16:colId xmlns:a16="http://schemas.microsoft.com/office/drawing/2014/main" val="1993623972"/>
                    </a:ext>
                  </a:extLst>
                </a:gridCol>
                <a:gridCol w="685677">
                  <a:extLst>
                    <a:ext uri="{9D8B030D-6E8A-4147-A177-3AD203B41FA5}">
                      <a16:colId xmlns:a16="http://schemas.microsoft.com/office/drawing/2014/main" val="1474986278"/>
                    </a:ext>
                  </a:extLst>
                </a:gridCol>
                <a:gridCol w="685677">
                  <a:extLst>
                    <a:ext uri="{9D8B030D-6E8A-4147-A177-3AD203B41FA5}">
                      <a16:colId xmlns:a16="http://schemas.microsoft.com/office/drawing/2014/main" val="2480923566"/>
                    </a:ext>
                  </a:extLst>
                </a:gridCol>
                <a:gridCol w="685677">
                  <a:extLst>
                    <a:ext uri="{9D8B030D-6E8A-4147-A177-3AD203B41FA5}">
                      <a16:colId xmlns:a16="http://schemas.microsoft.com/office/drawing/2014/main" val="581428332"/>
                    </a:ext>
                  </a:extLst>
                </a:gridCol>
                <a:gridCol w="685677">
                  <a:extLst>
                    <a:ext uri="{9D8B030D-6E8A-4147-A177-3AD203B41FA5}">
                      <a16:colId xmlns:a16="http://schemas.microsoft.com/office/drawing/2014/main" val="478997332"/>
                    </a:ext>
                  </a:extLst>
                </a:gridCol>
                <a:gridCol w="685677">
                  <a:extLst>
                    <a:ext uri="{9D8B030D-6E8A-4147-A177-3AD203B41FA5}">
                      <a16:colId xmlns:a16="http://schemas.microsoft.com/office/drawing/2014/main" val="771603986"/>
                    </a:ext>
                  </a:extLst>
                </a:gridCol>
                <a:gridCol w="685677">
                  <a:extLst>
                    <a:ext uri="{9D8B030D-6E8A-4147-A177-3AD203B41FA5}">
                      <a16:colId xmlns:a16="http://schemas.microsoft.com/office/drawing/2014/main" val="3065061441"/>
                    </a:ext>
                  </a:extLst>
                </a:gridCol>
                <a:gridCol w="685677">
                  <a:extLst>
                    <a:ext uri="{9D8B030D-6E8A-4147-A177-3AD203B41FA5}">
                      <a16:colId xmlns:a16="http://schemas.microsoft.com/office/drawing/2014/main" val="3151267513"/>
                    </a:ext>
                  </a:extLst>
                </a:gridCol>
                <a:gridCol w="685677">
                  <a:extLst>
                    <a:ext uri="{9D8B030D-6E8A-4147-A177-3AD203B41FA5}">
                      <a16:colId xmlns:a16="http://schemas.microsoft.com/office/drawing/2014/main" val="1457104768"/>
                    </a:ext>
                  </a:extLst>
                </a:gridCol>
              </a:tblGrid>
              <a:tr h="194726">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4726">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747231" y="295275"/>
            <a:ext cx="1582369" cy="615373"/>
            <a:chOff x="10078606" y="241982"/>
            <a:chExt cx="1551263" cy="603362"/>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90735"/>
              <a:chOff x="10110866" y="391883"/>
              <a:chExt cx="1324131" cy="590735"/>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2053876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72272" y="1049355"/>
          <a:ext cx="11896288" cy="469186"/>
        </p:xfrm>
        <a:graphic>
          <a:graphicData uri="http://schemas.openxmlformats.org/drawingml/2006/table">
            <a:tbl>
              <a:tblPr firstRow="1" bandRow="1">
                <a:tableStyleId>{5C22544A-7EE6-4342-B048-85BDC9FD1C3A}</a:tableStyleId>
              </a:tblPr>
              <a:tblGrid>
                <a:gridCol w="2393842">
                  <a:extLst>
                    <a:ext uri="{9D8B030D-6E8A-4147-A177-3AD203B41FA5}">
                      <a16:colId xmlns:a16="http://schemas.microsoft.com/office/drawing/2014/main" val="3197870306"/>
                    </a:ext>
                  </a:extLst>
                </a:gridCol>
                <a:gridCol w="1187806">
                  <a:extLst>
                    <a:ext uri="{9D8B030D-6E8A-4147-A177-3AD203B41FA5}">
                      <a16:colId xmlns:a16="http://schemas.microsoft.com/office/drawing/2014/main" val="3223459776"/>
                    </a:ext>
                  </a:extLst>
                </a:gridCol>
                <a:gridCol w="1187806">
                  <a:extLst>
                    <a:ext uri="{9D8B030D-6E8A-4147-A177-3AD203B41FA5}">
                      <a16:colId xmlns:a16="http://schemas.microsoft.com/office/drawing/2014/main" val="2622186844"/>
                    </a:ext>
                  </a:extLst>
                </a:gridCol>
                <a:gridCol w="1187806">
                  <a:extLst>
                    <a:ext uri="{9D8B030D-6E8A-4147-A177-3AD203B41FA5}">
                      <a16:colId xmlns:a16="http://schemas.microsoft.com/office/drawing/2014/main" val="2437352463"/>
                    </a:ext>
                  </a:extLst>
                </a:gridCol>
                <a:gridCol w="1187806">
                  <a:extLst>
                    <a:ext uri="{9D8B030D-6E8A-4147-A177-3AD203B41FA5}">
                      <a16:colId xmlns:a16="http://schemas.microsoft.com/office/drawing/2014/main" val="2255672095"/>
                    </a:ext>
                  </a:extLst>
                </a:gridCol>
                <a:gridCol w="1187806">
                  <a:extLst>
                    <a:ext uri="{9D8B030D-6E8A-4147-A177-3AD203B41FA5}">
                      <a16:colId xmlns:a16="http://schemas.microsoft.com/office/drawing/2014/main" val="2925835340"/>
                    </a:ext>
                  </a:extLst>
                </a:gridCol>
                <a:gridCol w="1187806">
                  <a:extLst>
                    <a:ext uri="{9D8B030D-6E8A-4147-A177-3AD203B41FA5}">
                      <a16:colId xmlns:a16="http://schemas.microsoft.com/office/drawing/2014/main" val="2506138795"/>
                    </a:ext>
                  </a:extLst>
                </a:gridCol>
                <a:gridCol w="1187806">
                  <a:extLst>
                    <a:ext uri="{9D8B030D-6E8A-4147-A177-3AD203B41FA5}">
                      <a16:colId xmlns:a16="http://schemas.microsoft.com/office/drawing/2014/main" val="929329240"/>
                    </a:ext>
                  </a:extLst>
                </a:gridCol>
                <a:gridCol w="1187806">
                  <a:extLst>
                    <a:ext uri="{9D8B030D-6E8A-4147-A177-3AD203B41FA5}">
                      <a16:colId xmlns:a16="http://schemas.microsoft.com/office/drawing/2014/main" val="891335525"/>
                    </a:ext>
                  </a:extLst>
                </a:gridCol>
              </a:tblGrid>
              <a:tr h="234593">
                <a:tc rowSpan="2">
                  <a:txBody>
                    <a:bodyPr/>
                    <a:lstStyle/>
                    <a:p>
                      <a:endParaRPr lang="en-US" sz="900">
                        <a:solidFill>
                          <a:schemeClr val="tx1"/>
                        </a:solidFill>
                        <a:latin typeface="Segoe UI Semibold" panose="020B0702040204020203" pitchFamily="34" charset="0"/>
                      </a:endParaRPr>
                    </a:p>
                  </a:txBody>
                  <a:tcPr marL="46637" marR="46637"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4593">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747231" y="295275"/>
            <a:ext cx="1582369" cy="615373"/>
            <a:chOff x="10078606" y="241982"/>
            <a:chExt cx="1551263" cy="603362"/>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90735"/>
              <a:chOff x="10110866" y="391883"/>
              <a:chExt cx="1324131" cy="590735"/>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2898816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_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72274" y="1075946"/>
          <a:ext cx="11889573" cy="389452"/>
        </p:xfrm>
        <a:graphic>
          <a:graphicData uri="http://schemas.openxmlformats.org/drawingml/2006/table">
            <a:tbl>
              <a:tblPr firstRow="1" bandRow="1">
                <a:tableStyleId>{5C22544A-7EE6-4342-B048-85BDC9FD1C3A}</a:tableStyleId>
              </a:tblPr>
              <a:tblGrid>
                <a:gridCol w="1604419">
                  <a:extLst>
                    <a:ext uri="{9D8B030D-6E8A-4147-A177-3AD203B41FA5}">
                      <a16:colId xmlns:a16="http://schemas.microsoft.com/office/drawing/2014/main" val="3197870306"/>
                    </a:ext>
                  </a:extLst>
                </a:gridCol>
                <a:gridCol w="685677">
                  <a:extLst>
                    <a:ext uri="{9D8B030D-6E8A-4147-A177-3AD203B41FA5}">
                      <a16:colId xmlns:a16="http://schemas.microsoft.com/office/drawing/2014/main" val="1658188280"/>
                    </a:ext>
                  </a:extLst>
                </a:gridCol>
                <a:gridCol w="685677">
                  <a:extLst>
                    <a:ext uri="{9D8B030D-6E8A-4147-A177-3AD203B41FA5}">
                      <a16:colId xmlns:a16="http://schemas.microsoft.com/office/drawing/2014/main" val="2622186844"/>
                    </a:ext>
                  </a:extLst>
                </a:gridCol>
                <a:gridCol w="685677">
                  <a:extLst>
                    <a:ext uri="{9D8B030D-6E8A-4147-A177-3AD203B41FA5}">
                      <a16:colId xmlns:a16="http://schemas.microsoft.com/office/drawing/2014/main" val="2255672095"/>
                    </a:ext>
                  </a:extLst>
                </a:gridCol>
                <a:gridCol w="685677">
                  <a:extLst>
                    <a:ext uri="{9D8B030D-6E8A-4147-A177-3AD203B41FA5}">
                      <a16:colId xmlns:a16="http://schemas.microsoft.com/office/drawing/2014/main" val="929329240"/>
                    </a:ext>
                  </a:extLst>
                </a:gridCol>
                <a:gridCol w="685677">
                  <a:extLst>
                    <a:ext uri="{9D8B030D-6E8A-4147-A177-3AD203B41FA5}">
                      <a16:colId xmlns:a16="http://schemas.microsoft.com/office/drawing/2014/main" val="1739178816"/>
                    </a:ext>
                  </a:extLst>
                </a:gridCol>
                <a:gridCol w="685677">
                  <a:extLst>
                    <a:ext uri="{9D8B030D-6E8A-4147-A177-3AD203B41FA5}">
                      <a16:colId xmlns:a16="http://schemas.microsoft.com/office/drawing/2014/main" val="4066938788"/>
                    </a:ext>
                  </a:extLst>
                </a:gridCol>
                <a:gridCol w="685677">
                  <a:extLst>
                    <a:ext uri="{9D8B030D-6E8A-4147-A177-3AD203B41FA5}">
                      <a16:colId xmlns:a16="http://schemas.microsoft.com/office/drawing/2014/main" val="1993623972"/>
                    </a:ext>
                  </a:extLst>
                </a:gridCol>
                <a:gridCol w="685677">
                  <a:extLst>
                    <a:ext uri="{9D8B030D-6E8A-4147-A177-3AD203B41FA5}">
                      <a16:colId xmlns:a16="http://schemas.microsoft.com/office/drawing/2014/main" val="1474986278"/>
                    </a:ext>
                  </a:extLst>
                </a:gridCol>
                <a:gridCol w="685677">
                  <a:extLst>
                    <a:ext uri="{9D8B030D-6E8A-4147-A177-3AD203B41FA5}">
                      <a16:colId xmlns:a16="http://schemas.microsoft.com/office/drawing/2014/main" val="2480923566"/>
                    </a:ext>
                  </a:extLst>
                </a:gridCol>
                <a:gridCol w="685677">
                  <a:extLst>
                    <a:ext uri="{9D8B030D-6E8A-4147-A177-3AD203B41FA5}">
                      <a16:colId xmlns:a16="http://schemas.microsoft.com/office/drawing/2014/main" val="581428332"/>
                    </a:ext>
                  </a:extLst>
                </a:gridCol>
                <a:gridCol w="685677">
                  <a:extLst>
                    <a:ext uri="{9D8B030D-6E8A-4147-A177-3AD203B41FA5}">
                      <a16:colId xmlns:a16="http://schemas.microsoft.com/office/drawing/2014/main" val="478997332"/>
                    </a:ext>
                  </a:extLst>
                </a:gridCol>
                <a:gridCol w="685677">
                  <a:extLst>
                    <a:ext uri="{9D8B030D-6E8A-4147-A177-3AD203B41FA5}">
                      <a16:colId xmlns:a16="http://schemas.microsoft.com/office/drawing/2014/main" val="771603986"/>
                    </a:ext>
                  </a:extLst>
                </a:gridCol>
                <a:gridCol w="685677">
                  <a:extLst>
                    <a:ext uri="{9D8B030D-6E8A-4147-A177-3AD203B41FA5}">
                      <a16:colId xmlns:a16="http://schemas.microsoft.com/office/drawing/2014/main" val="3065061441"/>
                    </a:ext>
                  </a:extLst>
                </a:gridCol>
                <a:gridCol w="685677">
                  <a:extLst>
                    <a:ext uri="{9D8B030D-6E8A-4147-A177-3AD203B41FA5}">
                      <a16:colId xmlns:a16="http://schemas.microsoft.com/office/drawing/2014/main" val="3151267513"/>
                    </a:ext>
                  </a:extLst>
                </a:gridCol>
                <a:gridCol w="685677">
                  <a:extLst>
                    <a:ext uri="{9D8B030D-6E8A-4147-A177-3AD203B41FA5}">
                      <a16:colId xmlns:a16="http://schemas.microsoft.com/office/drawing/2014/main" val="1457104768"/>
                    </a:ext>
                  </a:extLst>
                </a:gridCol>
              </a:tblGrid>
              <a:tr h="194726">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4726">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747231" y="295275"/>
            <a:ext cx="1582369" cy="615373"/>
            <a:chOff x="10078606" y="241982"/>
            <a:chExt cx="1551263" cy="603362"/>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90735"/>
              <a:chOff x="10110866" y="391883"/>
              <a:chExt cx="1324131" cy="590735"/>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786431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2_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74639" y="1047362"/>
          <a:ext cx="11896291" cy="471179"/>
        </p:xfrm>
        <a:graphic>
          <a:graphicData uri="http://schemas.openxmlformats.org/drawingml/2006/table">
            <a:tbl>
              <a:tblPr firstRow="1" bandRow="1">
                <a:tableStyleId>{5C22544A-7EE6-4342-B048-85BDC9FD1C3A}</a:tableStyleId>
              </a:tblPr>
              <a:tblGrid>
                <a:gridCol w="2785100">
                  <a:extLst>
                    <a:ext uri="{9D8B030D-6E8A-4147-A177-3AD203B41FA5}">
                      <a16:colId xmlns:a16="http://schemas.microsoft.com/office/drawing/2014/main" val="3197870306"/>
                    </a:ext>
                  </a:extLst>
                </a:gridCol>
                <a:gridCol w="1301599">
                  <a:extLst>
                    <a:ext uri="{9D8B030D-6E8A-4147-A177-3AD203B41FA5}">
                      <a16:colId xmlns:a16="http://schemas.microsoft.com/office/drawing/2014/main" val="1739178816"/>
                    </a:ext>
                  </a:extLst>
                </a:gridCol>
                <a:gridCol w="1301599">
                  <a:extLst>
                    <a:ext uri="{9D8B030D-6E8A-4147-A177-3AD203B41FA5}">
                      <a16:colId xmlns:a16="http://schemas.microsoft.com/office/drawing/2014/main" val="2428224096"/>
                    </a:ext>
                  </a:extLst>
                </a:gridCol>
                <a:gridCol w="1301599">
                  <a:extLst>
                    <a:ext uri="{9D8B030D-6E8A-4147-A177-3AD203B41FA5}">
                      <a16:colId xmlns:a16="http://schemas.microsoft.com/office/drawing/2014/main" val="256736033"/>
                    </a:ext>
                  </a:extLst>
                </a:gridCol>
                <a:gridCol w="1301599">
                  <a:extLst>
                    <a:ext uri="{9D8B030D-6E8A-4147-A177-3AD203B41FA5}">
                      <a16:colId xmlns:a16="http://schemas.microsoft.com/office/drawing/2014/main" val="3336588490"/>
                    </a:ext>
                  </a:extLst>
                </a:gridCol>
                <a:gridCol w="1301599">
                  <a:extLst>
                    <a:ext uri="{9D8B030D-6E8A-4147-A177-3AD203B41FA5}">
                      <a16:colId xmlns:a16="http://schemas.microsoft.com/office/drawing/2014/main" val="580631682"/>
                    </a:ext>
                  </a:extLst>
                </a:gridCol>
                <a:gridCol w="1301599">
                  <a:extLst>
                    <a:ext uri="{9D8B030D-6E8A-4147-A177-3AD203B41FA5}">
                      <a16:colId xmlns:a16="http://schemas.microsoft.com/office/drawing/2014/main" val="4066938788"/>
                    </a:ext>
                  </a:extLst>
                </a:gridCol>
                <a:gridCol w="1301599">
                  <a:extLst>
                    <a:ext uri="{9D8B030D-6E8A-4147-A177-3AD203B41FA5}">
                      <a16:colId xmlns:a16="http://schemas.microsoft.com/office/drawing/2014/main" val="680228258"/>
                    </a:ext>
                  </a:extLst>
                </a:gridCol>
              </a:tblGrid>
              <a:tr h="235589">
                <a:tc rowSpan="2">
                  <a:txBody>
                    <a:bodyPr/>
                    <a:lstStyle/>
                    <a:p>
                      <a:endParaRPr lang="en-US" sz="900">
                        <a:solidFill>
                          <a:schemeClr val="tx1"/>
                        </a:solidFill>
                        <a:latin typeface="Segoe UI Semibold" panose="020B0702040204020203" pitchFamily="34" charset="0"/>
                      </a:endParaRPr>
                    </a:p>
                  </a:txBody>
                  <a:tcPr marL="46637" marR="46637" marT="46630" marB="4663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5589">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6637" marR="46637" marT="46630" marB="4663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6637" marR="46637" marT="46630" marB="4663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3" name="Group 2">
            <a:extLst>
              <a:ext uri="{FF2B5EF4-FFF2-40B4-BE49-F238E27FC236}">
                <a16:creationId xmlns:a16="http://schemas.microsoft.com/office/drawing/2014/main" id="{6BF6A3E8-296E-4738-AC79-8DF0101EB4D3}"/>
              </a:ext>
            </a:extLst>
          </p:cNvPr>
          <p:cNvGrpSpPr/>
          <p:nvPr userDrawn="1"/>
        </p:nvGrpSpPr>
        <p:grpSpPr>
          <a:xfrm>
            <a:off x="10747231" y="295275"/>
            <a:ext cx="1582369" cy="615373"/>
            <a:chOff x="10078606" y="241982"/>
            <a:chExt cx="1551263" cy="603362"/>
          </a:xfrm>
          <a:noFill/>
        </p:grpSpPr>
        <p:grpSp>
          <p:nvGrpSpPr>
            <p:cNvPr id="4" name="Group 3">
              <a:extLst>
                <a:ext uri="{FF2B5EF4-FFF2-40B4-BE49-F238E27FC236}">
                  <a16:creationId xmlns:a16="http://schemas.microsoft.com/office/drawing/2014/main" id="{0BBB5BCA-5885-40FF-84E3-E07B45FF4851}"/>
                </a:ext>
              </a:extLst>
            </p:cNvPr>
            <p:cNvGrpSpPr/>
            <p:nvPr/>
          </p:nvGrpSpPr>
          <p:grpSpPr>
            <a:xfrm>
              <a:off x="10305738" y="241982"/>
              <a:ext cx="1324131" cy="590735"/>
              <a:chOff x="10110866" y="391883"/>
              <a:chExt cx="1324131" cy="590735"/>
            </a:xfrm>
            <a:grpFill/>
          </p:grpSpPr>
          <p:sp>
            <p:nvSpPr>
              <p:cNvPr id="8" name="Rectangle 7">
                <a:extLst>
                  <a:ext uri="{FF2B5EF4-FFF2-40B4-BE49-F238E27FC236}">
                    <a16:creationId xmlns:a16="http://schemas.microsoft.com/office/drawing/2014/main" id="{50C905BC-65F0-45FD-8FAA-62098D053738}"/>
                  </a:ext>
                </a:extLst>
              </p:cNvPr>
              <p:cNvSpPr/>
              <p:nvPr userDrawn="1"/>
            </p:nvSpPr>
            <p:spPr>
              <a:xfrm>
                <a:off x="10110866" y="391883"/>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9" name="Rectangle 8">
                <a:extLst>
                  <a:ext uri="{FF2B5EF4-FFF2-40B4-BE49-F238E27FC236}">
                    <a16:creationId xmlns:a16="http://schemas.microsoft.com/office/drawing/2014/main" id="{AD6BA01E-B351-47BF-B915-37E76408CEB1}"/>
                  </a:ext>
                </a:extLst>
              </p:cNvPr>
              <p:cNvSpPr/>
              <p:nvPr userDrawn="1"/>
            </p:nvSpPr>
            <p:spPr>
              <a:xfrm>
                <a:off x="10110866" y="561875"/>
                <a:ext cx="1324131"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Preview</a:t>
                </a:r>
              </a:p>
            </p:txBody>
          </p:sp>
          <p:sp>
            <p:nvSpPr>
              <p:cNvPr id="10" name="Rectangle 9">
                <a:extLst>
                  <a:ext uri="{FF2B5EF4-FFF2-40B4-BE49-F238E27FC236}">
                    <a16:creationId xmlns:a16="http://schemas.microsoft.com/office/drawing/2014/main" id="{837F3C91-73DE-40F7-AD38-0B407185FE61}"/>
                  </a:ext>
                </a:extLst>
              </p:cNvPr>
              <p:cNvSpPr/>
              <p:nvPr/>
            </p:nvSpPr>
            <p:spPr>
              <a:xfrm>
                <a:off x="10110866" y="733319"/>
                <a:ext cx="1182979" cy="249299"/>
              </a:xfrm>
              <a:prstGeom prst="rect">
                <a:avLst/>
              </a:prstGeom>
              <a:grpFill/>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5" name="Rectangle 4">
              <a:extLst>
                <a:ext uri="{FF2B5EF4-FFF2-40B4-BE49-F238E27FC236}">
                  <a16:creationId xmlns:a16="http://schemas.microsoft.com/office/drawing/2014/main" id="{5723B913-6EE5-4ADB-AC32-FD1A21BBDF95}"/>
                </a:ext>
              </a:extLst>
            </p:cNvPr>
            <p:cNvSpPr/>
            <p:nvPr/>
          </p:nvSpPr>
          <p:spPr>
            <a:xfrm>
              <a:off x="10078606" y="580335"/>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312D8B13-AFE2-43D9-A67F-61D3BB89C4DF}"/>
                </a:ext>
              </a:extLst>
            </p:cNvPr>
            <p:cNvSpPr/>
            <p:nvPr/>
          </p:nvSpPr>
          <p:spPr>
            <a:xfrm>
              <a:off x="10088756" y="413926"/>
              <a:ext cx="261610"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FFC00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8010DCF8-ACE9-42BA-A0D8-BDDA84FF3F38}"/>
                </a:ext>
              </a:extLst>
            </p:cNvPr>
            <p:cNvSpPr/>
            <p:nvPr/>
          </p:nvSpPr>
          <p:spPr>
            <a:xfrm>
              <a:off x="10078606" y="248969"/>
              <a:ext cx="312906" cy="265009"/>
            </a:xfrm>
            <a:prstGeom prst="rect">
              <a:avLst/>
            </a:prstGeom>
            <a:grpFill/>
          </p:spPr>
          <p:txBody>
            <a:bodyPr wrap="non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22" b="0" i="0" u="none" strike="noStrike" kern="1200" cap="none" spc="0" normalizeH="0" baseline="0" noProof="0">
                <a:ln>
                  <a:noFill/>
                </a:ln>
                <a:solidFill>
                  <a:srgbClr val="00B050"/>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C6772423-C997-4110-BB91-923D9719DBE2}"/>
              </a:ext>
            </a:extLst>
          </p:cNvPr>
          <p:cNvSpPr txBox="1"/>
          <p:nvPr userDrawn="1"/>
        </p:nvSpPr>
        <p:spPr>
          <a:xfrm>
            <a:off x="9708715" y="6794507"/>
            <a:ext cx="2462215" cy="115229"/>
          </a:xfrm>
          <a:prstGeom prst="rect">
            <a:avLst/>
          </a:prstGeom>
          <a:noFill/>
        </p:spPr>
        <p:txBody>
          <a:bodyPr wrap="square" lIns="0" tIns="0" rIns="0" bIns="0"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816" b="0" i="0" u="none" strike="noStrike" kern="1200" cap="none" spc="0" normalizeH="0" baseline="0" noProof="0" dirty="0">
                <a:ln>
                  <a:noFill/>
                </a:ln>
                <a:solidFill>
                  <a:schemeClr val="tx1"/>
                </a:solidFill>
                <a:effectLst/>
                <a:uLnTx/>
                <a:uFillTx/>
                <a:latin typeface="Segoe UI"/>
                <a:ea typeface="+mn-ea"/>
                <a:cs typeface="+mn-cs"/>
              </a:rPr>
              <a:t>* Data as of April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343396"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74639" y="295275"/>
            <a:ext cx="8870099" cy="752099"/>
          </a:xfrm>
        </p:spPr>
        <p:txBody>
          <a:bodyPr/>
          <a:lstStyle>
            <a:lvl1pPr>
              <a:defRPr sz="3672"/>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270838" y="432301"/>
            <a:ext cx="343580" cy="343531"/>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809347" y="432301"/>
            <a:ext cx="343580" cy="343531"/>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800"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27880407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279168" y="-626931"/>
            <a:ext cx="732988" cy="2174633"/>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700369" y="171986"/>
            <a:ext cx="1555069"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1955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1034127" y="-626931"/>
            <a:ext cx="732988" cy="2174633"/>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676165" y="387129"/>
            <a:ext cx="656920" cy="13071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198376" y="151840"/>
            <a:ext cx="1301012" cy="6171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606960" y="124022"/>
            <a:ext cx="657017" cy="656923"/>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1" name="Oval 10"/>
          <p:cNvSpPr/>
          <p:nvPr userDrawn="1"/>
        </p:nvSpPr>
        <p:spPr bwMode="auto">
          <a:xfrm>
            <a:off x="336822"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3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96"/>
            <a:ext cx="186547" cy="69940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1041971" y="-884447"/>
            <a:ext cx="732988" cy="2689665"/>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606960" y="131925"/>
            <a:ext cx="657017" cy="656923"/>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10198376" y="179884"/>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32065525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1041971" y="-884447"/>
            <a:ext cx="732988" cy="2689665"/>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606960" y="124022"/>
            <a:ext cx="657017" cy="656923"/>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241776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1041971" y="-884447"/>
            <a:ext cx="732988" cy="2689665"/>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96"/>
            <a:ext cx="18654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6822"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606960" y="124022"/>
            <a:ext cx="657017" cy="656923"/>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Tree>
    <p:extLst>
      <p:ext uri="{BB962C8B-B14F-4D97-AF65-F5344CB8AC3E}">
        <p14:creationId xmlns:p14="http://schemas.microsoft.com/office/powerpoint/2010/main" val="29735952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154164" y="-501927"/>
            <a:ext cx="732988" cy="192462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700369" y="171986"/>
            <a:ext cx="1555069"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tx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6821" y="295275"/>
            <a:ext cx="3856048" cy="917575"/>
          </a:xfrm>
        </p:spPr>
        <p:txBody>
          <a:bodyPr/>
          <a:lstStyle>
            <a:lvl1pPr>
              <a:defRPr sz="408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6823" y="1636020"/>
            <a:ext cx="3856047" cy="414353"/>
          </a:xfrm>
        </p:spPr>
        <p:txBody>
          <a:bodyPr wrap="square">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83511" y="6190336"/>
            <a:ext cx="3396404" cy="386101"/>
          </a:xfrm>
        </p:spPr>
        <p:txBody>
          <a:bodyPr wrap="square" anchor="ctr" anchorCtr="0">
            <a:spAutoFit/>
          </a:bodyPr>
          <a:lstStyle>
            <a:lvl1pPr marL="0" indent="0">
              <a:spcBef>
                <a:spcPts val="1224"/>
              </a:spcBef>
              <a:buClr>
                <a:schemeClr val="tx1"/>
              </a:buClr>
              <a:buFont typeface="Arial" pitchFamily="34" charset="0"/>
              <a:buNone/>
              <a:defRPr sz="1428">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317234" y="295275"/>
            <a:ext cx="0" cy="62952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6821" y="6164892"/>
            <a:ext cx="437052" cy="43699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2884101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6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6E2DA1F-8860-42B8-9688-1B8B9AE51B91}"/>
              </a:ext>
            </a:extLst>
          </p:cNvPr>
          <p:cNvGrpSpPr/>
          <p:nvPr userDrawn="1"/>
        </p:nvGrpSpPr>
        <p:grpSpPr>
          <a:xfrm flipH="1">
            <a:off x="0" y="0"/>
            <a:ext cx="7421923" cy="6994525"/>
            <a:chOff x="4915975" y="0"/>
            <a:chExt cx="7276024" cy="6858000"/>
          </a:xfrm>
        </p:grpSpPr>
        <p:pic>
          <p:nvPicPr>
            <p:cNvPr id="3" name="Picture 2" descr="A group of people standing in front of a building&#10;&#10;Description generated with very high confidence">
              <a:extLst>
                <a:ext uri="{FF2B5EF4-FFF2-40B4-BE49-F238E27FC236}">
                  <a16:creationId xmlns:a16="http://schemas.microsoft.com/office/drawing/2014/main" id="{D8245282-BD4B-47B1-85E6-B4EC47E73F5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83056" y="0"/>
              <a:ext cx="7208943" cy="6858000"/>
            </a:xfrm>
            <a:prstGeom prst="rect">
              <a:avLst/>
            </a:prstGeom>
          </p:spPr>
        </p:pic>
        <p:sp>
          <p:nvSpPr>
            <p:cNvPr id="4" name="Rectangle 3">
              <a:extLst>
                <a:ext uri="{FF2B5EF4-FFF2-40B4-BE49-F238E27FC236}">
                  <a16:creationId xmlns:a16="http://schemas.microsoft.com/office/drawing/2014/main" id="{5F01664E-D906-4484-80DE-2DE9D080714D}"/>
                </a:ext>
              </a:extLst>
            </p:cNvPr>
            <p:cNvSpPr/>
            <p:nvPr/>
          </p:nvSpPr>
          <p:spPr bwMode="auto">
            <a:xfrm rot="10800000">
              <a:off x="4915975" y="0"/>
              <a:ext cx="6986657" cy="6858000"/>
            </a:xfrm>
            <a:prstGeom prst="rect">
              <a:avLst/>
            </a:prstGeom>
            <a:gradFill flip="none" rotWithShape="1">
              <a:gsLst>
                <a:gs pos="36000">
                  <a:srgbClr val="F8F8F8">
                    <a:alpha val="85000"/>
                  </a:srgbClr>
                </a:gs>
                <a:gs pos="0">
                  <a:schemeClr val="bg2">
                    <a:alpha val="0"/>
                  </a:schemeClr>
                </a:gs>
                <a:gs pos="10000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Title 1">
            <a:extLst>
              <a:ext uri="{FF2B5EF4-FFF2-40B4-BE49-F238E27FC236}">
                <a16:creationId xmlns:a16="http://schemas.microsoft.com/office/drawing/2014/main" id="{78D95269-C17C-4B81-B86D-EF104EC69F3A}"/>
              </a:ext>
            </a:extLst>
          </p:cNvPr>
          <p:cNvSpPr txBox="1">
            <a:spLocks/>
          </p:cNvSpPr>
          <p:nvPr userDrawn="1"/>
        </p:nvSpPr>
        <p:spPr>
          <a:xfrm>
            <a:off x="295170" y="201268"/>
            <a:ext cx="3308765" cy="1222090"/>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defTabSz="932563" rtl="0" eaLnBrk="1" fontAlgn="auto" latinLnBrk="0" hangingPunct="1">
              <a:lnSpc>
                <a:spcPct val="90000"/>
              </a:lnSpc>
              <a:spcBef>
                <a:spcPct val="0"/>
              </a:spcBef>
              <a:spcAft>
                <a:spcPts val="600"/>
              </a:spcAft>
              <a:buClrTx/>
              <a:buSzTx/>
              <a:buFontTx/>
              <a:buNone/>
              <a:tabLst/>
              <a:defRPr/>
            </a:pPr>
            <a:r>
              <a:rPr kumimoji="0" lang="en-US" sz="3672" b="0" i="0" u="none" strike="noStrike" kern="1200" cap="none" spc="-102" normalizeH="0" baseline="0" noProof="0">
                <a:ln w="3175">
                  <a:noFill/>
                </a:ln>
                <a:solidFill>
                  <a:srgbClr val="4F504F"/>
                </a:solidFill>
                <a:effectLst/>
                <a:uLnTx/>
                <a:uFillTx/>
                <a:latin typeface="Segoe UI Light"/>
                <a:ea typeface="+mn-ea"/>
                <a:cs typeface="Segoe UI" pitchFamily="34" charset="0"/>
              </a:rPr>
              <a:t>Azure </a:t>
            </a:r>
            <a:br>
              <a:rPr kumimoji="0" lang="en-US" sz="3672" b="0" i="0" u="none" strike="noStrike" kern="1200" cap="none" spc="-102" normalizeH="0" baseline="0" noProof="0">
                <a:ln w="3175">
                  <a:noFill/>
                </a:ln>
                <a:solidFill>
                  <a:srgbClr val="4F504F"/>
                </a:solidFill>
                <a:effectLst/>
                <a:uLnTx/>
                <a:uFillTx/>
                <a:latin typeface="Segoe UI Light"/>
                <a:ea typeface="+mn-ea"/>
                <a:cs typeface="Segoe UI" pitchFamily="34" charset="0"/>
              </a:rPr>
            </a:br>
            <a:r>
              <a:rPr kumimoji="0" lang="en-US" sz="3672" b="0" i="0" u="none" strike="noStrike" kern="1200" cap="none" spc="-102" normalizeH="0" baseline="0" noProof="0">
                <a:ln w="3175">
                  <a:noFill/>
                </a:ln>
                <a:solidFill>
                  <a:srgbClr val="4F504F"/>
                </a:solidFill>
                <a:effectLst/>
                <a:uLnTx/>
                <a:uFillTx/>
                <a:latin typeface="Segoe UI Light"/>
                <a:ea typeface="+mn-ea"/>
                <a:cs typeface="Segoe UI" pitchFamily="34" charset="0"/>
              </a:rPr>
              <a:t>products</a:t>
            </a:r>
          </a:p>
        </p:txBody>
      </p:sp>
      <p:sp>
        <p:nvSpPr>
          <p:cNvPr id="6" name="Rectangle 5">
            <a:hlinkClick r:id="" action="ppaction://noaction"/>
            <a:extLst>
              <a:ext uri="{FF2B5EF4-FFF2-40B4-BE49-F238E27FC236}">
                <a16:creationId xmlns:a16="http://schemas.microsoft.com/office/drawing/2014/main" id="{6A4E1D06-E0C0-4BDB-BF0D-6CD6007A455A}"/>
              </a:ext>
            </a:extLst>
          </p:cNvPr>
          <p:cNvSpPr/>
          <p:nvPr userDrawn="1"/>
        </p:nvSpPr>
        <p:spPr bwMode="auto">
          <a:xfrm>
            <a:off x="9521815" y="-19633"/>
            <a:ext cx="916913" cy="24869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02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2110421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436475" cy="6994525"/>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020575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46148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56386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9011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94942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329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39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95749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740830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13510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109545"/>
            <a:endParaRPr lang="en-US">
              <a:solidFill>
                <a:srgbClr val="505050"/>
              </a:solidFill>
            </a:endParaRPr>
          </a:p>
        </p:txBody>
      </p:sp>
    </p:spTree>
    <p:extLst>
      <p:ext uri="{BB962C8B-B14F-4D97-AF65-F5344CB8AC3E}">
        <p14:creationId xmlns:p14="http://schemas.microsoft.com/office/powerpoint/2010/main" val="2901755815"/>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endParaRPr lang="en-US">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410714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737075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0048063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371190972"/>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59865173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41096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46299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848411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51872194"/>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3756597"/>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93200910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761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0824423"/>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122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02126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71367"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41867908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66765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02FEA-6424-47D1-9919-0B22A7F4C66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2BBC010-7909-4F54-B976-48EC77B73776}"/>
              </a:ext>
            </a:extLst>
          </p:cNvPr>
          <p:cNvSpPr>
            <a:spLocks noGrp="1"/>
          </p:cNvSpPr>
          <p:nvPr>
            <p:ph type="dt" sz="half" idx="10"/>
          </p:nvPr>
        </p:nvSpPr>
        <p:spPr/>
        <p:txBody>
          <a:bodyPr/>
          <a:lstStyle/>
          <a:p>
            <a:pPr defTabSz="932418">
              <a:defRPr/>
            </a:pPr>
            <a:fld id="{D99DD403-2D6D-4618-9AFA-0B519278EB02}" type="datetimeFigureOut">
              <a:rPr lang="en-GB" sz="1224" smtClean="0">
                <a:solidFill>
                  <a:prstClr val="black">
                    <a:tint val="75000"/>
                  </a:prstClr>
                </a:solidFill>
                <a:latin typeface="Calibri" panose="020F0502020204030204"/>
              </a:rPr>
              <a:pPr defTabSz="932418">
                <a:defRPr/>
              </a:pPr>
              <a:t>03/12/2018</a:t>
            </a:fld>
            <a:endParaRPr lang="en-GB" sz="1224">
              <a:solidFill>
                <a:prstClr val="black">
                  <a:tint val="75000"/>
                </a:prstClr>
              </a:solidFill>
              <a:latin typeface="Calibri" panose="020F0502020204030204"/>
            </a:endParaRPr>
          </a:p>
        </p:txBody>
      </p:sp>
      <p:sp>
        <p:nvSpPr>
          <p:cNvPr id="4" name="Footer Placeholder 3">
            <a:extLst>
              <a:ext uri="{FF2B5EF4-FFF2-40B4-BE49-F238E27FC236}">
                <a16:creationId xmlns:a16="http://schemas.microsoft.com/office/drawing/2014/main" id="{FF8024A9-BAB3-4A23-9763-35D38ADE9823}"/>
              </a:ext>
            </a:extLst>
          </p:cNvPr>
          <p:cNvSpPr>
            <a:spLocks noGrp="1"/>
          </p:cNvSpPr>
          <p:nvPr>
            <p:ph type="ftr" sz="quarter" idx="11"/>
          </p:nvPr>
        </p:nvSpPr>
        <p:spPr/>
        <p:txBody>
          <a:bodyPr/>
          <a:lstStyle/>
          <a:p>
            <a:pPr algn="ctr" defTabSz="932418">
              <a:defRPr/>
            </a:pPr>
            <a:endParaRPr lang="en-GB" sz="1224">
              <a:solidFill>
                <a:prstClr val="black">
                  <a:tint val="75000"/>
                </a:prstClr>
              </a:solidFill>
              <a:latin typeface="Calibri" panose="020F0502020204030204"/>
            </a:endParaRPr>
          </a:p>
        </p:txBody>
      </p:sp>
      <p:sp>
        <p:nvSpPr>
          <p:cNvPr id="5" name="Slide Number Placeholder 4">
            <a:extLst>
              <a:ext uri="{FF2B5EF4-FFF2-40B4-BE49-F238E27FC236}">
                <a16:creationId xmlns:a16="http://schemas.microsoft.com/office/drawing/2014/main" id="{956F4BF5-CAD8-472A-ABD1-FE95CC7AA352}"/>
              </a:ext>
            </a:extLst>
          </p:cNvPr>
          <p:cNvSpPr>
            <a:spLocks noGrp="1"/>
          </p:cNvSpPr>
          <p:nvPr>
            <p:ph type="sldNum" sz="quarter" idx="12"/>
          </p:nvPr>
        </p:nvSpPr>
        <p:spPr/>
        <p:txBody>
          <a:bodyPr/>
          <a:lstStyle/>
          <a:p>
            <a:pPr algn="r" defTabSz="932418">
              <a:defRPr/>
            </a:pPr>
            <a:fld id="{84627B23-2D54-467F-9299-92A04DAD1BE9}" type="slidenum">
              <a:rPr lang="en-GB" sz="1224" smtClean="0">
                <a:solidFill>
                  <a:prstClr val="black">
                    <a:tint val="75000"/>
                  </a:prstClr>
                </a:solidFill>
                <a:latin typeface="Calibri" panose="020F0502020204030204"/>
              </a:rPr>
              <a:pPr algn="r" defTabSz="932418">
                <a:defRPr/>
              </a:pPr>
              <a:t>‹#›</a:t>
            </a:fld>
            <a:endParaRPr lang="en-GB" sz="1224">
              <a:solidFill>
                <a:prstClr val="black">
                  <a:tint val="75000"/>
                </a:prstClr>
              </a:solidFill>
              <a:latin typeface="Calibri" panose="020F0502020204030204"/>
            </a:endParaRPr>
          </a:p>
        </p:txBody>
      </p:sp>
    </p:spTree>
    <p:extLst>
      <p:ext uri="{BB962C8B-B14F-4D97-AF65-F5344CB8AC3E}">
        <p14:creationId xmlns:p14="http://schemas.microsoft.com/office/powerpoint/2010/main" val="255842810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918686"/>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3465872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110578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524621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477544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4135018"/>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50390"/>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44776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9368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892513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3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8073963"/>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109304"/>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109304"/>
            <a:fld id="{FAADACFB-7C71-4E89-89D2-7BBA40B7BFA9}" type="slidenum">
              <a:rPr lang="en-US" smtClean="0">
                <a:solidFill>
                  <a:srgbClr val="505050"/>
                </a:solidFill>
              </a:rPr>
              <a:pPr defTabSz="1109304"/>
              <a:t>‹#›</a:t>
            </a:fld>
            <a:endParaRPr lang="en-US" dirty="0">
              <a:solidFill>
                <a:srgbClr val="505050"/>
              </a:solidFill>
            </a:endParaRPr>
          </a:p>
        </p:txBody>
      </p:sp>
    </p:spTree>
    <p:extLst>
      <p:ext uri="{BB962C8B-B14F-4D97-AF65-F5344CB8AC3E}">
        <p14:creationId xmlns:p14="http://schemas.microsoft.com/office/powerpoint/2010/main" val="252461234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3288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2795648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userDrawn="1">
  <p:cSld name="Blank Completely - White 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524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userDrawn="1">
  <p:cSld name="Large Image &amp; Slogan - Blue BG">
    <p:spTree>
      <p:nvGrpSpPr>
        <p:cNvPr id="1" name=""/>
        <p:cNvGrpSpPr/>
        <p:nvPr/>
      </p:nvGrpSpPr>
      <p:grpSpPr>
        <a:xfrm>
          <a:off x="0" y="0"/>
          <a:ext cx="0" cy="0"/>
          <a:chOff x="0" y="0"/>
          <a:chExt cx="0" cy="0"/>
        </a:xfrm>
      </p:grpSpPr>
      <p:sp>
        <p:nvSpPr>
          <p:cNvPr id="3" name="Rectangle 2"/>
          <p:cNvSpPr/>
          <p:nvPr userDrawn="1"/>
        </p:nvSpPr>
        <p:spPr>
          <a:xfrm>
            <a:off x="0" y="5553624"/>
            <a:ext cx="12436475" cy="14409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2451" y="5578120"/>
            <a:ext cx="1214085"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49" y="5675313"/>
            <a:ext cx="10824441" cy="1278854"/>
          </a:xfrm>
        </p:spPr>
        <p:txBody>
          <a:bodyPr/>
          <a:lstStyle>
            <a:lvl1pPr algn="l" defTabSz="1243431" rtl="0" eaLnBrk="1" latinLnBrk="0" hangingPunct="1">
              <a:lnSpc>
                <a:spcPts val="10878"/>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2"/>
            <a:ext cx="12436475" cy="738536"/>
          </a:xfrm>
        </p:spPr>
        <p:txBody>
          <a:bodyPr/>
          <a:lstStyle/>
          <a:p>
            <a:r>
              <a:rPr lang="en-US"/>
              <a:t>Click icon to add picture</a:t>
            </a:r>
            <a:endParaRPr lang="en-GB"/>
          </a:p>
        </p:txBody>
      </p:sp>
    </p:spTree>
    <p:extLst>
      <p:ext uri="{BB962C8B-B14F-4D97-AF65-F5344CB8AC3E}">
        <p14:creationId xmlns:p14="http://schemas.microsoft.com/office/powerpoint/2010/main" val="4159421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userDrawn="1">
  <p:cSld name="Blank - White 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3405" y="6333505"/>
            <a:ext cx="1948745" cy="716733"/>
          </a:xfrm>
          <a:prstGeom prst="rect">
            <a:avLst/>
          </a:prstGeom>
        </p:spPr>
      </p:pic>
    </p:spTree>
    <p:extLst>
      <p:ext uri="{BB962C8B-B14F-4D97-AF65-F5344CB8AC3E}">
        <p14:creationId xmlns:p14="http://schemas.microsoft.com/office/powerpoint/2010/main" val="358420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423048345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021747"/>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9747E-30EB-40ED-8412-55A242CDBC1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2236040-7E24-4EFB-BAF6-BED581D9593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C591F13-BB92-4C62-8312-8AD902429022}"/>
              </a:ext>
            </a:extLst>
          </p:cNvPr>
          <p:cNvSpPr>
            <a:spLocks noGrp="1"/>
          </p:cNvSpPr>
          <p:nvPr>
            <p:ph type="dt" sz="half" idx="10"/>
          </p:nvPr>
        </p:nvSpPr>
        <p:spPr/>
        <p:txBody>
          <a:bodyPr/>
          <a:lstStyle/>
          <a:p>
            <a:fld id="{00C530D6-FCE1-4052-9E0E-2BE23351D275}" type="datetimeFigureOut">
              <a:rPr lang="en-GB" smtClean="0"/>
              <a:t>03/12/2018</a:t>
            </a:fld>
            <a:endParaRPr lang="en-GB"/>
          </a:p>
        </p:txBody>
      </p:sp>
      <p:sp>
        <p:nvSpPr>
          <p:cNvPr id="5" name="Footer Placeholder 4">
            <a:extLst>
              <a:ext uri="{FF2B5EF4-FFF2-40B4-BE49-F238E27FC236}">
                <a16:creationId xmlns:a16="http://schemas.microsoft.com/office/drawing/2014/main" id="{B352BDC9-1408-44E8-A759-B456B7BC529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C066B5-FDE9-4305-8C15-1C8BEBF834A3}"/>
              </a:ext>
            </a:extLst>
          </p:cNvPr>
          <p:cNvSpPr>
            <a:spLocks noGrp="1"/>
          </p:cNvSpPr>
          <p:nvPr>
            <p:ph type="sldNum" sz="quarter" idx="12"/>
          </p:nvPr>
        </p:nvSpPr>
        <p:spPr/>
        <p:txBody>
          <a:bodyPr/>
          <a:lstStyle/>
          <a:p>
            <a:fld id="{2F8B52B2-31C7-4BEE-9FD9-0664D1412737}" type="slidenum">
              <a:rPr lang="en-GB" smtClean="0"/>
              <a:t>‹#›</a:t>
            </a:fld>
            <a:endParaRPr lang="en-GB"/>
          </a:p>
        </p:txBody>
      </p:sp>
    </p:spTree>
    <p:extLst>
      <p:ext uri="{BB962C8B-B14F-4D97-AF65-F5344CB8AC3E}">
        <p14:creationId xmlns:p14="http://schemas.microsoft.com/office/powerpoint/2010/main" val="151609571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itle (Viz 1)">
    <p:bg>
      <p:bgPr>
        <a:solidFill>
          <a:srgbClr val="41424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CFCDE27-EDA2-144F-8BC6-6083D6D909B4}"/>
              </a:ext>
            </a:extLst>
          </p:cNvPr>
          <p:cNvPicPr>
            <a:picLocks noChangeAspect="1"/>
          </p:cNvPicPr>
          <p:nvPr userDrawn="1"/>
        </p:nvPicPr>
        <p:blipFill rotWithShape="1">
          <a:blip r:embed="rId2">
            <a:lum bright="-18000"/>
            <a:alphaModFix amt="20000"/>
          </a:blip>
          <a:srcRect t="12321" r="8879"/>
          <a:stretch/>
        </p:blipFill>
        <p:spPr>
          <a:xfrm>
            <a:off x="5893130" y="0"/>
            <a:ext cx="6543345" cy="6132752"/>
          </a:xfrm>
          <a:prstGeom prst="rect">
            <a:avLst/>
          </a:prstGeom>
        </p:spPr>
      </p:pic>
      <p:sp>
        <p:nvSpPr>
          <p:cNvPr id="16" name="Title 13"/>
          <p:cNvSpPr>
            <a:spLocks noGrp="1"/>
          </p:cNvSpPr>
          <p:nvPr>
            <p:ph type="title" hasCustomPrompt="1"/>
          </p:nvPr>
        </p:nvSpPr>
        <p:spPr>
          <a:xfrm>
            <a:off x="466368" y="2649360"/>
            <a:ext cx="10765324" cy="1430781"/>
          </a:xfrm>
          <a:prstGeom prst="rect">
            <a:avLst/>
          </a:prstGeom>
        </p:spPr>
        <p:txBody>
          <a:bodyPr lIns="0" anchor="b">
            <a:noAutofit/>
          </a:bodyPr>
          <a:lstStyle>
            <a:lvl1pPr>
              <a:defRPr sz="8159" b="1" i="0" baseline="0">
                <a:solidFill>
                  <a:schemeClr val="accent2"/>
                </a:solidFill>
                <a:latin typeface="Segoe UI Semibold" charset="0"/>
                <a:ea typeface="Segoe UI Semibold" charset="0"/>
                <a:cs typeface="Segoe UI Semibold" charset="0"/>
              </a:defRPr>
            </a:lvl1pPr>
          </a:lstStyle>
          <a:p>
            <a:r>
              <a:rPr lang="en-US"/>
              <a:t>Title</a:t>
            </a:r>
          </a:p>
        </p:txBody>
      </p:sp>
      <p:sp>
        <p:nvSpPr>
          <p:cNvPr id="23" name="Shape 78"/>
          <p:cNvSpPr txBox="1">
            <a:spLocks noGrp="1"/>
          </p:cNvSpPr>
          <p:nvPr>
            <p:ph type="body" idx="7" hasCustomPrompt="1"/>
          </p:nvPr>
        </p:nvSpPr>
        <p:spPr>
          <a:xfrm>
            <a:off x="466368" y="4080140"/>
            <a:ext cx="10765324" cy="692909"/>
          </a:xfrm>
          <a:prstGeom prst="rect">
            <a:avLst/>
          </a:prstGeom>
        </p:spPr>
        <p:txBody>
          <a:bodyPr vert="horz" lIns="0" tIns="91440" rIns="0" bIns="0" rtlCol="0" anchor="t" anchorCtr="0">
            <a:noAutofit/>
          </a:bodyPr>
          <a:lstStyle>
            <a:lvl1pPr marL="466211" indent="-466211">
              <a:buFont typeface="+mj-lt"/>
              <a:buNone/>
              <a:tabLst>
                <a:tab pos="1865193" algn="l"/>
              </a:tabLst>
              <a:defRPr sz="3264" b="1" i="0" dirty="0">
                <a:solidFill>
                  <a:schemeClr val="tx1"/>
                </a:solidFill>
                <a:latin typeface="Segoe UI Semibold" charset="0"/>
                <a:ea typeface="Segoe UI Semibold" charset="0"/>
                <a:cs typeface="Segoe UI Semibold" charset="0"/>
              </a:defRPr>
            </a:lvl1pPr>
          </a:lstStyle>
          <a:p>
            <a:pPr marL="0" lvl="0" indent="0"/>
            <a:r>
              <a:rPr lang="en-US"/>
              <a:t>Sub Title</a:t>
            </a:r>
          </a:p>
        </p:txBody>
      </p:sp>
      <p:sp>
        <p:nvSpPr>
          <p:cNvPr id="24" name="Text Placeholder 2"/>
          <p:cNvSpPr>
            <a:spLocks noGrp="1"/>
          </p:cNvSpPr>
          <p:nvPr>
            <p:ph type="body" sz="quarter" idx="25" hasCustomPrompt="1"/>
          </p:nvPr>
        </p:nvSpPr>
        <p:spPr>
          <a:xfrm>
            <a:off x="466368" y="5479620"/>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a:t>Speaker</a:t>
            </a:r>
          </a:p>
        </p:txBody>
      </p:sp>
      <p:sp>
        <p:nvSpPr>
          <p:cNvPr id="25" name="Text Placeholder 2"/>
          <p:cNvSpPr>
            <a:spLocks noGrp="1"/>
          </p:cNvSpPr>
          <p:nvPr>
            <p:ph type="body" sz="quarter" idx="26" hasCustomPrompt="1"/>
          </p:nvPr>
        </p:nvSpPr>
        <p:spPr>
          <a:xfrm>
            <a:off x="466368" y="5970863"/>
            <a:ext cx="3614351"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a:t>Speaker title</a:t>
            </a:r>
          </a:p>
        </p:txBody>
      </p:sp>
      <p:sp>
        <p:nvSpPr>
          <p:cNvPr id="29" name="Text Placeholder 2"/>
          <p:cNvSpPr>
            <a:spLocks noGrp="1"/>
          </p:cNvSpPr>
          <p:nvPr>
            <p:ph type="body" sz="quarter" idx="27" hasCustomPrompt="1"/>
          </p:nvPr>
        </p:nvSpPr>
        <p:spPr>
          <a:xfrm>
            <a:off x="9798734" y="5479044"/>
            <a:ext cx="2171373" cy="324392"/>
          </a:xfrm>
          <a:prstGeom prst="rect">
            <a:avLst/>
          </a:prstGeom>
        </p:spPr>
        <p:txBody>
          <a:bodyPr rIns="0" anchor="t" anchorCtr="0"/>
          <a:lstStyle>
            <a:lvl1pPr algn="r">
              <a:defRPr sz="1836" b="1" i="0">
                <a:latin typeface="Segoe UI Semibold" charset="0"/>
                <a:ea typeface="Segoe UI Semibold" charset="0"/>
                <a:cs typeface="Segoe UI Semibold" charset="0"/>
              </a:defRPr>
            </a:lvl1pPr>
          </a:lstStyle>
          <a:p>
            <a:pPr lvl="0"/>
            <a:r>
              <a:rPr lang="en-US"/>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780271" y="5480133"/>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790495" y="5967544"/>
            <a:ext cx="3604126"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793724" y="6545019"/>
            <a:ext cx="2176383" cy="371790"/>
          </a:xfrm>
          <a:prstGeom prst="rect">
            <a:avLst/>
          </a:prstGeom>
        </p:spPr>
        <p:txBody>
          <a:bodyPr vert="horz" lIns="91440" tIns="45720" rIns="0" bIns="45720" rtlCol="0" anchor="t"/>
          <a:lstStyle>
            <a:lvl1pPr algn="r">
              <a:defRPr sz="1224">
                <a:solidFill>
                  <a:srgbClr val="B2B2B2"/>
                </a:solidFill>
              </a:defRPr>
            </a:lvl1pPr>
          </a:lstStyle>
          <a:p>
            <a:endParaRPr lang="en-US"/>
          </a:p>
        </p:txBody>
      </p:sp>
      <p:pic>
        <p:nvPicPr>
          <p:cNvPr id="17" name="Picture 16">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51420" y="260589"/>
            <a:ext cx="1970911" cy="802710"/>
          </a:xfrm>
          <a:prstGeom prst="rect">
            <a:avLst/>
          </a:prstGeom>
        </p:spPr>
      </p:pic>
      <p:sp>
        <p:nvSpPr>
          <p:cNvPr id="18" name="Text Placeholder 2">
            <a:extLst>
              <a:ext uri="{FF2B5EF4-FFF2-40B4-BE49-F238E27FC236}">
                <a16:creationId xmlns:a16="http://schemas.microsoft.com/office/drawing/2014/main" id="{80FDB1C8-E905-4DC8-A12E-D5858985512D}"/>
              </a:ext>
            </a:extLst>
          </p:cNvPr>
          <p:cNvSpPr>
            <a:spLocks noGrp="1"/>
          </p:cNvSpPr>
          <p:nvPr>
            <p:ph type="body" sz="quarter" idx="30" hasCustomPrompt="1"/>
          </p:nvPr>
        </p:nvSpPr>
        <p:spPr>
          <a:xfrm>
            <a:off x="466368" y="6355932"/>
            <a:ext cx="3614351" cy="324392"/>
          </a:xfrm>
          <a:prstGeom prst="rect">
            <a:avLst/>
          </a:prstGeom>
        </p:spPr>
        <p:txBody>
          <a:bodyPr anchor="ctr"/>
          <a:lstStyle>
            <a:lvl1pPr>
              <a:defRPr sz="1632" b="0" i="0">
                <a:solidFill>
                  <a:schemeClr val="tx1"/>
                </a:solidFill>
                <a:latin typeface="Segoe UI" charset="0"/>
                <a:ea typeface="Segoe UI" charset="0"/>
                <a:cs typeface="Segoe UI" charset="0"/>
              </a:defRPr>
            </a:lvl1pPr>
          </a:lstStyle>
          <a:p>
            <a:pPr lvl="0"/>
            <a:r>
              <a:rPr lang="en-US"/>
              <a:t>Department</a:t>
            </a:r>
          </a:p>
        </p:txBody>
      </p:sp>
      <p:pic>
        <p:nvPicPr>
          <p:cNvPr id="21" name="Picture 20">
            <a:extLst>
              <a:ext uri="{FF2B5EF4-FFF2-40B4-BE49-F238E27FC236}">
                <a16:creationId xmlns:a16="http://schemas.microsoft.com/office/drawing/2014/main" id="{AAD04577-065F-4833-81EA-1ADCD08C644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81915" y="65145"/>
            <a:ext cx="1138203" cy="1224512"/>
          </a:xfrm>
          <a:prstGeom prst="rect">
            <a:avLst/>
          </a:prstGeom>
        </p:spPr>
      </p:pic>
    </p:spTree>
    <p:extLst>
      <p:ext uri="{BB962C8B-B14F-4D97-AF65-F5344CB8AC3E}">
        <p14:creationId xmlns:p14="http://schemas.microsoft.com/office/powerpoint/2010/main" val="196704447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Title 13">
            <a:extLst>
              <a:ext uri="{FF2B5EF4-FFF2-40B4-BE49-F238E27FC236}">
                <a16:creationId xmlns:a16="http://schemas.microsoft.com/office/drawing/2014/main" id="{3C88968D-BB86-4DFC-A74D-8289B59E579E}"/>
              </a:ext>
            </a:extLst>
          </p:cNvPr>
          <p:cNvSpPr>
            <a:spLocks noGrp="1"/>
          </p:cNvSpPr>
          <p:nvPr>
            <p:ph type="title" hasCustomPrompt="1"/>
          </p:nvPr>
        </p:nvSpPr>
        <p:spPr>
          <a:xfrm>
            <a:off x="466368" y="380865"/>
            <a:ext cx="10765324" cy="1430781"/>
          </a:xfrm>
          <a:prstGeom prst="rect">
            <a:avLst/>
          </a:prstGeom>
        </p:spPr>
        <p:txBody>
          <a:bodyPr lIns="0" anchor="b">
            <a:noAutofit/>
          </a:bodyPr>
          <a:lstStyle>
            <a:lvl1pPr>
              <a:defRPr sz="8159" b="1" i="0" baseline="0">
                <a:solidFill>
                  <a:schemeClr val="accent2"/>
                </a:solidFill>
                <a:latin typeface="Segoe UI Semibold" charset="0"/>
                <a:ea typeface="Segoe UI Semibold" charset="0"/>
                <a:cs typeface="Segoe UI Semibold" charset="0"/>
              </a:defRPr>
            </a:lvl1pPr>
          </a:lstStyle>
          <a:p>
            <a:r>
              <a:rPr lang="en-US"/>
              <a:t>Agenda title</a:t>
            </a:r>
          </a:p>
        </p:txBody>
      </p:sp>
      <p:sp>
        <p:nvSpPr>
          <p:cNvPr id="4" name="Shape 78">
            <a:extLst>
              <a:ext uri="{FF2B5EF4-FFF2-40B4-BE49-F238E27FC236}">
                <a16:creationId xmlns:a16="http://schemas.microsoft.com/office/drawing/2014/main" id="{BCBBDEB3-E9E2-421D-B35F-0CF8905040A4}"/>
              </a:ext>
            </a:extLst>
          </p:cNvPr>
          <p:cNvSpPr txBox="1">
            <a:spLocks noGrp="1"/>
          </p:cNvSpPr>
          <p:nvPr>
            <p:ph type="body" idx="7" hasCustomPrompt="1"/>
          </p:nvPr>
        </p:nvSpPr>
        <p:spPr>
          <a:xfrm>
            <a:off x="2722579" y="2432331"/>
            <a:ext cx="8509112" cy="3831234"/>
          </a:xfrm>
          <a:prstGeom prst="rect">
            <a:avLst/>
          </a:prstGeom>
        </p:spPr>
        <p:txBody>
          <a:bodyPr vert="horz" lIns="0" tIns="91440" rIns="0" bIns="0" rtlCol="0" anchor="t" anchorCtr="0">
            <a:noAutofit/>
          </a:bodyPr>
          <a:lstStyle>
            <a:lvl1pPr marL="466211" indent="-466211">
              <a:buFont typeface="+mj-lt"/>
              <a:buNone/>
              <a:tabLst>
                <a:tab pos="1865193" algn="l"/>
              </a:tabLst>
              <a:defRPr sz="3264" b="1" i="0" dirty="0">
                <a:solidFill>
                  <a:schemeClr val="tx1"/>
                </a:solidFill>
                <a:latin typeface="Segoe UI Semibold" charset="0"/>
                <a:ea typeface="Segoe UI Semibold" charset="0"/>
                <a:cs typeface="Segoe UI Semibold" charset="0"/>
              </a:defRPr>
            </a:lvl1pPr>
          </a:lstStyle>
          <a:p>
            <a:pPr marL="0" lvl="0" indent="0"/>
            <a:r>
              <a:rPr lang="en-US"/>
              <a:t>Agenda items</a:t>
            </a:r>
          </a:p>
        </p:txBody>
      </p:sp>
      <p:pic>
        <p:nvPicPr>
          <p:cNvPr id="5" name="Picture 4">
            <a:extLst>
              <a:ext uri="{FF2B5EF4-FFF2-40B4-BE49-F238E27FC236}">
                <a16:creationId xmlns:a16="http://schemas.microsoft.com/office/drawing/2014/main" id="{767B676D-63C4-4D08-8BC3-DCC74584093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3447" y="6479433"/>
            <a:ext cx="1383571" cy="563499"/>
          </a:xfrm>
          <a:prstGeom prst="rect">
            <a:avLst/>
          </a:prstGeom>
        </p:spPr>
      </p:pic>
    </p:spTree>
    <p:extLst>
      <p:ext uri="{BB962C8B-B14F-4D97-AF65-F5344CB8AC3E}">
        <p14:creationId xmlns:p14="http://schemas.microsoft.com/office/powerpoint/2010/main" val="108126049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3" name="Title 13">
            <a:extLst>
              <a:ext uri="{FF2B5EF4-FFF2-40B4-BE49-F238E27FC236}">
                <a16:creationId xmlns:a16="http://schemas.microsoft.com/office/drawing/2014/main" id="{3C88968D-BB86-4DFC-A74D-8289B59E579E}"/>
              </a:ext>
            </a:extLst>
          </p:cNvPr>
          <p:cNvSpPr>
            <a:spLocks noGrp="1"/>
          </p:cNvSpPr>
          <p:nvPr>
            <p:ph type="title" hasCustomPrompt="1"/>
          </p:nvPr>
        </p:nvSpPr>
        <p:spPr>
          <a:xfrm>
            <a:off x="466368" y="2649360"/>
            <a:ext cx="10765324" cy="1430781"/>
          </a:xfrm>
          <a:prstGeom prst="rect">
            <a:avLst/>
          </a:prstGeom>
        </p:spPr>
        <p:txBody>
          <a:bodyPr lIns="0" anchor="b">
            <a:noAutofit/>
          </a:bodyPr>
          <a:lstStyle>
            <a:lvl1pPr>
              <a:defRPr sz="8159" b="1" i="0" baseline="0">
                <a:solidFill>
                  <a:schemeClr val="accent2"/>
                </a:solidFill>
                <a:latin typeface="Segoe UI Semibold" charset="0"/>
                <a:ea typeface="Segoe UI Semibold" charset="0"/>
                <a:cs typeface="Segoe UI Semibold" charset="0"/>
              </a:defRPr>
            </a:lvl1pPr>
          </a:lstStyle>
          <a:p>
            <a:r>
              <a:rPr lang="en-US"/>
              <a:t>Section title</a:t>
            </a:r>
          </a:p>
        </p:txBody>
      </p:sp>
      <p:sp>
        <p:nvSpPr>
          <p:cNvPr id="4" name="Shape 78">
            <a:extLst>
              <a:ext uri="{FF2B5EF4-FFF2-40B4-BE49-F238E27FC236}">
                <a16:creationId xmlns:a16="http://schemas.microsoft.com/office/drawing/2014/main" id="{BCBBDEB3-E9E2-421D-B35F-0CF8905040A4}"/>
              </a:ext>
            </a:extLst>
          </p:cNvPr>
          <p:cNvSpPr txBox="1">
            <a:spLocks noGrp="1"/>
          </p:cNvSpPr>
          <p:nvPr>
            <p:ph type="body" idx="7" hasCustomPrompt="1"/>
          </p:nvPr>
        </p:nvSpPr>
        <p:spPr>
          <a:xfrm>
            <a:off x="466368" y="4080140"/>
            <a:ext cx="10765324" cy="692909"/>
          </a:xfrm>
          <a:prstGeom prst="rect">
            <a:avLst/>
          </a:prstGeom>
        </p:spPr>
        <p:txBody>
          <a:bodyPr vert="horz" lIns="0" tIns="91440" rIns="0" bIns="0" rtlCol="0" anchor="t" anchorCtr="0">
            <a:noAutofit/>
          </a:bodyPr>
          <a:lstStyle>
            <a:lvl1pPr marL="466211" indent="-466211">
              <a:buFont typeface="+mj-lt"/>
              <a:buNone/>
              <a:tabLst>
                <a:tab pos="1865193" algn="l"/>
              </a:tabLst>
              <a:defRPr sz="3264" b="1" i="0" dirty="0">
                <a:solidFill>
                  <a:schemeClr val="tx1"/>
                </a:solidFill>
                <a:latin typeface="Segoe UI Semibold" charset="0"/>
                <a:ea typeface="Segoe UI Semibold" charset="0"/>
                <a:cs typeface="Segoe UI Semibold" charset="0"/>
              </a:defRPr>
            </a:lvl1pPr>
          </a:lstStyle>
          <a:p>
            <a:pPr marL="0" lvl="0" indent="0"/>
            <a:r>
              <a:rPr lang="en-US"/>
              <a:t>Sub section title</a:t>
            </a:r>
          </a:p>
        </p:txBody>
      </p:sp>
      <p:pic>
        <p:nvPicPr>
          <p:cNvPr id="6" name="Picture 5">
            <a:extLst>
              <a:ext uri="{FF2B5EF4-FFF2-40B4-BE49-F238E27FC236}">
                <a16:creationId xmlns:a16="http://schemas.microsoft.com/office/drawing/2014/main" id="{E446FD89-4DE5-415D-93AB-5531DA8187F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51420" y="260589"/>
            <a:ext cx="1970911" cy="802710"/>
          </a:xfrm>
          <a:prstGeom prst="rect">
            <a:avLst/>
          </a:prstGeom>
        </p:spPr>
      </p:pic>
    </p:spTree>
    <p:extLst>
      <p:ext uri="{BB962C8B-B14F-4D97-AF65-F5344CB8AC3E}">
        <p14:creationId xmlns:p14="http://schemas.microsoft.com/office/powerpoint/2010/main" val="308396518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Main Content">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5A4B89-3AC0-4710-B165-188B49267850}"/>
              </a:ext>
            </a:extLst>
          </p:cNvPr>
          <p:cNvSpPr/>
          <p:nvPr userDrawn="1"/>
        </p:nvSpPr>
        <p:spPr>
          <a:xfrm>
            <a:off x="0" y="6540414"/>
            <a:ext cx="12436475" cy="45411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36"/>
          </a:p>
        </p:txBody>
      </p:sp>
      <p:pic>
        <p:nvPicPr>
          <p:cNvPr id="4" name="Picture 3">
            <a:extLst>
              <a:ext uri="{FF2B5EF4-FFF2-40B4-BE49-F238E27FC236}">
                <a16:creationId xmlns:a16="http://schemas.microsoft.com/office/drawing/2014/main" id="{E765805A-AF6B-4852-97D4-57D25F60F40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3447" y="6479433"/>
            <a:ext cx="1383571" cy="563499"/>
          </a:xfrm>
          <a:prstGeom prst="rect">
            <a:avLst/>
          </a:prstGeom>
        </p:spPr>
      </p:pic>
      <p:sp>
        <p:nvSpPr>
          <p:cNvPr id="9" name="Title 13">
            <a:extLst>
              <a:ext uri="{FF2B5EF4-FFF2-40B4-BE49-F238E27FC236}">
                <a16:creationId xmlns:a16="http://schemas.microsoft.com/office/drawing/2014/main" id="{7638CAE0-45A7-47B4-AF59-D720D9FE972B}"/>
              </a:ext>
            </a:extLst>
          </p:cNvPr>
          <p:cNvSpPr>
            <a:spLocks noGrp="1"/>
          </p:cNvSpPr>
          <p:nvPr>
            <p:ph type="title" hasCustomPrompt="1"/>
          </p:nvPr>
        </p:nvSpPr>
        <p:spPr>
          <a:xfrm rot="16200000">
            <a:off x="-2657377" y="2803969"/>
            <a:ext cx="6406288" cy="944638"/>
          </a:xfrm>
          <a:prstGeom prst="rect">
            <a:avLst/>
          </a:prstGeom>
        </p:spPr>
        <p:txBody>
          <a:bodyPr lIns="0" anchor="ctr">
            <a:noAutofit/>
          </a:bodyPr>
          <a:lstStyle>
            <a:lvl1pPr algn="ctr">
              <a:defRPr sz="4080" b="0" i="0" cap="all" normalizeH="0" baseline="0">
                <a:solidFill>
                  <a:srgbClr val="C5C5C5"/>
                </a:solidFill>
                <a:latin typeface="+mj-lt"/>
                <a:ea typeface="Segoe UI Semibold" charset="0"/>
                <a:cs typeface="Segoe UI Semibold" charset="0"/>
              </a:defRPr>
            </a:lvl1pPr>
          </a:lstStyle>
          <a:p>
            <a:r>
              <a:rPr lang="en-US"/>
              <a:t>Slide title here</a:t>
            </a:r>
          </a:p>
        </p:txBody>
      </p:sp>
    </p:spTree>
    <p:extLst>
      <p:ext uri="{BB962C8B-B14F-4D97-AF65-F5344CB8AC3E}">
        <p14:creationId xmlns:p14="http://schemas.microsoft.com/office/powerpoint/2010/main" val="42110230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p:cSld name="Finish">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19900" y="2895979"/>
            <a:ext cx="4002972" cy="1630325"/>
          </a:xfrm>
          <a:prstGeom prst="rect">
            <a:avLst/>
          </a:prstGeom>
        </p:spPr>
      </p:pic>
      <p:sp>
        <p:nvSpPr>
          <p:cNvPr id="5" name="Rectangle 2">
            <a:extLst>
              <a:ext uri="{FF2B5EF4-FFF2-40B4-BE49-F238E27FC236}">
                <a16:creationId xmlns:a16="http://schemas.microsoft.com/office/drawing/2014/main" id="{0CD2D2BF-BCAB-4D60-84D5-268B210223FA}"/>
              </a:ext>
            </a:extLst>
          </p:cNvPr>
          <p:cNvSpPr>
            <a:spLocks noChangeArrowheads="1"/>
          </p:cNvSpPr>
          <p:nvPr userDrawn="1"/>
        </p:nvSpPr>
        <p:spPr bwMode="auto">
          <a:xfrm>
            <a:off x="386612" y="6333866"/>
            <a:ext cx="5850551" cy="254262"/>
          </a:xfrm>
          <a:prstGeom prst="rect">
            <a:avLst/>
          </a:prstGeom>
          <a:noFill/>
          <a:ln w="9525">
            <a:noFill/>
            <a:miter lim="800000"/>
            <a:headEnd/>
            <a:tailEnd/>
          </a:ln>
        </p:spPr>
        <p:txBody>
          <a:bodyPr wrap="square">
            <a:spAutoFit/>
          </a:bodyPr>
          <a:lstStyle/>
          <a:p>
            <a:pPr marL="0" lvl="1" defTabSz="932278">
              <a:defRPr/>
            </a:pPr>
            <a:r>
              <a:rPr lang="en-US" sz="1020" b="0" i="0">
                <a:solidFill>
                  <a:schemeClr val="tx1"/>
                </a:solidFill>
                <a:latin typeface="Segoe UI" charset="0"/>
                <a:ea typeface="Segoe UI" charset="0"/>
                <a:cs typeface="Segoe UI" charset="0"/>
              </a:rPr>
              <a:t>© Copyright Microsoft Corporation. All rights reserved.</a:t>
            </a:r>
          </a:p>
        </p:txBody>
      </p:sp>
      <p:pic>
        <p:nvPicPr>
          <p:cNvPr id="4" name="Picture 3"/>
          <p:cNvPicPr>
            <a:picLocks noChangeAspect="1"/>
          </p:cNvPicPr>
          <p:nvPr userDrawn="1"/>
        </p:nvPicPr>
        <p:blipFill>
          <a:blip r:embed="rId3">
            <a:lum bright="13000"/>
            <a:alphaModFix amt="8000"/>
          </a:blip>
          <a:stretch>
            <a:fillRect/>
          </a:stretch>
        </p:blipFill>
        <p:spPr>
          <a:xfrm rot="17100000">
            <a:off x="6058175" y="-191875"/>
            <a:ext cx="6134500" cy="6568723"/>
          </a:xfrm>
          <a:prstGeom prst="rect">
            <a:avLst/>
          </a:prstGeom>
        </p:spPr>
      </p:pic>
    </p:spTree>
    <p:extLst>
      <p:ext uri="{BB962C8B-B14F-4D97-AF65-F5344CB8AC3E}">
        <p14:creationId xmlns:p14="http://schemas.microsoft.com/office/powerpoint/2010/main" val="355494723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Only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310420"/>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5605D-DA6F-4003-991C-4F98FA72CAA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27047FC9-EA01-4E5C-BE55-B98FCE8BDB59}"/>
              </a:ext>
            </a:extLst>
          </p:cNvPr>
          <p:cNvSpPr>
            <a:spLocks noGrp="1"/>
          </p:cNvSpPr>
          <p:nvPr>
            <p:ph type="dt" sz="half" idx="10"/>
          </p:nvPr>
        </p:nvSpPr>
        <p:spPr/>
        <p:txBody>
          <a:bodyPr/>
          <a:lstStyle/>
          <a:p>
            <a:fld id="{F8460B15-C26E-495C-9AE2-CD5315E58828}" type="datetimeFigureOut">
              <a:rPr lang="en-GB" smtClean="0"/>
              <a:t>03/12/2018</a:t>
            </a:fld>
            <a:endParaRPr lang="en-GB"/>
          </a:p>
        </p:txBody>
      </p:sp>
      <p:sp>
        <p:nvSpPr>
          <p:cNvPr id="4" name="Footer Placeholder 3">
            <a:extLst>
              <a:ext uri="{FF2B5EF4-FFF2-40B4-BE49-F238E27FC236}">
                <a16:creationId xmlns:a16="http://schemas.microsoft.com/office/drawing/2014/main" id="{E13A8949-7BCB-4DBF-9C3E-860612A2F23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616748-7B2C-4373-A784-5F33164155E7}"/>
              </a:ext>
            </a:extLst>
          </p:cNvPr>
          <p:cNvSpPr>
            <a:spLocks noGrp="1"/>
          </p:cNvSpPr>
          <p:nvPr>
            <p:ph type="sldNum" sz="quarter" idx="12"/>
          </p:nvPr>
        </p:nvSpPr>
        <p:spPr/>
        <p:txBody>
          <a:bodyPr/>
          <a:lstStyle/>
          <a:p>
            <a:fld id="{7D60C9E8-C6E7-46DE-85C7-C4A4200A0265}" type="slidenum">
              <a:rPr lang="en-GB" smtClean="0"/>
              <a:t>‹#›</a:t>
            </a:fld>
            <a:endParaRPr lang="en-GB"/>
          </a:p>
        </p:txBody>
      </p:sp>
    </p:spTree>
    <p:extLst>
      <p:ext uri="{BB962C8B-B14F-4D97-AF65-F5344CB8AC3E}">
        <p14:creationId xmlns:p14="http://schemas.microsoft.com/office/powerpoint/2010/main" val="3893031590"/>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774644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2" y="0"/>
            <a:ext cx="11970326" cy="6994525"/>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63951" y="2088066"/>
            <a:ext cx="11908574" cy="1807811"/>
          </a:xfrm>
          <a:noFill/>
        </p:spPr>
        <p:txBody>
          <a:bodyPr vert="horz" wrap="square" lIns="146304" tIns="91440" rIns="146304" bIns="0" rtlCol="0" anchor="b" anchorCtr="0">
            <a:noAutofit/>
          </a:bodyPr>
          <a:lstStyle>
            <a:lvl1pPr>
              <a:defRPr lang="en-US" sz="6599" spc="-100"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63951" y="3905404"/>
            <a:ext cx="11908574" cy="638008"/>
          </a:xfrm>
        </p:spPr>
        <p:txBody>
          <a:bodyPr lIns="182880" tIns="109728" bIns="109728">
            <a:noAutofit/>
          </a:bodyPr>
          <a:lstStyle>
            <a:lvl1pPr marL="0" indent="0">
              <a:spcBef>
                <a:spcPts val="0"/>
              </a:spcBef>
              <a:buNone/>
              <a:defRPr sz="2800"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57200" y="479425"/>
            <a:ext cx="1452989" cy="310896"/>
          </a:xfrm>
          <a:prstGeom prst="rect">
            <a:avLst/>
          </a:prstGeom>
        </p:spPr>
      </p:pic>
    </p:spTree>
    <p:extLst>
      <p:ext uri="{BB962C8B-B14F-4D97-AF65-F5344CB8AC3E}">
        <p14:creationId xmlns:p14="http://schemas.microsoft.com/office/powerpoint/2010/main" val="186012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1759392"/>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122788"/>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1759392"/>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194857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1967590"/>
          </a:xfrm>
        </p:spPr>
        <p:txBody>
          <a:bodyPr>
            <a:spAutoFit/>
          </a:bodyPr>
          <a:lstStyle>
            <a:lvl1pPr>
              <a:defRPr sz="39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0367286"/>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1729063"/>
          </a:xfrm>
        </p:spPr>
        <p:txBody>
          <a:bodyPr>
            <a:spAutoFit/>
          </a:bodyPr>
          <a:lstStyle>
            <a:lvl1pPr>
              <a:defRPr sz="2448">
                <a:latin typeface="Segoe UI Semilight" panose="020B0402040204020203" pitchFamily="34" charset="0"/>
                <a:cs typeface="Segoe UI Semilight" panose="020B0402040204020203" pitchFamily="34" charset="0"/>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3659396"/>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42776"/>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42776"/>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818490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42776"/>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42776"/>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707051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2016642"/>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2016642"/>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696087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1" y="1212851"/>
            <a:ext cx="5486399" cy="2016642"/>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2016642"/>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2829085"/>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5891134"/>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212849"/>
            <a:ext cx="12436475" cy="578905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74638" y="1964021"/>
            <a:ext cx="11889563" cy="318286"/>
          </a:xfrm>
          <a:noFill/>
        </p:spPr>
        <p:txBody>
          <a:bodyPr wrap="square" lIns="91440" tIns="45720" rIns="91440" bIns="45720" rtlCol="0">
            <a:spAutoFit/>
          </a:bodyPr>
          <a:lstStyle>
            <a:lvl1pPr marL="0" indent="0">
              <a:buNone/>
              <a:defRPr lang="en-US" sz="1428" b="1" dirty="0" smtClean="0">
                <a:solidFill>
                  <a:schemeClr val="tx2"/>
                </a:solidFill>
                <a:latin typeface="Segoe UI Semibold" charset="0"/>
                <a:ea typeface="Segoe UI Semibold" charset="0"/>
                <a:cs typeface="Segoe UI Semibold" charset="0"/>
              </a:defRPr>
            </a:lvl1pPr>
          </a:lstStyle>
          <a:p>
            <a:pPr marL="0" lvl="0" defTabSz="932597"/>
            <a:r>
              <a:rPr lang="en-US" dirty="0"/>
              <a:t>Edit Master text styles</a:t>
            </a:r>
          </a:p>
        </p:txBody>
      </p:sp>
    </p:spTree>
    <p:extLst>
      <p:ext uri="{BB962C8B-B14F-4D97-AF65-F5344CB8AC3E}">
        <p14:creationId xmlns:p14="http://schemas.microsoft.com/office/powerpoint/2010/main" val="223566518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99248"/>
            <a:ext cx="12436475" cy="550265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74638" y="1964021"/>
            <a:ext cx="11889563" cy="318286"/>
          </a:xfrm>
          <a:noFill/>
        </p:spPr>
        <p:txBody>
          <a:bodyPr wrap="square" lIns="91440" tIns="45720" rIns="91440" bIns="45720" rtlCol="0">
            <a:spAutoFit/>
          </a:bodyPr>
          <a:lstStyle>
            <a:lvl1pPr marL="0" indent="0">
              <a:buNone/>
              <a:defRPr lang="en-US" sz="1428" b="1" dirty="0" smtClean="0">
                <a:solidFill>
                  <a:schemeClr val="tx2"/>
                </a:solidFill>
                <a:latin typeface="Segoe UI Semibold" charset="0"/>
                <a:ea typeface="Segoe UI Semibold" charset="0"/>
                <a:cs typeface="Segoe UI Semibold" charset="0"/>
              </a:defRPr>
            </a:lvl1pPr>
          </a:lstStyle>
          <a:p>
            <a:pPr marL="0" lvl="0" defTabSz="932597"/>
            <a:r>
              <a:rPr lang="en-US" dirty="0"/>
              <a:t>Edit Master text styles</a:t>
            </a:r>
          </a:p>
        </p:txBody>
      </p:sp>
    </p:spTree>
    <p:extLst>
      <p:ext uri="{BB962C8B-B14F-4D97-AF65-F5344CB8AC3E}">
        <p14:creationId xmlns:p14="http://schemas.microsoft.com/office/powerpoint/2010/main" val="3136433637"/>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74639" y="295274"/>
            <a:ext cx="5121903" cy="1067272"/>
          </a:xfrm>
        </p:spPr>
        <p:txBody>
          <a:bodyPr vert="horz" wrap="square" lIns="146304" tIns="91440" rIns="146304" bIns="91440" rtlCol="0" anchor="t">
            <a:noAutofit/>
          </a:bodyPr>
          <a:lstStyle>
            <a:lvl1pPr algn="l">
              <a:defRPr lang="en-US" sz="2856" cap="all" spc="510">
                <a:solidFill>
                  <a:schemeClr val="tx2"/>
                </a:solidFill>
                <a:latin typeface="Segoe UI Semilight" charset="0"/>
                <a:cs typeface="Segoe UI Semilight" charset="0"/>
              </a:defRPr>
            </a:lvl1pPr>
          </a:lstStyle>
          <a:p>
            <a:pPr marL="0" lvl="0" defTabSz="932597">
              <a:lnSpc>
                <a:spcPct val="100000"/>
              </a:lnSpc>
            </a:pPr>
            <a:r>
              <a:rPr lang="en-US" dirty="0"/>
              <a:t>Click to edit Master title style</a:t>
            </a:r>
          </a:p>
        </p:txBody>
      </p:sp>
    </p:spTree>
    <p:extLst>
      <p:ext uri="{BB962C8B-B14F-4D97-AF65-F5344CB8AC3E}">
        <p14:creationId xmlns:p14="http://schemas.microsoft.com/office/powerpoint/2010/main" val="2266919488"/>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454282"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p:cNvSpPr>
            <a:spLocks noGrp="1"/>
          </p:cNvSpPr>
          <p:nvPr>
            <p:ph type="title"/>
          </p:nvPr>
        </p:nvSpPr>
        <p:spPr>
          <a:xfrm>
            <a:off x="605900" y="2035445"/>
            <a:ext cx="4231001" cy="2923636"/>
          </a:xfrm>
        </p:spPr>
        <p:txBody>
          <a:bodyPr anchor="ctr">
            <a:normAutofit/>
          </a:bodyPr>
          <a:lstStyle>
            <a:lvl1pPr algn="l">
              <a:lnSpc>
                <a:spcPct val="100000"/>
              </a:lnSpc>
              <a:defRPr lang="en-US" sz="3264" kern="1200" cap="all" spc="510" dirty="0">
                <a:ln w="3175">
                  <a:noFill/>
                </a:ln>
                <a:solidFill>
                  <a:srgbClr val="FFFFFF"/>
                </a:solidFill>
                <a:latin typeface="Segoe UI Semilight" charset="0"/>
                <a:ea typeface="+mn-ea"/>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232915880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74639" y="2241453"/>
            <a:ext cx="5370696" cy="2033762"/>
          </a:xfrm>
        </p:spPr>
        <p:txBody>
          <a:bodyPr/>
          <a:lstStyle>
            <a:lvl1pPr marL="0" indent="0">
              <a:spcAft>
                <a:spcPts val="1836"/>
              </a:spcAft>
              <a:buNone/>
              <a:defRPr sz="2448" spc="102" baseline="0">
                <a:solidFill>
                  <a:schemeClr val="tx1"/>
                </a:solidFill>
              </a:defRPr>
            </a:lvl1pPr>
            <a:lvl2pPr marL="163204" indent="-163204" algn="l" defTabSz="777164" rtl="0" eaLnBrk="1" latinLnBrk="0" hangingPunct="1">
              <a:lnSpc>
                <a:spcPct val="107000"/>
              </a:lnSpc>
              <a:spcBef>
                <a:spcPts val="0"/>
              </a:spcBef>
              <a:spcAft>
                <a:spcPts val="612"/>
              </a:spcAft>
              <a:buClr>
                <a:schemeClr val="tx2"/>
              </a:buClr>
              <a:buFont typeface="Arial" panose="020B0604020202020204" pitchFamily="34" charset="0"/>
              <a:buChar char="•"/>
              <a:defRPr lang="en-US" sz="2040" kern="1200" spc="102" baseline="0" dirty="0" smtClean="0">
                <a:solidFill>
                  <a:schemeClr val="tx1"/>
                </a:solidFill>
                <a:latin typeface="+mn-lt"/>
                <a:ea typeface="+mn-ea"/>
                <a:cs typeface="Times New Roman" panose="02020603050405020304" pitchFamily="18" charset="0"/>
              </a:defRPr>
            </a:lvl2pPr>
            <a:lvl3pPr marL="581254" indent="-233149" defTabSz="777164">
              <a:buClr>
                <a:schemeClr val="tx2"/>
              </a:buClr>
              <a:defRPr spc="102" baseline="0">
                <a:solidFill>
                  <a:schemeClr val="tx1"/>
                </a:solidFill>
              </a:defRPr>
            </a:lvl3pPr>
            <a:lvl4pPr marL="932597" indent="-233149" defTabSz="777164">
              <a:buClr>
                <a:schemeClr val="tx2"/>
              </a:buClr>
              <a:defRPr spc="102" baseline="0">
                <a:solidFill>
                  <a:schemeClr val="tx1"/>
                </a:solidFill>
              </a:defRPr>
            </a:lvl4pPr>
            <a:lvl5pPr marL="1283940" indent="-233149" defTabSz="777164">
              <a:buClr>
                <a:schemeClr val="tx2"/>
              </a:buClr>
              <a:defRPr spc="102" baseline="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379245" y="1"/>
            <a:ext cx="6057229" cy="7001903"/>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74639" y="295274"/>
            <a:ext cx="5370696" cy="164987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42262927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74639" y="2241453"/>
            <a:ext cx="5370696" cy="2033762"/>
          </a:xfrm>
        </p:spPr>
        <p:txBody>
          <a:bodyPr/>
          <a:lstStyle>
            <a:lvl1pPr marL="0" indent="0">
              <a:spcAft>
                <a:spcPts val="1836"/>
              </a:spcAft>
              <a:buNone/>
              <a:defRPr sz="2448" spc="102" baseline="0">
                <a:solidFill>
                  <a:schemeClr val="bg1"/>
                </a:solidFill>
              </a:defRPr>
            </a:lvl1pPr>
            <a:lvl2pPr marL="163204" indent="-163204" algn="l" defTabSz="777164" rtl="0" eaLnBrk="1" latinLnBrk="0" hangingPunct="1">
              <a:lnSpc>
                <a:spcPct val="107000"/>
              </a:lnSpc>
              <a:spcBef>
                <a:spcPts val="0"/>
              </a:spcBef>
              <a:spcAft>
                <a:spcPts val="612"/>
              </a:spcAft>
              <a:buClr>
                <a:schemeClr val="tx2"/>
              </a:buClr>
              <a:buFont typeface="Arial" panose="020B0604020202020204" pitchFamily="34" charset="0"/>
              <a:buChar char="•"/>
              <a:defRPr lang="en-US" sz="2040" kern="1200" spc="102" baseline="0" dirty="0" smtClean="0">
                <a:solidFill>
                  <a:schemeClr val="bg1"/>
                </a:solidFill>
                <a:latin typeface="+mn-lt"/>
                <a:ea typeface="+mn-ea"/>
                <a:cs typeface="Times New Roman" panose="02020603050405020304" pitchFamily="18" charset="0"/>
              </a:defRPr>
            </a:lvl2pPr>
            <a:lvl3pPr marL="581254" indent="-233149" defTabSz="777164">
              <a:buClr>
                <a:schemeClr val="tx2"/>
              </a:buClr>
              <a:defRPr spc="102" baseline="0">
                <a:solidFill>
                  <a:schemeClr val="bg1"/>
                </a:solidFill>
              </a:defRPr>
            </a:lvl3pPr>
            <a:lvl4pPr marL="932597" indent="-233149" defTabSz="777164">
              <a:buClr>
                <a:schemeClr val="tx2"/>
              </a:buClr>
              <a:defRPr spc="102" baseline="0">
                <a:solidFill>
                  <a:schemeClr val="bg1"/>
                </a:solidFill>
              </a:defRPr>
            </a:lvl4pPr>
            <a:lvl5pPr marL="1283940" indent="-233149" defTabSz="777164">
              <a:buClr>
                <a:schemeClr val="tx2"/>
              </a:buClr>
              <a:defRPr spc="102" baseline="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74639" y="295274"/>
            <a:ext cx="5370696" cy="1649870"/>
          </a:xfrm>
        </p:spPr>
        <p:txBody>
          <a:bodyPr/>
          <a:lstStyle>
            <a:lvl1pPr algn="l">
              <a:defRPr>
                <a:solidFill>
                  <a:schemeClr val="bg1"/>
                </a:solidFill>
              </a:defRPr>
            </a:lvl1pPr>
          </a:lstStyle>
          <a:p>
            <a:r>
              <a:rPr lang="en-US" dirty="0"/>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379245" y="1"/>
            <a:ext cx="6057229" cy="70019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12551050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89832" y="3145938"/>
            <a:ext cx="10056812" cy="753369"/>
          </a:xfrm>
          <a:noFill/>
        </p:spPr>
        <p:txBody>
          <a:bodyPr tIns="91440" bIns="91440" anchor="t" anchorCtr="0">
            <a:spAutoFit/>
          </a:bodyPr>
          <a:lstStyle>
            <a:lvl1pPr algn="ctr">
              <a:defRPr lang="en-US" sz="408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
        <p:nvSpPr>
          <p:cNvPr id="2" name="Rectangle 1"/>
          <p:cNvSpPr/>
          <p:nvPr userDrawn="1"/>
        </p:nvSpPr>
        <p:spPr>
          <a:xfrm>
            <a:off x="5652967" y="2769254"/>
            <a:ext cx="1130541" cy="382308"/>
          </a:xfrm>
          <a:prstGeom prst="rect">
            <a:avLst/>
          </a:prstGeom>
        </p:spPr>
        <p:txBody>
          <a:bodyPr wrap="none">
            <a:spAutoFit/>
          </a:bodyPr>
          <a:lstStyle/>
          <a:p>
            <a:pPr algn="ctr">
              <a:spcBef>
                <a:spcPts val="1224"/>
              </a:spcBef>
              <a:defRPr/>
            </a:pPr>
            <a:r>
              <a:rPr lang="en-US" sz="1836" cap="all" spc="51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540207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145938"/>
            <a:ext cx="10056812" cy="866374"/>
          </a:xfrm>
          <a:noFill/>
        </p:spPr>
        <p:txBody>
          <a:bodyPr tIns="91440" bIns="91440" anchor="t" anchorCtr="0">
            <a:spAutoFit/>
          </a:bodyPr>
          <a:lstStyle>
            <a:lvl1pPr algn="l">
              <a:defRPr lang="en-US" sz="48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02979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lgn="l">
              <a:defRPr sz="7196" cap="none"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4423488"/>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lgn="l">
              <a:defRPr sz="7196" cap="none"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15895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74639" y="295276"/>
            <a:ext cx="5718456" cy="917575"/>
          </a:xfrm>
        </p:spPr>
        <p:txBody>
          <a:bodyPr/>
          <a:lstStyle>
            <a:lvl1pPr algn="l">
              <a:defRPr/>
            </a:lvl1pPr>
          </a:lstStyle>
          <a:p>
            <a:r>
              <a:rPr lang="en-US" dirty="0"/>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74638" y="1895461"/>
            <a:ext cx="5718456" cy="964816"/>
          </a:xfrm>
        </p:spPr>
        <p:txBody>
          <a:bodyPr/>
          <a:lstStyle>
            <a:lvl1pPr marL="0" indent="0">
              <a:spcAft>
                <a:spcPts val="0"/>
              </a:spcAft>
              <a:buNone/>
              <a:defRPr kumimoji="0" lang="en-US" sz="1632" b="0" i="0" u="none" strike="noStrike" kern="1200" cap="none" spc="102"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12"/>
              </a:spcAft>
              <a:buClr>
                <a:schemeClr val="tx2"/>
              </a:buClr>
              <a:buFont typeface="Arial" panose="020B0604020202020204" pitchFamily="34" charset="0"/>
              <a:buNone/>
              <a:defRPr kumimoji="0" lang="en-US" sz="1428" b="0" i="0" u="none" strike="noStrike" kern="1200" cap="none" spc="102"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20" b="1" i="0" u="none" strike="noStrike" kern="1200" cap="none" spc="102"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dirty="0"/>
              <a:t>Edit Master text styles</a:t>
            </a:r>
          </a:p>
          <a:p>
            <a:pPr lvl="1"/>
            <a:r>
              <a:rPr lang="en-US" dirty="0"/>
              <a:t>Second level</a:t>
            </a:r>
          </a:p>
          <a:p>
            <a:pPr lvl="2"/>
            <a:r>
              <a:rPr lang="en-US" dirty="0"/>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677428"/>
            <a:ext cx="12436475" cy="1317097"/>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36" dirty="0" err="1"/>
          </a:p>
        </p:txBody>
      </p:sp>
    </p:spTree>
    <p:extLst>
      <p:ext uri="{BB962C8B-B14F-4D97-AF65-F5344CB8AC3E}">
        <p14:creationId xmlns:p14="http://schemas.microsoft.com/office/powerpoint/2010/main" val="411705490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31059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972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85986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764408"/>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9232" y="3145040"/>
            <a:ext cx="3291840" cy="705834"/>
          </a:xfrm>
          <a:prstGeom prst="rect">
            <a:avLst/>
          </a:prstGeom>
        </p:spPr>
      </p:pic>
    </p:spTree>
    <p:extLst>
      <p:ext uri="{BB962C8B-B14F-4D97-AF65-F5344CB8AC3E}">
        <p14:creationId xmlns:p14="http://schemas.microsoft.com/office/powerpoint/2010/main" val="109768732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9234" y="3145040"/>
            <a:ext cx="3291840" cy="705836"/>
          </a:xfrm>
          <a:prstGeom prst="rect">
            <a:avLst/>
          </a:prstGeom>
        </p:spPr>
      </p:pic>
    </p:spTree>
    <p:extLst>
      <p:ext uri="{BB962C8B-B14F-4D97-AF65-F5344CB8AC3E}">
        <p14:creationId xmlns:p14="http://schemas.microsoft.com/office/powerpoint/2010/main" val="18283327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658485"/>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34533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Main Text Box"/>
          <p:cNvSpPr>
            <a:spLocks noGrp="1" noChangeArrowheads="1"/>
          </p:cNvSpPr>
          <p:nvPr>
            <p:ph idx="1"/>
          </p:nvPr>
        </p:nvSpPr>
        <p:spPr bwMode="auto">
          <a:xfrm>
            <a:off x="274639" y="1897063"/>
            <a:ext cx="11889564" cy="4271963"/>
          </a:xfrm>
          <a:prstGeom prst="rect">
            <a:avLst/>
          </a:prstGeom>
          <a:noFill/>
          <a:ln w="9525" algn="ctr">
            <a:noFill/>
            <a:miter lim="800000"/>
            <a:headEnd/>
            <a:tailEnd/>
          </a:ln>
          <a:effectLst/>
        </p:spPr>
        <p:txBody>
          <a:bodyPr vert="horz" wrap="square" lIns="146139" tIns="91337" rIns="146139" bIns="91337" numCol="1" anchor="t" anchorCtr="0" compatLnSpc="1">
            <a:prstTxWarp prst="textNoShape">
              <a:avLst/>
            </a:prstTxWarp>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marL="0" indent="0">
              <a:defRPr/>
            </a:lvl1pPr>
          </a:lstStyle>
          <a:p>
            <a:r>
              <a:rPr lang="en-US"/>
              <a:t>Click to edit Master title style</a:t>
            </a:r>
          </a:p>
        </p:txBody>
      </p:sp>
      <p:sp>
        <p:nvSpPr>
          <p:cNvPr id="6" name="Text Placeholder 2"/>
          <p:cNvSpPr>
            <a:spLocks noGrp="1"/>
          </p:cNvSpPr>
          <p:nvPr>
            <p:ph type="body" sz="quarter" idx="11"/>
          </p:nvPr>
        </p:nvSpPr>
        <p:spPr>
          <a:xfrm>
            <a:off x="274639" y="1212850"/>
            <a:ext cx="11889564" cy="492234"/>
          </a:xfrm>
          <a:prstGeom prst="rect">
            <a:avLst/>
          </a:prstGeom>
        </p:spPr>
        <p:txBody>
          <a:bodyPr vert="horz" wrap="square" lIns="146139" tIns="91337" rIns="146139" bIns="91337" rtlCol="0" anchor="t">
            <a:noAutofit/>
          </a:bodyPr>
          <a:lstStyle>
            <a:lvl1pPr marL="0" indent="0">
              <a:buFontTx/>
              <a:buNone/>
              <a:defRPr lang="en-US" sz="2000" b="0" cap="none" spc="-102" dirty="0" smtClean="0">
                <a:ln w="3175">
                  <a:noFill/>
                </a:ln>
                <a:solidFill>
                  <a:schemeClr val="tx1"/>
                </a:solidFill>
                <a:effectLst/>
                <a:latin typeface="+mn-lt"/>
                <a:cs typeface="Segoe UI" pitchFamily="34" charset="0"/>
              </a:defRPr>
            </a:lvl1pPr>
            <a:lvl2pPr>
              <a:defRPr lang="en-US" sz="1599" dirty="0" smtClean="0"/>
            </a:lvl2pPr>
            <a:lvl3pPr>
              <a:defRPr lang="en-US" sz="1599" dirty="0" smtClean="0"/>
            </a:lvl3pPr>
            <a:lvl4pPr>
              <a:defRPr lang="en-US" sz="1399" dirty="0" smtClean="0"/>
            </a:lvl4pPr>
            <a:lvl5pPr>
              <a:defRPr lang="en-US" sz="1399" dirty="0"/>
            </a:lvl5pPr>
          </a:lstStyle>
          <a:p>
            <a:pPr lvl="0">
              <a:spcBef>
                <a:spcPct val="0"/>
              </a:spcBef>
              <a:buNone/>
            </a:pPr>
            <a:r>
              <a:rPr lang="en-US"/>
              <a:t>Edit Master text styles</a:t>
            </a:r>
          </a:p>
        </p:txBody>
      </p:sp>
      <p:sp>
        <p:nvSpPr>
          <p:cNvPr id="3" name="Footer Placeholder 2"/>
          <p:cNvSpPr>
            <a:spLocks noGrp="1"/>
          </p:cNvSpPr>
          <p:nvPr>
            <p:ph type="ftr" sz="quarter" idx="12"/>
          </p:nvPr>
        </p:nvSpPr>
        <p:spPr/>
        <p:txBody>
          <a:bodyPr/>
          <a:lstStyle/>
          <a:p>
            <a:pPr algn="l"/>
            <a:r>
              <a:rPr lang="en-US"/>
              <a:t>Footer</a:t>
            </a:r>
          </a:p>
        </p:txBody>
      </p:sp>
    </p:spTree>
    <p:extLst>
      <p:ext uri="{BB962C8B-B14F-4D97-AF65-F5344CB8AC3E}">
        <p14:creationId xmlns:p14="http://schemas.microsoft.com/office/powerpoint/2010/main" val="5294710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672070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787513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6147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20341491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5812136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936260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38675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88238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56464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88165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25774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781909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955091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6752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09952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0890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7748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0565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12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134735635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571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7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a:gradFill>
                  <a:gsLst>
                    <a:gs pos="96653">
                      <a:schemeClr val="tx1"/>
                    </a:gs>
                    <a:gs pos="0">
                      <a:schemeClr val="tx1"/>
                    </a:gs>
                  </a:gsLst>
                  <a:lin ang="5400000" scaled="0"/>
                </a:gradFill>
                <a:latin typeface="+mj-lt"/>
              </a:rPr>
              <a:t>April 4–6, 2016</a:t>
            </a:r>
            <a:br>
              <a:rPr lang="en-US" sz="2400">
                <a:gradFill>
                  <a:gsLst>
                    <a:gs pos="96653">
                      <a:schemeClr val="tx1"/>
                    </a:gs>
                    <a:gs pos="0">
                      <a:schemeClr val="tx1"/>
                    </a:gs>
                  </a:gsLst>
                  <a:lin ang="5400000" scaled="0"/>
                </a:gradFill>
                <a:latin typeface="+mj-lt"/>
              </a:rPr>
            </a:br>
            <a:r>
              <a:rPr lang="en-US" sz="240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10358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67164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3525171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6" name="Footer Placeholder 1"/>
          <p:cNvSpPr txBox="1">
            <a:spLocks/>
          </p:cNvSpPr>
          <p:nvPr userDrawn="1"/>
        </p:nvSpPr>
        <p:spPr>
          <a:xfrm>
            <a:off x="274637" y="6729115"/>
            <a:ext cx="12161838" cy="27285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Microsoft Confidential – NDA Required</a:t>
            </a:r>
          </a:p>
        </p:txBody>
      </p:sp>
    </p:spTree>
    <p:extLst>
      <p:ext uri="{BB962C8B-B14F-4D97-AF65-F5344CB8AC3E}">
        <p14:creationId xmlns:p14="http://schemas.microsoft.com/office/powerpoint/2010/main" val="124193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30542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96853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08369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81875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066994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print">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1938326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794109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894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06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4775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914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4772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567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095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913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1606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606960" y="124022"/>
            <a:ext cx="657017" cy="656923"/>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3364958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1Application_Text">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5" name="Isosceles Triangle 24"/>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8"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4" name="Text Placeholder 3"/>
          <p:cNvSpPr>
            <a:spLocks noGrp="1"/>
          </p:cNvSpPr>
          <p:nvPr>
            <p:ph type="body" sz="quarter" idx="11"/>
          </p:nvPr>
        </p:nvSpPr>
        <p:spPr>
          <a:xfrm>
            <a:off x="682465"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21" name="Group 20"/>
          <p:cNvGrpSpPr/>
          <p:nvPr userDrawn="1"/>
        </p:nvGrpSpPr>
        <p:grpSpPr>
          <a:xfrm>
            <a:off x="11606960" y="124022"/>
            <a:ext cx="657017" cy="656923"/>
            <a:chOff x="11330153" y="81481"/>
            <a:chExt cx="644101" cy="644101"/>
          </a:xfrm>
        </p:grpSpPr>
        <p:sp>
          <p:nvSpPr>
            <p:cNvPr id="22" name="Oval 21"/>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26"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
        <p:nvSpPr>
          <p:cNvPr id="27"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27527835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1Application_Photo">
    <p:spTree>
      <p:nvGrpSpPr>
        <p:cNvPr id="1" name=""/>
        <p:cNvGrpSpPr/>
        <p:nvPr/>
      </p:nvGrpSpPr>
      <p:grpSpPr>
        <a:xfrm>
          <a:off x="0" y="0"/>
          <a:ext cx="0" cy="0"/>
          <a:chOff x="0" y="0"/>
          <a:chExt cx="0" cy="0"/>
        </a:xfrm>
      </p:grpSpPr>
      <p:grpSp>
        <p:nvGrpSpPr>
          <p:cNvPr id="25" name="Group 24"/>
          <p:cNvGrpSpPr/>
          <p:nvPr userDrawn="1"/>
        </p:nvGrpSpPr>
        <p:grpSpPr>
          <a:xfrm>
            <a:off x="9939268" y="124025"/>
            <a:ext cx="1995215" cy="656924"/>
            <a:chOff x="9743882" y="121604"/>
            <a:chExt cx="1955993" cy="644102"/>
          </a:xfrm>
        </p:grpSpPr>
        <p:sp>
          <p:nvSpPr>
            <p:cNvPr id="26" name="Rectangle 25"/>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7" name="Isosceles Triangle 26"/>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8"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4" name="Text Placeholder 3"/>
          <p:cNvSpPr>
            <a:spLocks noGrp="1"/>
          </p:cNvSpPr>
          <p:nvPr>
            <p:ph type="body" sz="quarter" idx="11"/>
          </p:nvPr>
        </p:nvSpPr>
        <p:spPr>
          <a:xfrm>
            <a:off x="682465"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7" name="Picture Placeholder 16"/>
          <p:cNvSpPr>
            <a:spLocks noGrp="1"/>
          </p:cNvSpPr>
          <p:nvPr>
            <p:ph type="pic" sz="quarter" idx="12"/>
          </p:nvPr>
        </p:nvSpPr>
        <p:spPr>
          <a:xfrm>
            <a:off x="4896862" y="295275"/>
            <a:ext cx="6218238" cy="6295288"/>
          </a:xfrm>
        </p:spPr>
        <p:txBody>
          <a:bodyPr>
            <a:noAutofit/>
          </a:bodyPr>
          <a:lstStyle>
            <a:lvl1pPr marL="0" indent="0" algn="ctr">
              <a:buNone/>
              <a:defRPr/>
            </a:lvl1pPr>
          </a:lstStyle>
          <a:p>
            <a:endParaRPr lang="en-US"/>
          </a:p>
        </p:txBody>
      </p:sp>
      <p:grpSp>
        <p:nvGrpSpPr>
          <p:cNvPr id="21" name="Group 20"/>
          <p:cNvGrpSpPr/>
          <p:nvPr userDrawn="1"/>
        </p:nvGrpSpPr>
        <p:grpSpPr>
          <a:xfrm>
            <a:off x="11606960" y="124022"/>
            <a:ext cx="657017" cy="656923"/>
            <a:chOff x="11330153" y="81481"/>
            <a:chExt cx="644101" cy="644101"/>
          </a:xfrm>
        </p:grpSpPr>
        <p:sp>
          <p:nvSpPr>
            <p:cNvPr id="22" name="Oval 21"/>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6"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413884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2Data_Blank">
    <p:spTree>
      <p:nvGrpSpPr>
        <p:cNvPr id="1" name=""/>
        <p:cNvGrpSpPr/>
        <p:nvPr/>
      </p:nvGrpSpPr>
      <p:grpSpPr>
        <a:xfrm>
          <a:off x="0" y="0"/>
          <a:ext cx="0" cy="0"/>
          <a:chOff x="0" y="0"/>
          <a:chExt cx="0" cy="0"/>
        </a:xfrm>
      </p:grpSpPr>
      <p:grpSp>
        <p:nvGrpSpPr>
          <p:cNvPr id="9" name="Group 8"/>
          <p:cNvGrpSpPr/>
          <p:nvPr userDrawn="1"/>
        </p:nvGrpSpPr>
        <p:grpSpPr>
          <a:xfrm>
            <a:off x="9939268" y="124025"/>
            <a:ext cx="1995215" cy="656924"/>
            <a:chOff x="9743882" y="121604"/>
            <a:chExt cx="1955993" cy="644102"/>
          </a:xfrm>
        </p:grpSpPr>
        <p:sp>
          <p:nvSpPr>
            <p:cNvPr id="20" name="Rectangle 19"/>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8" name="Isosceles Triangle 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5"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25336059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2Data_Text">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9" name="Content Placeholder 25"/>
          <p:cNvSpPr>
            <a:spLocks noGrp="1"/>
          </p:cNvSpPr>
          <p:nvPr>
            <p:ph sz="quarter" idx="14"/>
          </p:nvPr>
        </p:nvSpPr>
        <p:spPr>
          <a:xfrm>
            <a:off x="4677564" y="919650"/>
            <a:ext cx="7367114" cy="5670912"/>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1218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02Data_Photo">
    <p:spTree>
      <p:nvGrpSpPr>
        <p:cNvPr id="1" name=""/>
        <p:cNvGrpSpPr/>
        <p:nvPr/>
      </p:nvGrpSpPr>
      <p:grpSpPr>
        <a:xfrm>
          <a:off x="0" y="0"/>
          <a:ext cx="0" cy="0"/>
          <a:chOff x="0" y="0"/>
          <a:chExt cx="0" cy="0"/>
        </a:xfrm>
      </p:grpSpPr>
      <p:grpSp>
        <p:nvGrpSpPr>
          <p:cNvPr id="19" name="Group 18"/>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20" name="Picture Placeholder 16"/>
          <p:cNvSpPr>
            <a:spLocks noGrp="1"/>
          </p:cNvSpPr>
          <p:nvPr>
            <p:ph type="pic" sz="quarter" idx="13"/>
          </p:nvPr>
        </p:nvSpPr>
        <p:spPr>
          <a:xfrm>
            <a:off x="4677564" y="919650"/>
            <a:ext cx="7367114" cy="5670912"/>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30600228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03Openness_Blank">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2"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27661124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03Openness_Text">
    <p:spTree>
      <p:nvGrpSpPr>
        <p:cNvPr id="1" name=""/>
        <p:cNvGrpSpPr/>
        <p:nvPr/>
      </p:nvGrpSpPr>
      <p:grpSpPr>
        <a:xfrm>
          <a:off x="0" y="0"/>
          <a:ext cx="0" cy="0"/>
          <a:chOff x="0" y="0"/>
          <a:chExt cx="0" cy="0"/>
        </a:xfrm>
      </p:grpSpPr>
      <p:grpSp>
        <p:nvGrpSpPr>
          <p:cNvPr id="17" name="Group 16"/>
          <p:cNvGrpSpPr/>
          <p:nvPr userDrawn="1"/>
        </p:nvGrpSpPr>
        <p:grpSpPr>
          <a:xfrm>
            <a:off x="9939268" y="124025"/>
            <a:ext cx="1995215" cy="656924"/>
            <a:chOff x="9743882" y="121604"/>
            <a:chExt cx="1955993" cy="644102"/>
          </a:xfrm>
        </p:grpSpPr>
        <p:sp>
          <p:nvSpPr>
            <p:cNvPr id="18" name="Rectangle 17"/>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6"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01955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03Openness_Photo">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8" name="Rectangle 17"/>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4"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7" name="Picture Placeholder 16"/>
          <p:cNvSpPr>
            <a:spLocks noGrp="1"/>
          </p:cNvSpPr>
          <p:nvPr>
            <p:ph type="pic" sz="quarter" idx="13"/>
          </p:nvPr>
        </p:nvSpPr>
        <p:spPr>
          <a:xfrm>
            <a:off x="4896862" y="295275"/>
            <a:ext cx="6218238" cy="6295288"/>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2988776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04Trust_Blank">
    <p:spTree>
      <p:nvGrpSpPr>
        <p:cNvPr id="1" name=""/>
        <p:cNvGrpSpPr/>
        <p:nvPr/>
      </p:nvGrpSpPr>
      <p:grpSpPr>
        <a:xfrm>
          <a:off x="0" y="0"/>
          <a:ext cx="0" cy="0"/>
          <a:chOff x="0" y="0"/>
          <a:chExt cx="0" cy="0"/>
        </a:xfrm>
      </p:grpSpPr>
      <p:grpSp>
        <p:nvGrpSpPr>
          <p:cNvPr id="19" name="Group 18"/>
          <p:cNvGrpSpPr/>
          <p:nvPr userDrawn="1"/>
        </p:nvGrpSpPr>
        <p:grpSpPr>
          <a:xfrm>
            <a:off x="9939268" y="124025"/>
            <a:ext cx="1995215" cy="656924"/>
            <a:chOff x="9743882" y="121604"/>
            <a:chExt cx="1955993" cy="644102"/>
          </a:xfrm>
        </p:grpSpPr>
        <p:sp>
          <p:nvSpPr>
            <p:cNvPr id="20" name="Rectangle 19"/>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1" name="Isosceles Triangle 20"/>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2"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Tree>
    <p:extLst>
      <p:ext uri="{BB962C8B-B14F-4D97-AF65-F5344CB8AC3E}">
        <p14:creationId xmlns:p14="http://schemas.microsoft.com/office/powerpoint/2010/main" val="2522003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19"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32265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4Trust_Photo">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4"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19" name="Picture Placeholder 16"/>
          <p:cNvSpPr>
            <a:spLocks noGrp="1"/>
          </p:cNvSpPr>
          <p:nvPr>
            <p:ph type="pic" sz="quarter" idx="13"/>
          </p:nvPr>
        </p:nvSpPr>
        <p:spPr>
          <a:xfrm>
            <a:off x="4896862" y="295275"/>
            <a:ext cx="6218238" cy="6295288"/>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1397957085"/>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9" Type="http://schemas.openxmlformats.org/officeDocument/2006/relationships/slideLayout" Target="../slideLayouts/slideLayout248.xml"/><Relationship Id="rId21" Type="http://schemas.openxmlformats.org/officeDocument/2006/relationships/slideLayout" Target="../slideLayouts/slideLayout230.xml"/><Relationship Id="rId34" Type="http://schemas.openxmlformats.org/officeDocument/2006/relationships/slideLayout" Target="../slideLayouts/slideLayout243.xml"/><Relationship Id="rId42" Type="http://schemas.openxmlformats.org/officeDocument/2006/relationships/slideLayout" Target="../slideLayouts/slideLayout251.xml"/><Relationship Id="rId47" Type="http://schemas.openxmlformats.org/officeDocument/2006/relationships/slideLayout" Target="../slideLayouts/slideLayout256.xml"/><Relationship Id="rId50" Type="http://schemas.openxmlformats.org/officeDocument/2006/relationships/slideLayout" Target="../slideLayouts/slideLayout259.xml"/><Relationship Id="rId55" Type="http://schemas.openxmlformats.org/officeDocument/2006/relationships/slideLayout" Target="../slideLayouts/slideLayout264.xml"/><Relationship Id="rId7" Type="http://schemas.openxmlformats.org/officeDocument/2006/relationships/slideLayout" Target="../slideLayouts/slideLayout216.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9" Type="http://schemas.openxmlformats.org/officeDocument/2006/relationships/slideLayout" Target="../slideLayouts/slideLayout238.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32" Type="http://schemas.openxmlformats.org/officeDocument/2006/relationships/slideLayout" Target="../slideLayouts/slideLayout241.xml"/><Relationship Id="rId37" Type="http://schemas.openxmlformats.org/officeDocument/2006/relationships/slideLayout" Target="../slideLayouts/slideLayout246.xml"/><Relationship Id="rId40" Type="http://schemas.openxmlformats.org/officeDocument/2006/relationships/slideLayout" Target="../slideLayouts/slideLayout249.xml"/><Relationship Id="rId45" Type="http://schemas.openxmlformats.org/officeDocument/2006/relationships/slideLayout" Target="../slideLayouts/slideLayout254.xml"/><Relationship Id="rId53" Type="http://schemas.openxmlformats.org/officeDocument/2006/relationships/slideLayout" Target="../slideLayouts/slideLayout262.xml"/><Relationship Id="rId58" Type="http://schemas.openxmlformats.org/officeDocument/2006/relationships/slideLayout" Target="../slideLayouts/slideLayout267.xml"/><Relationship Id="rId5" Type="http://schemas.openxmlformats.org/officeDocument/2006/relationships/slideLayout" Target="../slideLayouts/slideLayout214.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 Id="rId30" Type="http://schemas.openxmlformats.org/officeDocument/2006/relationships/slideLayout" Target="../slideLayouts/slideLayout239.xml"/><Relationship Id="rId35" Type="http://schemas.openxmlformats.org/officeDocument/2006/relationships/slideLayout" Target="../slideLayouts/slideLayout244.xml"/><Relationship Id="rId43" Type="http://schemas.openxmlformats.org/officeDocument/2006/relationships/slideLayout" Target="../slideLayouts/slideLayout252.xml"/><Relationship Id="rId48" Type="http://schemas.openxmlformats.org/officeDocument/2006/relationships/slideLayout" Target="../slideLayouts/slideLayout257.xml"/><Relationship Id="rId56" Type="http://schemas.openxmlformats.org/officeDocument/2006/relationships/slideLayout" Target="../slideLayouts/slideLayout265.xml"/><Relationship Id="rId8" Type="http://schemas.openxmlformats.org/officeDocument/2006/relationships/slideLayout" Target="../slideLayouts/slideLayout217.xml"/><Relationship Id="rId51" Type="http://schemas.openxmlformats.org/officeDocument/2006/relationships/slideLayout" Target="../slideLayouts/slideLayout260.xml"/><Relationship Id="rId3" Type="http://schemas.openxmlformats.org/officeDocument/2006/relationships/slideLayout" Target="../slideLayouts/slideLayout212.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33" Type="http://schemas.openxmlformats.org/officeDocument/2006/relationships/slideLayout" Target="../slideLayouts/slideLayout242.xml"/><Relationship Id="rId38" Type="http://schemas.openxmlformats.org/officeDocument/2006/relationships/slideLayout" Target="../slideLayouts/slideLayout247.xml"/><Relationship Id="rId46" Type="http://schemas.openxmlformats.org/officeDocument/2006/relationships/slideLayout" Target="../slideLayouts/slideLayout255.xml"/><Relationship Id="rId59" Type="http://schemas.openxmlformats.org/officeDocument/2006/relationships/theme" Target="../theme/theme10.xml"/><Relationship Id="rId20" Type="http://schemas.openxmlformats.org/officeDocument/2006/relationships/slideLayout" Target="../slideLayouts/slideLayout229.xml"/><Relationship Id="rId41" Type="http://schemas.openxmlformats.org/officeDocument/2006/relationships/slideLayout" Target="../slideLayouts/slideLayout250.xml"/><Relationship Id="rId54" Type="http://schemas.openxmlformats.org/officeDocument/2006/relationships/slideLayout" Target="../slideLayouts/slideLayout263.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slideLayout" Target="../slideLayouts/slideLayout237.xml"/><Relationship Id="rId36" Type="http://schemas.openxmlformats.org/officeDocument/2006/relationships/slideLayout" Target="../slideLayouts/slideLayout245.xml"/><Relationship Id="rId49" Type="http://schemas.openxmlformats.org/officeDocument/2006/relationships/slideLayout" Target="../slideLayouts/slideLayout258.xml"/><Relationship Id="rId57" Type="http://schemas.openxmlformats.org/officeDocument/2006/relationships/slideLayout" Target="../slideLayouts/slideLayout266.xml"/><Relationship Id="rId10" Type="http://schemas.openxmlformats.org/officeDocument/2006/relationships/slideLayout" Target="../slideLayouts/slideLayout219.xml"/><Relationship Id="rId31" Type="http://schemas.openxmlformats.org/officeDocument/2006/relationships/slideLayout" Target="../slideLayouts/slideLayout240.xml"/><Relationship Id="rId44" Type="http://schemas.openxmlformats.org/officeDocument/2006/relationships/slideLayout" Target="../slideLayouts/slideLayout253.xml"/><Relationship Id="rId52" Type="http://schemas.openxmlformats.org/officeDocument/2006/relationships/slideLayout" Target="../slideLayouts/slideLayout261.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9" Type="http://schemas.openxmlformats.org/officeDocument/2006/relationships/slideLayout" Target="../slideLayouts/slideLayout306.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42" Type="http://schemas.openxmlformats.org/officeDocument/2006/relationships/slideLayout" Target="../slideLayouts/slideLayout309.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41" Type="http://schemas.openxmlformats.org/officeDocument/2006/relationships/slideLayout" Target="../slideLayouts/slideLayout308.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slideLayout" Target="../slideLayouts/slideLayout304.xml"/><Relationship Id="rId40" Type="http://schemas.openxmlformats.org/officeDocument/2006/relationships/slideLayout" Target="../slideLayouts/slideLayout307.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 Id="rId43" Type="http://schemas.openxmlformats.org/officeDocument/2006/relationships/theme" Target="../theme/theme11.xml"/><Relationship Id="rId8" Type="http://schemas.openxmlformats.org/officeDocument/2006/relationships/slideLayout" Target="../slideLayouts/slideLayout275.xml"/><Relationship Id="rId3" Type="http://schemas.openxmlformats.org/officeDocument/2006/relationships/slideLayout" Target="../slideLayouts/slideLayout270.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38" Type="http://schemas.openxmlformats.org/officeDocument/2006/relationships/slideLayout" Target="../slideLayouts/slideLayout30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10" Type="http://schemas.openxmlformats.org/officeDocument/2006/relationships/slideLayout" Target="../slideLayouts/slideLayout319.xml"/><Relationship Id="rId19" Type="http://schemas.openxmlformats.org/officeDocument/2006/relationships/theme" Target="../theme/theme12.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image" Target="../media/image1.png"/><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10" Type="http://schemas.openxmlformats.org/officeDocument/2006/relationships/slideLayout" Target="../slideLayouts/slideLayout337.xml"/><Relationship Id="rId19" Type="http://schemas.openxmlformats.org/officeDocument/2006/relationships/theme" Target="../theme/theme13.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53.xml"/><Relationship Id="rId3" Type="http://schemas.openxmlformats.org/officeDocument/2006/relationships/slideLayout" Target="../slideLayouts/slideLayout348.xml"/><Relationship Id="rId7" Type="http://schemas.openxmlformats.org/officeDocument/2006/relationships/slideLayout" Target="../slideLayouts/slideLayout352.xml"/><Relationship Id="rId2" Type="http://schemas.openxmlformats.org/officeDocument/2006/relationships/slideLayout" Target="../slideLayouts/slideLayout347.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5" Type="http://schemas.openxmlformats.org/officeDocument/2006/relationships/slideLayout" Target="../slideLayouts/slideLayout350.xml"/><Relationship Id="rId10" Type="http://schemas.openxmlformats.org/officeDocument/2006/relationships/theme" Target="../theme/theme14.xml"/><Relationship Id="rId4" Type="http://schemas.openxmlformats.org/officeDocument/2006/relationships/slideLayout" Target="../slideLayouts/slideLayout349.xml"/><Relationship Id="rId9" Type="http://schemas.openxmlformats.org/officeDocument/2006/relationships/slideLayout" Target="../slideLayouts/slideLayout35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2.xml"/><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slideLayout" Target="../slideLayouts/slideLayout380.xml"/><Relationship Id="rId3" Type="http://schemas.openxmlformats.org/officeDocument/2006/relationships/slideLayout" Target="../slideLayouts/slideLayout357.xml"/><Relationship Id="rId21" Type="http://schemas.openxmlformats.org/officeDocument/2006/relationships/slideLayout" Target="../slideLayouts/slideLayout375.xml"/><Relationship Id="rId7" Type="http://schemas.openxmlformats.org/officeDocument/2006/relationships/slideLayout" Target="../slideLayouts/slideLayout361.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0" Type="http://schemas.openxmlformats.org/officeDocument/2006/relationships/slideLayout" Target="../slideLayouts/slideLayout374.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theme" Target="../theme/theme15.xml"/><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slideLayout" Target="../slideLayouts/slideLayout38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image" Target="../media/image1.png"/><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theme" Target="../theme/theme4.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8" Type="http://schemas.openxmlformats.org/officeDocument/2006/relationships/slideLayout" Target="../slideLayouts/slideLayout75.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0" Type="http://schemas.openxmlformats.org/officeDocument/2006/relationships/slideLayout" Target="../slideLayouts/slideLayout87.xml"/><Relationship Id="rId41"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image" Target="../media/image1.pn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image" Target="../media/image1.png"/><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theme" Target="../theme/theme8.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heme" Target="../theme/theme9.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345" r:id="rId24"/>
    <p:sldLayoutId id="2147484368"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12/3/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1990713179"/>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 id="2147484462" r:id="rId12"/>
    <p:sldLayoutId id="2147484463" r:id="rId13"/>
    <p:sldLayoutId id="2147484464" r:id="rId14"/>
    <p:sldLayoutId id="2147484465" r:id="rId15"/>
    <p:sldLayoutId id="2147484466" r:id="rId16"/>
    <p:sldLayoutId id="2147484467" r:id="rId17"/>
    <p:sldLayoutId id="2147484468" r:id="rId18"/>
    <p:sldLayoutId id="2147484469" r:id="rId19"/>
    <p:sldLayoutId id="2147484470" r:id="rId20"/>
    <p:sldLayoutId id="2147484471" r:id="rId21"/>
    <p:sldLayoutId id="2147484472" r:id="rId22"/>
    <p:sldLayoutId id="2147484473" r:id="rId23"/>
    <p:sldLayoutId id="2147484474" r:id="rId24"/>
    <p:sldLayoutId id="2147484475" r:id="rId25"/>
    <p:sldLayoutId id="2147484476" r:id="rId26"/>
    <p:sldLayoutId id="2147484477" r:id="rId27"/>
    <p:sldLayoutId id="2147484478" r:id="rId28"/>
    <p:sldLayoutId id="2147484479" r:id="rId29"/>
    <p:sldLayoutId id="2147484480" r:id="rId30"/>
    <p:sldLayoutId id="2147484481" r:id="rId31"/>
    <p:sldLayoutId id="2147484482" r:id="rId32"/>
    <p:sldLayoutId id="2147484483" r:id="rId33"/>
    <p:sldLayoutId id="2147484484" r:id="rId34"/>
    <p:sldLayoutId id="2147484485" r:id="rId35"/>
    <p:sldLayoutId id="2147484486" r:id="rId36"/>
    <p:sldLayoutId id="2147484487" r:id="rId37"/>
    <p:sldLayoutId id="2147484488" r:id="rId38"/>
    <p:sldLayoutId id="2147484489" r:id="rId39"/>
    <p:sldLayoutId id="2147484490" r:id="rId40"/>
    <p:sldLayoutId id="2147484491" r:id="rId41"/>
    <p:sldLayoutId id="2147484492" r:id="rId42"/>
    <p:sldLayoutId id="2147484493" r:id="rId43"/>
    <p:sldLayoutId id="2147484494" r:id="rId44"/>
    <p:sldLayoutId id="2147484495" r:id="rId45"/>
    <p:sldLayoutId id="2147484496" r:id="rId46"/>
    <p:sldLayoutId id="2147484497" r:id="rId47"/>
    <p:sldLayoutId id="2147484498" r:id="rId48"/>
    <p:sldLayoutId id="2147484499" r:id="rId49"/>
    <p:sldLayoutId id="2147484500" r:id="rId50"/>
    <p:sldLayoutId id="2147484501" r:id="rId51"/>
    <p:sldLayoutId id="2147484502" r:id="rId52"/>
    <p:sldLayoutId id="2147484503" r:id="rId53"/>
    <p:sldLayoutId id="2147484504" r:id="rId54"/>
    <p:sldLayoutId id="2147484505" r:id="rId55"/>
    <p:sldLayoutId id="2147484506" r:id="rId56"/>
    <p:sldLayoutId id="2147484507" r:id="rId57"/>
    <p:sldLayoutId id="2147484510" r:id="rId58"/>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110000"/>
        </a:lnSpc>
        <a:spcBef>
          <a:spcPts val="1020"/>
        </a:spcBef>
        <a:spcAft>
          <a:spcPts val="612"/>
        </a:spcAft>
        <a:buFont typeface="Arial" panose="020B0604020202020204" pitchFamily="34" charset="0"/>
        <a:buChar char="•"/>
        <a:defRPr sz="2856" kern="1200">
          <a:solidFill>
            <a:schemeClr val="tx1"/>
          </a:solidFill>
          <a:latin typeface="+mj-lt"/>
          <a:ea typeface="+mn-ea"/>
          <a:cs typeface="+mn-cs"/>
        </a:defRPr>
      </a:lvl1pPr>
      <a:lvl2pPr marL="699447" indent="-233149" algn="l" defTabSz="932597" rtl="0" eaLnBrk="1" latinLnBrk="0" hangingPunct="1">
        <a:lnSpc>
          <a:spcPct val="110000"/>
        </a:lnSpc>
        <a:spcBef>
          <a:spcPts val="510"/>
        </a:spcBef>
        <a:spcAft>
          <a:spcPts val="612"/>
        </a:spcAft>
        <a:buFont typeface="Arial" panose="020B0604020202020204" pitchFamily="34" charset="0"/>
        <a:buChar char="•"/>
        <a:defRPr sz="2448" kern="1200">
          <a:solidFill>
            <a:schemeClr val="tx1"/>
          </a:solidFill>
          <a:latin typeface="+mj-lt"/>
          <a:ea typeface="+mn-ea"/>
          <a:cs typeface="+mn-cs"/>
        </a:defRPr>
      </a:lvl2pPr>
      <a:lvl3pPr marL="1165746" indent="-233149" algn="l" defTabSz="932597" rtl="0" eaLnBrk="1" latinLnBrk="0" hangingPunct="1">
        <a:lnSpc>
          <a:spcPct val="110000"/>
        </a:lnSpc>
        <a:spcBef>
          <a:spcPts val="510"/>
        </a:spcBef>
        <a:spcAft>
          <a:spcPts val="612"/>
        </a:spcAft>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32 B:80</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16 G:124 B:16</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80 G:80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15 G:115 B:1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120 B:2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75 B:28</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365100166"/>
      </p:ext>
    </p:extLst>
  </p:cSld>
  <p:clrMap bg1="lt1" tx1="dk1" bg2="lt2" tx2="dk2" accent1="accent1" accent2="accent2" accent3="accent3" accent4="accent4" accent5="accent5" accent6="accent6" hlink="hlink" folHlink="folHlink"/>
  <p:sldLayoutIdLst>
    <p:sldLayoutId id="2147484512" r:id="rId1"/>
    <p:sldLayoutId id="2147484513" r:id="rId2"/>
    <p:sldLayoutId id="2147484514" r:id="rId3"/>
    <p:sldLayoutId id="2147484515" r:id="rId4"/>
    <p:sldLayoutId id="2147484516" r:id="rId5"/>
    <p:sldLayoutId id="2147484517" r:id="rId6"/>
    <p:sldLayoutId id="2147484518" r:id="rId7"/>
    <p:sldLayoutId id="2147484519" r:id="rId8"/>
    <p:sldLayoutId id="2147484520" r:id="rId9"/>
    <p:sldLayoutId id="2147484521" r:id="rId10"/>
    <p:sldLayoutId id="2147484522" r:id="rId11"/>
    <p:sldLayoutId id="2147484523" r:id="rId12"/>
    <p:sldLayoutId id="2147484524" r:id="rId13"/>
    <p:sldLayoutId id="2147484525" r:id="rId14"/>
    <p:sldLayoutId id="2147484526" r:id="rId15"/>
    <p:sldLayoutId id="2147484527" r:id="rId16"/>
    <p:sldLayoutId id="2147484528" r:id="rId17"/>
    <p:sldLayoutId id="2147484529" r:id="rId18"/>
    <p:sldLayoutId id="2147484530" r:id="rId19"/>
    <p:sldLayoutId id="2147484531" r:id="rId20"/>
    <p:sldLayoutId id="2147484532" r:id="rId21"/>
    <p:sldLayoutId id="2147484545" r:id="rId22"/>
    <p:sldLayoutId id="2147484546" r:id="rId23"/>
    <p:sldLayoutId id="2147484547" r:id="rId24"/>
    <p:sldLayoutId id="2147484548" r:id="rId25"/>
    <p:sldLayoutId id="2147484549" r:id="rId26"/>
    <p:sldLayoutId id="2147484550" r:id="rId27"/>
    <p:sldLayoutId id="2147484551" r:id="rId28"/>
    <p:sldLayoutId id="2147484552" r:id="rId29"/>
    <p:sldLayoutId id="2147484553" r:id="rId30"/>
    <p:sldLayoutId id="2147484554" r:id="rId31"/>
    <p:sldLayoutId id="2147484555" r:id="rId32"/>
    <p:sldLayoutId id="2147484556" r:id="rId33"/>
    <p:sldLayoutId id="2147484557" r:id="rId34"/>
    <p:sldLayoutId id="2147484558" r:id="rId35"/>
    <p:sldLayoutId id="2147484559" r:id="rId36"/>
    <p:sldLayoutId id="2147484560" r:id="rId37"/>
    <p:sldLayoutId id="2147484561" r:id="rId38"/>
    <p:sldLayoutId id="2147484562" r:id="rId39"/>
    <p:sldLayoutId id="2147484563" r:id="rId40"/>
    <p:sldLayoutId id="2147484564" r:id="rId41"/>
    <p:sldLayoutId id="2147484565" r:id="rId42"/>
  </p:sldLayoutIdLst>
  <p:transition>
    <p:fade/>
  </p:transition>
  <p:hf sldNum="0" hdr="0" ftr="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MSIPCMContentMarking" descr="{&quot;HashCode&quot;:231139426,&quot;Placement&quot;:&quot;Footer&quot;}">
            <a:extLst>
              <a:ext uri="{FF2B5EF4-FFF2-40B4-BE49-F238E27FC236}">
                <a16:creationId xmlns:a16="http://schemas.microsoft.com/office/drawing/2014/main" id="{929C3530-6769-4056-AB95-B79102A734F1}"/>
              </a:ext>
            </a:extLst>
          </p:cNvPr>
          <p:cNvSpPr txBox="1"/>
          <p:nvPr userDrawn="1"/>
        </p:nvSpPr>
        <p:spPr>
          <a:xfrm>
            <a:off x="0" y="6788707"/>
            <a:ext cx="2166441" cy="144069"/>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20">
                <a:solidFill>
                  <a:srgbClr val="000000"/>
                </a:solidFill>
                <a:latin typeface="Calibri" panose="020F0502020204030204" pitchFamily="34" charset="0"/>
              </a:rPr>
              <a:t>Classified as Microsoft Confidential</a:t>
            </a:r>
            <a:endParaRPr lang="en-GB" sz="102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524800749"/>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5" r:id="rId9"/>
    <p:sldLayoutId id="2147484576" r:id="rId10"/>
    <p:sldLayoutId id="2147484577" r:id="rId11"/>
    <p:sldLayoutId id="2147484578" r:id="rId12"/>
    <p:sldLayoutId id="2147484579" r:id="rId13"/>
    <p:sldLayoutId id="2147484580" r:id="rId14"/>
    <p:sldLayoutId id="2147484581" r:id="rId15"/>
    <p:sldLayoutId id="2147484582" r:id="rId16"/>
    <p:sldLayoutId id="2147484583" r:id="rId17"/>
    <p:sldLayoutId id="2147484584" r:id="rId1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0"/>
          <a:stretch>
            <a:fillRect/>
          </a:stretch>
        </p:blipFill>
        <p:spPr>
          <a:xfrm rot="5400000">
            <a:off x="9393899" y="3050514"/>
            <a:ext cx="6995160" cy="894134"/>
          </a:xfrm>
          <a:prstGeom prst="rect">
            <a:avLst/>
          </a:prstGeom>
        </p:spPr>
      </p:pic>
      <p:sp>
        <p:nvSpPr>
          <p:cNvPr id="3" name="MSIPCMContentMarking" descr="{&quot;HashCode&quot;:231139426,&quot;Placement&quot;:&quot;Footer&quot;}">
            <a:extLst>
              <a:ext uri="{FF2B5EF4-FFF2-40B4-BE49-F238E27FC236}">
                <a16:creationId xmlns:a16="http://schemas.microsoft.com/office/drawing/2014/main" id="{15475272-A33E-4443-9FE8-0CB0647AED31}"/>
              </a:ext>
            </a:extLst>
          </p:cNvPr>
          <p:cNvSpPr txBox="1"/>
          <p:nvPr userDrawn="1"/>
        </p:nvSpPr>
        <p:spPr>
          <a:xfrm>
            <a:off x="0" y="6788707"/>
            <a:ext cx="2166441" cy="144069"/>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20">
                <a:solidFill>
                  <a:srgbClr val="000000"/>
                </a:solidFill>
                <a:latin typeface="Calibri" panose="020F0502020204030204" pitchFamily="34" charset="0"/>
              </a:rPr>
              <a:t>Classified as Microsoft Confidential</a:t>
            </a:r>
            <a:endParaRPr lang="en-GB" sz="102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027184816"/>
      </p:ext>
    </p:extLst>
  </p:cSld>
  <p:clrMap bg1="lt1" tx1="dk1" bg2="lt2" tx2="dk2" accent1="accent1" accent2="accent2" accent3="accent3" accent4="accent4" accent5="accent5" accent6="accent6" hlink="hlink" folHlink="folHlink"/>
  <p:sldLayoutIdLst>
    <p:sldLayoutId id="2147484586" r:id="rId1"/>
    <p:sldLayoutId id="2147484587" r:id="rId2"/>
    <p:sldLayoutId id="2147484588" r:id="rId3"/>
    <p:sldLayoutId id="2147484589" r:id="rId4"/>
    <p:sldLayoutId id="2147484590" r:id="rId5"/>
    <p:sldLayoutId id="2147484591" r:id="rId6"/>
    <p:sldLayoutId id="2147484592" r:id="rId7"/>
    <p:sldLayoutId id="2147484593" r:id="rId8"/>
    <p:sldLayoutId id="2147484594" r:id="rId9"/>
    <p:sldLayoutId id="2147484595" r:id="rId10"/>
    <p:sldLayoutId id="2147484596" r:id="rId11"/>
    <p:sldLayoutId id="2147484597" r:id="rId12"/>
    <p:sldLayoutId id="2147484598" r:id="rId13"/>
    <p:sldLayoutId id="2147484599" r:id="rId14"/>
    <p:sldLayoutId id="2147484600" r:id="rId15"/>
    <p:sldLayoutId id="2147484601" r:id="rId16"/>
    <p:sldLayoutId id="2147484602" r:id="rId17"/>
    <p:sldLayoutId id="2147484603" r:id="rId1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231139426,&quot;Placement&quot;:&quot;Footer&quot;}">
            <a:extLst>
              <a:ext uri="{FF2B5EF4-FFF2-40B4-BE49-F238E27FC236}">
                <a16:creationId xmlns:a16="http://schemas.microsoft.com/office/drawing/2014/main" id="{522101ED-B74F-4B46-9A24-736D00C1E985}"/>
              </a:ext>
            </a:extLst>
          </p:cNvPr>
          <p:cNvSpPr txBox="1"/>
          <p:nvPr userDrawn="1"/>
        </p:nvSpPr>
        <p:spPr>
          <a:xfrm>
            <a:off x="0" y="6780696"/>
            <a:ext cx="2166441" cy="160091"/>
          </a:xfrm>
          <a:prstGeom prst="rect">
            <a:avLst/>
          </a:prstGeom>
        </p:spPr>
        <p:txBody>
          <a:bodyPr vert="horz" wrap="square" lIns="0" tIns="0" rIns="0" bIns="0" rtlCol="0" anchor="ctr" anchorCtr="1">
            <a:spAutoFit/>
          </a:bodyPr>
          <a:lstStyle/>
          <a:p>
            <a:pPr algn="l">
              <a:spcBef>
                <a:spcPts val="0"/>
              </a:spcBef>
              <a:spcAft>
                <a:spcPts val="0"/>
              </a:spcAft>
            </a:pPr>
            <a:r>
              <a:rPr lang="en-GB" sz="102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2771911624"/>
      </p:ext>
    </p:extLst>
  </p:cSld>
  <p:clrMap bg1="lt1" tx1="dk1" bg2="lt2" tx2="dk2" accent1="accent1" accent2="accent2" accent3="accent3" accent4="accent4" accent5="accent5" accent6="accent6" hlink="hlink" folHlink="folHlink"/>
  <p:sldLayoutIdLst>
    <p:sldLayoutId id="2147484605" r:id="rId1"/>
    <p:sldLayoutId id="2147484606" r:id="rId2"/>
    <p:sldLayoutId id="2147484607" r:id="rId3"/>
    <p:sldLayoutId id="2147484608" r:id="rId4"/>
    <p:sldLayoutId id="2147484609" r:id="rId5"/>
    <p:sldLayoutId id="2147484610" r:id="rId6"/>
    <p:sldLayoutId id="2147484611" r:id="rId7"/>
    <p:sldLayoutId id="2147484612" r:id="rId8"/>
    <p:sldLayoutId id="2147484613" r:id="rId9"/>
  </p:sldLayoutIdLst>
  <p:hf sldNum="0" hdr="0" ftr="0" dt="0"/>
  <p:txStyles>
    <p:titleStyle>
      <a:lvl1pPr marL="0" indent="0" algn="l" defTabSz="932323" rtl="0" eaLnBrk="1" latinLnBrk="0" hangingPunct="1">
        <a:lnSpc>
          <a:spcPct val="90000"/>
        </a:lnSpc>
        <a:spcBef>
          <a:spcPct val="0"/>
        </a:spcBef>
        <a:buFont typeface="Arial" charset="0"/>
        <a:buNone/>
        <a:defRPr lang="en-US" sz="4488" b="1" i="0" kern="1200" spc="-102" baseline="0">
          <a:solidFill>
            <a:schemeClr val="tx1"/>
          </a:solidFill>
          <a:latin typeface="Segoe UI Semibold" charset="0"/>
          <a:ea typeface="Segoe UI Semibold" charset="0"/>
          <a:cs typeface="Segoe UI Semibold" charset="0"/>
        </a:defRPr>
      </a:lvl1pPr>
    </p:titleStyle>
    <p:bodyStyle>
      <a:lvl1pPr marL="0" indent="0" algn="l" defTabSz="932323" rtl="0" eaLnBrk="1" latinLnBrk="0" hangingPunct="1">
        <a:lnSpc>
          <a:spcPct val="110000"/>
        </a:lnSpc>
        <a:spcBef>
          <a:spcPts val="1224"/>
        </a:spcBef>
        <a:spcAft>
          <a:spcPts val="612"/>
        </a:spcAft>
        <a:buClr>
          <a:schemeClr val="bg1"/>
        </a:buClr>
        <a:buSzPct val="120000"/>
        <a:buFontTx/>
        <a:buNone/>
        <a:defRPr lang="en-US" sz="2040" b="1" i="0" kern="1200" dirty="0" smtClean="0">
          <a:solidFill>
            <a:schemeClr val="accent2"/>
          </a:solidFill>
          <a:effectLst/>
          <a:latin typeface="Segoe UI Semibold" charset="0"/>
          <a:ea typeface="Segoe UI Semibold" charset="0"/>
          <a:cs typeface="Segoe UI Semibold" charset="0"/>
        </a:defRPr>
      </a:lvl1pPr>
      <a:lvl2pPr marL="0" indent="0" algn="l" defTabSz="932323" rtl="0" eaLnBrk="1" latinLnBrk="0" hangingPunct="1">
        <a:lnSpc>
          <a:spcPct val="110000"/>
        </a:lnSpc>
        <a:spcBef>
          <a:spcPts val="0"/>
        </a:spcBef>
        <a:spcAft>
          <a:spcPts val="612"/>
        </a:spcAft>
        <a:buClrTx/>
        <a:buSzPct val="110000"/>
        <a:buFont typeface="Arial" charset="0"/>
        <a:buNone/>
        <a:defRPr lang="en-US" sz="2040" b="0" i="0" kern="1200" dirty="0" smtClean="0">
          <a:solidFill>
            <a:schemeClr val="tx1"/>
          </a:solidFill>
          <a:effectLst/>
          <a:latin typeface="Segoe UI" charset="0"/>
          <a:ea typeface="Segoe UI" charset="0"/>
          <a:cs typeface="Segoe UI" charset="0"/>
        </a:defRPr>
      </a:lvl2pPr>
      <a:lvl3pPr marL="294675" indent="-226673" algn="l" defTabSz="932323" rtl="0" eaLnBrk="1" latinLnBrk="0" hangingPunct="1">
        <a:lnSpc>
          <a:spcPct val="110000"/>
        </a:lnSpc>
        <a:spcBef>
          <a:spcPts val="0"/>
        </a:spcBef>
        <a:spcAft>
          <a:spcPts val="612"/>
        </a:spcAft>
        <a:buClrTx/>
        <a:buSzPct val="120000"/>
        <a:buFont typeface="Arial" charset="0"/>
        <a:buChar char="•"/>
        <a:defRPr lang="en-US" sz="1836" b="0" i="0" kern="1200" dirty="0" smtClean="0">
          <a:solidFill>
            <a:schemeClr val="tx1"/>
          </a:solidFill>
          <a:effectLst/>
          <a:latin typeface="Segoe UI" charset="0"/>
          <a:ea typeface="Segoe UI" charset="0"/>
          <a:cs typeface="Segoe UI" charset="0"/>
        </a:defRPr>
      </a:lvl3pPr>
      <a:lvl4pPr marL="644398" indent="-186519" algn="l" defTabSz="932323" rtl="0" eaLnBrk="1" latinLnBrk="0" hangingPunct="1">
        <a:lnSpc>
          <a:spcPct val="110000"/>
        </a:lnSpc>
        <a:spcBef>
          <a:spcPts val="0"/>
        </a:spcBef>
        <a:spcAft>
          <a:spcPts val="612"/>
        </a:spcAft>
        <a:buClrTx/>
        <a:buFont typeface="Arial" charset="0"/>
        <a:buChar char="•"/>
        <a:tabLst/>
        <a:defRPr lang="en-US" sz="1632" b="0" i="0" kern="1200" dirty="0" smtClean="0">
          <a:solidFill>
            <a:schemeClr val="tx1"/>
          </a:solidFill>
          <a:effectLst/>
          <a:latin typeface="Segoe UI" charset="0"/>
          <a:ea typeface="Segoe UI" charset="0"/>
          <a:cs typeface="Segoe UI" charset="0"/>
        </a:defRPr>
      </a:lvl4pPr>
      <a:lvl5pPr marL="1279082" indent="-198177" algn="l" defTabSz="932323" rtl="0" eaLnBrk="1" latinLnBrk="0" hangingPunct="1">
        <a:lnSpc>
          <a:spcPct val="100000"/>
        </a:lnSpc>
        <a:spcBef>
          <a:spcPts val="510"/>
        </a:spcBef>
        <a:buClr>
          <a:schemeClr val="bg2"/>
        </a:buClr>
        <a:buFont typeface="Arial"/>
        <a:buChar char="•"/>
        <a:defRPr lang="en-US" sz="1428" b="0" i="0" kern="1200" dirty="0">
          <a:solidFill>
            <a:schemeClr val="tx1"/>
          </a:solidFill>
          <a:effectLst/>
          <a:latin typeface="Segoe UI" charset="0"/>
          <a:ea typeface="Segoe UI" charset="0"/>
          <a:cs typeface="Segoe UI" charset="0"/>
        </a:defRPr>
      </a:lvl5pPr>
      <a:lvl6pPr marL="2004329" indent="-233081" algn="l" defTabSz="932323" rtl="0" eaLnBrk="1" latinLnBrk="0" hangingPunct="1">
        <a:lnSpc>
          <a:spcPct val="110000"/>
        </a:lnSpc>
        <a:spcBef>
          <a:spcPts val="510"/>
        </a:spcBef>
        <a:buFont typeface="Arial" panose="020B0604020202020204" pitchFamily="34" charset="0"/>
        <a:buChar char="•"/>
        <a:defRPr sz="1224" b="0" i="0" kern="1200">
          <a:solidFill>
            <a:schemeClr val="tx1"/>
          </a:solidFill>
          <a:latin typeface="Segoe UI" charset="0"/>
          <a:ea typeface="Segoe UI" charset="0"/>
          <a:cs typeface="Segoe UI" charset="0"/>
        </a:defRPr>
      </a:lvl6pPr>
      <a:lvl7pPr marL="3030047"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7pPr>
      <a:lvl8pPr marL="3496209"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8pPr>
      <a:lvl9pPr marL="3962370"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9pPr>
    </p:bodyStyle>
    <p:otherStyle>
      <a:defPPr>
        <a:defRPr lang="en-US"/>
      </a:defPPr>
      <a:lvl1pPr marL="0" algn="l" defTabSz="932323" rtl="0" eaLnBrk="1" latinLnBrk="0" hangingPunct="1">
        <a:defRPr sz="1938" kern="1200">
          <a:solidFill>
            <a:schemeClr val="tx1"/>
          </a:solidFill>
          <a:latin typeface="+mn-lt"/>
          <a:ea typeface="+mn-ea"/>
          <a:cs typeface="+mn-cs"/>
        </a:defRPr>
      </a:lvl1pPr>
      <a:lvl2pPr marL="466161" algn="l" defTabSz="932323" rtl="0" eaLnBrk="1" latinLnBrk="0" hangingPunct="1">
        <a:defRPr sz="1938" kern="1200">
          <a:solidFill>
            <a:schemeClr val="tx1"/>
          </a:solidFill>
          <a:latin typeface="+mn-lt"/>
          <a:ea typeface="+mn-ea"/>
          <a:cs typeface="+mn-cs"/>
        </a:defRPr>
      </a:lvl2pPr>
      <a:lvl3pPr marL="932323" algn="l" defTabSz="932323" rtl="0" eaLnBrk="1" latinLnBrk="0" hangingPunct="1">
        <a:defRPr sz="1938" kern="1200">
          <a:solidFill>
            <a:schemeClr val="tx1"/>
          </a:solidFill>
          <a:latin typeface="+mn-lt"/>
          <a:ea typeface="+mn-ea"/>
          <a:cs typeface="+mn-cs"/>
        </a:defRPr>
      </a:lvl3pPr>
      <a:lvl4pPr marL="1398484" algn="l" defTabSz="932323" rtl="0" eaLnBrk="1" latinLnBrk="0" hangingPunct="1">
        <a:defRPr sz="1938" kern="1200">
          <a:solidFill>
            <a:schemeClr val="tx1"/>
          </a:solidFill>
          <a:latin typeface="+mn-lt"/>
          <a:ea typeface="+mn-ea"/>
          <a:cs typeface="+mn-cs"/>
        </a:defRPr>
      </a:lvl4pPr>
      <a:lvl5pPr marL="1864644" algn="l" defTabSz="932323" rtl="0" eaLnBrk="1" latinLnBrk="0" hangingPunct="1">
        <a:defRPr sz="1938" kern="1200">
          <a:solidFill>
            <a:schemeClr val="tx1"/>
          </a:solidFill>
          <a:latin typeface="+mn-lt"/>
          <a:ea typeface="+mn-ea"/>
          <a:cs typeface="+mn-cs"/>
        </a:defRPr>
      </a:lvl5pPr>
      <a:lvl6pPr marL="2330806" algn="l" defTabSz="932323" rtl="0" eaLnBrk="1" latinLnBrk="0" hangingPunct="1">
        <a:defRPr sz="1938" kern="1200">
          <a:solidFill>
            <a:schemeClr val="tx1"/>
          </a:solidFill>
          <a:latin typeface="+mn-lt"/>
          <a:ea typeface="+mn-ea"/>
          <a:cs typeface="+mn-cs"/>
        </a:defRPr>
      </a:lvl6pPr>
      <a:lvl7pPr marL="2796968" algn="l" defTabSz="932323" rtl="0" eaLnBrk="1" latinLnBrk="0" hangingPunct="1">
        <a:defRPr sz="1938" kern="1200">
          <a:solidFill>
            <a:schemeClr val="tx1"/>
          </a:solidFill>
          <a:latin typeface="+mn-lt"/>
          <a:ea typeface="+mn-ea"/>
          <a:cs typeface="+mn-cs"/>
        </a:defRPr>
      </a:lvl7pPr>
      <a:lvl8pPr marL="3263128" algn="l" defTabSz="932323" rtl="0" eaLnBrk="1" latinLnBrk="0" hangingPunct="1">
        <a:defRPr sz="1938" kern="1200">
          <a:solidFill>
            <a:schemeClr val="tx1"/>
          </a:solidFill>
          <a:latin typeface="+mn-lt"/>
          <a:ea typeface="+mn-ea"/>
          <a:cs typeface="+mn-cs"/>
        </a:defRPr>
      </a:lvl8pPr>
      <a:lvl9pPr marL="3729289" algn="l" defTabSz="932323" rtl="0" eaLnBrk="1" latinLnBrk="0" hangingPunct="1">
        <a:defRPr sz="193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732748"/>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MSIPCMContentMarking" descr="{&quot;HashCode&quot;:231139426,&quot;Placement&quot;:&quot;Footer&quot;}">
            <a:extLst>
              <a:ext uri="{FF2B5EF4-FFF2-40B4-BE49-F238E27FC236}">
                <a16:creationId xmlns:a16="http://schemas.microsoft.com/office/drawing/2014/main" id="{47DF493A-910A-4B5E-94EF-091B75F32CF8}"/>
              </a:ext>
            </a:extLst>
          </p:cNvPr>
          <p:cNvSpPr txBox="1"/>
          <p:nvPr userDrawn="1"/>
        </p:nvSpPr>
        <p:spPr>
          <a:xfrm>
            <a:off x="0" y="6788707"/>
            <a:ext cx="2166441" cy="144069"/>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20">
                <a:solidFill>
                  <a:srgbClr val="000000"/>
                </a:solidFill>
                <a:latin typeface="Calibri" panose="020F0502020204030204" pitchFamily="34" charset="0"/>
              </a:rPr>
              <a:t>Classified as Microsoft Confidential</a:t>
            </a:r>
            <a:endParaRPr lang="en-GB" sz="102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803287252"/>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 id="2147484629" r:id="rId15"/>
    <p:sldLayoutId id="2147484630" r:id="rId16"/>
    <p:sldLayoutId id="2147484631" r:id="rId17"/>
    <p:sldLayoutId id="2147484632" r:id="rId18"/>
    <p:sldLayoutId id="2147484633" r:id="rId19"/>
    <p:sldLayoutId id="2147484634" r:id="rId20"/>
    <p:sldLayoutId id="2147484635" r:id="rId21"/>
    <p:sldLayoutId id="2147484636" r:id="rId22"/>
    <p:sldLayoutId id="2147484637" r:id="rId23"/>
    <p:sldLayoutId id="2147484638" r:id="rId24"/>
    <p:sldLayoutId id="2147484639" r:id="rId25"/>
    <p:sldLayoutId id="2147484640" r:id="rId26"/>
    <p:sldLayoutId id="2147484641" r:id="rId27"/>
  </p:sldLayoutIdLst>
  <p:transition>
    <p:fade/>
  </p:transition>
  <p:txStyles>
    <p:titleStyle>
      <a:lvl1pPr algn="ctr" defTabSz="932563" rtl="0" eaLnBrk="1" latinLnBrk="0" hangingPunct="1">
        <a:lnSpc>
          <a:spcPct val="90000"/>
        </a:lnSpc>
        <a:spcBef>
          <a:spcPct val="0"/>
        </a:spcBef>
        <a:buNone/>
        <a:defRPr lang="en-US" sz="2856" b="0" kern="1200" cap="all" spc="510" baseline="0" dirty="0">
          <a:ln w="3175">
            <a:noFill/>
          </a:ln>
          <a:solidFill>
            <a:schemeClr val="tx2"/>
          </a:solidFill>
          <a:effectLst/>
          <a:latin typeface="Segoe UI Semilight" charset="0"/>
          <a:ea typeface="+mn-ea"/>
          <a:cs typeface="Segoe UI Semilight" charset="0"/>
        </a:defRPr>
      </a:lvl1pPr>
    </p:titleStyle>
    <p:bodyStyle>
      <a:lvl1pPr marL="342834" marR="0" indent="-342834" algn="l" defTabSz="932563" rtl="0" eaLnBrk="1" fontAlgn="auto" latinLnBrk="0" hangingPunct="1">
        <a:lnSpc>
          <a:spcPct val="100000"/>
        </a:lnSpc>
        <a:spcBef>
          <a:spcPct val="20000"/>
        </a:spcBef>
        <a:spcAft>
          <a:spcPts val="0"/>
        </a:spcAft>
        <a:buClrTx/>
        <a:buSzPct val="90000"/>
        <a:buFont typeface="Arial" pitchFamily="34" charset="0"/>
        <a:buChar char="•"/>
        <a:tabLst/>
        <a:defRPr sz="2448" kern="1200" spc="0" baseline="0">
          <a:solidFill>
            <a:schemeClr val="tx1"/>
          </a:solidFill>
          <a:latin typeface="+mj-lt"/>
          <a:ea typeface="+mn-ea"/>
          <a:cs typeface="+mn-cs"/>
        </a:defRPr>
      </a:lvl1pPr>
      <a:lvl2pPr marL="584088" marR="0" indent="-241253" algn="l" defTabSz="932563" rtl="0" eaLnBrk="1" fontAlgn="auto" latinLnBrk="0" hangingPunct="1">
        <a:lnSpc>
          <a:spcPct val="100000"/>
        </a:lnSpc>
        <a:spcBef>
          <a:spcPct val="20000"/>
        </a:spcBef>
        <a:spcAft>
          <a:spcPts val="0"/>
        </a:spcAft>
        <a:buClrTx/>
        <a:buSzPct val="90000"/>
        <a:buFont typeface="Arial" pitchFamily="34" charset="0"/>
        <a:buChar char="•"/>
        <a:tabLst/>
        <a:defRPr sz="1836" kern="1200" spc="0" baseline="0">
          <a:solidFill>
            <a:schemeClr val="tx1"/>
          </a:solidFill>
          <a:latin typeface="+mn-lt"/>
          <a:ea typeface="+mn-ea"/>
          <a:cs typeface="+mn-cs"/>
        </a:defRPr>
      </a:lvl2pPr>
      <a:lvl3pPr marL="799946" marR="0" indent="-228557" algn="l" defTabSz="932563" rtl="0" eaLnBrk="1" fontAlgn="auto" latinLnBrk="0" hangingPunct="1">
        <a:lnSpc>
          <a:spcPct val="100000"/>
        </a:lnSpc>
        <a:spcBef>
          <a:spcPct val="20000"/>
        </a:spcBef>
        <a:spcAft>
          <a:spcPts val="0"/>
        </a:spcAft>
        <a:buClrTx/>
        <a:buSzPct val="90000"/>
        <a:buFont typeface="Arial" pitchFamily="34" charset="0"/>
        <a:buChar char="•"/>
        <a:tabLst/>
        <a:defRPr sz="1632" kern="1200" spc="0" baseline="0">
          <a:solidFill>
            <a:schemeClr val="tx1"/>
          </a:solidFill>
          <a:latin typeface="+mn-lt"/>
          <a:ea typeface="+mn-ea"/>
          <a:cs typeface="+mn-cs"/>
        </a:defRPr>
      </a:lvl3pPr>
      <a:lvl4pPr marL="1028503" marR="0" indent="-228557" algn="l" defTabSz="932563" rtl="0" eaLnBrk="1" fontAlgn="auto" latinLnBrk="0" hangingPunct="1">
        <a:lnSpc>
          <a:spcPct val="100000"/>
        </a:lnSpc>
        <a:spcBef>
          <a:spcPct val="20000"/>
        </a:spcBef>
        <a:spcAft>
          <a:spcPts val="0"/>
        </a:spcAft>
        <a:buClrTx/>
        <a:buSzPct val="90000"/>
        <a:buFont typeface="Arial" pitchFamily="34" charset="0"/>
        <a:buChar char="•"/>
        <a:tabLst/>
        <a:defRPr sz="1428" kern="1200" spc="0" baseline="0">
          <a:solidFill>
            <a:schemeClr val="tx1"/>
          </a:solidFill>
          <a:latin typeface="+mn-lt"/>
          <a:ea typeface="+mn-ea"/>
          <a:cs typeface="+mn-cs"/>
        </a:defRPr>
      </a:lvl4pPr>
      <a:lvl5pPr marL="1257058" marR="0" indent="-228557" algn="l" defTabSz="932563" rtl="0" eaLnBrk="1" fontAlgn="auto" latinLnBrk="0" hangingPunct="1">
        <a:lnSpc>
          <a:spcPct val="100000"/>
        </a:lnSpc>
        <a:spcBef>
          <a:spcPct val="20000"/>
        </a:spcBef>
        <a:spcAft>
          <a:spcPts val="0"/>
        </a:spcAft>
        <a:buClrTx/>
        <a:buSzPct val="90000"/>
        <a:buFont typeface="Arial" pitchFamily="34" charset="0"/>
        <a:buChar char="•"/>
        <a:tabLst/>
        <a:defRPr sz="1428"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67" r:id="rId14"/>
    <p:sldLayoutId id="2147484256" r:id="rId15"/>
    <p:sldLayoutId id="2147484257" r:id="rId16"/>
    <p:sldLayoutId id="2147484258" r:id="rId17"/>
    <p:sldLayoutId id="2147484259" r:id="rId18"/>
    <p:sldLayoutId id="2147484260" r:id="rId19"/>
    <p:sldLayoutId id="2147484261" r:id="rId20"/>
    <p:sldLayoutId id="2147484263" r:id="rId21"/>
    <p:sldLayoutId id="2147484342" r:id="rId22"/>
    <p:sldLayoutId id="2147484343" r:id="rId23"/>
    <p:sldLayoutId id="2147484344"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944350"/>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8"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32 B:80</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16 G:124 B:16</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80 G:80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15 G:115 B:1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120 B:2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75 B:28</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19" name="Footer Placeholder 1"/>
          <p:cNvSpPr txBox="1">
            <a:spLocks/>
          </p:cNvSpPr>
          <p:nvPr userDrawn="1"/>
        </p:nvSpPr>
        <p:spPr>
          <a:xfrm>
            <a:off x="274637" y="6721675"/>
            <a:ext cx="12161838" cy="272851"/>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accent5"/>
                </a:solidFill>
                <a:effectLst/>
                <a:uLnTx/>
                <a:uFillTx/>
                <a:latin typeface="Segoe UI"/>
                <a:ea typeface="+mn-ea"/>
                <a:cs typeface="+mn-cs"/>
              </a:rPr>
              <a:t>Microsoft Confidential – NDA Required</a:t>
            </a:r>
          </a:p>
        </p:txBody>
      </p:sp>
    </p:spTree>
    <p:extLst>
      <p:ext uri="{BB962C8B-B14F-4D97-AF65-F5344CB8AC3E}">
        <p14:creationId xmlns:p14="http://schemas.microsoft.com/office/powerpoint/2010/main" val="1977210449"/>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 id="2147484314" r:id="rId19"/>
    <p:sldLayoutId id="2147484315" r:id="rId20"/>
    <p:sldLayoutId id="2147484316" r:id="rId21"/>
    <p:sldLayoutId id="2147484317" r:id="rId22"/>
    <p:sldLayoutId id="2147484318" r:id="rId23"/>
    <p:sldLayoutId id="2147484319" r:id="rId24"/>
    <p:sldLayoutId id="2147484320" r:id="rId25"/>
    <p:sldLayoutId id="2147484321" r:id="rId26"/>
    <p:sldLayoutId id="2147484322" r:id="rId27"/>
    <p:sldLayoutId id="2147484323" r:id="rId28"/>
    <p:sldLayoutId id="2147484324" r:id="rId29"/>
    <p:sldLayoutId id="2147484325" r:id="rId30"/>
    <p:sldLayoutId id="2147484326" r:id="rId31"/>
    <p:sldLayoutId id="2147484327" r:id="rId32"/>
    <p:sldLayoutId id="2147484328" r:id="rId33"/>
    <p:sldLayoutId id="2147484329" r:id="rId34"/>
    <p:sldLayoutId id="2147484330" r:id="rId35"/>
    <p:sldLayoutId id="2147484331" r:id="rId36"/>
    <p:sldLayoutId id="2147484332" r:id="rId37"/>
    <p:sldLayoutId id="2147484333" r:id="rId38"/>
    <p:sldLayoutId id="2147484334" r:id="rId39"/>
    <p:sldLayoutId id="2147484335" r:id="rId40"/>
    <p:sldLayoutId id="2147484336" r:id="rId41"/>
    <p:sldLayoutId id="2147484337" r:id="rId42"/>
    <p:sldLayoutId id="2147484338" r:id="rId43"/>
    <p:sldLayoutId id="2147484339" r:id="rId44"/>
    <p:sldLayoutId id="2147484340" r:id="rId45"/>
    <p:sldLayoutId id="2147484341" r:id="rId46"/>
  </p:sldLayoutIdLst>
  <p:transition>
    <p:fade/>
  </p:transition>
  <p:hf sldNum="0" hd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a:t>
                </a:r>
                <a:r>
                  <a:rPr lang="en-US" sz="500" baseline="0">
                    <a:gradFill>
                      <a:gsLst>
                        <a:gs pos="37168">
                          <a:srgbClr val="292929"/>
                        </a:gs>
                        <a:gs pos="72000">
                          <a:srgbClr val="292929"/>
                        </a:gs>
                      </a:gsLst>
                      <a:lin ang="5400000" scaled="0"/>
                    </a:gradFill>
                    <a:ea typeface="Segoe UI" pitchFamily="34" charset="0"/>
                    <a:cs typeface="Segoe UI" pitchFamily="34" charset="0"/>
                  </a:rPr>
                  <a:t>210 G:210 B:210</a:t>
                </a:r>
                <a:endParaRPr lang="en-US" sz="50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68 G:0 B: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16</a:t>
              </a:r>
              <a:r>
                <a:rPr lang="en-US" sz="500" baseline="0">
                  <a:gradFill>
                    <a:gsLst>
                      <a:gs pos="2092">
                        <a:srgbClr val="F8F8F8"/>
                      </a:gs>
                      <a:gs pos="10042">
                        <a:srgbClr val="F8F8F8"/>
                      </a:gs>
                    </a:gsLst>
                    <a:lin ang="5400000" scaled="0"/>
                  </a:gradFill>
                  <a:ea typeface="Segoe UI" pitchFamily="34" charset="0"/>
                  <a:cs typeface="Segoe UI" pitchFamily="34" charset="0"/>
                </a:rPr>
                <a:t> G:124 B:16</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99605534"/>
      </p:ext>
    </p:extLst>
  </p:cSld>
  <p:clrMap bg1="lt1" tx1="dk1" bg2="lt2" tx2="dk2" accent1="accent1" accent2="accent2" accent3="accent3" accent4="accent4" accent5="accent5" accent6="accent6" hlink="hlink" folHlink="folHlink"/>
  <p:sldLayoutIdLst>
    <p:sldLayoutId id="2147484347" r:id="rId1"/>
    <p:sldLayoutId id="2147484348" r:id="rId2"/>
    <p:sldLayoutId id="2147484349" r:id="rId3"/>
    <p:sldLayoutId id="2147484350" r:id="rId4"/>
    <p:sldLayoutId id="2147484351" r:id="rId5"/>
    <p:sldLayoutId id="2147484352" r:id="rId6"/>
    <p:sldLayoutId id="2147484353" r:id="rId7"/>
    <p:sldLayoutId id="2147484354" r:id="rId8"/>
    <p:sldLayoutId id="2147484355" r:id="rId9"/>
    <p:sldLayoutId id="2147484356" r:id="rId10"/>
    <p:sldLayoutId id="2147484357" r:id="rId11"/>
    <p:sldLayoutId id="2147484358" r:id="rId12"/>
    <p:sldLayoutId id="2147484359" r:id="rId13"/>
    <p:sldLayoutId id="2147484360" r:id="rId14"/>
    <p:sldLayoutId id="2147484361" r:id="rId15"/>
    <p:sldLayoutId id="2147484362" r:id="rId16"/>
    <p:sldLayoutId id="2147484363" r:id="rId17"/>
    <p:sldLayoutId id="2147484364" r:id="rId18"/>
    <p:sldLayoutId id="2147484365" r:id="rId19"/>
    <p:sldLayoutId id="2147484366" r:id="rId20"/>
    <p:sldLayoutId id="214748436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546422723"/>
      </p:ext>
    </p:extLst>
  </p:cSld>
  <p:clrMap bg1="dk1" tx1="lt1" bg2="dk2" tx2="lt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 id="2147484382" r:id="rId13"/>
    <p:sldLayoutId id="2147484383" r:id="rId14"/>
    <p:sldLayoutId id="2147484384" r:id="rId15"/>
    <p:sldLayoutId id="2147484385" r:id="rId16"/>
    <p:sldLayoutId id="2147484386" r:id="rId17"/>
    <p:sldLayoutId id="2147484387" r:id="rId18"/>
    <p:sldLayoutId id="2147484388" r:id="rId19"/>
    <p:sldLayoutId id="2147484389" r:id="rId20"/>
    <p:sldLayoutId id="2147484390" r:id="rId21"/>
    <p:sldLayoutId id="2147484391" r:id="rId22"/>
    <p:sldLayoutId id="2147484392" r:id="rId23"/>
    <p:sldLayoutId id="2147484393" r:id="rId24"/>
    <p:sldLayoutId id="2147484394" r:id="rId25"/>
    <p:sldLayoutId id="2147484395"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1765738"/>
      </p:ext>
    </p:extLst>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 id="2147484407" r:id="rId11"/>
    <p:sldLayoutId id="2147484408" r:id="rId12"/>
    <p:sldLayoutId id="2147484409" r:id="rId13"/>
    <p:sldLayoutId id="2147484410" r:id="rId14"/>
    <p:sldLayoutId id="2147484411" r:id="rId15"/>
    <p:sldLayoutId id="2147484412" r:id="rId16"/>
    <p:sldLayoutId id="2147484413" r:id="rId17"/>
    <p:sldLayoutId id="2147484414" r:id="rId18"/>
    <p:sldLayoutId id="2147484415" r:id="rId19"/>
    <p:sldLayoutId id="2147484416" r:id="rId20"/>
    <p:sldLayoutId id="2147484417" r:id="rId21"/>
    <p:sldLayoutId id="2147484418" r:id="rId22"/>
    <p:sldLayoutId id="2147484419" r:id="rId23"/>
    <p:sldLayoutId id="2147484420" r:id="rId24"/>
    <p:sldLayoutId id="2147484421" r:id="rId25"/>
    <p:sldLayoutId id="2147484422"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83702"/>
      </p:ext>
    </p:extLst>
  </p:cSld>
  <p:clrMap bg1="lt1" tx1="dk1" bg2="lt2" tx2="dk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 id="2147484508" r:id="rId1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799058"/>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xml"/><Relationship Id="rId1" Type="http://schemas.openxmlformats.org/officeDocument/2006/relationships/slideLayout" Target="../slideLayouts/slideLayout193.xml"/><Relationship Id="rId5" Type="http://schemas.openxmlformats.org/officeDocument/2006/relationships/image" Target="../media/image44.png"/><Relationship Id="rId4" Type="http://schemas.openxmlformats.org/officeDocument/2006/relationships/image" Target="../media/image43.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2.xml"/></Relationships>
</file>

<file path=ppt/slides/_rels/slide12.xml.rels><?xml version="1.0" encoding="UTF-8" standalone="yes"?>
<Relationships xmlns="http://schemas.openxmlformats.org/package/2006/relationships"><Relationship Id="rId8" Type="http://schemas.openxmlformats.org/officeDocument/2006/relationships/image" Target="../media/image103.svg"/><Relationship Id="rId13" Type="http://schemas.openxmlformats.org/officeDocument/2006/relationships/image" Target="../media/image108.png"/><Relationship Id="rId3" Type="http://schemas.openxmlformats.org/officeDocument/2006/relationships/image" Target="../media/image98.png"/><Relationship Id="rId7" Type="http://schemas.openxmlformats.org/officeDocument/2006/relationships/image" Target="../media/image102.png"/><Relationship Id="rId12" Type="http://schemas.openxmlformats.org/officeDocument/2006/relationships/image" Target="../media/image107.svg"/><Relationship Id="rId2" Type="http://schemas.openxmlformats.org/officeDocument/2006/relationships/notesSlide" Target="../notesSlides/notesSlide12.xml"/><Relationship Id="rId1" Type="http://schemas.openxmlformats.org/officeDocument/2006/relationships/slideLayout" Target="../slideLayouts/slideLayout192.xml"/><Relationship Id="rId6" Type="http://schemas.openxmlformats.org/officeDocument/2006/relationships/image" Target="../media/image101.sv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svg"/><Relationship Id="rId4" Type="http://schemas.openxmlformats.org/officeDocument/2006/relationships/image" Target="../media/image99.svg"/><Relationship Id="rId9" Type="http://schemas.openxmlformats.org/officeDocument/2006/relationships/image" Target="../media/image104.png"/><Relationship Id="rId14" Type="http://schemas.openxmlformats.org/officeDocument/2006/relationships/image" Target="../media/image109.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2.xml"/></Relationships>
</file>

<file path=ppt/slides/_rels/slide14.xml.rels><?xml version="1.0" encoding="UTF-8" standalone="yes"?>
<Relationships xmlns="http://schemas.openxmlformats.org/package/2006/relationships"><Relationship Id="rId3" Type="http://schemas.openxmlformats.org/officeDocument/2006/relationships/hyperlink" Target="https://azure.microsoft.com/en-us/roadmap/azure-maps-now-generally-available/" TargetMode="External"/><Relationship Id="rId2" Type="http://schemas.openxmlformats.org/officeDocument/2006/relationships/notesSlide" Target="../notesSlides/notesSlide14.xml"/><Relationship Id="rId1" Type="http://schemas.openxmlformats.org/officeDocument/2006/relationships/slideLayout" Target="../slideLayouts/slideLayout187.xml"/><Relationship Id="rId5" Type="http://schemas.openxmlformats.org/officeDocument/2006/relationships/hyperlink" Target="https://azure.microsoft.com/en-us/blog/developing-an-azure-sphere-experience-with-visual-studio/" TargetMode="External"/><Relationship Id="rId4" Type="http://schemas.openxmlformats.org/officeDocument/2006/relationships/hyperlink" Target="https://docs.microsoft.com/en-us/azure/cognitive-services/luis/"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2.xml"/></Relationships>
</file>

<file path=ppt/slides/_rels/slide16.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notesSlide" Target="../notesSlides/notesSlide16.xml"/><Relationship Id="rId1" Type="http://schemas.openxmlformats.org/officeDocument/2006/relationships/slideLayout" Target="../slideLayouts/slideLayout196.xml"/></Relationships>
</file>

<file path=ppt/slides/_rels/slide1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7.xml"/><Relationship Id="rId1" Type="http://schemas.openxmlformats.org/officeDocument/2006/relationships/slideLayout" Target="../slideLayouts/slideLayout213.xm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7.xml"/></Relationships>
</file>

<file path=ppt/slides/_rels/slide1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9.xml"/><Relationship Id="rId1" Type="http://schemas.openxmlformats.org/officeDocument/2006/relationships/slideLayout" Target="../slideLayouts/slideLayout19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0.xml"/></Relationships>
</file>

<file path=ppt/slides/_rels/slide21.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21.xml"/><Relationship Id="rId1" Type="http://schemas.openxmlformats.org/officeDocument/2006/relationships/slideLayout" Target="../slideLayouts/slideLayout197.xml"/></Relationships>
</file>

<file path=ppt/slides/_rels/slide22.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svg"/><Relationship Id="rId3" Type="http://schemas.openxmlformats.org/officeDocument/2006/relationships/image" Target="../media/image112.png"/><Relationship Id="rId7" Type="http://schemas.openxmlformats.org/officeDocument/2006/relationships/image" Target="../media/image116.png"/><Relationship Id="rId12" Type="http://schemas.openxmlformats.org/officeDocument/2006/relationships/image" Target="../media/image121.png"/><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png"/><Relationship Id="rId9" Type="http://schemas.openxmlformats.org/officeDocument/2006/relationships/image" Target="../media/image118.png"/></Relationships>
</file>

<file path=ppt/slides/_rels/slide2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3.xml"/><Relationship Id="rId1" Type="http://schemas.openxmlformats.org/officeDocument/2006/relationships/slideLayout" Target="../slideLayouts/slideLayout29.xml"/><Relationship Id="rId4" Type="http://schemas.openxmlformats.org/officeDocument/2006/relationships/image" Target="../media/image124.svg"/></Relationships>
</file>

<file path=ppt/slides/_rels/slide2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4.xml"/><Relationship Id="rId1" Type="http://schemas.openxmlformats.org/officeDocument/2006/relationships/slideLayout" Target="../slideLayouts/slideLayout29.xml"/><Relationship Id="rId4" Type="http://schemas.openxmlformats.org/officeDocument/2006/relationships/image" Target="../media/image124.svg"/></Relationships>
</file>

<file path=ppt/slides/_rels/slide2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5.xml"/><Relationship Id="rId1" Type="http://schemas.openxmlformats.org/officeDocument/2006/relationships/slideLayout" Target="../slideLayouts/slideLayout29.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slides/_rels/slide2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6.xml"/><Relationship Id="rId1" Type="http://schemas.openxmlformats.org/officeDocument/2006/relationships/slideLayout" Target="../slideLayouts/slideLayout28.xml"/><Relationship Id="rId5" Type="http://schemas.openxmlformats.org/officeDocument/2006/relationships/image" Target="../media/image112.png"/><Relationship Id="rId4" Type="http://schemas.openxmlformats.org/officeDocument/2006/relationships/image" Target="../media/image128.png"/></Relationships>
</file>

<file path=ppt/slides/_rels/slide27.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12.png"/><Relationship Id="rId7" Type="http://schemas.openxmlformats.org/officeDocument/2006/relationships/image" Target="../media/image127.png"/><Relationship Id="rId2" Type="http://schemas.openxmlformats.org/officeDocument/2006/relationships/notesSlide" Target="../notesSlides/notesSlide27.xml"/><Relationship Id="rId1" Type="http://schemas.openxmlformats.org/officeDocument/2006/relationships/slideLayout" Target="../slideLayouts/slideLayout28.xml"/><Relationship Id="rId6" Type="http://schemas.openxmlformats.org/officeDocument/2006/relationships/image" Target="../media/image128.png"/><Relationship Id="rId11" Type="http://schemas.microsoft.com/office/2007/relationships/hdphoto" Target="../media/hdphoto3.wdp"/><Relationship Id="rId5" Type="http://schemas.openxmlformats.org/officeDocument/2006/relationships/image" Target="../media/image130.png"/><Relationship Id="rId10" Type="http://schemas.openxmlformats.org/officeDocument/2006/relationships/image" Target="../media/image132.png"/><Relationship Id="rId4" Type="http://schemas.openxmlformats.org/officeDocument/2006/relationships/image" Target="../media/image129.png"/><Relationship Id="rId9" Type="http://schemas.microsoft.com/office/2007/relationships/hdphoto" Target="../media/hdphoto2.wdp"/></Relationships>
</file>

<file path=ppt/slides/_rels/slide28.xml.rels><?xml version="1.0" encoding="UTF-8" standalone="yes"?>
<Relationships xmlns="http://schemas.openxmlformats.org/package/2006/relationships"><Relationship Id="rId3" Type="http://schemas.openxmlformats.org/officeDocument/2006/relationships/image" Target="../media/image133.emf"/><Relationship Id="rId7" Type="http://schemas.microsoft.com/office/2007/relationships/hdphoto" Target="../media/hdphoto4.wdp"/><Relationship Id="rId2" Type="http://schemas.openxmlformats.org/officeDocument/2006/relationships/notesSlide" Target="../notesSlides/notesSlide28.xml"/><Relationship Id="rId1" Type="http://schemas.openxmlformats.org/officeDocument/2006/relationships/slideLayout" Target="../slideLayouts/slideLayout28.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28.png"/></Relationships>
</file>

<file path=ppt/slides/_rels/slide29.xml.rels><?xml version="1.0" encoding="UTF-8" standalone="yes"?>
<Relationships xmlns="http://schemas.openxmlformats.org/package/2006/relationships"><Relationship Id="rId8" Type="http://schemas.openxmlformats.org/officeDocument/2006/relationships/image" Target="../media/image137.svg"/><Relationship Id="rId3" Type="http://schemas.openxmlformats.org/officeDocument/2006/relationships/image" Target="../media/image123.png"/><Relationship Id="rId7" Type="http://schemas.openxmlformats.org/officeDocument/2006/relationships/image" Target="../media/image136.png"/><Relationship Id="rId2" Type="http://schemas.openxmlformats.org/officeDocument/2006/relationships/notesSlide" Target="../notesSlides/notesSlide29.xml"/><Relationship Id="rId1" Type="http://schemas.openxmlformats.org/officeDocument/2006/relationships/slideLayout" Target="../slideLayouts/slideLayout29.xml"/><Relationship Id="rId6" Type="http://schemas.openxmlformats.org/officeDocument/2006/relationships/image" Target="../media/image126.svg"/><Relationship Id="rId5" Type="http://schemas.openxmlformats.org/officeDocument/2006/relationships/image" Target="../media/image125.png"/><Relationship Id="rId10" Type="http://schemas.openxmlformats.org/officeDocument/2006/relationships/image" Target="../media/image122.svg"/><Relationship Id="rId4" Type="http://schemas.openxmlformats.org/officeDocument/2006/relationships/image" Target="../media/image124.svg"/><Relationship Id="rId9" Type="http://schemas.openxmlformats.org/officeDocument/2006/relationships/image" Target="../media/image12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0.xml"/></Relationships>
</file>

<file path=ppt/slides/_rels/slide30.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image" Target="../media/image140.png"/><Relationship Id="rId3" Type="http://schemas.openxmlformats.org/officeDocument/2006/relationships/image" Target="../media/image123.png"/><Relationship Id="rId7" Type="http://schemas.openxmlformats.org/officeDocument/2006/relationships/image" Target="../media/image136.png"/><Relationship Id="rId12" Type="http://schemas.openxmlformats.org/officeDocument/2006/relationships/image" Target="../media/image139.svg"/><Relationship Id="rId2" Type="http://schemas.openxmlformats.org/officeDocument/2006/relationships/notesSlide" Target="../notesSlides/notesSlide30.xml"/><Relationship Id="rId1" Type="http://schemas.openxmlformats.org/officeDocument/2006/relationships/slideLayout" Target="../slideLayouts/slideLayout29.xml"/><Relationship Id="rId6" Type="http://schemas.openxmlformats.org/officeDocument/2006/relationships/image" Target="../media/image126.svg"/><Relationship Id="rId11" Type="http://schemas.openxmlformats.org/officeDocument/2006/relationships/image" Target="../media/image138.png"/><Relationship Id="rId5" Type="http://schemas.openxmlformats.org/officeDocument/2006/relationships/image" Target="../media/image125.png"/><Relationship Id="rId10" Type="http://schemas.openxmlformats.org/officeDocument/2006/relationships/image" Target="../media/image122.svg"/><Relationship Id="rId4" Type="http://schemas.openxmlformats.org/officeDocument/2006/relationships/image" Target="../media/image124.svg"/><Relationship Id="rId9" Type="http://schemas.openxmlformats.org/officeDocument/2006/relationships/image" Target="../media/image121.png"/><Relationship Id="rId14" Type="http://schemas.openxmlformats.org/officeDocument/2006/relationships/image" Target="../media/image141.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png"/><Relationship Id="rId3" Type="http://schemas.openxmlformats.org/officeDocument/2006/relationships/hyperlink" Target="https://azure.microsoft.com/en-us/blog/virtual-network-service-endpoints-and-firewalls-for-azure-storage-now-generally-available/" TargetMode="External"/><Relationship Id="rId7" Type="http://schemas.openxmlformats.org/officeDocument/2006/relationships/image" Target="../media/image143.png"/><Relationship Id="rId12" Type="http://schemas.openxmlformats.org/officeDocument/2006/relationships/image" Target="../media/image148.png"/><Relationship Id="rId2" Type="http://schemas.openxmlformats.org/officeDocument/2006/relationships/notesSlide" Target="../notesSlides/notesSlide32.xml"/><Relationship Id="rId16" Type="http://schemas.openxmlformats.org/officeDocument/2006/relationships/image" Target="../media/image152.svg"/><Relationship Id="rId1" Type="http://schemas.openxmlformats.org/officeDocument/2006/relationships/slideLayout" Target="../slideLayouts/slideLayout294.xml"/><Relationship Id="rId6" Type="http://schemas.openxmlformats.org/officeDocument/2006/relationships/image" Target="../media/image142.png"/><Relationship Id="rId11" Type="http://schemas.openxmlformats.org/officeDocument/2006/relationships/image" Target="../media/image147.png"/><Relationship Id="rId5" Type="http://schemas.openxmlformats.org/officeDocument/2006/relationships/image" Target="../media/image129.png"/><Relationship Id="rId15" Type="http://schemas.openxmlformats.org/officeDocument/2006/relationships/image" Target="../media/image151.png"/><Relationship Id="rId10" Type="http://schemas.openxmlformats.org/officeDocument/2006/relationships/image" Target="../media/image146.png"/><Relationship Id="rId4" Type="http://schemas.openxmlformats.org/officeDocument/2006/relationships/image" Target="../media/image130.png"/><Relationship Id="rId9" Type="http://schemas.openxmlformats.org/officeDocument/2006/relationships/image" Target="../media/image145.png"/><Relationship Id="rId14" Type="http://schemas.openxmlformats.org/officeDocument/2006/relationships/image" Target="../media/image150.svg"/></Relationships>
</file>

<file path=ppt/slides/_rels/slide3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3" Type="http://schemas.openxmlformats.org/officeDocument/2006/relationships/image" Target="../media/image156.jpg"/><Relationship Id="rId2" Type="http://schemas.openxmlformats.org/officeDocument/2006/relationships/notesSlide" Target="../notesSlides/notesSlide36.xml"/><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8" Type="http://schemas.openxmlformats.org/officeDocument/2006/relationships/image" Target="../media/image160.svg"/><Relationship Id="rId13" Type="http://schemas.openxmlformats.org/officeDocument/2006/relationships/image" Target="../media/image165.svg"/><Relationship Id="rId3" Type="http://schemas.openxmlformats.org/officeDocument/2006/relationships/image" Target="../media/image140.png"/><Relationship Id="rId7" Type="http://schemas.openxmlformats.org/officeDocument/2006/relationships/image" Target="../media/image159.png"/><Relationship Id="rId12" Type="http://schemas.openxmlformats.org/officeDocument/2006/relationships/image" Target="../media/image164.png"/><Relationship Id="rId2" Type="http://schemas.openxmlformats.org/officeDocument/2006/relationships/notesSlide" Target="../notesSlides/notesSlide37.xml"/><Relationship Id="rId1" Type="http://schemas.openxmlformats.org/officeDocument/2006/relationships/slideLayout" Target="../slideLayouts/slideLayout29.xml"/><Relationship Id="rId6" Type="http://schemas.openxmlformats.org/officeDocument/2006/relationships/image" Target="../media/image158.svg"/><Relationship Id="rId11" Type="http://schemas.openxmlformats.org/officeDocument/2006/relationships/image" Target="../media/image163.png"/><Relationship Id="rId5" Type="http://schemas.openxmlformats.org/officeDocument/2006/relationships/image" Target="../media/image157.png"/><Relationship Id="rId10" Type="http://schemas.openxmlformats.org/officeDocument/2006/relationships/image" Target="../media/image162.svg"/><Relationship Id="rId4" Type="http://schemas.openxmlformats.org/officeDocument/2006/relationships/image" Target="../media/image141.svg"/><Relationship Id="rId9" Type="http://schemas.openxmlformats.org/officeDocument/2006/relationships/image" Target="../media/image161.png"/></Relationships>
</file>

<file path=ppt/slides/_rels/slide38.xml.rels><?xml version="1.0" encoding="UTF-8" standalone="yes"?>
<Relationships xmlns="http://schemas.openxmlformats.org/package/2006/relationships"><Relationship Id="rId3" Type="http://schemas.openxmlformats.org/officeDocument/2006/relationships/image" Target="../media/image166.emf"/><Relationship Id="rId2" Type="http://schemas.openxmlformats.org/officeDocument/2006/relationships/notesSlide" Target="../notesSlides/notesSlide38.xml"/><Relationship Id="rId1" Type="http://schemas.openxmlformats.org/officeDocument/2006/relationships/slideLayout" Target="../slideLayouts/slideLayout32.xml"/><Relationship Id="rId4" Type="http://schemas.openxmlformats.org/officeDocument/2006/relationships/image" Target="../media/image167.png"/></Relationships>
</file>

<file path=ppt/slides/_rels/slide3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9.xml"/><Relationship Id="rId1" Type="http://schemas.openxmlformats.org/officeDocument/2006/relationships/slideLayout" Target="../slideLayouts/slideLayout32.xml"/><Relationship Id="rId5" Type="http://schemas.openxmlformats.org/officeDocument/2006/relationships/image" Target="../media/image166.emf"/><Relationship Id="rId4" Type="http://schemas.openxmlformats.org/officeDocument/2006/relationships/image" Target="../media/image16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0.xml"/></Relationships>
</file>

<file path=ppt/slides/_rels/slide4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40.xml"/><Relationship Id="rId1" Type="http://schemas.openxmlformats.org/officeDocument/2006/relationships/slideLayout" Target="../slideLayouts/slideLayout32.xml"/><Relationship Id="rId4" Type="http://schemas.openxmlformats.org/officeDocument/2006/relationships/image" Target="../media/image168.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42.xml"/><Relationship Id="rId1" Type="http://schemas.openxmlformats.org/officeDocument/2006/relationships/slideLayout" Target="../slideLayouts/slideLayout41.xml"/><Relationship Id="rId5" Type="http://schemas.openxmlformats.org/officeDocument/2006/relationships/image" Target="../media/image170.png"/><Relationship Id="rId4" Type="http://schemas.microsoft.com/office/2007/relationships/hdphoto" Target="../media/hdphoto5.wdp"/></Relationships>
</file>

<file path=ppt/slides/_rels/slide43.xml.rels><?xml version="1.0" encoding="UTF-8" standalone="yes"?>
<Relationships xmlns="http://schemas.openxmlformats.org/package/2006/relationships"><Relationship Id="rId8" Type="http://schemas.openxmlformats.org/officeDocument/2006/relationships/image" Target="../media/image176.emf"/><Relationship Id="rId3" Type="http://schemas.openxmlformats.org/officeDocument/2006/relationships/image" Target="../media/image171.png"/><Relationship Id="rId7" Type="http://schemas.openxmlformats.org/officeDocument/2006/relationships/image" Target="../media/image175.png"/><Relationship Id="rId2" Type="http://schemas.openxmlformats.org/officeDocument/2006/relationships/notesSlide" Target="../notesSlides/notesSlide43.xml"/><Relationship Id="rId1" Type="http://schemas.openxmlformats.org/officeDocument/2006/relationships/slideLayout" Target="../slideLayouts/slideLayout40.xml"/><Relationship Id="rId6" Type="http://schemas.openxmlformats.org/officeDocument/2006/relationships/image" Target="../media/image174.emf"/><Relationship Id="rId5" Type="http://schemas.openxmlformats.org/officeDocument/2006/relationships/image" Target="../media/image173.png"/><Relationship Id="rId4" Type="http://schemas.openxmlformats.org/officeDocument/2006/relationships/image" Target="../media/image172.png"/><Relationship Id="rId9" Type="http://schemas.openxmlformats.org/officeDocument/2006/relationships/image" Target="../media/image177.png"/></Relationships>
</file>

<file path=ppt/slides/_rels/slide44.xml.rels><?xml version="1.0" encoding="UTF-8" standalone="yes"?>
<Relationships xmlns="http://schemas.openxmlformats.org/package/2006/relationships"><Relationship Id="rId3" Type="http://schemas.openxmlformats.org/officeDocument/2006/relationships/image" Target="../media/image178.tiff"/><Relationship Id="rId2" Type="http://schemas.openxmlformats.org/officeDocument/2006/relationships/notesSlide" Target="../notesSlides/notesSlide44.xml"/><Relationship Id="rId1" Type="http://schemas.openxmlformats.org/officeDocument/2006/relationships/slideLayout" Target="../slideLayouts/slideLayout325.xml"/></Relationships>
</file>

<file path=ppt/slides/_rels/slide45.xml.rels><?xml version="1.0" encoding="UTF-8" standalone="yes"?>
<Relationships xmlns="http://schemas.openxmlformats.org/package/2006/relationships"><Relationship Id="rId3" Type="http://schemas.openxmlformats.org/officeDocument/2006/relationships/image" Target="../media/image179.tiff"/><Relationship Id="rId2" Type="http://schemas.openxmlformats.org/officeDocument/2006/relationships/notesSlide" Target="../notesSlides/notesSlide45.xml"/><Relationship Id="rId1" Type="http://schemas.openxmlformats.org/officeDocument/2006/relationships/slideLayout" Target="../slideLayouts/slideLayout325.xml"/><Relationship Id="rId6" Type="http://schemas.openxmlformats.org/officeDocument/2006/relationships/image" Target="../media/image181.svg"/><Relationship Id="rId5" Type="http://schemas.openxmlformats.org/officeDocument/2006/relationships/image" Target="../media/image180.png"/><Relationship Id="rId4" Type="http://schemas.openxmlformats.org/officeDocument/2006/relationships/image" Target="../media/image178.tiff"/></Relationships>
</file>

<file path=ppt/slides/_rels/slide46.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46.xml"/><Relationship Id="rId1" Type="http://schemas.openxmlformats.org/officeDocument/2006/relationships/slideLayout" Target="../slideLayouts/slideLayout325.xml"/><Relationship Id="rId6" Type="http://schemas.openxmlformats.org/officeDocument/2006/relationships/image" Target="../media/image183.svg"/><Relationship Id="rId5" Type="http://schemas.openxmlformats.org/officeDocument/2006/relationships/image" Target="../media/image182.png"/><Relationship Id="rId10" Type="http://schemas.openxmlformats.org/officeDocument/2006/relationships/image" Target="../media/image187.svg"/><Relationship Id="rId4" Type="http://schemas.openxmlformats.org/officeDocument/2006/relationships/image" Target="../media/image181.svg"/><Relationship Id="rId9" Type="http://schemas.openxmlformats.org/officeDocument/2006/relationships/image" Target="../media/image186.png"/></Relationships>
</file>

<file path=ppt/slides/_rels/slide4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47.xml"/><Relationship Id="rId1" Type="http://schemas.openxmlformats.org/officeDocument/2006/relationships/slideLayout" Target="../slideLayouts/slideLayout325.xml"/><Relationship Id="rId4" Type="http://schemas.openxmlformats.org/officeDocument/2006/relationships/image" Target="../media/image181.svg"/></Relationships>
</file>

<file path=ppt/slides/_rels/slide48.xml.rels><?xml version="1.0" encoding="UTF-8" standalone="yes"?>
<Relationships xmlns="http://schemas.openxmlformats.org/package/2006/relationships"><Relationship Id="rId3" Type="http://schemas.openxmlformats.org/officeDocument/2006/relationships/image" Target="../media/image188.emf"/><Relationship Id="rId2" Type="http://schemas.openxmlformats.org/officeDocument/2006/relationships/notesSlide" Target="../notesSlides/notesSlide48.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2.xml"/></Relationships>
</file>

<file path=ppt/slides/_rels/slide50.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50.xml"/><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51.xml"/><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52.xml"/><Relationship Id="rId1" Type="http://schemas.openxmlformats.org/officeDocument/2006/relationships/slideLayout" Target="../slideLayouts/slideLayout32.xml"/><Relationship Id="rId5" Type="http://schemas.openxmlformats.org/officeDocument/2006/relationships/image" Target="../media/image192.png"/><Relationship Id="rId4" Type="http://schemas.openxmlformats.org/officeDocument/2006/relationships/image" Target="../media/image129.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9.xml"/></Relationships>
</file>

<file path=ppt/slides/_rels/slide54.xml.rels><?xml version="1.0" encoding="UTF-8" standalone="yes"?>
<Relationships xmlns="http://schemas.openxmlformats.org/package/2006/relationships"><Relationship Id="rId8" Type="http://schemas.openxmlformats.org/officeDocument/2006/relationships/image" Target="../media/image198.svg"/><Relationship Id="rId13" Type="http://schemas.openxmlformats.org/officeDocument/2006/relationships/image" Target="../media/image203.svg"/><Relationship Id="rId3" Type="http://schemas.openxmlformats.org/officeDocument/2006/relationships/image" Target="../media/image193.png"/><Relationship Id="rId7" Type="http://schemas.openxmlformats.org/officeDocument/2006/relationships/image" Target="../media/image197.png"/><Relationship Id="rId12" Type="http://schemas.openxmlformats.org/officeDocument/2006/relationships/image" Target="../media/image202.png"/><Relationship Id="rId2" Type="http://schemas.openxmlformats.org/officeDocument/2006/relationships/notesSlide" Target="../notesSlides/notesSlide54.xml"/><Relationship Id="rId1" Type="http://schemas.openxmlformats.org/officeDocument/2006/relationships/slideLayout" Target="../slideLayouts/slideLayout17.xml"/><Relationship Id="rId6" Type="http://schemas.openxmlformats.org/officeDocument/2006/relationships/image" Target="../media/image196.svg"/><Relationship Id="rId11" Type="http://schemas.openxmlformats.org/officeDocument/2006/relationships/image" Target="../media/image201.png"/><Relationship Id="rId5" Type="http://schemas.openxmlformats.org/officeDocument/2006/relationships/image" Target="../media/image195.png"/><Relationship Id="rId15" Type="http://schemas.openxmlformats.org/officeDocument/2006/relationships/image" Target="../media/image205.svg"/><Relationship Id="rId10" Type="http://schemas.openxmlformats.org/officeDocument/2006/relationships/image" Target="../media/image200.png"/><Relationship Id="rId4" Type="http://schemas.openxmlformats.org/officeDocument/2006/relationships/image" Target="../media/image194.png"/><Relationship Id="rId9" Type="http://schemas.openxmlformats.org/officeDocument/2006/relationships/image" Target="../media/image199.png"/><Relationship Id="rId14" Type="http://schemas.openxmlformats.org/officeDocument/2006/relationships/image" Target="../media/image204.png"/></Relationships>
</file>

<file path=ppt/slides/_rels/slide55.xml.rels><?xml version="1.0" encoding="UTF-8" standalone="yes"?>
<Relationships xmlns="http://schemas.openxmlformats.org/package/2006/relationships"><Relationship Id="rId8" Type="http://schemas.openxmlformats.org/officeDocument/2006/relationships/image" Target="../media/image211.svg"/><Relationship Id="rId13" Type="http://schemas.openxmlformats.org/officeDocument/2006/relationships/image" Target="../media/image214.png"/><Relationship Id="rId18" Type="http://schemas.openxmlformats.org/officeDocument/2006/relationships/image" Target="../media/image141.svg"/><Relationship Id="rId26" Type="http://schemas.openxmlformats.org/officeDocument/2006/relationships/image" Target="../media/image223.svg"/><Relationship Id="rId3" Type="http://schemas.openxmlformats.org/officeDocument/2006/relationships/image" Target="../media/image206.png"/><Relationship Id="rId21" Type="http://schemas.openxmlformats.org/officeDocument/2006/relationships/image" Target="../media/image218.png"/><Relationship Id="rId7" Type="http://schemas.openxmlformats.org/officeDocument/2006/relationships/image" Target="../media/image210.png"/><Relationship Id="rId12" Type="http://schemas.openxmlformats.org/officeDocument/2006/relationships/hyperlink" Target="https://docs.microsoft.com/en-us/azure/active-directory/role-based-access-control-custom-roles" TargetMode="External"/><Relationship Id="rId17" Type="http://schemas.openxmlformats.org/officeDocument/2006/relationships/image" Target="../media/image140.png"/><Relationship Id="rId25" Type="http://schemas.openxmlformats.org/officeDocument/2006/relationships/image" Target="../media/image222.png"/><Relationship Id="rId2" Type="http://schemas.openxmlformats.org/officeDocument/2006/relationships/notesSlide" Target="../notesSlides/notesSlide55.xml"/><Relationship Id="rId16" Type="http://schemas.openxmlformats.org/officeDocument/2006/relationships/image" Target="../media/image124.svg"/><Relationship Id="rId20" Type="http://schemas.openxmlformats.org/officeDocument/2006/relationships/image" Target="../media/image217.svg"/><Relationship Id="rId1" Type="http://schemas.openxmlformats.org/officeDocument/2006/relationships/slideLayout" Target="../slideLayouts/slideLayout29.xml"/><Relationship Id="rId6" Type="http://schemas.openxmlformats.org/officeDocument/2006/relationships/image" Target="../media/image209.svg"/><Relationship Id="rId11" Type="http://schemas.openxmlformats.org/officeDocument/2006/relationships/hyperlink" Target="https://docs.microsoft.com/en-us/azure/active-directory/role-based-access-built-in-roles#roles-in-azure" TargetMode="External"/><Relationship Id="rId24" Type="http://schemas.openxmlformats.org/officeDocument/2006/relationships/image" Target="../media/image221.svg"/><Relationship Id="rId5" Type="http://schemas.openxmlformats.org/officeDocument/2006/relationships/image" Target="../media/image208.png"/><Relationship Id="rId15" Type="http://schemas.openxmlformats.org/officeDocument/2006/relationships/image" Target="../media/image123.png"/><Relationship Id="rId23" Type="http://schemas.openxmlformats.org/officeDocument/2006/relationships/image" Target="../media/image220.png"/><Relationship Id="rId28" Type="http://schemas.openxmlformats.org/officeDocument/2006/relationships/image" Target="../media/image225.svg"/><Relationship Id="rId10" Type="http://schemas.openxmlformats.org/officeDocument/2006/relationships/image" Target="../media/image213.svg"/><Relationship Id="rId19" Type="http://schemas.openxmlformats.org/officeDocument/2006/relationships/image" Target="../media/image216.png"/><Relationship Id="rId4" Type="http://schemas.openxmlformats.org/officeDocument/2006/relationships/image" Target="../media/image207.svg"/><Relationship Id="rId9" Type="http://schemas.openxmlformats.org/officeDocument/2006/relationships/image" Target="../media/image212.png"/><Relationship Id="rId14" Type="http://schemas.openxmlformats.org/officeDocument/2006/relationships/image" Target="../media/image215.svg"/><Relationship Id="rId22" Type="http://schemas.openxmlformats.org/officeDocument/2006/relationships/image" Target="../media/image219.svg"/><Relationship Id="rId27" Type="http://schemas.openxmlformats.org/officeDocument/2006/relationships/image" Target="../media/image224.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57.xml"/><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8" Type="http://schemas.openxmlformats.org/officeDocument/2006/relationships/image" Target="../media/image231.png"/><Relationship Id="rId3" Type="http://schemas.openxmlformats.org/officeDocument/2006/relationships/image" Target="../media/image227.png"/><Relationship Id="rId7" Type="http://schemas.openxmlformats.org/officeDocument/2006/relationships/image" Target="../media/image230.png"/><Relationship Id="rId2" Type="http://schemas.openxmlformats.org/officeDocument/2006/relationships/notesSlide" Target="../notesSlides/notesSlide58.xml"/><Relationship Id="rId1" Type="http://schemas.openxmlformats.org/officeDocument/2006/relationships/slideLayout" Target="../slideLayouts/slideLayout4.xml"/><Relationship Id="rId6" Type="http://schemas.openxmlformats.org/officeDocument/2006/relationships/image" Target="../media/image229.png"/><Relationship Id="rId5" Type="http://schemas.microsoft.com/office/2007/relationships/hdphoto" Target="../media/hdphoto6.wdp"/><Relationship Id="rId4" Type="http://schemas.openxmlformats.org/officeDocument/2006/relationships/image" Target="../media/image228.png"/></Relationships>
</file>

<file path=ppt/slides/_rels/slide59.xml.rels><?xml version="1.0" encoding="UTF-8" standalone="yes"?>
<Relationships xmlns="http://schemas.openxmlformats.org/package/2006/relationships"><Relationship Id="rId3" Type="http://schemas.openxmlformats.org/officeDocument/2006/relationships/image" Target="../media/image232.jpg"/><Relationship Id="rId2" Type="http://schemas.openxmlformats.org/officeDocument/2006/relationships/notesSlide" Target="../notesSlides/notesSlide59.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192.xml"/></Relationships>
</file>

<file path=ppt/slides/_rels/slide60.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60.xml"/><Relationship Id="rId1" Type="http://schemas.openxmlformats.org/officeDocument/2006/relationships/slideLayout" Target="../slideLayouts/slideLayout40.xml"/><Relationship Id="rId4" Type="http://schemas.openxmlformats.org/officeDocument/2006/relationships/image" Target="../media/image234.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8.xml"/></Relationships>
</file>

<file path=ppt/slides/_rels/slide62.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notesSlide" Target="../notesSlides/notesSlide62.xml"/><Relationship Id="rId1" Type="http://schemas.openxmlformats.org/officeDocument/2006/relationships/slideLayout" Target="../slideLayouts/slideLayout39.xml"/><Relationship Id="rId5" Type="http://schemas.openxmlformats.org/officeDocument/2006/relationships/image" Target="../media/image7.jpg"/><Relationship Id="rId4" Type="http://schemas.openxmlformats.org/officeDocument/2006/relationships/image" Target="../media/image236.jp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25.xml"/></Relationships>
</file>

<file path=ppt/slides/_rels/slide65.xml.rels><?xml version="1.0" encoding="UTF-8" standalone="yes"?>
<Relationships xmlns="http://schemas.openxmlformats.org/package/2006/relationships"><Relationship Id="rId8" Type="http://schemas.openxmlformats.org/officeDocument/2006/relationships/image" Target="../media/image240.svg"/><Relationship Id="rId3" Type="http://schemas.openxmlformats.org/officeDocument/2006/relationships/image" Target="../media/image175.png"/><Relationship Id="rId7" Type="http://schemas.openxmlformats.org/officeDocument/2006/relationships/image" Target="../media/image239.png"/><Relationship Id="rId2" Type="http://schemas.openxmlformats.org/officeDocument/2006/relationships/notesSlide" Target="../notesSlides/notesSlide65.xml"/><Relationship Id="rId1" Type="http://schemas.openxmlformats.org/officeDocument/2006/relationships/slideLayout" Target="../slideLayouts/slideLayout29.xml"/><Relationship Id="rId6" Type="http://schemas.openxmlformats.org/officeDocument/2006/relationships/image" Target="../media/image238.png"/><Relationship Id="rId5" Type="http://schemas.openxmlformats.org/officeDocument/2006/relationships/image" Target="../media/image174.emf"/><Relationship Id="rId4" Type="http://schemas.openxmlformats.org/officeDocument/2006/relationships/image" Target="../media/image237.emf"/></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2.xml"/></Relationships>
</file>

<file path=ppt/slides/_rels/slide67.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67.xml"/><Relationship Id="rId1" Type="http://schemas.openxmlformats.org/officeDocument/2006/relationships/slideLayout" Target="../slideLayouts/slideLayout40.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 Id="rId9" Type="http://schemas.openxmlformats.org/officeDocument/2006/relationships/image" Target="../media/image247.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9.xml"/></Relationships>
</file>

<file path=ppt/slides/_rels/slide69.xml.rels><?xml version="1.0" encoding="UTF-8" standalone="yes"?>
<Relationships xmlns="http://schemas.openxmlformats.org/package/2006/relationships"><Relationship Id="rId3" Type="http://schemas.openxmlformats.org/officeDocument/2006/relationships/image" Target="../media/image248.jpg"/><Relationship Id="rId2" Type="http://schemas.openxmlformats.org/officeDocument/2006/relationships/notesSlide" Target="../notesSlides/notesSlide69.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3" Type="http://schemas.openxmlformats.org/officeDocument/2006/relationships/hyperlink" Target="https://azure.microsoft.com/en-us/roadmap/global-vnet-peering/" TargetMode="External"/><Relationship Id="rId2" Type="http://schemas.openxmlformats.org/officeDocument/2006/relationships/notesSlide" Target="../notesSlides/notesSlide7.xml"/><Relationship Id="rId1" Type="http://schemas.openxmlformats.org/officeDocument/2006/relationships/slideLayout" Target="../slideLayouts/slideLayout187.xml"/><Relationship Id="rId5" Type="http://schemas.openxmlformats.org/officeDocument/2006/relationships/hyperlink" Target="https://azure.microsoft.com/en-us/blog/migrating-your-apps-data-and-infrastructure-to-azure-is-easier-than-ever/" TargetMode="External"/><Relationship Id="rId4" Type="http://schemas.openxmlformats.org/officeDocument/2006/relationships/hyperlink" Target="https://azure.microsoft.com/en-us/blog/introducing-azure-availability-zones-for-resiliency-and-high-availability/" TargetMode="External"/></Relationships>
</file>

<file path=ppt/slides/_rels/slide70.xml.rels><?xml version="1.0" encoding="UTF-8" standalone="yes"?>
<Relationships xmlns="http://schemas.openxmlformats.org/package/2006/relationships"><Relationship Id="rId8" Type="http://schemas.openxmlformats.org/officeDocument/2006/relationships/image" Target="../media/image254.png"/><Relationship Id="rId13" Type="http://schemas.openxmlformats.org/officeDocument/2006/relationships/image" Target="../media/image259.svg"/><Relationship Id="rId3" Type="http://schemas.openxmlformats.org/officeDocument/2006/relationships/image" Target="../media/image249.png"/><Relationship Id="rId7" Type="http://schemas.openxmlformats.org/officeDocument/2006/relationships/image" Target="../media/image253.png"/><Relationship Id="rId12" Type="http://schemas.openxmlformats.org/officeDocument/2006/relationships/image" Target="../media/image258.png"/><Relationship Id="rId2" Type="http://schemas.openxmlformats.org/officeDocument/2006/relationships/notesSlide" Target="../notesSlides/notesSlide70.xml"/><Relationship Id="rId16" Type="http://schemas.openxmlformats.org/officeDocument/2006/relationships/image" Target="../media/image262.png"/><Relationship Id="rId1" Type="http://schemas.openxmlformats.org/officeDocument/2006/relationships/slideLayout" Target="../slideLayouts/slideLayout192.xml"/><Relationship Id="rId6" Type="http://schemas.openxmlformats.org/officeDocument/2006/relationships/image" Target="../media/image252.png"/><Relationship Id="rId11" Type="http://schemas.openxmlformats.org/officeDocument/2006/relationships/image" Target="../media/image257.svg"/><Relationship Id="rId5" Type="http://schemas.openxmlformats.org/officeDocument/2006/relationships/image" Target="../media/image251.png"/><Relationship Id="rId15" Type="http://schemas.openxmlformats.org/officeDocument/2006/relationships/image" Target="../media/image261.png"/><Relationship Id="rId10" Type="http://schemas.openxmlformats.org/officeDocument/2006/relationships/image" Target="../media/image256.png"/><Relationship Id="rId4" Type="http://schemas.openxmlformats.org/officeDocument/2006/relationships/image" Target="../media/image250.png"/><Relationship Id="rId9" Type="http://schemas.openxmlformats.org/officeDocument/2006/relationships/image" Target="../media/image255.svg"/><Relationship Id="rId14" Type="http://schemas.openxmlformats.org/officeDocument/2006/relationships/image" Target="../media/image260.png"/></Relationships>
</file>

<file path=ppt/slides/_rels/slide71.xml.rels><?xml version="1.0" encoding="UTF-8" standalone="yes"?>
<Relationships xmlns="http://schemas.openxmlformats.org/package/2006/relationships"><Relationship Id="rId13" Type="http://schemas.openxmlformats.org/officeDocument/2006/relationships/image" Target="../media/image272.png"/><Relationship Id="rId18" Type="http://schemas.openxmlformats.org/officeDocument/2006/relationships/image" Target="../media/image277.png"/><Relationship Id="rId26" Type="http://schemas.openxmlformats.org/officeDocument/2006/relationships/image" Target="../media/image285.jpg"/><Relationship Id="rId39" Type="http://schemas.openxmlformats.org/officeDocument/2006/relationships/image" Target="../media/image298.png"/><Relationship Id="rId21" Type="http://schemas.openxmlformats.org/officeDocument/2006/relationships/image" Target="../media/image280.png"/><Relationship Id="rId34" Type="http://schemas.openxmlformats.org/officeDocument/2006/relationships/image" Target="../media/image293.png"/><Relationship Id="rId7" Type="http://schemas.openxmlformats.org/officeDocument/2006/relationships/image" Target="../media/image267.png"/><Relationship Id="rId12" Type="http://schemas.openxmlformats.org/officeDocument/2006/relationships/image" Target="../media/image271.jpg"/><Relationship Id="rId17" Type="http://schemas.openxmlformats.org/officeDocument/2006/relationships/image" Target="../media/image276.jpg"/><Relationship Id="rId25" Type="http://schemas.openxmlformats.org/officeDocument/2006/relationships/image" Target="../media/image284.png"/><Relationship Id="rId33" Type="http://schemas.openxmlformats.org/officeDocument/2006/relationships/image" Target="../media/image292.svg"/><Relationship Id="rId38" Type="http://schemas.openxmlformats.org/officeDocument/2006/relationships/image" Target="../media/image297.png"/><Relationship Id="rId2" Type="http://schemas.openxmlformats.org/officeDocument/2006/relationships/notesSlide" Target="../notesSlides/notesSlide71.xml"/><Relationship Id="rId16" Type="http://schemas.openxmlformats.org/officeDocument/2006/relationships/image" Target="../media/image275.png"/><Relationship Id="rId20" Type="http://schemas.openxmlformats.org/officeDocument/2006/relationships/image" Target="../media/image279.png"/><Relationship Id="rId29" Type="http://schemas.openxmlformats.org/officeDocument/2006/relationships/image" Target="../media/image288.png"/><Relationship Id="rId1" Type="http://schemas.openxmlformats.org/officeDocument/2006/relationships/slideLayout" Target="../slideLayouts/slideLayout11.xml"/><Relationship Id="rId6" Type="http://schemas.openxmlformats.org/officeDocument/2006/relationships/image" Target="../media/image266.png"/><Relationship Id="rId11" Type="http://schemas.openxmlformats.org/officeDocument/2006/relationships/image" Target="../media/image270.png"/><Relationship Id="rId24" Type="http://schemas.openxmlformats.org/officeDocument/2006/relationships/image" Target="../media/image283.png"/><Relationship Id="rId32" Type="http://schemas.openxmlformats.org/officeDocument/2006/relationships/image" Target="../media/image291.png"/><Relationship Id="rId37" Type="http://schemas.openxmlformats.org/officeDocument/2006/relationships/image" Target="../media/image296.jpg"/><Relationship Id="rId5" Type="http://schemas.openxmlformats.org/officeDocument/2006/relationships/image" Target="../media/image265.png"/><Relationship Id="rId15" Type="http://schemas.openxmlformats.org/officeDocument/2006/relationships/image" Target="../media/image274.jpg"/><Relationship Id="rId23" Type="http://schemas.openxmlformats.org/officeDocument/2006/relationships/image" Target="../media/image282.png"/><Relationship Id="rId28" Type="http://schemas.openxmlformats.org/officeDocument/2006/relationships/image" Target="../media/image287.png"/><Relationship Id="rId36" Type="http://schemas.openxmlformats.org/officeDocument/2006/relationships/image" Target="../media/image295.jpg"/><Relationship Id="rId10" Type="http://schemas.openxmlformats.org/officeDocument/2006/relationships/image" Target="../media/image269.png"/><Relationship Id="rId19" Type="http://schemas.openxmlformats.org/officeDocument/2006/relationships/image" Target="../media/image278.png"/><Relationship Id="rId31" Type="http://schemas.openxmlformats.org/officeDocument/2006/relationships/image" Target="../media/image290.svg"/><Relationship Id="rId4" Type="http://schemas.openxmlformats.org/officeDocument/2006/relationships/image" Target="../media/image264.png"/><Relationship Id="rId9" Type="http://schemas.openxmlformats.org/officeDocument/2006/relationships/image" Target="../media/image268.png"/><Relationship Id="rId14" Type="http://schemas.openxmlformats.org/officeDocument/2006/relationships/image" Target="../media/image273.png"/><Relationship Id="rId22" Type="http://schemas.openxmlformats.org/officeDocument/2006/relationships/image" Target="../media/image281.png"/><Relationship Id="rId27" Type="http://schemas.openxmlformats.org/officeDocument/2006/relationships/image" Target="../media/image286.jpg"/><Relationship Id="rId30" Type="http://schemas.openxmlformats.org/officeDocument/2006/relationships/image" Target="../media/image289.png"/><Relationship Id="rId35" Type="http://schemas.openxmlformats.org/officeDocument/2006/relationships/image" Target="../media/image294.png"/><Relationship Id="rId8" Type="http://schemas.microsoft.com/office/2007/relationships/hdphoto" Target="../media/hdphoto7.wdp"/><Relationship Id="rId3" Type="http://schemas.openxmlformats.org/officeDocument/2006/relationships/image" Target="../media/image263.png"/></Relationships>
</file>

<file path=ppt/slides/_rels/slide72.xml.rels><?xml version="1.0" encoding="UTF-8" standalone="yes"?>
<Relationships xmlns="http://schemas.openxmlformats.org/package/2006/relationships"><Relationship Id="rId8" Type="http://schemas.openxmlformats.org/officeDocument/2006/relationships/image" Target="../media/image304.png"/><Relationship Id="rId13" Type="http://schemas.openxmlformats.org/officeDocument/2006/relationships/image" Target="../media/image308.png"/><Relationship Id="rId3" Type="http://schemas.openxmlformats.org/officeDocument/2006/relationships/image" Target="../media/image299.png"/><Relationship Id="rId7" Type="http://schemas.openxmlformats.org/officeDocument/2006/relationships/image" Target="../media/image303.png"/><Relationship Id="rId12" Type="http://schemas.openxmlformats.org/officeDocument/2006/relationships/image" Target="../media/image307.png"/><Relationship Id="rId2" Type="http://schemas.openxmlformats.org/officeDocument/2006/relationships/notesSlide" Target="../notesSlides/notesSlide72.xml"/><Relationship Id="rId1" Type="http://schemas.openxmlformats.org/officeDocument/2006/relationships/slideLayout" Target="../slideLayouts/slideLayout123.xml"/><Relationship Id="rId6" Type="http://schemas.openxmlformats.org/officeDocument/2006/relationships/image" Target="../media/image302.png"/><Relationship Id="rId11" Type="http://schemas.openxmlformats.org/officeDocument/2006/relationships/image" Target="../media/image306.png"/><Relationship Id="rId5" Type="http://schemas.openxmlformats.org/officeDocument/2006/relationships/image" Target="../media/image301.png"/><Relationship Id="rId15" Type="http://schemas.openxmlformats.org/officeDocument/2006/relationships/image" Target="../media/image309.png"/><Relationship Id="rId10" Type="http://schemas.openxmlformats.org/officeDocument/2006/relationships/image" Target="../media/image113.png"/><Relationship Id="rId4" Type="http://schemas.openxmlformats.org/officeDocument/2006/relationships/image" Target="../media/image300.png"/><Relationship Id="rId9" Type="http://schemas.openxmlformats.org/officeDocument/2006/relationships/image" Target="../media/image305.png"/><Relationship Id="rId14" Type="http://schemas.openxmlformats.org/officeDocument/2006/relationships/image" Target="../media/image200.png"/></Relationships>
</file>

<file path=ppt/slides/_rels/slide73.xml.rels><?xml version="1.0" encoding="UTF-8" standalone="yes"?>
<Relationships xmlns="http://schemas.openxmlformats.org/package/2006/relationships"><Relationship Id="rId8" Type="http://schemas.openxmlformats.org/officeDocument/2006/relationships/image" Target="../media/image315.svg"/><Relationship Id="rId13" Type="http://schemas.openxmlformats.org/officeDocument/2006/relationships/image" Target="../media/image320.png"/><Relationship Id="rId3" Type="http://schemas.openxmlformats.org/officeDocument/2006/relationships/image" Target="../media/image310.png"/><Relationship Id="rId7" Type="http://schemas.openxmlformats.org/officeDocument/2006/relationships/image" Target="../media/image314.png"/><Relationship Id="rId12" Type="http://schemas.openxmlformats.org/officeDocument/2006/relationships/image" Target="../media/image319.svg"/><Relationship Id="rId2" Type="http://schemas.openxmlformats.org/officeDocument/2006/relationships/notesSlide" Target="../notesSlides/notesSlide73.xml"/><Relationship Id="rId1" Type="http://schemas.openxmlformats.org/officeDocument/2006/relationships/slideLayout" Target="../slideLayouts/slideLayout29.xml"/><Relationship Id="rId6" Type="http://schemas.openxmlformats.org/officeDocument/2006/relationships/image" Target="../media/image313.svg"/><Relationship Id="rId11" Type="http://schemas.openxmlformats.org/officeDocument/2006/relationships/image" Target="../media/image318.png"/><Relationship Id="rId5" Type="http://schemas.openxmlformats.org/officeDocument/2006/relationships/image" Target="../media/image312.png"/><Relationship Id="rId10" Type="http://schemas.openxmlformats.org/officeDocument/2006/relationships/image" Target="../media/image317.svg"/><Relationship Id="rId4" Type="http://schemas.openxmlformats.org/officeDocument/2006/relationships/image" Target="../media/image311.svg"/><Relationship Id="rId9" Type="http://schemas.openxmlformats.org/officeDocument/2006/relationships/image" Target="../media/image316.png"/></Relationships>
</file>

<file path=ppt/slides/_rels/slide74.xml.rels><?xml version="1.0" encoding="UTF-8" standalone="yes"?>
<Relationships xmlns="http://schemas.openxmlformats.org/package/2006/relationships"><Relationship Id="rId8" Type="http://schemas.openxmlformats.org/officeDocument/2006/relationships/image" Target="../media/image325.png"/><Relationship Id="rId3" Type="http://schemas.openxmlformats.org/officeDocument/2006/relationships/image" Target="../media/image321.png"/><Relationship Id="rId7" Type="http://schemas.openxmlformats.org/officeDocument/2006/relationships/image" Target="../media/image324.png"/><Relationship Id="rId2" Type="http://schemas.openxmlformats.org/officeDocument/2006/relationships/notesSlide" Target="../notesSlides/notesSlide74.xml"/><Relationship Id="rId1" Type="http://schemas.openxmlformats.org/officeDocument/2006/relationships/slideLayout" Target="../slideLayouts/slideLayout48.xml"/><Relationship Id="rId6" Type="http://schemas.openxmlformats.org/officeDocument/2006/relationships/image" Target="../media/image323.png"/><Relationship Id="rId5" Type="http://schemas.openxmlformats.org/officeDocument/2006/relationships/image" Target="../media/image322.png"/><Relationship Id="rId4" Type="http://schemas.openxmlformats.org/officeDocument/2006/relationships/image" Target="../media/image176.emf"/></Relationships>
</file>

<file path=ppt/slides/_rels/slide75.xml.rels><?xml version="1.0" encoding="UTF-8" standalone="yes"?>
<Relationships xmlns="http://schemas.openxmlformats.org/package/2006/relationships"><Relationship Id="rId8" Type="http://schemas.openxmlformats.org/officeDocument/2006/relationships/image" Target="../media/image329.png"/><Relationship Id="rId3" Type="http://schemas.openxmlformats.org/officeDocument/2006/relationships/notesSlide" Target="../notesSlides/notesSlide75.xml"/><Relationship Id="rId7" Type="http://schemas.openxmlformats.org/officeDocument/2006/relationships/image" Target="../media/image328.png"/><Relationship Id="rId2" Type="http://schemas.openxmlformats.org/officeDocument/2006/relationships/slideLayout" Target="../slideLayouts/slideLayout40.xml"/><Relationship Id="rId1" Type="http://schemas.openxmlformats.org/officeDocument/2006/relationships/vmlDrawing" Target="../drawings/vmlDrawing2.vml"/><Relationship Id="rId6" Type="http://schemas.openxmlformats.org/officeDocument/2006/relationships/image" Target="../media/image327.png"/><Relationship Id="rId5" Type="http://schemas.openxmlformats.org/officeDocument/2006/relationships/image" Target="../media/image326.wmf"/><Relationship Id="rId10" Type="http://schemas.openxmlformats.org/officeDocument/2006/relationships/image" Target="../media/image331.png"/><Relationship Id="rId4" Type="http://schemas.openxmlformats.org/officeDocument/2006/relationships/oleObject" Target="../embeddings/oleObject2.bin"/><Relationship Id="rId9" Type="http://schemas.openxmlformats.org/officeDocument/2006/relationships/image" Target="../media/image330.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9.xml"/></Relationships>
</file>

<file path=ppt/slides/_rels/slide77.xml.rels><?xml version="1.0" encoding="UTF-8" standalone="yes"?>
<Relationships xmlns="http://schemas.openxmlformats.org/package/2006/relationships"><Relationship Id="rId3" Type="http://schemas.openxmlformats.org/officeDocument/2006/relationships/image" Target="../media/image332.jpg"/><Relationship Id="rId2" Type="http://schemas.openxmlformats.org/officeDocument/2006/relationships/notesSlide" Target="../notesSlides/notesSlide77.xml"/><Relationship Id="rId1" Type="http://schemas.openxmlformats.org/officeDocument/2006/relationships/slideLayout" Target="../slideLayouts/slideLayout39.xml"/></Relationships>
</file>

<file path=ppt/slides/_rels/slide78.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78.xml"/><Relationship Id="rId1" Type="http://schemas.openxmlformats.org/officeDocument/2006/relationships/slideLayout" Target="../slideLayouts/slideLayout32.xml"/></Relationships>
</file>

<file path=ppt/slides/_rels/slide79.xml.rels><?xml version="1.0" encoding="UTF-8" standalone="yes"?>
<Relationships xmlns="http://schemas.openxmlformats.org/package/2006/relationships"><Relationship Id="rId3" Type="http://schemas.openxmlformats.org/officeDocument/2006/relationships/image" Target="../media/image334.emf"/><Relationship Id="rId2" Type="http://schemas.openxmlformats.org/officeDocument/2006/relationships/notesSlide" Target="../notesSlides/notesSlide79.xml"/><Relationship Id="rId1" Type="http://schemas.openxmlformats.org/officeDocument/2006/relationships/slideLayout" Target="../slideLayouts/slideLayout27.xml"/><Relationship Id="rId4" Type="http://schemas.openxmlformats.org/officeDocument/2006/relationships/image" Target="../media/image335.png"/></Relationships>
</file>

<file path=ppt/slides/_rels/slide8.xml.rels><?xml version="1.0" encoding="UTF-8" standalone="yes"?>
<Relationships xmlns="http://schemas.openxmlformats.org/package/2006/relationships"><Relationship Id="rId3" Type="http://schemas.openxmlformats.org/officeDocument/2006/relationships/hyperlink" Target="https://azure.microsoft.com/en-us/roadmap/azure-lab-services-is-in-public-preview/" TargetMode="External"/><Relationship Id="rId2" Type="http://schemas.openxmlformats.org/officeDocument/2006/relationships/notesSlide" Target="../notesSlides/notesSlide8.xml"/><Relationship Id="rId1" Type="http://schemas.openxmlformats.org/officeDocument/2006/relationships/slideLayout" Target="../slideLayouts/slideLayout187.xml"/><Relationship Id="rId5" Type="http://schemas.openxmlformats.org/officeDocument/2006/relationships/hyperlink" Target="https://blogs.msdn.microsoft.com/vsappcenter/microsoft-and-github-present-an-integrated-continuous-integration-and-delivery-solution-for-mobile/" TargetMode="External"/><Relationship Id="rId4" Type="http://schemas.openxmlformats.org/officeDocument/2006/relationships/hyperlink" Target="https://azure.microsoft.com/en-us/blog/new-reference-architecture-for-jenkins-on-azure/" TargetMode="External"/></Relationships>
</file>

<file path=ppt/slides/_rels/slide80.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notesSlide" Target="../notesSlides/notesSlide80.xml"/><Relationship Id="rId1" Type="http://schemas.openxmlformats.org/officeDocument/2006/relationships/slideLayout" Target="../slideLayouts/slideLayout47.xml"/><Relationship Id="rId6" Type="http://schemas.openxmlformats.org/officeDocument/2006/relationships/image" Target="../media/image339.emf"/><Relationship Id="rId5" Type="http://schemas.openxmlformats.org/officeDocument/2006/relationships/image" Target="../media/image338.png"/><Relationship Id="rId4" Type="http://schemas.openxmlformats.org/officeDocument/2006/relationships/image" Target="../media/image337.png"/></Relationships>
</file>

<file path=ppt/slides/_rels/slide81.xml.rels><?xml version="1.0" encoding="UTF-8" standalone="yes"?>
<Relationships xmlns="http://schemas.openxmlformats.org/package/2006/relationships"><Relationship Id="rId8" Type="http://schemas.openxmlformats.org/officeDocument/2006/relationships/image" Target="../media/image345.png"/><Relationship Id="rId3" Type="http://schemas.openxmlformats.org/officeDocument/2006/relationships/image" Target="../media/image340.png"/><Relationship Id="rId7" Type="http://schemas.openxmlformats.org/officeDocument/2006/relationships/image" Target="../media/image344.png"/><Relationship Id="rId2" Type="http://schemas.openxmlformats.org/officeDocument/2006/relationships/notesSlide" Target="../notesSlides/notesSlide81.xml"/><Relationship Id="rId1" Type="http://schemas.openxmlformats.org/officeDocument/2006/relationships/slideLayout" Target="../slideLayouts/slideLayout32.xml"/><Relationship Id="rId6" Type="http://schemas.openxmlformats.org/officeDocument/2006/relationships/image" Target="../media/image343.svg"/><Relationship Id="rId5" Type="http://schemas.openxmlformats.org/officeDocument/2006/relationships/image" Target="../media/image342.png"/><Relationship Id="rId4" Type="http://schemas.openxmlformats.org/officeDocument/2006/relationships/image" Target="../media/image341.svg"/></Relationships>
</file>

<file path=ppt/slides/_rels/slide82.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82.xml"/><Relationship Id="rId1" Type="http://schemas.openxmlformats.org/officeDocument/2006/relationships/slideLayout" Target="../slideLayouts/slideLayout40.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63.xml"/></Relationships>
</file>

<file path=ppt/slides/_rels/slide84.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84.xml"/><Relationship Id="rId1" Type="http://schemas.openxmlformats.org/officeDocument/2006/relationships/slideLayout" Target="../slideLayouts/slideLayout363.xml"/><Relationship Id="rId6" Type="http://schemas.openxmlformats.org/officeDocument/2006/relationships/image" Target="../media/image350.png"/><Relationship Id="rId5" Type="http://schemas.openxmlformats.org/officeDocument/2006/relationships/image" Target="../media/image349.png"/><Relationship Id="rId4" Type="http://schemas.openxmlformats.org/officeDocument/2006/relationships/image" Target="../media/image348.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58.xml"/></Relationships>
</file>

<file path=ppt/slides/_rels/slide86.xml.rels><?xml version="1.0" encoding="UTF-8" standalone="yes"?>
<Relationships xmlns="http://schemas.openxmlformats.org/package/2006/relationships"><Relationship Id="rId8" Type="http://schemas.openxmlformats.org/officeDocument/2006/relationships/image" Target="../media/image356.png"/><Relationship Id="rId13" Type="http://schemas.openxmlformats.org/officeDocument/2006/relationships/image" Target="../media/image361.svg"/><Relationship Id="rId3" Type="http://schemas.openxmlformats.org/officeDocument/2006/relationships/image" Target="../media/image351.png"/><Relationship Id="rId7" Type="http://schemas.openxmlformats.org/officeDocument/2006/relationships/image" Target="../media/image355.svg"/><Relationship Id="rId12" Type="http://schemas.openxmlformats.org/officeDocument/2006/relationships/image" Target="../media/image360.png"/><Relationship Id="rId2" Type="http://schemas.openxmlformats.org/officeDocument/2006/relationships/notesSlide" Target="../notesSlides/notesSlide86.xml"/><Relationship Id="rId1" Type="http://schemas.openxmlformats.org/officeDocument/2006/relationships/slideLayout" Target="../slideLayouts/slideLayout363.xml"/><Relationship Id="rId6" Type="http://schemas.openxmlformats.org/officeDocument/2006/relationships/image" Target="../media/image354.png"/><Relationship Id="rId11" Type="http://schemas.openxmlformats.org/officeDocument/2006/relationships/image" Target="../media/image359.svg"/><Relationship Id="rId5" Type="http://schemas.openxmlformats.org/officeDocument/2006/relationships/image" Target="../media/image353.svg"/><Relationship Id="rId15" Type="http://schemas.openxmlformats.org/officeDocument/2006/relationships/image" Target="../media/image363.svg"/><Relationship Id="rId10" Type="http://schemas.openxmlformats.org/officeDocument/2006/relationships/image" Target="../media/image358.png"/><Relationship Id="rId4" Type="http://schemas.openxmlformats.org/officeDocument/2006/relationships/image" Target="../media/image352.png"/><Relationship Id="rId9" Type="http://schemas.openxmlformats.org/officeDocument/2006/relationships/image" Target="../media/image357.svg"/><Relationship Id="rId14" Type="http://schemas.openxmlformats.org/officeDocument/2006/relationships/image" Target="../media/image362.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9.xml"/></Relationships>
</file>

<file path=ppt/slides/_rels/slide88.xml.rels><?xml version="1.0" encoding="UTF-8" standalone="yes"?>
<Relationships xmlns="http://schemas.openxmlformats.org/package/2006/relationships"><Relationship Id="rId8" Type="http://schemas.openxmlformats.org/officeDocument/2006/relationships/image" Target="../media/image369.svg"/><Relationship Id="rId3" Type="http://schemas.openxmlformats.org/officeDocument/2006/relationships/image" Target="../media/image364.png"/><Relationship Id="rId7" Type="http://schemas.openxmlformats.org/officeDocument/2006/relationships/image" Target="../media/image368.png"/><Relationship Id="rId2" Type="http://schemas.openxmlformats.org/officeDocument/2006/relationships/notesSlide" Target="../notesSlides/notesSlide88.xml"/><Relationship Id="rId1" Type="http://schemas.openxmlformats.org/officeDocument/2006/relationships/slideLayout" Target="../slideLayouts/slideLayout349.xml"/><Relationship Id="rId6" Type="http://schemas.openxmlformats.org/officeDocument/2006/relationships/image" Target="../media/image367.svg"/><Relationship Id="rId5" Type="http://schemas.openxmlformats.org/officeDocument/2006/relationships/image" Target="../media/image366.png"/><Relationship Id="rId4" Type="http://schemas.openxmlformats.org/officeDocument/2006/relationships/image" Target="../media/image365.svg"/></Relationships>
</file>

<file path=ppt/slides/_rels/slide89.xml.rels><?xml version="1.0" encoding="UTF-8" standalone="yes"?>
<Relationships xmlns="http://schemas.openxmlformats.org/package/2006/relationships"><Relationship Id="rId8" Type="http://schemas.openxmlformats.org/officeDocument/2006/relationships/image" Target="../media/image375.png"/><Relationship Id="rId13" Type="http://schemas.openxmlformats.org/officeDocument/2006/relationships/image" Target="../media/image380.svg"/><Relationship Id="rId3" Type="http://schemas.openxmlformats.org/officeDocument/2006/relationships/image" Target="../media/image370.png"/><Relationship Id="rId7" Type="http://schemas.openxmlformats.org/officeDocument/2006/relationships/image" Target="../media/image374.svg"/><Relationship Id="rId12" Type="http://schemas.openxmlformats.org/officeDocument/2006/relationships/image" Target="../media/image379.png"/><Relationship Id="rId2" Type="http://schemas.openxmlformats.org/officeDocument/2006/relationships/notesSlide" Target="../notesSlides/notesSlide89.xml"/><Relationship Id="rId1" Type="http://schemas.openxmlformats.org/officeDocument/2006/relationships/slideLayout" Target="../slideLayouts/slideLayout349.xml"/><Relationship Id="rId6" Type="http://schemas.openxmlformats.org/officeDocument/2006/relationships/image" Target="../media/image373.png"/><Relationship Id="rId11" Type="http://schemas.openxmlformats.org/officeDocument/2006/relationships/image" Target="../media/image378.svg"/><Relationship Id="rId5" Type="http://schemas.openxmlformats.org/officeDocument/2006/relationships/image" Target="../media/image372.svg"/><Relationship Id="rId10" Type="http://schemas.openxmlformats.org/officeDocument/2006/relationships/image" Target="../media/image377.png"/><Relationship Id="rId4" Type="http://schemas.openxmlformats.org/officeDocument/2006/relationships/image" Target="../media/image371.png"/><Relationship Id="rId9" Type="http://schemas.openxmlformats.org/officeDocument/2006/relationships/image" Target="../media/image376.svg"/></Relationships>
</file>

<file path=ppt/slides/_rels/slide9.xml.rels><?xml version="1.0" encoding="UTF-8" standalone="yes"?>
<Relationships xmlns="http://schemas.openxmlformats.org/package/2006/relationships"><Relationship Id="rId13" Type="http://schemas.openxmlformats.org/officeDocument/2006/relationships/image" Target="../media/image56.jpeg"/><Relationship Id="rId18" Type="http://schemas.openxmlformats.org/officeDocument/2006/relationships/image" Target="../media/image61.png"/><Relationship Id="rId26" Type="http://schemas.openxmlformats.org/officeDocument/2006/relationships/image" Target="../media/image69.png"/><Relationship Id="rId39" Type="http://schemas.openxmlformats.org/officeDocument/2006/relationships/image" Target="../media/image82.png"/><Relationship Id="rId21" Type="http://schemas.openxmlformats.org/officeDocument/2006/relationships/image" Target="../media/image64.png"/><Relationship Id="rId34" Type="http://schemas.openxmlformats.org/officeDocument/2006/relationships/image" Target="../media/image77.jpeg"/><Relationship Id="rId42" Type="http://schemas.openxmlformats.org/officeDocument/2006/relationships/image" Target="../media/image85.png"/><Relationship Id="rId47" Type="http://schemas.openxmlformats.org/officeDocument/2006/relationships/image" Target="../media/image90.png"/><Relationship Id="rId50" Type="http://schemas.openxmlformats.org/officeDocument/2006/relationships/image" Target="../media/image93.jpeg"/><Relationship Id="rId7" Type="http://schemas.openxmlformats.org/officeDocument/2006/relationships/image" Target="../media/image50.png"/><Relationship Id="rId2" Type="http://schemas.openxmlformats.org/officeDocument/2006/relationships/notesSlide" Target="../notesSlides/notesSlide9.xml"/><Relationship Id="rId16" Type="http://schemas.openxmlformats.org/officeDocument/2006/relationships/image" Target="../media/image59.png"/><Relationship Id="rId29" Type="http://schemas.openxmlformats.org/officeDocument/2006/relationships/image" Target="../media/image72.png"/><Relationship Id="rId11" Type="http://schemas.openxmlformats.org/officeDocument/2006/relationships/image" Target="../media/image54.png"/><Relationship Id="rId24" Type="http://schemas.openxmlformats.org/officeDocument/2006/relationships/image" Target="../media/image67.png"/><Relationship Id="rId32" Type="http://schemas.openxmlformats.org/officeDocument/2006/relationships/image" Target="../media/image75.png"/><Relationship Id="rId37" Type="http://schemas.openxmlformats.org/officeDocument/2006/relationships/image" Target="../media/image80.png"/><Relationship Id="rId40" Type="http://schemas.openxmlformats.org/officeDocument/2006/relationships/image" Target="../media/image83.jpeg"/><Relationship Id="rId45" Type="http://schemas.openxmlformats.org/officeDocument/2006/relationships/image" Target="../media/image88.png"/><Relationship Id="rId53" Type="http://schemas.openxmlformats.org/officeDocument/2006/relationships/image" Target="../media/image96.png"/><Relationship Id="rId5" Type="http://schemas.openxmlformats.org/officeDocument/2006/relationships/image" Target="../media/image48.png"/><Relationship Id="rId10" Type="http://schemas.openxmlformats.org/officeDocument/2006/relationships/image" Target="../media/image53.jpeg"/><Relationship Id="rId19" Type="http://schemas.openxmlformats.org/officeDocument/2006/relationships/image" Target="../media/image62.png"/><Relationship Id="rId31" Type="http://schemas.openxmlformats.org/officeDocument/2006/relationships/image" Target="../media/image74.jpeg"/><Relationship Id="rId44" Type="http://schemas.openxmlformats.org/officeDocument/2006/relationships/image" Target="../media/image87.png"/><Relationship Id="rId52" Type="http://schemas.openxmlformats.org/officeDocument/2006/relationships/image" Target="../media/image95.jpe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png"/><Relationship Id="rId27" Type="http://schemas.openxmlformats.org/officeDocument/2006/relationships/image" Target="../media/image70.png"/><Relationship Id="rId30" Type="http://schemas.openxmlformats.org/officeDocument/2006/relationships/image" Target="../media/image73.png"/><Relationship Id="rId35" Type="http://schemas.openxmlformats.org/officeDocument/2006/relationships/image" Target="../media/image78.png"/><Relationship Id="rId43" Type="http://schemas.openxmlformats.org/officeDocument/2006/relationships/image" Target="../media/image86.png"/><Relationship Id="rId48" Type="http://schemas.openxmlformats.org/officeDocument/2006/relationships/image" Target="../media/image91.png"/><Relationship Id="rId8" Type="http://schemas.openxmlformats.org/officeDocument/2006/relationships/image" Target="../media/image51.jpeg"/><Relationship Id="rId51" Type="http://schemas.openxmlformats.org/officeDocument/2006/relationships/image" Target="../media/image94.png"/><Relationship Id="rId3" Type="http://schemas.openxmlformats.org/officeDocument/2006/relationships/image" Target="../media/image46.jpeg"/><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jpeg"/><Relationship Id="rId33" Type="http://schemas.openxmlformats.org/officeDocument/2006/relationships/image" Target="../media/image76.png"/><Relationship Id="rId38" Type="http://schemas.openxmlformats.org/officeDocument/2006/relationships/image" Target="../media/image81.png"/><Relationship Id="rId46" Type="http://schemas.openxmlformats.org/officeDocument/2006/relationships/image" Target="../media/image89.png"/><Relationship Id="rId20" Type="http://schemas.openxmlformats.org/officeDocument/2006/relationships/image" Target="../media/image63.png"/><Relationship Id="rId41" Type="http://schemas.openxmlformats.org/officeDocument/2006/relationships/image" Target="../media/image84.png"/><Relationship Id="rId54" Type="http://schemas.openxmlformats.org/officeDocument/2006/relationships/image" Target="../media/image97.png"/><Relationship Id="rId1" Type="http://schemas.openxmlformats.org/officeDocument/2006/relationships/slideLayout" Target="../slideLayouts/slideLayout187.xml"/><Relationship Id="rId6" Type="http://schemas.openxmlformats.org/officeDocument/2006/relationships/image" Target="../media/image49.jpeg"/><Relationship Id="rId15" Type="http://schemas.openxmlformats.org/officeDocument/2006/relationships/image" Target="../media/image58.jpeg"/><Relationship Id="rId23" Type="http://schemas.openxmlformats.org/officeDocument/2006/relationships/image" Target="../media/image66.png"/><Relationship Id="rId28" Type="http://schemas.openxmlformats.org/officeDocument/2006/relationships/image" Target="../media/image71.png"/><Relationship Id="rId36" Type="http://schemas.openxmlformats.org/officeDocument/2006/relationships/image" Target="../media/image79.jpeg"/><Relationship Id="rId49" Type="http://schemas.openxmlformats.org/officeDocument/2006/relationships/image" Target="../media/image92.jpeg"/></Relationships>
</file>

<file path=ppt/slides/_rels/slide90.xml.rels><?xml version="1.0" encoding="UTF-8" standalone="yes"?>
<Relationships xmlns="http://schemas.openxmlformats.org/package/2006/relationships"><Relationship Id="rId8" Type="http://schemas.openxmlformats.org/officeDocument/2006/relationships/image" Target="../media/image385.jpeg"/><Relationship Id="rId3" Type="http://schemas.openxmlformats.org/officeDocument/2006/relationships/image" Target="../media/image381.tiff"/><Relationship Id="rId7" Type="http://schemas.microsoft.com/office/2007/relationships/hdphoto" Target="../media/hdphoto8.wdp"/><Relationship Id="rId2" Type="http://schemas.openxmlformats.org/officeDocument/2006/relationships/notesSlide" Target="../notesSlides/notesSlide90.xml"/><Relationship Id="rId1" Type="http://schemas.openxmlformats.org/officeDocument/2006/relationships/slideLayout" Target="../slideLayouts/slideLayout11.xml"/><Relationship Id="rId6" Type="http://schemas.openxmlformats.org/officeDocument/2006/relationships/image" Target="../media/image384.jpeg"/><Relationship Id="rId5" Type="http://schemas.openxmlformats.org/officeDocument/2006/relationships/image" Target="../media/image383.png"/><Relationship Id="rId4" Type="http://schemas.openxmlformats.org/officeDocument/2006/relationships/image" Target="../media/image382.png"/></Relationships>
</file>

<file path=ppt/slides/_rels/slide91.xml.rels><?xml version="1.0" encoding="UTF-8" standalone="yes"?>
<Relationships xmlns="http://schemas.openxmlformats.org/package/2006/relationships"><Relationship Id="rId3" Type="http://schemas.openxmlformats.org/officeDocument/2006/relationships/image" Target="../media/image386.png"/><Relationship Id="rId7" Type="http://schemas.openxmlformats.org/officeDocument/2006/relationships/image" Target="../media/image390.png"/><Relationship Id="rId2" Type="http://schemas.openxmlformats.org/officeDocument/2006/relationships/notesSlide" Target="../notesSlides/notesSlide91.xml"/><Relationship Id="rId1" Type="http://schemas.openxmlformats.org/officeDocument/2006/relationships/slideLayout" Target="../slideLayouts/slideLayout327.xml"/><Relationship Id="rId6" Type="http://schemas.openxmlformats.org/officeDocument/2006/relationships/image" Target="../media/image389.png"/><Relationship Id="rId5" Type="http://schemas.openxmlformats.org/officeDocument/2006/relationships/image" Target="../media/image388.png"/><Relationship Id="rId4" Type="http://schemas.openxmlformats.org/officeDocument/2006/relationships/image" Target="../media/image387.png"/></Relationships>
</file>

<file path=ppt/slides/_rels/slide92.xml.rels><?xml version="1.0" encoding="UTF-8" standalone="yes"?>
<Relationships xmlns="http://schemas.openxmlformats.org/package/2006/relationships"><Relationship Id="rId3" Type="http://schemas.openxmlformats.org/officeDocument/2006/relationships/image" Target="../media/image391.jpeg"/><Relationship Id="rId2" Type="http://schemas.openxmlformats.org/officeDocument/2006/relationships/notesSlide" Target="../notesSlides/notesSlide92.xml"/><Relationship Id="rId1" Type="http://schemas.openxmlformats.org/officeDocument/2006/relationships/slideLayout" Target="../slideLayouts/slideLayout17.xml"/><Relationship Id="rId5" Type="http://schemas.microsoft.com/office/2007/relationships/hdphoto" Target="../media/hdphoto9.wdp"/><Relationship Id="rId4" Type="http://schemas.openxmlformats.org/officeDocument/2006/relationships/image" Target="../media/image392.png"/></Relationships>
</file>

<file path=ppt/slides/_rels/slide93.xml.rels><?xml version="1.0" encoding="UTF-8" standalone="yes"?>
<Relationships xmlns="http://schemas.openxmlformats.org/package/2006/relationships"><Relationship Id="rId8" Type="http://schemas.openxmlformats.org/officeDocument/2006/relationships/image" Target="../media/image396.png"/><Relationship Id="rId3" Type="http://schemas.openxmlformats.org/officeDocument/2006/relationships/slideLayout" Target="../slideLayouts/slideLayout325.xml"/><Relationship Id="rId7" Type="http://schemas.openxmlformats.org/officeDocument/2006/relationships/image" Target="../media/image395.emf"/><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94.emf"/><Relationship Id="rId11" Type="http://schemas.openxmlformats.org/officeDocument/2006/relationships/image" Target="../media/image399.png"/><Relationship Id="rId5" Type="http://schemas.openxmlformats.org/officeDocument/2006/relationships/image" Target="../media/image393.png"/><Relationship Id="rId10" Type="http://schemas.openxmlformats.org/officeDocument/2006/relationships/image" Target="../media/image398.png"/><Relationship Id="rId4" Type="http://schemas.openxmlformats.org/officeDocument/2006/relationships/notesSlide" Target="../notesSlides/notesSlide93.xml"/><Relationship Id="rId9" Type="http://schemas.openxmlformats.org/officeDocument/2006/relationships/image" Target="../media/image397.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49.xml"/></Relationships>
</file>

<file path=ppt/slides/_rels/slide95.xml.rels><?xml version="1.0" encoding="UTF-8" standalone="yes"?>
<Relationships xmlns="http://schemas.openxmlformats.org/package/2006/relationships"><Relationship Id="rId8" Type="http://schemas.openxmlformats.org/officeDocument/2006/relationships/image" Target="../media/image405.svg"/><Relationship Id="rId13" Type="http://schemas.openxmlformats.org/officeDocument/2006/relationships/image" Target="../media/image410.png"/><Relationship Id="rId3" Type="http://schemas.openxmlformats.org/officeDocument/2006/relationships/image" Target="../media/image400.png"/><Relationship Id="rId7" Type="http://schemas.openxmlformats.org/officeDocument/2006/relationships/image" Target="../media/image404.png"/><Relationship Id="rId12" Type="http://schemas.openxmlformats.org/officeDocument/2006/relationships/image" Target="../media/image409.svg"/><Relationship Id="rId2" Type="http://schemas.openxmlformats.org/officeDocument/2006/relationships/notesSlide" Target="../notesSlides/notesSlide95.xml"/><Relationship Id="rId1" Type="http://schemas.openxmlformats.org/officeDocument/2006/relationships/slideLayout" Target="../slideLayouts/slideLayout11.xml"/><Relationship Id="rId6" Type="http://schemas.openxmlformats.org/officeDocument/2006/relationships/image" Target="../media/image403.svg"/><Relationship Id="rId11" Type="http://schemas.openxmlformats.org/officeDocument/2006/relationships/image" Target="../media/image408.png"/><Relationship Id="rId5" Type="http://schemas.openxmlformats.org/officeDocument/2006/relationships/image" Target="../media/image402.png"/><Relationship Id="rId10" Type="http://schemas.openxmlformats.org/officeDocument/2006/relationships/image" Target="../media/image407.svg"/><Relationship Id="rId4" Type="http://schemas.openxmlformats.org/officeDocument/2006/relationships/image" Target="../media/image401.svg"/><Relationship Id="rId9" Type="http://schemas.openxmlformats.org/officeDocument/2006/relationships/image" Target="../media/image406.png"/><Relationship Id="rId14" Type="http://schemas.openxmlformats.org/officeDocument/2006/relationships/image" Target="../media/image411.sv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7.xml"/></Relationships>
</file>

<file path=ppt/slides/_rels/slide97.xml.rels><?xml version="1.0" encoding="UTF-8" standalone="yes"?>
<Relationships xmlns="http://schemas.openxmlformats.org/package/2006/relationships"><Relationship Id="rId3" Type="http://schemas.openxmlformats.org/officeDocument/2006/relationships/image" Target="../media/image412.png"/><Relationship Id="rId2" Type="http://schemas.openxmlformats.org/officeDocument/2006/relationships/notesSlide" Target="../notesSlides/notesSlide97.xml"/><Relationship Id="rId1" Type="http://schemas.openxmlformats.org/officeDocument/2006/relationships/slideLayout" Target="../slideLayouts/slideLayout11.xml"/><Relationship Id="rId4" Type="http://schemas.openxmlformats.org/officeDocument/2006/relationships/image" Target="../media/image413.svg"/></Relationships>
</file>

<file path=ppt/slides/_rels/slide98.xml.rels><?xml version="1.0" encoding="UTF-8" standalone="yes"?>
<Relationships xmlns="http://schemas.openxmlformats.org/package/2006/relationships"><Relationship Id="rId8" Type="http://schemas.openxmlformats.org/officeDocument/2006/relationships/image" Target="../media/image419.png"/><Relationship Id="rId13" Type="http://schemas.openxmlformats.org/officeDocument/2006/relationships/image" Target="../media/image424.png"/><Relationship Id="rId18" Type="http://schemas.openxmlformats.org/officeDocument/2006/relationships/image" Target="../media/image429.png"/><Relationship Id="rId3" Type="http://schemas.openxmlformats.org/officeDocument/2006/relationships/image" Target="../media/image414.png"/><Relationship Id="rId21" Type="http://schemas.openxmlformats.org/officeDocument/2006/relationships/image" Target="../media/image432.png"/><Relationship Id="rId7" Type="http://schemas.openxmlformats.org/officeDocument/2006/relationships/image" Target="../media/image418.png"/><Relationship Id="rId12" Type="http://schemas.openxmlformats.org/officeDocument/2006/relationships/image" Target="../media/image423.jpeg"/><Relationship Id="rId17" Type="http://schemas.openxmlformats.org/officeDocument/2006/relationships/image" Target="../media/image428.png"/><Relationship Id="rId2" Type="http://schemas.openxmlformats.org/officeDocument/2006/relationships/notesSlide" Target="../notesSlides/notesSlide98.xml"/><Relationship Id="rId16" Type="http://schemas.openxmlformats.org/officeDocument/2006/relationships/image" Target="../media/image427.png"/><Relationship Id="rId20" Type="http://schemas.openxmlformats.org/officeDocument/2006/relationships/image" Target="../media/image431.png"/><Relationship Id="rId1" Type="http://schemas.openxmlformats.org/officeDocument/2006/relationships/slideLayout" Target="../slideLayouts/slideLayout17.xml"/><Relationship Id="rId6" Type="http://schemas.openxmlformats.org/officeDocument/2006/relationships/image" Target="../media/image417.png"/><Relationship Id="rId11" Type="http://schemas.openxmlformats.org/officeDocument/2006/relationships/image" Target="../media/image422.png"/><Relationship Id="rId5" Type="http://schemas.openxmlformats.org/officeDocument/2006/relationships/image" Target="../media/image416.png"/><Relationship Id="rId15" Type="http://schemas.openxmlformats.org/officeDocument/2006/relationships/image" Target="../media/image426.png"/><Relationship Id="rId10" Type="http://schemas.openxmlformats.org/officeDocument/2006/relationships/image" Target="../media/image421.png"/><Relationship Id="rId19" Type="http://schemas.openxmlformats.org/officeDocument/2006/relationships/image" Target="../media/image430.png"/><Relationship Id="rId4" Type="http://schemas.openxmlformats.org/officeDocument/2006/relationships/image" Target="../media/image415.png"/><Relationship Id="rId9" Type="http://schemas.openxmlformats.org/officeDocument/2006/relationships/image" Target="../media/image420.png"/><Relationship Id="rId14" Type="http://schemas.openxmlformats.org/officeDocument/2006/relationships/image" Target="../media/image425.jpeg"/></Relationships>
</file>

<file path=ppt/slides/_rels/slide99.xml.rels><?xml version="1.0" encoding="UTF-8" standalone="yes"?>
<Relationships xmlns="http://schemas.openxmlformats.org/package/2006/relationships"><Relationship Id="rId8" Type="http://schemas.openxmlformats.org/officeDocument/2006/relationships/image" Target="../media/image438.png"/><Relationship Id="rId13" Type="http://schemas.openxmlformats.org/officeDocument/2006/relationships/image" Target="../media/image443.emf"/><Relationship Id="rId3" Type="http://schemas.openxmlformats.org/officeDocument/2006/relationships/image" Target="../media/image433.emf"/><Relationship Id="rId7" Type="http://schemas.openxmlformats.org/officeDocument/2006/relationships/image" Target="../media/image437.emf"/><Relationship Id="rId12" Type="http://schemas.openxmlformats.org/officeDocument/2006/relationships/image" Target="../media/image442.png"/><Relationship Id="rId2" Type="http://schemas.openxmlformats.org/officeDocument/2006/relationships/notesSlide" Target="../notesSlides/notesSlide99.xml"/><Relationship Id="rId16" Type="http://schemas.openxmlformats.org/officeDocument/2006/relationships/image" Target="../media/image403.svg"/><Relationship Id="rId1" Type="http://schemas.openxmlformats.org/officeDocument/2006/relationships/slideLayout" Target="../slideLayouts/slideLayout11.xml"/><Relationship Id="rId6" Type="http://schemas.openxmlformats.org/officeDocument/2006/relationships/image" Target="../media/image436.emf"/><Relationship Id="rId11" Type="http://schemas.openxmlformats.org/officeDocument/2006/relationships/image" Target="../media/image441.emf"/><Relationship Id="rId5" Type="http://schemas.openxmlformats.org/officeDocument/2006/relationships/image" Target="../media/image435.emf"/><Relationship Id="rId15" Type="http://schemas.openxmlformats.org/officeDocument/2006/relationships/image" Target="../media/image402.png"/><Relationship Id="rId10" Type="http://schemas.openxmlformats.org/officeDocument/2006/relationships/image" Target="../media/image440.emf"/><Relationship Id="rId4" Type="http://schemas.openxmlformats.org/officeDocument/2006/relationships/image" Target="../media/image434.emf"/><Relationship Id="rId9" Type="http://schemas.openxmlformats.org/officeDocument/2006/relationships/image" Target="../media/image439.emf"/><Relationship Id="rId14" Type="http://schemas.openxmlformats.org/officeDocument/2006/relationships/image" Target="../media/image4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
        <p:nvSpPr>
          <p:cNvPr id="11" name="Rectangle 10"/>
          <p:cNvSpPr/>
          <p:nvPr/>
        </p:nvSpPr>
        <p:spPr bwMode="auto">
          <a:xfrm flipH="1">
            <a:off x="880" y="-2"/>
            <a:ext cx="12456917" cy="7002566"/>
          </a:xfrm>
          <a:prstGeom prst="rect">
            <a:avLst/>
          </a:prstGeom>
          <a:gradFill flip="none" rotWithShape="1">
            <a:gsLst>
              <a:gs pos="0">
                <a:srgbClr val="271D1F">
                  <a:alpha val="0"/>
                </a:srgbClr>
              </a:gs>
              <a:gs pos="99000">
                <a:srgbClr val="271D1F"/>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1"/>
          <p:cNvSpPr txBox="1">
            <a:spLocks/>
          </p:cNvSpPr>
          <p:nvPr/>
        </p:nvSpPr>
        <p:spPr bwMode="ltGray">
          <a:xfrm>
            <a:off x="6161716" y="2652467"/>
            <a:ext cx="5101059" cy="1324056"/>
          </a:xfrm>
          <a:prstGeom prst="rect">
            <a:avLst/>
          </a:prstGeom>
          <a:noFill/>
        </p:spPr>
        <p:txBody>
          <a:bodyPr lIns="149217" tIns="93260" rIns="149217" bIns="9326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defTabSz="932563">
              <a:lnSpc>
                <a:spcPts val="8608"/>
              </a:lnSpc>
              <a:defRPr/>
            </a:pPr>
            <a:r>
              <a:rPr lang="en-US" sz="3468" b="1" spc="-102" dirty="0">
                <a:solidFill>
                  <a:srgbClr val="FFFFFF"/>
                </a:solidFill>
                <a:latin typeface="Segoe UI"/>
              </a:rPr>
              <a:t>Azure 101 Overview</a:t>
            </a:r>
          </a:p>
        </p:txBody>
      </p:sp>
      <p:pic>
        <p:nvPicPr>
          <p:cNvPr id="8" name="Picture 7">
            <a:extLst>
              <a:ext uri="{FF2B5EF4-FFF2-40B4-BE49-F238E27FC236}">
                <a16:creationId xmlns:a16="http://schemas.microsoft.com/office/drawing/2014/main" id="{70A795D3-2BC5-4531-BF6F-26CCCE9C2A71}"/>
              </a:ext>
            </a:extLst>
          </p:cNvPr>
          <p:cNvPicPr>
            <a:picLocks noChangeAspect="1"/>
          </p:cNvPicPr>
          <p:nvPr/>
        </p:nvPicPr>
        <p:blipFill>
          <a:blip r:embed="rId4"/>
          <a:stretch>
            <a:fillRect/>
          </a:stretch>
        </p:blipFill>
        <p:spPr>
          <a:xfrm>
            <a:off x="439918" y="2922699"/>
            <a:ext cx="2769401" cy="975005"/>
          </a:xfrm>
          <a:prstGeom prst="rect">
            <a:avLst/>
          </a:prstGeom>
        </p:spPr>
      </p:pic>
      <p:pic>
        <p:nvPicPr>
          <p:cNvPr id="9" name="Picture 8">
            <a:extLst>
              <a:ext uri="{FF2B5EF4-FFF2-40B4-BE49-F238E27FC236}">
                <a16:creationId xmlns:a16="http://schemas.microsoft.com/office/drawing/2014/main" id="{7AC2E7C8-9FF5-4FF8-A89D-68D8EF5F00B0}"/>
              </a:ext>
            </a:extLst>
          </p:cNvPr>
          <p:cNvPicPr>
            <a:picLocks noChangeAspect="1"/>
          </p:cNvPicPr>
          <p:nvPr/>
        </p:nvPicPr>
        <p:blipFill>
          <a:blip r:embed="rId5"/>
          <a:stretch>
            <a:fillRect/>
          </a:stretch>
        </p:blipFill>
        <p:spPr>
          <a:xfrm>
            <a:off x="10708981" y="6133051"/>
            <a:ext cx="1354586" cy="498275"/>
          </a:xfrm>
          <a:prstGeom prst="rect">
            <a:avLst/>
          </a:prstGeom>
        </p:spPr>
      </p:pic>
    </p:spTree>
    <p:extLst>
      <p:ext uri="{BB962C8B-B14F-4D97-AF65-F5344CB8AC3E}">
        <p14:creationId xmlns:p14="http://schemas.microsoft.com/office/powerpoint/2010/main" val="309330861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450059"/>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ervices</a:t>
            </a:r>
          </a:p>
        </p:txBody>
      </p:sp>
      <p:sp>
        <p:nvSpPr>
          <p:cNvPr id="63" name="cloud">
            <a:extLst>
              <a:ext uri="{FF2B5EF4-FFF2-40B4-BE49-F238E27FC236}">
                <a16:creationId xmlns:a16="http://schemas.microsoft.com/office/drawing/2014/main" id="{6FC120D2-A62B-4F13-9432-D5A1981F0812}"/>
              </a:ext>
            </a:extLst>
          </p:cNvPr>
          <p:cNvSpPr>
            <a:spLocks noChangeAspect="1"/>
          </p:cNvSpPr>
          <p:nvPr/>
        </p:nvSpPr>
        <p:spPr bwMode="auto">
          <a:xfrm>
            <a:off x="5884806" y="2783394"/>
            <a:ext cx="636861" cy="40299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grpSp>
        <p:nvGrpSpPr>
          <p:cNvPr id="77" name="Group 76">
            <a:extLst>
              <a:ext uri="{FF2B5EF4-FFF2-40B4-BE49-F238E27FC236}">
                <a16:creationId xmlns:a16="http://schemas.microsoft.com/office/drawing/2014/main" id="{7EF77E96-EEBA-4B36-B837-3FA2E611EAEE}"/>
              </a:ext>
            </a:extLst>
          </p:cNvPr>
          <p:cNvGrpSpPr/>
          <p:nvPr/>
        </p:nvGrpSpPr>
        <p:grpSpPr>
          <a:xfrm>
            <a:off x="5954546" y="5211110"/>
            <a:ext cx="481160" cy="481160"/>
            <a:chOff x="10262067" y="5357124"/>
            <a:chExt cx="426425" cy="426425"/>
          </a:xfrm>
        </p:grpSpPr>
        <p:sp>
          <p:nvSpPr>
            <p:cNvPr id="78" name="cloud">
              <a:extLst>
                <a:ext uri="{FF2B5EF4-FFF2-40B4-BE49-F238E27FC236}">
                  <a16:creationId xmlns:a16="http://schemas.microsoft.com/office/drawing/2014/main" id="{7AC4D3D8-85EF-4A09-A5ED-E11FA5D868D2}"/>
                </a:ext>
              </a:extLst>
            </p:cNvPr>
            <p:cNvSpPr>
              <a:spLocks noChangeAspect="1"/>
            </p:cNvSpPr>
            <p:nvPr/>
          </p:nvSpPr>
          <p:spPr bwMode="auto">
            <a:xfrm>
              <a:off x="10322563" y="5473699"/>
              <a:ext cx="305432" cy="19327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9" name="Rectangle 78">
              <a:extLst>
                <a:ext uri="{FF2B5EF4-FFF2-40B4-BE49-F238E27FC236}">
                  <a16:creationId xmlns:a16="http://schemas.microsoft.com/office/drawing/2014/main" id="{0B5F8D2C-D1ED-482D-8579-638A4D2E015C}"/>
                </a:ext>
              </a:extLst>
            </p:cNvPr>
            <p:cNvSpPr/>
            <p:nvPr/>
          </p:nvSpPr>
          <p:spPr bwMode="auto">
            <a:xfrm>
              <a:off x="10262067" y="5357124"/>
              <a:ext cx="426425" cy="426425"/>
            </a:xfrm>
            <a:prstGeom prst="rect">
              <a:avLst/>
            </a:pr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450061"/>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618155"/>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a:solidFill>
                  <a:srgbClr val="0078D7"/>
                </a:solidFill>
                <a:latin typeface="Segoe UI" panose="020B0502040204020203" pitchFamily="34" charset="0"/>
                <a:cs typeface="Segoe UI" panose="020B0502040204020203" pitchFamily="34" charset="0"/>
              </a:rPr>
              <a:t>Azure Security</a:t>
            </a:r>
            <a:br>
              <a:rPr lang="en-US" sz="1599">
                <a:solidFill>
                  <a:srgbClr val="0078D7"/>
                </a:solidFill>
                <a:latin typeface="Segoe UI" panose="020B0502040204020203" pitchFamily="34" charset="0"/>
                <a:cs typeface="Segoe UI" panose="020B0502040204020203" pitchFamily="34" charset="0"/>
              </a:rPr>
            </a:br>
            <a:r>
              <a:rPr lang="en-US" sz="1599">
                <a:solidFill>
                  <a:srgbClr val="0078D7"/>
                </a:solidFill>
                <a:latin typeface="Segoe UI" panose="020B0502040204020203" pitchFamily="34" charset="0"/>
                <a:cs typeface="Segoe UI" panose="020B0502040204020203" pitchFamily="34" charset="0"/>
              </a:rPr>
              <a:t>&amp; Management</a:t>
            </a:r>
          </a:p>
        </p:txBody>
      </p:sp>
      <p:sp>
        <p:nvSpPr>
          <p:cNvPr id="91" name="DeveloperTools_EC7A">
            <a:extLst>
              <a:ext uri="{FF2B5EF4-FFF2-40B4-BE49-F238E27FC236}">
                <a16:creationId xmlns:a16="http://schemas.microsoft.com/office/drawing/2014/main" id="{EB6950C0-0B4C-4056-B714-7A51C940A0BB}"/>
              </a:ext>
            </a:extLst>
          </p:cNvPr>
          <p:cNvSpPr>
            <a:spLocks noChangeAspect="1" noEditPoints="1"/>
          </p:cNvSpPr>
          <p:nvPr/>
        </p:nvSpPr>
        <p:spPr bwMode="auto">
          <a:xfrm>
            <a:off x="10075326" y="2751098"/>
            <a:ext cx="277868" cy="43782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a:solidFill>
                  <a:srgbClr val="0078D7"/>
                </a:solidFill>
                <a:latin typeface="Segoe UI" panose="020B0502040204020203" pitchFamily="34" charset="0"/>
                <a:cs typeface="Segoe UI" panose="020B0502040204020203" pitchFamily="34" charset="0"/>
              </a:rPr>
              <a:t>On-premises</a:t>
            </a:r>
            <a:br>
              <a:rPr lang="en-US" sz="1599">
                <a:solidFill>
                  <a:srgbClr val="0078D7"/>
                </a:solidFill>
                <a:latin typeface="Segoe UI" panose="020B0502040204020203" pitchFamily="34" charset="0"/>
                <a:cs typeface="Segoe UI" panose="020B0502040204020203" pitchFamily="34" charset="0"/>
              </a:rPr>
            </a:br>
            <a:r>
              <a:rPr lang="en-US" sz="1599">
                <a:solidFill>
                  <a:srgbClr val="0078D7"/>
                </a:solidFill>
                <a:latin typeface="Segoe UI" panose="020B0502040204020203" pitchFamily="34" charset="0"/>
                <a:cs typeface="Segoe UI" panose="020B0502040204020203" pitchFamily="34" charset="0"/>
              </a:rPr>
              <a:t>Infrastructure</a:t>
            </a:r>
          </a:p>
        </p:txBody>
      </p:sp>
      <p:sp>
        <p:nvSpPr>
          <p:cNvPr id="94" name="server">
            <a:extLst>
              <a:ext uri="{FF2B5EF4-FFF2-40B4-BE49-F238E27FC236}">
                <a16:creationId xmlns:a16="http://schemas.microsoft.com/office/drawing/2014/main" id="{1C506076-E3F4-40B6-84C9-7CE159AF0F27}"/>
              </a:ext>
            </a:extLst>
          </p:cNvPr>
          <p:cNvSpPr>
            <a:spLocks noChangeAspect="1" noEditPoints="1"/>
          </p:cNvSpPr>
          <p:nvPr/>
        </p:nvSpPr>
        <p:spPr bwMode="auto">
          <a:xfrm>
            <a:off x="10104788" y="5152979"/>
            <a:ext cx="218944" cy="49302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450059"/>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65" name="binary">
            <a:extLst>
              <a:ext uri="{FF2B5EF4-FFF2-40B4-BE49-F238E27FC236}">
                <a16:creationId xmlns:a16="http://schemas.microsoft.com/office/drawing/2014/main" id="{AFCB2F59-EED0-453C-8E95-BF012B340755}"/>
              </a:ext>
            </a:extLst>
          </p:cNvPr>
          <p:cNvSpPr>
            <a:spLocks noChangeAspect="1" noEditPoints="1"/>
          </p:cNvSpPr>
          <p:nvPr/>
        </p:nvSpPr>
        <p:spPr bwMode="auto">
          <a:xfrm>
            <a:off x="7964830" y="2777571"/>
            <a:ext cx="488339" cy="42167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71" name="Database_EFC7">
            <a:extLst>
              <a:ext uri="{FF2B5EF4-FFF2-40B4-BE49-F238E27FC236}">
                <a16:creationId xmlns:a16="http://schemas.microsoft.com/office/drawing/2014/main" id="{361D8CE8-7B88-4B41-AA64-DB50FF514590}"/>
              </a:ext>
            </a:extLst>
          </p:cNvPr>
          <p:cNvSpPr>
            <a:spLocks noChangeAspect="1" noEditPoints="1"/>
          </p:cNvSpPr>
          <p:nvPr/>
        </p:nvSpPr>
        <p:spPr bwMode="auto">
          <a:xfrm>
            <a:off x="8031666" y="5147374"/>
            <a:ext cx="354663" cy="46100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Data </a:t>
            </a:r>
          </a:p>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a:solidFill>
                  <a:srgbClr val="002050"/>
                </a:solidFill>
                <a:latin typeface="Segoe UI" panose="020B0502040204020203" pitchFamily="34" charset="0"/>
                <a:cs typeface="Segoe UI" panose="020B0502040204020203" pitchFamily="34" charset="0"/>
              </a:rPr>
              <a:t>Security &amp;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Unified Cloud Platform</a:t>
            </a: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Common </a:t>
            </a:r>
            <a:br>
              <a:rPr lang="en-US" sz="1599" dirty="0">
                <a:solidFill>
                  <a:srgbClr val="002050"/>
                </a:solidFill>
                <a:latin typeface="Segoe UI" panose="020B0502040204020203" pitchFamily="34" charset="0"/>
                <a:cs typeface="Segoe UI" panose="020B0502040204020203" pitchFamily="34" charset="0"/>
              </a:rPr>
            </a:br>
            <a:r>
              <a:rPr lang="en-US" sz="1599" dirty="0">
                <a:solidFill>
                  <a:srgbClr val="002050"/>
                </a:solidFill>
                <a:latin typeface="Segoe UI" panose="020B0502040204020203" pitchFamily="34" charset="0"/>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450060"/>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4" name="people_5">
            <a:extLst>
              <a:ext uri="{FF2B5EF4-FFF2-40B4-BE49-F238E27FC236}">
                <a16:creationId xmlns:a16="http://schemas.microsoft.com/office/drawing/2014/main" id="{A7DE72A6-2DF2-4903-9814-AE12AF3C0323}"/>
              </a:ext>
            </a:extLst>
          </p:cNvPr>
          <p:cNvSpPr>
            <a:spLocks noChangeAspect="1" noEditPoints="1"/>
          </p:cNvSpPr>
          <p:nvPr/>
        </p:nvSpPr>
        <p:spPr bwMode="auto">
          <a:xfrm>
            <a:off x="3948976" y="2768190"/>
            <a:ext cx="480696" cy="47879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80" name="people_5">
            <a:extLst>
              <a:ext uri="{FF2B5EF4-FFF2-40B4-BE49-F238E27FC236}">
                <a16:creationId xmlns:a16="http://schemas.microsoft.com/office/drawing/2014/main" id="{F2F6BB82-213D-4F13-BA71-00F561C9633B}"/>
              </a:ext>
            </a:extLst>
          </p:cNvPr>
          <p:cNvSpPr>
            <a:spLocks noChangeAspect="1" noEditPoints="1"/>
          </p:cNvSpPr>
          <p:nvPr/>
        </p:nvSpPr>
        <p:spPr bwMode="auto">
          <a:xfrm>
            <a:off x="3948976" y="5129253"/>
            <a:ext cx="480696" cy="47879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070216"/>
            <a:ext cx="1157847"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27087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01" name="Rectangle 100">
            <a:extLst>
              <a:ext uri="{FF2B5EF4-FFF2-40B4-BE49-F238E27FC236}">
                <a16:creationId xmlns:a16="http://schemas.microsoft.com/office/drawing/2014/main" id="{400BF1EA-263F-41CC-8696-2F11FC04B09A}"/>
              </a:ext>
            </a:extLst>
          </p:cNvPr>
          <p:cNvSpPr/>
          <p:nvPr/>
        </p:nvSpPr>
        <p:spPr>
          <a:xfrm>
            <a:off x="381455" y="1647831"/>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02" name="speedometer_2">
            <a:extLst>
              <a:ext uri="{FF2B5EF4-FFF2-40B4-BE49-F238E27FC236}">
                <a16:creationId xmlns:a16="http://schemas.microsoft.com/office/drawing/2014/main" id="{64C36805-3BA9-47F2-94D4-50E4A63F3198}"/>
              </a:ext>
            </a:extLst>
          </p:cNvPr>
          <p:cNvSpPr>
            <a:spLocks noChangeAspect="1" noEditPoints="1"/>
          </p:cNvSpPr>
          <p:nvPr/>
        </p:nvSpPr>
        <p:spPr bwMode="auto">
          <a:xfrm>
            <a:off x="778141" y="1015641"/>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264" spc="-51" dirty="0">
                <a:solidFill>
                  <a:srgbClr val="505050"/>
                </a:solidFill>
                <a:latin typeface="Segoe UI Light"/>
              </a:rPr>
              <a:t>Providing the only consistent, hybrid cloud</a:t>
            </a:r>
            <a:endParaRPr lang="en-US" sz="3264" dirty="0">
              <a:solidFill>
                <a:srgbClr val="505050"/>
              </a:solidFill>
              <a:latin typeface="Segoe UI Light"/>
            </a:endParaRPr>
          </a:p>
        </p:txBody>
      </p:sp>
    </p:spTree>
    <p:extLst>
      <p:ext uri="{BB962C8B-B14F-4D97-AF65-F5344CB8AC3E}">
        <p14:creationId xmlns:p14="http://schemas.microsoft.com/office/powerpoint/2010/main" val="25450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2.96296E-6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2.96296E-6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2.96296E-6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2.96296E-6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 presetClass="entr" presetSubtype="0" fill="hold" grpId="0" nodeType="withEffect">
                                  <p:stCondLst>
                                    <p:cond delay="0"/>
                                  </p:stCondLst>
                                  <p:childTnLst>
                                    <p:set>
                                      <p:cBhvr>
                                        <p:cTn id="74" dur="1" fill="hold">
                                          <p:stCondLst>
                                            <p:cond delay="499"/>
                                          </p:stCondLst>
                                        </p:cTn>
                                        <p:tgtEl>
                                          <p:spTgt spid="64"/>
                                        </p:tgtEl>
                                        <p:attrNameLst>
                                          <p:attrName>style.visibility</p:attrName>
                                        </p:attrNameLst>
                                      </p:cBhvr>
                                      <p:to>
                                        <p:strVal val="visible"/>
                                      </p:to>
                                    </p:set>
                                  </p:childTnLst>
                                </p:cTn>
                              </p:par>
                              <p:par>
                                <p:cTn id="75" presetID="6" presetClass="emph" presetSubtype="0" accel="100000" autoRev="1" fill="hold" grpId="1" nodeType="withEffect">
                                  <p:stCondLst>
                                    <p:cond delay="0"/>
                                  </p:stCondLst>
                                  <p:childTnLst>
                                    <p:animScale>
                                      <p:cBhvr>
                                        <p:cTn id="76" dur="500" fill="hold"/>
                                        <p:tgtEl>
                                          <p:spTgt spid="64"/>
                                        </p:tgtEl>
                                      </p:cBhvr>
                                      <p:by x="0" y="0"/>
                                    </p:animScale>
                                  </p:childTnLst>
                                </p:cTn>
                              </p:par>
                              <p:par>
                                <p:cTn id="77" presetID="1" presetClass="entr" presetSubtype="0" fill="hold" grpId="0" nodeType="withEffect">
                                  <p:stCondLst>
                                    <p:cond delay="0"/>
                                  </p:stCondLst>
                                  <p:childTnLst>
                                    <p:set>
                                      <p:cBhvr>
                                        <p:cTn id="78" dur="1" fill="hold">
                                          <p:stCondLst>
                                            <p:cond delay="499"/>
                                          </p:stCondLst>
                                        </p:cTn>
                                        <p:tgtEl>
                                          <p:spTgt spid="65"/>
                                        </p:tgtEl>
                                        <p:attrNameLst>
                                          <p:attrName>style.visibility</p:attrName>
                                        </p:attrNameLst>
                                      </p:cBhvr>
                                      <p:to>
                                        <p:strVal val="visible"/>
                                      </p:to>
                                    </p:set>
                                  </p:childTnLst>
                                </p:cTn>
                              </p:par>
                              <p:par>
                                <p:cTn id="79" presetID="6" presetClass="emph" presetSubtype="0" accel="100000" autoRev="1" fill="hold" grpId="1" nodeType="withEffect">
                                  <p:stCondLst>
                                    <p:cond delay="0"/>
                                  </p:stCondLst>
                                  <p:childTnLst>
                                    <p:animScale>
                                      <p:cBhvr>
                                        <p:cTn id="80" dur="500" fill="hold"/>
                                        <p:tgtEl>
                                          <p:spTgt spid="65"/>
                                        </p:tgtEl>
                                      </p:cBhvr>
                                      <p:by x="0" y="0"/>
                                    </p:animScale>
                                  </p:childTnLst>
                                </p:cTn>
                              </p:par>
                              <p:par>
                                <p:cTn id="81" presetID="1" presetClass="entr" presetSubtype="0" fill="hold" grpId="0" nodeType="withEffect">
                                  <p:stCondLst>
                                    <p:cond delay="0"/>
                                  </p:stCondLst>
                                  <p:childTnLst>
                                    <p:set>
                                      <p:cBhvr>
                                        <p:cTn id="82" dur="1" fill="hold">
                                          <p:stCondLst>
                                            <p:cond delay="499"/>
                                          </p:stCondLst>
                                        </p:cTn>
                                        <p:tgtEl>
                                          <p:spTgt spid="63"/>
                                        </p:tgtEl>
                                        <p:attrNameLst>
                                          <p:attrName>style.visibility</p:attrName>
                                        </p:attrNameLst>
                                      </p:cBhvr>
                                      <p:to>
                                        <p:strVal val="visible"/>
                                      </p:to>
                                    </p:set>
                                  </p:childTnLst>
                                </p:cTn>
                              </p:par>
                              <p:par>
                                <p:cTn id="83" presetID="6" presetClass="emph" presetSubtype="0" accel="100000" autoRev="1" fill="hold" grpId="1" nodeType="withEffect">
                                  <p:stCondLst>
                                    <p:cond delay="0"/>
                                  </p:stCondLst>
                                  <p:childTnLst>
                                    <p:animScale>
                                      <p:cBhvr>
                                        <p:cTn id="84" dur="500" fill="hold"/>
                                        <p:tgtEl>
                                          <p:spTgt spid="63"/>
                                        </p:tgtEl>
                                      </p:cBhvr>
                                      <p:by x="0" y="0"/>
                                    </p:animScale>
                                  </p:childTnLst>
                                </p:cTn>
                              </p:par>
                              <p:par>
                                <p:cTn id="85" presetID="1" presetClass="entr" presetSubtype="0" fill="hold" grpId="0" nodeType="withEffect">
                                  <p:stCondLst>
                                    <p:cond delay="0"/>
                                  </p:stCondLst>
                                  <p:childTnLst>
                                    <p:set>
                                      <p:cBhvr>
                                        <p:cTn id="86" dur="1" fill="hold">
                                          <p:stCondLst>
                                            <p:cond delay="499"/>
                                          </p:stCondLst>
                                        </p:cTn>
                                        <p:tgtEl>
                                          <p:spTgt spid="91"/>
                                        </p:tgtEl>
                                        <p:attrNameLst>
                                          <p:attrName>style.visibility</p:attrName>
                                        </p:attrNameLst>
                                      </p:cBhvr>
                                      <p:to>
                                        <p:strVal val="visible"/>
                                      </p:to>
                                    </p:set>
                                  </p:childTnLst>
                                </p:cTn>
                              </p:par>
                              <p:par>
                                <p:cTn id="87" presetID="6" presetClass="emph" presetSubtype="0" accel="100000" autoRev="1" fill="hold" grpId="1" nodeType="withEffect">
                                  <p:stCondLst>
                                    <p:cond delay="0"/>
                                  </p:stCondLst>
                                  <p:childTnLst>
                                    <p:animScale>
                                      <p:cBhvr>
                                        <p:cTn id="88" dur="500" fill="hold"/>
                                        <p:tgtEl>
                                          <p:spTgt spid="91"/>
                                        </p:tgtEl>
                                      </p:cBhvr>
                                      <p:by x="0" y="0"/>
                                    </p:animScale>
                                  </p:childTnLst>
                                </p:cTn>
                              </p:par>
                              <p:par>
                                <p:cTn id="89" presetID="1" presetClass="entr" presetSubtype="0" fill="hold" grpId="0" nodeType="withEffect">
                                  <p:stCondLst>
                                    <p:cond delay="0"/>
                                  </p:stCondLst>
                                  <p:childTnLst>
                                    <p:set>
                                      <p:cBhvr>
                                        <p:cTn id="90" dur="1" fill="hold">
                                          <p:stCondLst>
                                            <p:cond delay="499"/>
                                          </p:stCondLst>
                                        </p:cTn>
                                        <p:tgtEl>
                                          <p:spTgt spid="80"/>
                                        </p:tgtEl>
                                        <p:attrNameLst>
                                          <p:attrName>style.visibility</p:attrName>
                                        </p:attrNameLst>
                                      </p:cBhvr>
                                      <p:to>
                                        <p:strVal val="visible"/>
                                      </p:to>
                                    </p:set>
                                  </p:childTnLst>
                                </p:cTn>
                              </p:par>
                              <p:par>
                                <p:cTn id="91" presetID="6" presetClass="emph" presetSubtype="0" accel="100000" autoRev="1" fill="hold" grpId="1" nodeType="withEffect">
                                  <p:stCondLst>
                                    <p:cond delay="0"/>
                                  </p:stCondLst>
                                  <p:childTnLst>
                                    <p:animScale>
                                      <p:cBhvr>
                                        <p:cTn id="92" dur="500" fill="hold"/>
                                        <p:tgtEl>
                                          <p:spTgt spid="80"/>
                                        </p:tgtEl>
                                      </p:cBhvr>
                                      <p:by x="0" y="0"/>
                                    </p:animScale>
                                  </p:childTnLst>
                                </p:cTn>
                              </p:par>
                              <p:par>
                                <p:cTn id="93" presetID="1" presetClass="entr" presetSubtype="0" fill="hold" grpId="0" nodeType="withEffect">
                                  <p:stCondLst>
                                    <p:cond delay="0"/>
                                  </p:stCondLst>
                                  <p:childTnLst>
                                    <p:set>
                                      <p:cBhvr>
                                        <p:cTn id="94" dur="1" fill="hold">
                                          <p:stCondLst>
                                            <p:cond delay="499"/>
                                          </p:stCondLst>
                                        </p:cTn>
                                        <p:tgtEl>
                                          <p:spTgt spid="71"/>
                                        </p:tgtEl>
                                        <p:attrNameLst>
                                          <p:attrName>style.visibility</p:attrName>
                                        </p:attrNameLst>
                                      </p:cBhvr>
                                      <p:to>
                                        <p:strVal val="visible"/>
                                      </p:to>
                                    </p:set>
                                  </p:childTnLst>
                                </p:cTn>
                              </p:par>
                              <p:par>
                                <p:cTn id="95" presetID="6" presetClass="emph" presetSubtype="0" accel="100000" autoRev="1" fill="hold" grpId="1" nodeType="withEffect">
                                  <p:stCondLst>
                                    <p:cond delay="0"/>
                                  </p:stCondLst>
                                  <p:childTnLst>
                                    <p:animScale>
                                      <p:cBhvr>
                                        <p:cTn id="96" dur="500" fill="hold"/>
                                        <p:tgtEl>
                                          <p:spTgt spid="71"/>
                                        </p:tgtEl>
                                      </p:cBhvr>
                                      <p:by x="0" y="0"/>
                                    </p:animScale>
                                  </p:childTnLst>
                                </p:cTn>
                              </p:par>
                              <p:par>
                                <p:cTn id="97" presetID="1" presetClass="entr" presetSubtype="0" fill="hold" nodeType="withEffect">
                                  <p:stCondLst>
                                    <p:cond delay="0"/>
                                  </p:stCondLst>
                                  <p:childTnLst>
                                    <p:set>
                                      <p:cBhvr>
                                        <p:cTn id="98" dur="1" fill="hold">
                                          <p:stCondLst>
                                            <p:cond delay="499"/>
                                          </p:stCondLst>
                                        </p:cTn>
                                        <p:tgtEl>
                                          <p:spTgt spid="77"/>
                                        </p:tgtEl>
                                        <p:attrNameLst>
                                          <p:attrName>style.visibility</p:attrName>
                                        </p:attrNameLst>
                                      </p:cBhvr>
                                      <p:to>
                                        <p:strVal val="visible"/>
                                      </p:to>
                                    </p:set>
                                  </p:childTnLst>
                                </p:cTn>
                              </p:par>
                              <p:par>
                                <p:cTn id="99" presetID="6" presetClass="emph" presetSubtype="0" accel="100000" autoRev="1" fill="hold" nodeType="withEffect">
                                  <p:stCondLst>
                                    <p:cond delay="0"/>
                                  </p:stCondLst>
                                  <p:childTnLst>
                                    <p:animScale>
                                      <p:cBhvr>
                                        <p:cTn id="100" dur="500" fill="hold"/>
                                        <p:tgtEl>
                                          <p:spTgt spid="77"/>
                                        </p:tgtEl>
                                      </p:cBhvr>
                                      <p:by x="0" y="0"/>
                                    </p:animScale>
                                  </p:childTnLst>
                                </p:cTn>
                              </p:par>
                              <p:par>
                                <p:cTn id="101" presetID="1" presetClass="entr" presetSubtype="0" fill="hold" grpId="0" nodeType="withEffect">
                                  <p:stCondLst>
                                    <p:cond delay="0"/>
                                  </p:stCondLst>
                                  <p:childTnLst>
                                    <p:set>
                                      <p:cBhvr>
                                        <p:cTn id="102" dur="1" fill="hold">
                                          <p:stCondLst>
                                            <p:cond delay="499"/>
                                          </p:stCondLst>
                                        </p:cTn>
                                        <p:tgtEl>
                                          <p:spTgt spid="94"/>
                                        </p:tgtEl>
                                        <p:attrNameLst>
                                          <p:attrName>style.visibility</p:attrName>
                                        </p:attrNameLst>
                                      </p:cBhvr>
                                      <p:to>
                                        <p:strVal val="visible"/>
                                      </p:to>
                                    </p:set>
                                  </p:childTnLst>
                                </p:cTn>
                              </p:par>
                              <p:par>
                                <p:cTn id="103" presetID="6" presetClass="emph" presetSubtype="0" accel="100000" autoRev="1" fill="hold" grpId="1" nodeType="withEffect">
                                  <p:stCondLst>
                                    <p:cond delay="0"/>
                                  </p:stCondLst>
                                  <p:childTnLst>
                                    <p:animScale>
                                      <p:cBhvr>
                                        <p:cTn id="104" dur="500" fill="hold"/>
                                        <p:tgtEl>
                                          <p:spTgt spid="94"/>
                                        </p:tgtEl>
                                      </p:cBhvr>
                                      <p:by x="0" y="0"/>
                                    </p:animScale>
                                  </p:childTnLst>
                                </p:cTn>
                              </p:par>
                              <p:par>
                                <p:cTn id="105" presetID="10" presetClass="entr" presetSubtype="0" fill="hold" grpId="0" nodeType="withEffect">
                                  <p:stCondLst>
                                    <p:cond delay="600"/>
                                  </p:stCondLst>
                                  <p:childTnLst>
                                    <p:set>
                                      <p:cBhvr>
                                        <p:cTn id="106" dur="1" fill="hold">
                                          <p:stCondLst>
                                            <p:cond delay="0"/>
                                          </p:stCondLst>
                                        </p:cTn>
                                        <p:tgtEl>
                                          <p:spTgt spid="53"/>
                                        </p:tgtEl>
                                        <p:attrNameLst>
                                          <p:attrName>style.visibility</p:attrName>
                                        </p:attrNameLst>
                                      </p:cBhvr>
                                      <p:to>
                                        <p:strVal val="visible"/>
                                      </p:to>
                                    </p:set>
                                    <p:animEffect transition="in" filter="fade">
                                      <p:cBhvr>
                                        <p:cTn id="107" dur="400"/>
                                        <p:tgtEl>
                                          <p:spTgt spid="53"/>
                                        </p:tgtEl>
                                      </p:cBhvr>
                                    </p:animEffect>
                                  </p:childTnLst>
                                </p:cTn>
                              </p:par>
                              <p:par>
                                <p:cTn id="108" presetID="42" presetClass="path" presetSubtype="0" decel="100000" fill="hold" grpId="1" nodeType="withEffect">
                                  <p:stCondLst>
                                    <p:cond delay="300"/>
                                  </p:stCondLst>
                                  <p:childTnLst>
                                    <p:animMotion origin="layout" path="M 1.25E-6 3.7037E-7 L 1.25E-6 0.0963 " pathEditMode="relative" rAng="0" ptsTypes="AA">
                                      <p:cBhvr>
                                        <p:cTn id="109" dur="700" spd="-100000" fill="hold"/>
                                        <p:tgtEl>
                                          <p:spTgt spid="53"/>
                                        </p:tgtEl>
                                        <p:attrNameLst>
                                          <p:attrName>ppt_x</p:attrName>
                                          <p:attrName>ppt_y</p:attrName>
                                        </p:attrNameLst>
                                      </p:cBhvr>
                                      <p:rCtr x="0" y="4815"/>
                                    </p:animMotion>
                                  </p:childTnLst>
                                </p:cTn>
                              </p:par>
                              <p:par>
                                <p:cTn id="110" presetID="10" presetClass="entr" presetSubtype="0" fill="hold" grpId="0" nodeType="withEffect">
                                  <p:stCondLst>
                                    <p:cond delay="600"/>
                                  </p:stCondLst>
                                  <p:childTnLst>
                                    <p:set>
                                      <p:cBhvr>
                                        <p:cTn id="111" dur="1" fill="hold">
                                          <p:stCondLst>
                                            <p:cond delay="0"/>
                                          </p:stCondLst>
                                        </p:cTn>
                                        <p:tgtEl>
                                          <p:spTgt spid="59"/>
                                        </p:tgtEl>
                                        <p:attrNameLst>
                                          <p:attrName>style.visibility</p:attrName>
                                        </p:attrNameLst>
                                      </p:cBhvr>
                                      <p:to>
                                        <p:strVal val="visible"/>
                                      </p:to>
                                    </p:set>
                                    <p:animEffect transition="in" filter="fade">
                                      <p:cBhvr>
                                        <p:cTn id="112" dur="400"/>
                                        <p:tgtEl>
                                          <p:spTgt spid="59"/>
                                        </p:tgtEl>
                                      </p:cBhvr>
                                    </p:animEffect>
                                  </p:childTnLst>
                                </p:cTn>
                              </p:par>
                              <p:par>
                                <p:cTn id="113" presetID="42" presetClass="path" presetSubtype="0" decel="100000" fill="hold" grpId="1" nodeType="withEffect">
                                  <p:stCondLst>
                                    <p:cond delay="300"/>
                                  </p:stCondLst>
                                  <p:childTnLst>
                                    <p:animMotion origin="layout" path="M 2.70833E-6 3.7037E-7 L 2.70833E-6 0.0963 " pathEditMode="relative" rAng="0" ptsTypes="AA">
                                      <p:cBhvr>
                                        <p:cTn id="114" dur="700" spd="-100000" fill="hold"/>
                                        <p:tgtEl>
                                          <p:spTgt spid="59"/>
                                        </p:tgtEl>
                                        <p:attrNameLst>
                                          <p:attrName>ppt_x</p:attrName>
                                          <p:attrName>ppt_y</p:attrName>
                                        </p:attrNameLst>
                                      </p:cBhvr>
                                      <p:rCtr x="0" y="4815"/>
                                    </p:animMotion>
                                  </p:childTnLst>
                                </p:cTn>
                              </p:par>
                              <p:par>
                                <p:cTn id="115" presetID="10" presetClass="entr" presetSubtype="0" fill="hold" grpId="0" nodeType="withEffect">
                                  <p:stCondLst>
                                    <p:cond delay="600"/>
                                  </p:stCondLst>
                                  <p:childTnLst>
                                    <p:set>
                                      <p:cBhvr>
                                        <p:cTn id="116" dur="1" fill="hold">
                                          <p:stCondLst>
                                            <p:cond delay="0"/>
                                          </p:stCondLst>
                                        </p:cTn>
                                        <p:tgtEl>
                                          <p:spTgt spid="62"/>
                                        </p:tgtEl>
                                        <p:attrNameLst>
                                          <p:attrName>style.visibility</p:attrName>
                                        </p:attrNameLst>
                                      </p:cBhvr>
                                      <p:to>
                                        <p:strVal val="visible"/>
                                      </p:to>
                                    </p:set>
                                    <p:animEffect transition="in" filter="fade">
                                      <p:cBhvr>
                                        <p:cTn id="117" dur="400"/>
                                        <p:tgtEl>
                                          <p:spTgt spid="62"/>
                                        </p:tgtEl>
                                      </p:cBhvr>
                                    </p:animEffect>
                                  </p:childTnLst>
                                </p:cTn>
                              </p:par>
                              <p:par>
                                <p:cTn id="118" presetID="42" presetClass="path" presetSubtype="0" decel="100000" fill="hold" grpId="1" nodeType="withEffect">
                                  <p:stCondLst>
                                    <p:cond delay="300"/>
                                  </p:stCondLst>
                                  <p:childTnLst>
                                    <p:animMotion origin="layout" path="M 4.375E-6 3.7037E-7 L 4.375E-6 0.0963 " pathEditMode="relative" rAng="0" ptsTypes="AA">
                                      <p:cBhvr>
                                        <p:cTn id="119" dur="700" spd="-100000" fill="hold"/>
                                        <p:tgtEl>
                                          <p:spTgt spid="62"/>
                                        </p:tgtEl>
                                        <p:attrNameLst>
                                          <p:attrName>ppt_x</p:attrName>
                                          <p:attrName>ppt_y</p:attrName>
                                        </p:attrNameLst>
                                      </p:cBhvr>
                                      <p:rCtr x="0" y="4815"/>
                                    </p:animMotion>
                                  </p:childTnLst>
                                </p:cTn>
                              </p:par>
                              <p:par>
                                <p:cTn id="120" presetID="10" presetClass="entr" presetSubtype="0" fill="hold" grpId="0" nodeType="withEffect">
                                  <p:stCondLst>
                                    <p:cond delay="600"/>
                                  </p:stCondLst>
                                  <p:childTnLst>
                                    <p:set>
                                      <p:cBhvr>
                                        <p:cTn id="121" dur="1" fill="hold">
                                          <p:stCondLst>
                                            <p:cond delay="0"/>
                                          </p:stCondLst>
                                        </p:cTn>
                                        <p:tgtEl>
                                          <p:spTgt spid="90"/>
                                        </p:tgtEl>
                                        <p:attrNameLst>
                                          <p:attrName>style.visibility</p:attrName>
                                        </p:attrNameLst>
                                      </p:cBhvr>
                                      <p:to>
                                        <p:strVal val="visible"/>
                                      </p:to>
                                    </p:set>
                                    <p:animEffect transition="in" filter="fade">
                                      <p:cBhvr>
                                        <p:cTn id="122" dur="400"/>
                                        <p:tgtEl>
                                          <p:spTgt spid="90"/>
                                        </p:tgtEl>
                                      </p:cBhvr>
                                    </p:animEffect>
                                  </p:childTnLst>
                                </p:cTn>
                              </p:par>
                              <p:par>
                                <p:cTn id="123" presetID="42" presetClass="path" presetSubtype="0" decel="100000" fill="hold" grpId="1" nodeType="withEffect">
                                  <p:stCondLst>
                                    <p:cond delay="300"/>
                                  </p:stCondLst>
                                  <p:childTnLst>
                                    <p:animMotion origin="layout" path="M -4.16667E-6 3.7037E-7 L -4.16667E-6 0.0963 " pathEditMode="relative" rAng="0" ptsTypes="AA">
                                      <p:cBhvr>
                                        <p:cTn id="124" dur="700" spd="-100000" fill="hold"/>
                                        <p:tgtEl>
                                          <p:spTgt spid="90"/>
                                        </p:tgtEl>
                                        <p:attrNameLst>
                                          <p:attrName>ppt_x</p:attrName>
                                          <p:attrName>ppt_y</p:attrName>
                                        </p:attrNameLst>
                                      </p:cBhvr>
                                      <p:rCtr x="0" y="4815"/>
                                    </p:animMotion>
                                  </p:childTnLst>
                                </p:cTn>
                              </p:par>
                              <p:par>
                                <p:cTn id="125" presetID="10" presetClass="entr" presetSubtype="0" fill="hold" grpId="0" nodeType="withEffect">
                                  <p:stCondLst>
                                    <p:cond delay="600"/>
                                  </p:stCondLst>
                                  <p:childTnLst>
                                    <p:set>
                                      <p:cBhvr>
                                        <p:cTn id="126" dur="1" fill="hold">
                                          <p:stCondLst>
                                            <p:cond delay="0"/>
                                          </p:stCondLst>
                                        </p:cTn>
                                        <p:tgtEl>
                                          <p:spTgt spid="67"/>
                                        </p:tgtEl>
                                        <p:attrNameLst>
                                          <p:attrName>style.visibility</p:attrName>
                                        </p:attrNameLst>
                                      </p:cBhvr>
                                      <p:to>
                                        <p:strVal val="visible"/>
                                      </p:to>
                                    </p:set>
                                    <p:animEffect transition="in" filter="fade">
                                      <p:cBhvr>
                                        <p:cTn id="127" dur="400"/>
                                        <p:tgtEl>
                                          <p:spTgt spid="67"/>
                                        </p:tgtEl>
                                      </p:cBhvr>
                                    </p:animEffect>
                                  </p:childTnLst>
                                </p:cTn>
                              </p:par>
                              <p:par>
                                <p:cTn id="128" presetID="42" presetClass="path" presetSubtype="0" decel="100000" fill="hold" grpId="1" nodeType="withEffect">
                                  <p:stCondLst>
                                    <p:cond delay="300"/>
                                  </p:stCondLst>
                                  <p:childTnLst>
                                    <p:animMotion origin="layout" path="M 1.25E-6 3.33333E-6 L 1.25E-6 -0.09537 " pathEditMode="relative" rAng="0" ptsTypes="AA">
                                      <p:cBhvr>
                                        <p:cTn id="129" dur="700" spd="-100000" fill="hold"/>
                                        <p:tgtEl>
                                          <p:spTgt spid="67"/>
                                        </p:tgtEl>
                                        <p:attrNameLst>
                                          <p:attrName>ppt_x</p:attrName>
                                          <p:attrName>ppt_y</p:attrName>
                                        </p:attrNameLst>
                                      </p:cBhvr>
                                      <p:rCtr x="0" y="-4769"/>
                                    </p:animMotion>
                                  </p:childTnLst>
                                </p:cTn>
                              </p:par>
                              <p:par>
                                <p:cTn id="130" presetID="10" presetClass="entr" presetSubtype="0" fill="hold" grpId="0" nodeType="withEffect">
                                  <p:stCondLst>
                                    <p:cond delay="600"/>
                                  </p:stCondLst>
                                  <p:childTnLst>
                                    <p:set>
                                      <p:cBhvr>
                                        <p:cTn id="131" dur="1" fill="hold">
                                          <p:stCondLst>
                                            <p:cond delay="0"/>
                                          </p:stCondLst>
                                        </p:cTn>
                                        <p:tgtEl>
                                          <p:spTgt spid="70"/>
                                        </p:tgtEl>
                                        <p:attrNameLst>
                                          <p:attrName>style.visibility</p:attrName>
                                        </p:attrNameLst>
                                      </p:cBhvr>
                                      <p:to>
                                        <p:strVal val="visible"/>
                                      </p:to>
                                    </p:set>
                                    <p:animEffect transition="in" filter="fade">
                                      <p:cBhvr>
                                        <p:cTn id="132" dur="400"/>
                                        <p:tgtEl>
                                          <p:spTgt spid="70"/>
                                        </p:tgtEl>
                                      </p:cBhvr>
                                    </p:animEffect>
                                  </p:childTnLst>
                                </p:cTn>
                              </p:par>
                              <p:par>
                                <p:cTn id="133" presetID="42" presetClass="path" presetSubtype="0" decel="100000" fill="hold" grpId="1" nodeType="withEffect">
                                  <p:stCondLst>
                                    <p:cond delay="300"/>
                                  </p:stCondLst>
                                  <p:childTnLst>
                                    <p:animMotion origin="layout" path="M 2.70833E-6 3.33333E-6 L 2.70833E-6 -0.09537 " pathEditMode="relative" rAng="0" ptsTypes="AA">
                                      <p:cBhvr>
                                        <p:cTn id="134" dur="700" spd="-100000" fill="hold"/>
                                        <p:tgtEl>
                                          <p:spTgt spid="70"/>
                                        </p:tgtEl>
                                        <p:attrNameLst>
                                          <p:attrName>ppt_x</p:attrName>
                                          <p:attrName>ppt_y</p:attrName>
                                        </p:attrNameLst>
                                      </p:cBhvr>
                                      <p:rCtr x="0" y="-4769"/>
                                    </p:animMotion>
                                  </p:childTnLst>
                                </p:cTn>
                              </p:par>
                              <p:par>
                                <p:cTn id="135" presetID="10" presetClass="entr" presetSubtype="0" fill="hold" grpId="0" nodeType="withEffect">
                                  <p:stCondLst>
                                    <p:cond delay="600"/>
                                  </p:stCondLst>
                                  <p:childTnLst>
                                    <p:set>
                                      <p:cBhvr>
                                        <p:cTn id="136" dur="1" fill="hold">
                                          <p:stCondLst>
                                            <p:cond delay="0"/>
                                          </p:stCondLst>
                                        </p:cTn>
                                        <p:tgtEl>
                                          <p:spTgt spid="76"/>
                                        </p:tgtEl>
                                        <p:attrNameLst>
                                          <p:attrName>style.visibility</p:attrName>
                                        </p:attrNameLst>
                                      </p:cBhvr>
                                      <p:to>
                                        <p:strVal val="visible"/>
                                      </p:to>
                                    </p:set>
                                    <p:animEffect transition="in" filter="fade">
                                      <p:cBhvr>
                                        <p:cTn id="137" dur="400"/>
                                        <p:tgtEl>
                                          <p:spTgt spid="76"/>
                                        </p:tgtEl>
                                      </p:cBhvr>
                                    </p:animEffect>
                                  </p:childTnLst>
                                </p:cTn>
                              </p:par>
                              <p:par>
                                <p:cTn id="138" presetID="42" presetClass="path" presetSubtype="0" decel="100000" fill="hold" grpId="1" nodeType="withEffect">
                                  <p:stCondLst>
                                    <p:cond delay="300"/>
                                  </p:stCondLst>
                                  <p:childTnLst>
                                    <p:animMotion origin="layout" path="M 4.375E-6 3.33333E-6 L 4.375E-6 -0.09537 " pathEditMode="relative" rAng="0" ptsTypes="AA">
                                      <p:cBhvr>
                                        <p:cTn id="139" dur="700" spd="-100000" fill="hold"/>
                                        <p:tgtEl>
                                          <p:spTgt spid="76"/>
                                        </p:tgtEl>
                                        <p:attrNameLst>
                                          <p:attrName>ppt_x</p:attrName>
                                          <p:attrName>ppt_y</p:attrName>
                                        </p:attrNameLst>
                                      </p:cBhvr>
                                      <p:rCtr x="0" y="-4769"/>
                                    </p:animMotion>
                                  </p:childTnLst>
                                </p:cTn>
                              </p:par>
                              <p:par>
                                <p:cTn id="140" presetID="10" presetClass="entr" presetSubtype="0" fill="hold" grpId="0" nodeType="withEffect">
                                  <p:stCondLst>
                                    <p:cond delay="600"/>
                                  </p:stCondLst>
                                  <p:childTnLst>
                                    <p:set>
                                      <p:cBhvr>
                                        <p:cTn id="141" dur="1" fill="hold">
                                          <p:stCondLst>
                                            <p:cond delay="0"/>
                                          </p:stCondLst>
                                        </p:cTn>
                                        <p:tgtEl>
                                          <p:spTgt spid="92"/>
                                        </p:tgtEl>
                                        <p:attrNameLst>
                                          <p:attrName>style.visibility</p:attrName>
                                        </p:attrNameLst>
                                      </p:cBhvr>
                                      <p:to>
                                        <p:strVal val="visible"/>
                                      </p:to>
                                    </p:set>
                                    <p:animEffect transition="in" filter="fade">
                                      <p:cBhvr>
                                        <p:cTn id="142" dur="400"/>
                                        <p:tgtEl>
                                          <p:spTgt spid="92"/>
                                        </p:tgtEl>
                                      </p:cBhvr>
                                    </p:animEffect>
                                  </p:childTnLst>
                                </p:cTn>
                              </p:par>
                              <p:par>
                                <p:cTn id="143" presetID="42" presetClass="path" presetSubtype="0" decel="100000" fill="hold" grpId="1" nodeType="withEffect">
                                  <p:stCondLst>
                                    <p:cond delay="300"/>
                                  </p:stCondLst>
                                  <p:childTnLst>
                                    <p:animMotion origin="layout" path="M -4.16667E-6 3.33333E-6 L -4.16667E-6 -0.09537 " pathEditMode="relative" rAng="0" ptsTypes="AA">
                                      <p:cBhvr>
                                        <p:cTn id="144" dur="700" spd="-100000" fill="hold"/>
                                        <p:tgtEl>
                                          <p:spTgt spid="92"/>
                                        </p:tgtEl>
                                        <p:attrNameLst>
                                          <p:attrName>ppt_x</p:attrName>
                                          <p:attrName>ppt_y</p:attrName>
                                        </p:attrNameLst>
                                      </p:cBhvr>
                                      <p:rCtr x="0" y="-4769"/>
                                    </p:animMotion>
                                  </p:childTnLst>
                                </p:cTn>
                              </p:par>
                              <p:par>
                                <p:cTn id="145" presetID="10" presetClass="entr" presetSubtype="0" fill="hold" grpId="0" nodeType="withEffect">
                                  <p:stCondLst>
                                    <p:cond delay="0"/>
                                  </p:stCondLst>
                                  <p:childTnLst>
                                    <p:set>
                                      <p:cBhvr>
                                        <p:cTn id="146" dur="1" fill="hold">
                                          <p:stCondLst>
                                            <p:cond delay="0"/>
                                          </p:stCondLst>
                                        </p:cTn>
                                        <p:tgtEl>
                                          <p:spTgt spid="49"/>
                                        </p:tgtEl>
                                        <p:attrNameLst>
                                          <p:attrName>style.visibility</p:attrName>
                                        </p:attrNameLst>
                                      </p:cBhvr>
                                      <p:to>
                                        <p:strVal val="visible"/>
                                      </p:to>
                                    </p:set>
                                    <p:animEffect transition="in" filter="fade">
                                      <p:cBhvr>
                                        <p:cTn id="147" dur="500"/>
                                        <p:tgtEl>
                                          <p:spTgt spid="49"/>
                                        </p:tgtEl>
                                      </p:cBhvr>
                                    </p:animEffect>
                                  </p:childTnLst>
                                </p:cTn>
                              </p:par>
                              <p:par>
                                <p:cTn id="148" presetID="42" presetClass="path" presetSubtype="0" decel="100000" fill="hold" grpId="1" nodeType="withEffect">
                                  <p:stCondLst>
                                    <p:cond delay="0"/>
                                  </p:stCondLst>
                                  <p:childTnLst>
                                    <p:animMotion origin="layout" path="M 3.75E-6 4.81481E-6 L 3.75E-6 0.04583 " pathEditMode="relative" rAng="0" ptsTypes="AA">
                                      <p:cBhvr>
                                        <p:cTn id="149"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63" grpId="0" animBg="1"/>
      <p:bldP spid="63" grpId="1" animBg="1"/>
      <p:bldP spid="76" grpId="0"/>
      <p:bldP spid="76" grpId="1"/>
      <p:bldP spid="88" grpId="0" animBg="1"/>
      <p:bldP spid="88" grpId="1" animBg="1"/>
      <p:bldP spid="88" grpId="2" animBg="1"/>
      <p:bldP spid="89" grpId="0" animBg="1"/>
      <p:bldP spid="89" grpId="1" animBg="1"/>
      <p:bldP spid="89" grpId="2" animBg="1"/>
      <p:bldP spid="90" grpId="0"/>
      <p:bldP spid="90" grpId="1"/>
      <p:bldP spid="91" grpId="0" animBg="1"/>
      <p:bldP spid="91" grpId="1" animBg="1"/>
      <p:bldP spid="92" grpId="0"/>
      <p:bldP spid="92" grpId="1"/>
      <p:bldP spid="94" grpId="0" animBg="1"/>
      <p:bldP spid="94" grpId="1" animBg="1"/>
      <p:bldP spid="50" grpId="0" animBg="1"/>
      <p:bldP spid="50" grpId="1" animBg="1"/>
      <p:bldP spid="50" grpId="2" animBg="1"/>
      <p:bldP spid="46" grpId="0" animBg="1"/>
      <p:bldP spid="46" grpId="1" animBg="1"/>
      <p:bldP spid="46" grpId="2" animBg="1"/>
      <p:bldP spid="59" grpId="0"/>
      <p:bldP spid="59" grpId="1"/>
      <p:bldP spid="65" grpId="0" animBg="1"/>
      <p:bldP spid="65" grpId="1" animBg="1"/>
      <p:bldP spid="70" grpId="0"/>
      <p:bldP spid="70" grpId="1"/>
      <p:bldP spid="71" grpId="0" animBg="1"/>
      <p:bldP spid="71" grpId="1" animBg="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4" grpId="0" animBg="1"/>
      <p:bldP spid="64" grpId="1" animBg="1"/>
      <p:bldP spid="67" grpId="0"/>
      <p:bldP spid="67" grpId="1"/>
      <p:bldP spid="80" grpId="0" animBg="1"/>
      <p:bldP spid="80" grpId="1" animBg="1"/>
      <p:bldP spid="49" grpId="0"/>
      <p:bldP spid="49" grpId="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D849E95-5208-46C9-B0A5-755E846D0D34}"/>
              </a:ext>
            </a:extLst>
          </p:cNvPr>
          <p:cNvSpPr txBox="1"/>
          <p:nvPr/>
        </p:nvSpPr>
        <p:spPr>
          <a:xfrm>
            <a:off x="3673820" y="1614115"/>
            <a:ext cx="5257909" cy="683264"/>
          </a:xfrm>
          <a:prstGeom prst="rect">
            <a:avLst/>
          </a:prstGeom>
          <a:noFill/>
        </p:spPr>
        <p:txBody>
          <a:bodyPr wrap="square" lIns="182880" tIns="146304" rIns="182880" bIns="146304" rtlCol="0">
            <a:spAutoFit/>
          </a:bodyPr>
          <a:lstStyle/>
          <a:p>
            <a:pPr algn="ctr">
              <a:lnSpc>
                <a:spcPct val="90000"/>
              </a:lnSpc>
              <a:spcAft>
                <a:spcPts val="600"/>
              </a:spcAft>
            </a:pPr>
            <a:r>
              <a:rPr lang="en-GB" sz="2800" dirty="0">
                <a:gradFill>
                  <a:gsLst>
                    <a:gs pos="2917">
                      <a:schemeClr val="tx1"/>
                    </a:gs>
                    <a:gs pos="30000">
                      <a:schemeClr val="tx1"/>
                    </a:gs>
                  </a:gsLst>
                  <a:lin ang="5400000" scaled="0"/>
                </a:gradFill>
              </a:rPr>
              <a:t>http://aka.ms/citadel/feedback</a:t>
            </a:r>
          </a:p>
        </p:txBody>
      </p:sp>
    </p:spTree>
    <p:extLst>
      <p:ext uri="{BB962C8B-B14F-4D97-AF65-F5344CB8AC3E}">
        <p14:creationId xmlns:p14="http://schemas.microsoft.com/office/powerpoint/2010/main" val="15228403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1"/>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867908" y="148139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598592"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dirty="0">
                <a:solidFill>
                  <a:srgbClr val="0078D7"/>
                </a:solidFill>
                <a:latin typeface="Segoe UI Light" charset="0"/>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824089"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a:solidFill>
                  <a:srgbClr val="0078D7"/>
                </a:solidFill>
                <a:latin typeface="Segoe UI Light" charset="0"/>
                <a:ea typeface="Segoe UI Light" charset="0"/>
                <a:cs typeface="Segoe UI Light" charset="0"/>
              </a:rPr>
              <a:t>Cloud application </a:t>
            </a:r>
            <a:br>
              <a:rPr lang="en-US" sz="2200">
                <a:solidFill>
                  <a:srgbClr val="0078D7"/>
                </a:solidFill>
                <a:latin typeface="Segoe UI Light" charset="0"/>
                <a:ea typeface="Segoe UI Light" charset="0"/>
                <a:cs typeface="Segoe UI Light" charset="0"/>
              </a:rPr>
            </a:br>
            <a:r>
              <a:rPr lang="en-US" sz="2200">
                <a:solidFill>
                  <a:srgbClr val="0078D7"/>
                </a:solidFill>
                <a:latin typeface="Segoe UI Light" charset="0"/>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635635"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dirty="0">
                <a:solidFill>
                  <a:srgbClr val="0078D7"/>
                </a:solidFill>
                <a:latin typeface="Segoe UI Light" charset="0"/>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813742" y="3032311"/>
            <a:ext cx="587671" cy="574474"/>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10050293" y="3032311"/>
            <a:ext cx="565566" cy="57447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862873" y="3032311"/>
            <a:ext cx="563498" cy="574474"/>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2" name="Rectangle 41">
            <a:extLst>
              <a:ext uri="{FF2B5EF4-FFF2-40B4-BE49-F238E27FC236}">
                <a16:creationId xmlns:a16="http://schemas.microsoft.com/office/drawing/2014/main" id="{53D5078F-04A9-4300-AAC9-F4D675B02351}"/>
              </a:ext>
            </a:extLst>
          </p:cNvPr>
          <p:cNvSpPr/>
          <p:nvPr/>
        </p:nvSpPr>
        <p:spPr>
          <a:xfrm>
            <a:off x="444056" y="3070216"/>
            <a:ext cx="1157847"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Hybrid</a:t>
            </a:r>
          </a:p>
        </p:txBody>
      </p:sp>
      <p:grpSp>
        <p:nvGrpSpPr>
          <p:cNvPr id="43" name="Group 42">
            <a:extLst>
              <a:ext uri="{FF2B5EF4-FFF2-40B4-BE49-F238E27FC236}">
                <a16:creationId xmlns:a16="http://schemas.microsoft.com/office/drawing/2014/main" id="{AEABBB56-931E-4B9F-8F1C-A3DD1F0DAFDA}"/>
              </a:ext>
            </a:extLst>
          </p:cNvPr>
          <p:cNvGrpSpPr/>
          <p:nvPr/>
        </p:nvGrpSpPr>
        <p:grpSpPr>
          <a:xfrm>
            <a:off x="734446" y="2270870"/>
            <a:ext cx="591068" cy="577315"/>
            <a:chOff x="2088630" y="3287843"/>
            <a:chExt cx="429718" cy="419725"/>
          </a:xfrm>
          <a:noFill/>
        </p:grpSpPr>
        <p:sp>
          <p:nvSpPr>
            <p:cNvPr id="44" name="Rectangle 43">
              <a:extLst>
                <a:ext uri="{FF2B5EF4-FFF2-40B4-BE49-F238E27FC236}">
                  <a16:creationId xmlns:a16="http://schemas.microsoft.com/office/drawing/2014/main" id="{B95117F4-0C4E-4868-B5FE-E52EF9281BA4}"/>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45" name="Rectangle 44">
              <a:extLst>
                <a:ext uri="{FF2B5EF4-FFF2-40B4-BE49-F238E27FC236}">
                  <a16:creationId xmlns:a16="http://schemas.microsoft.com/office/drawing/2014/main" id="{ED345FAB-084E-4D01-A1FC-AD782AC0408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50" name="Rectangle 49">
            <a:extLst>
              <a:ext uri="{FF2B5EF4-FFF2-40B4-BE49-F238E27FC236}">
                <a16:creationId xmlns:a16="http://schemas.microsoft.com/office/drawing/2014/main" id="{25F9362C-C874-48F5-A516-AC0A4CD0733D}"/>
              </a:ext>
            </a:extLst>
          </p:cNvPr>
          <p:cNvSpPr/>
          <p:nvPr/>
        </p:nvSpPr>
        <p:spPr>
          <a:xfrm>
            <a:off x="381455" y="1647831"/>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51" name="speedometer_2">
            <a:extLst>
              <a:ext uri="{FF2B5EF4-FFF2-40B4-BE49-F238E27FC236}">
                <a16:creationId xmlns:a16="http://schemas.microsoft.com/office/drawing/2014/main" id="{240E56DA-98EA-4296-AEFD-5AE34243F125}"/>
              </a:ext>
            </a:extLst>
          </p:cNvPr>
          <p:cNvSpPr>
            <a:spLocks noChangeAspect="1" noEditPoints="1"/>
          </p:cNvSpPr>
          <p:nvPr/>
        </p:nvSpPr>
        <p:spPr bwMode="auto">
          <a:xfrm>
            <a:off x="778141" y="1015641"/>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18428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7.45468E-7 -8.85157E-7 L 7.45468E-7 0.04585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75798E-6 2.22424E-7 L -3.75798E-6 0.13391 " pathEditMode="relative" rAng="0" ptsTypes="AA">
                                      <p:cBhvr>
                                        <p:cTn id="18" dur="700" spd="-100000" fill="hold"/>
                                        <p:tgtEl>
                                          <p:spTgt spid="3"/>
                                        </p:tgtEl>
                                        <p:attrNameLst>
                                          <p:attrName>ppt_x</p:attrName>
                                          <p:attrName>ppt_y</p:attrName>
                                        </p:attrNameLst>
                                      </p:cBhvr>
                                      <p:rCtr x="0" y="6695"/>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9035E-6 2.22424E-7 L -3.39035E-6 0.13391 " pathEditMode="relative" rAng="0" ptsTypes="AA">
                                      <p:cBhvr>
                                        <p:cTn id="26" dur="700" spd="-100000" fill="hold"/>
                                        <p:tgtEl>
                                          <p:spTgt spid="4"/>
                                        </p:tgtEl>
                                        <p:attrNameLst>
                                          <p:attrName>ppt_x</p:attrName>
                                          <p:attrName>ppt_y</p:attrName>
                                        </p:attrNameLst>
                                      </p:cBhvr>
                                      <p:rCtr x="0" y="6695"/>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2.00153E-6 2.22424E-7 L -2.00153E-6 0.13391 " pathEditMode="relative" rAng="0" ptsTypes="AA">
                                      <p:cBhvr>
                                        <p:cTn id="34" dur="700" spd="-100000" fill="hold"/>
                                        <p:tgtEl>
                                          <p:spTgt spid="5"/>
                                        </p:tgtEl>
                                        <p:attrNameLst>
                                          <p:attrName>ppt_x</p:attrName>
                                          <p:attrName>ppt_y</p:attrName>
                                        </p:attrNameLst>
                                      </p:cBhvr>
                                      <p:rCtr x="0" y="66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pSp>
        <p:nvGrpSpPr>
          <p:cNvPr id="96" name="Group 95"/>
          <p:cNvGrpSpPr/>
          <p:nvPr/>
        </p:nvGrpSpPr>
        <p:grpSpPr>
          <a:xfrm>
            <a:off x="3841633" y="3876446"/>
            <a:ext cx="411966" cy="424259"/>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05" name="Group 104"/>
          <p:cNvGrpSpPr/>
          <p:nvPr/>
        </p:nvGrpSpPr>
        <p:grpSpPr>
          <a:xfrm>
            <a:off x="2689208" y="4293664"/>
            <a:ext cx="415632" cy="400344"/>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13" name="Group 112"/>
          <p:cNvGrpSpPr/>
          <p:nvPr/>
        </p:nvGrpSpPr>
        <p:grpSpPr>
          <a:xfrm>
            <a:off x="4788146" y="5647068"/>
            <a:ext cx="609028" cy="394145"/>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248" name="Group 247"/>
          <p:cNvGrpSpPr/>
          <p:nvPr/>
        </p:nvGrpSpPr>
        <p:grpSpPr>
          <a:xfrm>
            <a:off x="3056226" y="5763129"/>
            <a:ext cx="441799" cy="333993"/>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76" name="Rectangle 175">
            <a:extLst>
              <a:ext uri="{FF2B5EF4-FFF2-40B4-BE49-F238E27FC236}">
                <a16:creationId xmlns:a16="http://schemas.microsoft.com/office/drawing/2014/main" id="{3096C259-C620-4D7B-A502-3C867B5885A8}"/>
              </a:ext>
            </a:extLst>
          </p:cNvPr>
          <p:cNvSpPr/>
          <p:nvPr/>
        </p:nvSpPr>
        <p:spPr bwMode="auto">
          <a:xfrm>
            <a:off x="4320246" y="5044563"/>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Machine Learning</a:t>
            </a:r>
          </a:p>
        </p:txBody>
      </p:sp>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1994007" y="5652505"/>
            <a:ext cx="1287465" cy="2604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2953032" y="4103092"/>
            <a:ext cx="1121290" cy="4470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4029620" y="4080741"/>
            <a:ext cx="48426" cy="107286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284576" y="5258997"/>
            <a:ext cx="656389" cy="65082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4029619" y="5175954"/>
            <a:ext cx="961106" cy="73759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p:cNvCxnSpPr>
          <p:nvPr/>
        </p:nvCxnSpPr>
        <p:spPr>
          <a:xfrm flipH="1">
            <a:off x="4968373" y="5172229"/>
            <a:ext cx="983458" cy="7413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1994007" y="3797982"/>
            <a:ext cx="950647" cy="75214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47" name="Group 246">
            <a:extLst>
              <a:ext uri="{FF2B5EF4-FFF2-40B4-BE49-F238E27FC236}">
                <a16:creationId xmlns:a16="http://schemas.microsoft.com/office/drawing/2014/main" id="{1AC62FCE-A32D-4CBE-A525-9557D7D8CDDA}"/>
              </a:ext>
            </a:extLst>
          </p:cNvPr>
          <p:cNvGrpSpPr/>
          <p:nvPr/>
        </p:nvGrpSpPr>
        <p:grpSpPr>
          <a:xfrm>
            <a:off x="3755882" y="4884161"/>
            <a:ext cx="556547" cy="556548"/>
            <a:chOff x="2724596" y="4691998"/>
            <a:chExt cx="593351" cy="593351"/>
          </a:xfrm>
        </p:grpSpPr>
        <p:sp>
          <p:nvSpPr>
            <p:cNvPr id="251" name="Oval 250">
              <a:extLst>
                <a:ext uri="{FF2B5EF4-FFF2-40B4-BE49-F238E27FC236}">
                  <a16:creationId xmlns:a16="http://schemas.microsoft.com/office/drawing/2014/main" id="{5A32FFBD-B132-426A-9535-BCDE9A880763}"/>
                </a:ext>
              </a:extLst>
            </p:cNvPr>
            <p:cNvSpPr/>
            <p:nvPr/>
          </p:nvSpPr>
          <p:spPr bwMode="auto">
            <a:xfrm>
              <a:off x="2724596" y="4691998"/>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2" name="Graphic 6">
              <a:extLst>
                <a:ext uri="{FF2B5EF4-FFF2-40B4-BE49-F238E27FC236}">
                  <a16:creationId xmlns:a16="http://schemas.microsoft.com/office/drawing/2014/main" id="{8CF6053D-BF33-42B9-BBE4-E9318ABE31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60794" y="4825878"/>
              <a:ext cx="300587" cy="300587"/>
            </a:xfrm>
            <a:prstGeom prst="rect">
              <a:avLst/>
            </a:prstGeom>
          </p:spPr>
        </p:pic>
      </p:gr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1" name="Straight Connector 210">
            <a:extLst>
              <a:ext uri="{FF2B5EF4-FFF2-40B4-BE49-F238E27FC236}">
                <a16:creationId xmlns:a16="http://schemas.microsoft.com/office/drawing/2014/main" id="{2BE9F79E-A741-4C16-A7DE-01DB5115E965}"/>
              </a:ext>
            </a:extLst>
          </p:cNvPr>
          <p:cNvCxnSpPr>
            <a:cxnSpLocks/>
          </p:cNvCxnSpPr>
          <p:nvPr/>
        </p:nvCxnSpPr>
        <p:spPr>
          <a:xfrm>
            <a:off x="5959281" y="5179681"/>
            <a:ext cx="874641" cy="80739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555496" y="-19197"/>
            <a:ext cx="267625" cy="174723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9161465" y="2749640"/>
            <a:ext cx="1701751" cy="111635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791600" y="2545785"/>
            <a:ext cx="518427" cy="62707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948079" y="2264182"/>
            <a:ext cx="1487514" cy="55834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644570" y="1371032"/>
            <a:ext cx="304226" cy="88163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565382" y="2362627"/>
            <a:ext cx="1257261" cy="21109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565382" y="1515142"/>
            <a:ext cx="1291408" cy="84438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848416" y="1515141"/>
            <a:ext cx="1406882" cy="609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245986" y="-59649"/>
            <a:ext cx="756773" cy="157479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685326" y="1375377"/>
            <a:ext cx="957380" cy="39114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851065" y="1506681"/>
            <a:ext cx="819362" cy="27102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646433" y="-4662"/>
            <a:ext cx="485997" cy="1394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325635" y="5070436"/>
            <a:ext cx="389594" cy="107410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716783" y="5690268"/>
            <a:ext cx="1241732" cy="45892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8134342" y="5056825"/>
            <a:ext cx="1211391" cy="921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987444" y="5690268"/>
            <a:ext cx="1448148" cy="19819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9168270" y="1777700"/>
            <a:ext cx="520161" cy="93620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317111" y="1520972"/>
            <a:ext cx="2533449" cy="1104215"/>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253408" y="647636"/>
            <a:ext cx="604140" cy="871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887280" y="2018132"/>
            <a:ext cx="1598961" cy="182126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515000" y="3852374"/>
            <a:ext cx="1361831" cy="5584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456716" y="623531"/>
            <a:ext cx="389987" cy="9009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14" name="Rectangle 213">
            <a:extLst>
              <a:ext uri="{FF2B5EF4-FFF2-40B4-BE49-F238E27FC236}">
                <a16:creationId xmlns:a16="http://schemas.microsoft.com/office/drawing/2014/main" id="{6BBCB851-E6EE-4C48-9545-DDAB86416409}"/>
              </a:ext>
            </a:extLst>
          </p:cNvPr>
          <p:cNvSpPr/>
          <p:nvPr/>
        </p:nvSpPr>
        <p:spPr bwMode="auto">
          <a:xfrm>
            <a:off x="4162179" y="3475393"/>
            <a:ext cx="5562881" cy="596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563" fontAlgn="base">
              <a:lnSpc>
                <a:spcPct val="90000"/>
              </a:lnSpc>
              <a:spcBef>
                <a:spcPct val="0"/>
              </a:spcBef>
              <a:spcAft>
                <a:spcPct val="0"/>
              </a:spcAft>
              <a:defRPr/>
            </a:pPr>
            <a:r>
              <a:rPr lang="en-US" sz="4080" kern="0" spc="50" dirty="0">
                <a:ln w="3175">
                  <a:noFill/>
                </a:ln>
                <a:solidFill>
                  <a:srgbClr val="0089CF"/>
                </a:solidFill>
                <a:latin typeface="Segoe UI Light" panose="020B0502040204020203" pitchFamily="34" charset="0"/>
                <a:cs typeface="Segoe UI Light" panose="020B0502040204020203" pitchFamily="34" charset="0"/>
              </a:rPr>
              <a:t>Azure: the cloud for intelligent solutions</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85874" y="2509701"/>
            <a:ext cx="1827888" cy="1876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Cosmos DB</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7131517" y="1621986"/>
            <a:ext cx="1671732"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SQL Data Warehouse</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7104611" y="5783528"/>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Bot </a:t>
            </a:r>
            <a:br>
              <a:rPr lang="en-US" sz="1599" kern="0" dirty="0">
                <a:gradFill>
                  <a:gsLst>
                    <a:gs pos="0">
                      <a:srgbClr val="353535"/>
                    </a:gs>
                    <a:gs pos="100000">
                      <a:srgbClr val="353535"/>
                    </a:gs>
                  </a:gsLst>
                  <a:lin ang="5400000" scaled="0"/>
                </a:gradFill>
                <a:latin typeface="Segoe UI" charset="0"/>
                <a:ea typeface="Segoe UI" charset="0"/>
                <a:cs typeface="Segoe UI" charset="0"/>
              </a:rPr>
            </a:br>
            <a:r>
              <a:rPr lang="en-US" sz="1599" kern="0" dirty="0">
                <a:gradFill>
                  <a:gsLst>
                    <a:gs pos="0">
                      <a:srgbClr val="353535"/>
                    </a:gs>
                    <a:gs pos="100000">
                      <a:srgbClr val="353535"/>
                    </a:gs>
                  </a:gsLst>
                  <a:lin ang="5400000" scaled="0"/>
                </a:gradFill>
                <a:latin typeface="Segoe UI" charset="0"/>
                <a:ea typeface="Segoe UI" charset="0"/>
                <a:cs typeface="Segoe UI"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442663" y="2624142"/>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604605" y="4973582"/>
            <a:ext cx="1675291" cy="2068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Cognitive Services</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160775" y="143202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763643" y="144348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75642" y="227080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632544" y="605471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890818" y="5612332"/>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440687" y="432381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784490" y="377544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578254" y="169039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539351" y="1299053"/>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768319" y="142974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8168486" y="243213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221229" y="254407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8058136" y="497665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863309" y="217940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257603" y="313210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87108" y="53495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8181656" y="595891"/>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869721" y="255018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grpSp>
        <p:nvGrpSpPr>
          <p:cNvPr id="244" name="Group 243">
            <a:extLst>
              <a:ext uri="{FF2B5EF4-FFF2-40B4-BE49-F238E27FC236}">
                <a16:creationId xmlns:a16="http://schemas.microsoft.com/office/drawing/2014/main" id="{234A81AF-D397-4C13-ACF6-68C5A1880C21}"/>
              </a:ext>
            </a:extLst>
          </p:cNvPr>
          <p:cNvGrpSpPr/>
          <p:nvPr/>
        </p:nvGrpSpPr>
        <p:grpSpPr>
          <a:xfrm>
            <a:off x="3527120" y="2349300"/>
            <a:ext cx="556547" cy="556548"/>
            <a:chOff x="2480707" y="1989511"/>
            <a:chExt cx="593351" cy="593351"/>
          </a:xfrm>
        </p:grpSpPr>
        <p:sp>
          <p:nvSpPr>
            <p:cNvPr id="245" name="Oval 244">
              <a:extLst>
                <a:ext uri="{FF2B5EF4-FFF2-40B4-BE49-F238E27FC236}">
                  <a16:creationId xmlns:a16="http://schemas.microsoft.com/office/drawing/2014/main" id="{320BEBA8-B3B6-4832-884A-CDE003AD799B}"/>
                </a:ext>
              </a:extLst>
            </p:cNvPr>
            <p:cNvSpPr/>
            <p:nvPr/>
          </p:nvSpPr>
          <p:spPr bwMode="auto">
            <a:xfrm>
              <a:off x="2480707" y="1989511"/>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46" name="Graphic 4">
              <a:extLst>
                <a:ext uri="{FF2B5EF4-FFF2-40B4-BE49-F238E27FC236}">
                  <a16:creationId xmlns:a16="http://schemas.microsoft.com/office/drawing/2014/main" id="{D3AA7929-423F-428A-A77D-C2C7D6C906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21112" y="2141503"/>
              <a:ext cx="282052" cy="282052"/>
            </a:xfrm>
            <a:prstGeom prst="rect">
              <a:avLst/>
            </a:prstGeom>
          </p:spPr>
        </p:pic>
      </p:grpSp>
      <p:grpSp>
        <p:nvGrpSpPr>
          <p:cNvPr id="254" name="Group 253">
            <a:extLst>
              <a:ext uri="{FF2B5EF4-FFF2-40B4-BE49-F238E27FC236}">
                <a16:creationId xmlns:a16="http://schemas.microsoft.com/office/drawing/2014/main" id="{A12305F9-6ACD-47DB-924E-0B0A5B7B5FEC}"/>
              </a:ext>
            </a:extLst>
          </p:cNvPr>
          <p:cNvGrpSpPr/>
          <p:nvPr/>
        </p:nvGrpSpPr>
        <p:grpSpPr>
          <a:xfrm>
            <a:off x="6573500" y="1461585"/>
            <a:ext cx="556547" cy="556548"/>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52724" y="1170780"/>
              <a:ext cx="346922" cy="346922"/>
            </a:xfrm>
            <a:prstGeom prst="rect">
              <a:avLst/>
            </a:prstGeom>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883097" y="2463740"/>
            <a:ext cx="556547" cy="556548"/>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13032" y="2215551"/>
              <a:ext cx="363727" cy="363727"/>
            </a:xfrm>
            <a:prstGeom prst="rect">
              <a:avLst/>
            </a:prstGeom>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9043042" y="4782056"/>
            <a:ext cx="556547" cy="556548"/>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47642" y="4662266"/>
              <a:ext cx="420836" cy="420836"/>
            </a:xfrm>
            <a:prstGeom prst="rect">
              <a:avLst/>
            </a:prstGeom>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92634" y="400652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66732" y="446541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201529"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883636"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854342" y="509394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540661" y="5623126"/>
            <a:ext cx="556547" cy="55654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43090" y="5729794"/>
            <a:ext cx="360059" cy="360059"/>
          </a:xfrm>
          <a:prstGeom prst="rect">
            <a:avLst/>
          </a:prstGeom>
        </p:spPr>
      </p:pic>
      <p:grpSp>
        <p:nvGrpSpPr>
          <p:cNvPr id="265" name="Group 264"/>
          <p:cNvGrpSpPr/>
          <p:nvPr/>
        </p:nvGrpSpPr>
        <p:grpSpPr>
          <a:xfrm>
            <a:off x="5741316" y="3033539"/>
            <a:ext cx="1450327" cy="1450327"/>
            <a:chOff x="6281109" y="2959784"/>
            <a:chExt cx="1422018" cy="1422018"/>
          </a:xfrm>
          <a:noFill/>
        </p:grpSpPr>
        <p:sp>
          <p:nvSpPr>
            <p:cNvPr id="266" name="Oval 26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7" name="Rectangle 266"/>
            <p:cNvSpPr/>
            <p:nvPr/>
          </p:nvSpPr>
          <p:spPr>
            <a:xfrm>
              <a:off x="6343392" y="3326364"/>
              <a:ext cx="1311578" cy="626005"/>
            </a:xfrm>
            <a:prstGeom prst="rect">
              <a:avLst/>
            </a:prstGeom>
            <a:grpFill/>
          </p:spPr>
          <p:txBody>
            <a:bodyPr wrap="none">
              <a:spAutoFit/>
            </a:bodyPr>
            <a:lstStyle/>
            <a:p>
              <a:pPr algn="ctr" defTabSz="932597"/>
              <a:r>
                <a:rPr lang="en-US" sz="3468" kern="0" spc="50" dirty="0">
                  <a:ln w="3175">
                    <a:noFill/>
                  </a:ln>
                  <a:solidFill>
                    <a:srgbClr val="FFFFFF">
                      <a:alpha val="0"/>
                    </a:srgbClr>
                  </a:solidFill>
                  <a:latin typeface="Segoe UI Light" panose="020B0502040204020203" pitchFamily="34" charset="0"/>
                  <a:cs typeface="Segoe UI Light" panose="020B0502040204020203" pitchFamily="34" charset="0"/>
                </a:rPr>
                <a:t>Azure</a:t>
              </a:r>
              <a:endParaRPr lang="en-US" sz="3468" dirty="0">
                <a:solidFill>
                  <a:srgbClr val="FFFFFF">
                    <a:alpha val="0"/>
                  </a:srgbClr>
                </a:solidFill>
                <a:latin typeface="Segoe UI"/>
              </a:endParaRPr>
            </a:p>
          </p:txBody>
        </p:sp>
      </p:grpSp>
    </p:spTree>
    <p:extLst>
      <p:ext uri="{BB962C8B-B14F-4D97-AF65-F5344CB8AC3E}">
        <p14:creationId xmlns:p14="http://schemas.microsoft.com/office/powerpoint/2010/main" val="208108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318623" y="3669486"/>
            <a:ext cx="3291373" cy="938926"/>
          </a:xfrm>
          <a:prstGeom prst="rect">
            <a:avLst/>
          </a:prstGeom>
          <a:noFill/>
        </p:spPr>
        <p:txBody>
          <a:bodyPr wrap="square" lIns="182854" tIns="146283" rIns="182854" bIns="146283" rtlCol="0">
            <a:spAutoFit/>
          </a:bodyPr>
          <a:lstStyle/>
          <a:p>
            <a:pPr algn="ctr" defTabSz="914224">
              <a:spcAft>
                <a:spcPts val="600"/>
              </a:spcAft>
              <a:defRPr/>
            </a:pPr>
            <a:r>
              <a:rPr lang="en-US">
                <a:gradFill>
                  <a:gsLst>
                    <a:gs pos="47287">
                      <a:srgbClr val="0078D7"/>
                    </a:gs>
                    <a:gs pos="31000">
                      <a:srgbClr val="0078D7"/>
                    </a:gs>
                  </a:gsLst>
                  <a:lin ang="5400000" scaled="0"/>
                </a:gradFill>
                <a:latin typeface="Segoe UI Semibold" panose="020B0702040204020203" pitchFamily="34" charset="0"/>
                <a:ea typeface="Segoe UI Light" charset="0"/>
                <a:cs typeface="Segoe UI Semibold" panose="020B0702040204020203" pitchFamily="34" charset="0"/>
              </a:rPr>
              <a:t>Customizable services</a:t>
            </a:r>
          </a:p>
          <a:p>
            <a:pPr algn="ctr" defTabSz="914224">
              <a:spcAft>
                <a:spcPts val="600"/>
              </a:spcAft>
              <a:defRPr/>
            </a:pPr>
            <a:r>
              <a:rPr lang="en-US">
                <a:gradFill>
                  <a:gsLst>
                    <a:gs pos="78295">
                      <a:srgbClr val="353535"/>
                    </a:gs>
                    <a:gs pos="47287">
                      <a:srgbClr val="353535"/>
                    </a:gs>
                  </a:gsLst>
                  <a:lin ang="5400000" scaled="0"/>
                </a:gradFill>
                <a:latin typeface="Segoe UI"/>
                <a:ea typeface="Segoe UI Light" charset="0"/>
                <a:cs typeface="Segoe UI Light" charset="0"/>
              </a:rPr>
              <a:t>VS, ML STUB, Tensor, Caffe</a:t>
            </a:r>
          </a:p>
        </p:txBody>
      </p:sp>
      <p:sp>
        <p:nvSpPr>
          <p:cNvPr id="109" name="TextBox 108"/>
          <p:cNvSpPr txBox="1"/>
          <p:nvPr/>
        </p:nvSpPr>
        <p:spPr>
          <a:xfrm>
            <a:off x="8687085" y="3658458"/>
            <a:ext cx="3291373" cy="937303"/>
          </a:xfrm>
          <a:prstGeom prst="rect">
            <a:avLst/>
          </a:prstGeom>
          <a:noFill/>
        </p:spPr>
        <p:txBody>
          <a:bodyPr wrap="square" lIns="182854" tIns="146283" rIns="182854" bIns="146283" rtlCol="0">
            <a:spAutoFit/>
          </a:bodyPr>
          <a:lstStyle/>
          <a:p>
            <a:pPr algn="ctr" defTabSz="932563">
              <a:spcAft>
                <a:spcPts val="600"/>
              </a:spcAft>
              <a:defRPr/>
            </a:pPr>
            <a:r>
              <a:rPr lang="en-US">
                <a:gradFill>
                  <a:gsLst>
                    <a:gs pos="47287">
                      <a:srgbClr val="0078D7"/>
                    </a:gs>
                    <a:gs pos="31000">
                      <a:srgbClr val="0078D7"/>
                    </a:gs>
                  </a:gsLst>
                  <a:lin ang="5400000" scaled="0"/>
                </a:gradFill>
                <a:latin typeface="Segoe UI Semibold" panose="020B0702040204020203" pitchFamily="34" charset="0"/>
                <a:cs typeface="Segoe UI Semibold" panose="020B0702040204020203" pitchFamily="34" charset="0"/>
              </a:rPr>
              <a:t>Infrastructure and compute</a:t>
            </a:r>
          </a:p>
          <a:p>
            <a:pPr algn="ctr" defTabSz="932563">
              <a:spcAft>
                <a:spcPts val="600"/>
              </a:spcAft>
              <a:defRPr/>
            </a:pPr>
            <a:r>
              <a:rPr lang="en-US">
                <a:gradFill>
                  <a:gsLst>
                    <a:gs pos="78295">
                      <a:srgbClr val="353535"/>
                    </a:gs>
                    <a:gs pos="47287">
                      <a:srgbClr val="353535"/>
                    </a:gs>
                  </a:gsLst>
                  <a:lin ang="5400000" scaled="0"/>
                </a:gradFill>
                <a:latin typeface="Segoe UI"/>
                <a:cs typeface="Segoe UI Light" charset="0"/>
              </a:rPr>
              <a:t>CPU, GPU, FPGA</a:t>
            </a:r>
          </a:p>
        </p:txBody>
      </p:sp>
      <p:sp>
        <p:nvSpPr>
          <p:cNvPr id="112" name="TextBox 111"/>
          <p:cNvSpPr txBox="1"/>
          <p:nvPr/>
        </p:nvSpPr>
        <p:spPr>
          <a:xfrm>
            <a:off x="5502855" y="3658458"/>
            <a:ext cx="3291373" cy="937303"/>
          </a:xfrm>
          <a:prstGeom prst="rect">
            <a:avLst/>
          </a:prstGeom>
          <a:noFill/>
        </p:spPr>
        <p:txBody>
          <a:bodyPr wrap="square" lIns="182854" tIns="146283" rIns="182854" bIns="146283" rtlCol="0">
            <a:spAutoFit/>
          </a:bodyPr>
          <a:lstStyle/>
          <a:p>
            <a:pPr algn="ctr" defTabSz="932563">
              <a:spcAft>
                <a:spcPts val="600"/>
              </a:spcAft>
              <a:defRPr/>
            </a:pPr>
            <a:r>
              <a:rPr lang="en-US">
                <a:gradFill>
                  <a:gsLst>
                    <a:gs pos="47287">
                      <a:srgbClr val="0078D7"/>
                    </a:gs>
                    <a:gs pos="31000">
                      <a:srgbClr val="0078D7"/>
                    </a:gs>
                  </a:gsLst>
                  <a:lin ang="5400000" scaled="0"/>
                </a:gradFill>
                <a:latin typeface="Segoe UI Semibold" panose="020B0702040204020203" pitchFamily="34" charset="0"/>
                <a:cs typeface="Segoe UI Semibold" panose="020B0702040204020203" pitchFamily="34" charset="0"/>
              </a:rPr>
              <a:t>Tools </a:t>
            </a:r>
          </a:p>
          <a:p>
            <a:pPr algn="ctr" defTabSz="932563">
              <a:spcAft>
                <a:spcPts val="600"/>
              </a:spcAft>
              <a:defRPr/>
            </a:pPr>
            <a:r>
              <a:rPr lang="en-US">
                <a:gradFill>
                  <a:gsLst>
                    <a:gs pos="78295">
                      <a:srgbClr val="353535"/>
                    </a:gs>
                    <a:gs pos="47287">
                      <a:srgbClr val="353535"/>
                    </a:gs>
                  </a:gsLst>
                  <a:lin ang="5400000" scaled="0"/>
                </a:gradFill>
                <a:latin typeface="Segoe UI"/>
                <a:cs typeface="Segoe UI Light" charset="0"/>
              </a:rPr>
              <a:t>Bots, Cognitive, ML</a:t>
            </a:r>
          </a:p>
        </p:txBody>
      </p:sp>
      <p:sp>
        <p:nvSpPr>
          <p:cNvPr id="108" name="Rectangle 107"/>
          <p:cNvSpPr/>
          <p:nvPr/>
        </p:nvSpPr>
        <p:spPr>
          <a:xfrm>
            <a:off x="6300654" y="5347941"/>
            <a:ext cx="1636222" cy="784628"/>
          </a:xfrm>
          <a:prstGeom prst="rect">
            <a:avLst/>
          </a:prstGeom>
        </p:spPr>
        <p:txBody>
          <a:bodyPr wrap="none">
            <a:spAutoFit/>
          </a:bodyPr>
          <a:lstStyle/>
          <a:p>
            <a:pPr algn="ctr" defTabSz="914224">
              <a:defRPr/>
            </a:pPr>
            <a:r>
              <a:rPr lang="en-US" sz="4399" kern="0" spc="49">
                <a:ln w="3175">
                  <a:noFill/>
                </a:ln>
                <a:gradFill>
                  <a:gsLst>
                    <a:gs pos="79845">
                      <a:srgbClr val="0078D7"/>
                    </a:gs>
                    <a:gs pos="58915">
                      <a:srgbClr val="0078D7"/>
                    </a:gs>
                  </a:gsLst>
                  <a:lin ang="0" scaled="0"/>
                </a:gradFill>
                <a:latin typeface="Segoe UI Light" panose="020B0502040204020203" pitchFamily="34" charset="0"/>
                <a:cs typeface="Segoe UI Light" panose="020B0502040204020203" pitchFamily="34" charset="0"/>
              </a:rPr>
              <a:t>Azure</a:t>
            </a:r>
            <a:endParaRPr lang="en-US" sz="4399">
              <a:gradFill>
                <a:gsLst>
                  <a:gs pos="79845">
                    <a:srgbClr val="0078D7"/>
                  </a:gs>
                  <a:gs pos="58915">
                    <a:srgbClr val="0078D7"/>
                  </a:gs>
                </a:gsLst>
                <a:lin ang="0" scaled="0"/>
              </a:gradFill>
              <a:latin typeface="Segoe UI"/>
            </a:endParaRPr>
          </a:p>
        </p:txBody>
      </p:sp>
      <p:sp>
        <p:nvSpPr>
          <p:cNvPr id="58" name="Rectangle 57">
            <a:extLst>
              <a:ext uri="{FF2B5EF4-FFF2-40B4-BE49-F238E27FC236}">
                <a16:creationId xmlns:a16="http://schemas.microsoft.com/office/drawing/2014/main" id="{6BBCB851-E6EE-4C48-9545-DDAB86416409}"/>
              </a:ext>
            </a:extLst>
          </p:cNvPr>
          <p:cNvSpPr/>
          <p:nvPr/>
        </p:nvSpPr>
        <p:spPr bwMode="auto">
          <a:xfrm>
            <a:off x="2066966" y="531762"/>
            <a:ext cx="9911491" cy="127360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16" fontAlgn="base">
              <a:lnSpc>
                <a:spcPct val="90000"/>
              </a:lnSpc>
              <a:spcBef>
                <a:spcPct val="0"/>
              </a:spcBef>
              <a:spcAft>
                <a:spcPts val="587"/>
              </a:spcAft>
              <a:defRPr/>
            </a:pPr>
            <a:r>
              <a:rPr lang="en-US" sz="4399" spc="-100">
                <a:ln w="3175">
                  <a:noFill/>
                </a:ln>
                <a:gradFill>
                  <a:gsLst>
                    <a:gs pos="58915">
                      <a:srgbClr val="353535"/>
                    </a:gs>
                    <a:gs pos="31000">
                      <a:srgbClr val="353535"/>
                    </a:gs>
                  </a:gsLst>
                  <a:lin ang="0" scaled="0"/>
                </a:gradFill>
                <a:latin typeface="Segoe UI Light"/>
                <a:cs typeface="Segoe UI" pitchFamily="34" charset="0"/>
              </a:rPr>
              <a:t>Comprehensive deep learning, </a:t>
            </a:r>
          </a:p>
          <a:p>
            <a:pPr algn="ctr" defTabSz="914016" fontAlgn="base">
              <a:lnSpc>
                <a:spcPct val="90000"/>
              </a:lnSpc>
              <a:spcBef>
                <a:spcPct val="0"/>
              </a:spcBef>
              <a:spcAft>
                <a:spcPts val="587"/>
              </a:spcAft>
              <a:defRPr/>
            </a:pPr>
            <a:r>
              <a:rPr lang="en-US" sz="4399" spc="-100">
                <a:ln w="3175">
                  <a:noFill/>
                </a:ln>
                <a:gradFill>
                  <a:gsLst>
                    <a:gs pos="58915">
                      <a:srgbClr val="353535"/>
                    </a:gs>
                    <a:gs pos="31000">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4215452" y="5082750"/>
            <a:ext cx="6346890" cy="1"/>
          </a:xfrm>
          <a:prstGeom prst="line">
            <a:avLst/>
          </a:prstGeom>
          <a:noFill/>
          <a:ln w="1905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4068561" y="5009303"/>
            <a:ext cx="146891" cy="146891"/>
          </a:xfrm>
          <a:prstGeom prst="ellipse">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7063126" y="5009303"/>
            <a:ext cx="146891" cy="146891"/>
          </a:xfrm>
          <a:prstGeom prst="ellipse">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415451" y="5009303"/>
            <a:ext cx="146891" cy="146891"/>
          </a:xfrm>
          <a:prstGeom prst="ellipse">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70" name="Rectangle 69">
            <a:extLst>
              <a:ext uri="{FF2B5EF4-FFF2-40B4-BE49-F238E27FC236}">
                <a16:creationId xmlns:a16="http://schemas.microsoft.com/office/drawing/2014/main" id="{FCAAA59F-4F10-4F8B-862D-5D17386DBA17}"/>
              </a:ext>
            </a:extLst>
          </p:cNvPr>
          <p:cNvSpPr/>
          <p:nvPr/>
        </p:nvSpPr>
        <p:spPr>
          <a:xfrm>
            <a:off x="776388" y="3187715"/>
            <a:ext cx="870102"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Hybrid</a:t>
            </a:r>
          </a:p>
        </p:txBody>
      </p:sp>
      <p:sp>
        <p:nvSpPr>
          <p:cNvPr id="71" name="Rectangle 70">
            <a:extLst>
              <a:ext uri="{FF2B5EF4-FFF2-40B4-BE49-F238E27FC236}">
                <a16:creationId xmlns:a16="http://schemas.microsoft.com/office/drawing/2014/main" id="{BA02D694-BA3D-4215-B59F-B902DAF810E7}"/>
              </a:ext>
            </a:extLst>
          </p:cNvPr>
          <p:cNvSpPr/>
          <p:nvPr/>
        </p:nvSpPr>
        <p:spPr>
          <a:xfrm>
            <a:off x="591349" y="1815478"/>
            <a:ext cx="1270656"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Productive</a:t>
            </a:r>
          </a:p>
        </p:txBody>
      </p:sp>
      <p:sp>
        <p:nvSpPr>
          <p:cNvPr id="72" name="speedometer_2">
            <a:extLst>
              <a:ext uri="{FF2B5EF4-FFF2-40B4-BE49-F238E27FC236}">
                <a16:creationId xmlns:a16="http://schemas.microsoft.com/office/drawing/2014/main" id="{D52DF6FC-DFD1-4E20-8361-C0F0EF7B021E}"/>
              </a:ext>
            </a:extLst>
          </p:cNvPr>
          <p:cNvSpPr>
            <a:spLocks noChangeAspect="1" noEditPoints="1"/>
          </p:cNvSpPr>
          <p:nvPr/>
        </p:nvSpPr>
        <p:spPr bwMode="auto">
          <a:xfrm>
            <a:off x="1012114" y="1172215"/>
            <a:ext cx="439618" cy="43961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3" name="Rectangle 72">
            <a:extLst>
              <a:ext uri="{FF2B5EF4-FFF2-40B4-BE49-F238E27FC236}">
                <a16:creationId xmlns:a16="http://schemas.microsoft.com/office/drawing/2014/main" id="{509A438C-F4BB-4074-A51C-EDB9A55CDF35}"/>
              </a:ext>
            </a:extLst>
          </p:cNvPr>
          <p:cNvSpPr/>
          <p:nvPr/>
        </p:nvSpPr>
        <p:spPr>
          <a:xfrm>
            <a:off x="735515" y="5858993"/>
            <a:ext cx="951848"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Trusted</a:t>
            </a:r>
          </a:p>
        </p:txBody>
      </p:sp>
      <p:sp>
        <p:nvSpPr>
          <p:cNvPr id="74" name="Rectangle 73">
            <a:extLst>
              <a:ext uri="{FF2B5EF4-FFF2-40B4-BE49-F238E27FC236}">
                <a16:creationId xmlns:a16="http://schemas.microsoft.com/office/drawing/2014/main" id="{83D2F9D2-819C-4E8E-B8AF-719B22504026}"/>
              </a:ext>
            </a:extLst>
          </p:cNvPr>
          <p:cNvSpPr/>
          <p:nvPr/>
        </p:nvSpPr>
        <p:spPr>
          <a:xfrm>
            <a:off x="355397" y="4447376"/>
            <a:ext cx="1712084" cy="470856"/>
          </a:xfrm>
          <a:prstGeom prst="rect">
            <a:avLst/>
          </a:prstGeom>
        </p:spPr>
        <p:txBody>
          <a:bodyPr wrap="none">
            <a:spAutoFit/>
          </a:bodyPr>
          <a:lstStyle/>
          <a:p>
            <a:pPr algn="ctr" defTabSz="932330">
              <a:defRPr/>
            </a:pPr>
            <a:r>
              <a:rPr lang="en-US" sz="2400" kern="0" spc="5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Intelligent</a:t>
            </a:r>
          </a:p>
        </p:txBody>
      </p:sp>
      <p:sp>
        <p:nvSpPr>
          <p:cNvPr id="75" name="light">
            <a:extLst>
              <a:ext uri="{FF2B5EF4-FFF2-40B4-BE49-F238E27FC236}">
                <a16:creationId xmlns:a16="http://schemas.microsoft.com/office/drawing/2014/main" id="{DFC6DA68-C638-439D-AFE3-ED5EA8E03B96}"/>
              </a:ext>
            </a:extLst>
          </p:cNvPr>
          <p:cNvSpPr>
            <a:spLocks noChangeAspect="1" noEditPoints="1"/>
          </p:cNvSpPr>
          <p:nvPr/>
        </p:nvSpPr>
        <p:spPr bwMode="auto">
          <a:xfrm>
            <a:off x="1014634" y="3736419"/>
            <a:ext cx="393610" cy="58436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chemeClr val="accent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6" name="Freeform 60">
            <a:extLst>
              <a:ext uri="{FF2B5EF4-FFF2-40B4-BE49-F238E27FC236}">
                <a16:creationId xmlns:a16="http://schemas.microsoft.com/office/drawing/2014/main" id="{AC3531CB-30BD-4B64-AC0B-7011C79F6AEC}"/>
              </a:ext>
            </a:extLst>
          </p:cNvPr>
          <p:cNvSpPr>
            <a:spLocks noChangeArrowheads="1"/>
          </p:cNvSpPr>
          <p:nvPr/>
        </p:nvSpPr>
        <p:spPr bwMode="auto">
          <a:xfrm>
            <a:off x="971145" y="5230264"/>
            <a:ext cx="480586" cy="47553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78" name="Rectangle 77">
            <a:extLst>
              <a:ext uri="{FF2B5EF4-FFF2-40B4-BE49-F238E27FC236}">
                <a16:creationId xmlns:a16="http://schemas.microsoft.com/office/drawing/2014/main" id="{50E63EFE-1C09-404D-9736-2022609877FE}"/>
              </a:ext>
            </a:extLst>
          </p:cNvPr>
          <p:cNvSpPr/>
          <p:nvPr/>
        </p:nvSpPr>
        <p:spPr bwMode="auto">
          <a:xfrm>
            <a:off x="1100872" y="2572571"/>
            <a:ext cx="326406" cy="326402"/>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9" name="Rectangle 78">
            <a:extLst>
              <a:ext uri="{FF2B5EF4-FFF2-40B4-BE49-F238E27FC236}">
                <a16:creationId xmlns:a16="http://schemas.microsoft.com/office/drawing/2014/main" id="{68373259-162D-467B-8093-4636AA09FCB5}"/>
              </a:ext>
            </a:extLst>
          </p:cNvPr>
          <p:cNvSpPr/>
          <p:nvPr/>
        </p:nvSpPr>
        <p:spPr bwMode="auto">
          <a:xfrm>
            <a:off x="967098" y="2695640"/>
            <a:ext cx="326406" cy="326402"/>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cxnSp>
        <p:nvCxnSpPr>
          <p:cNvPr id="80" name="Straight Connector 79">
            <a:extLst>
              <a:ext uri="{FF2B5EF4-FFF2-40B4-BE49-F238E27FC236}">
                <a16:creationId xmlns:a16="http://schemas.microsoft.com/office/drawing/2014/main" id="{4C99E139-EC5A-40EA-9B6B-87565D9157E3}"/>
              </a:ext>
            </a:extLst>
          </p:cNvPr>
          <p:cNvCxnSpPr>
            <a:cxnSpLocks/>
          </p:cNvCxnSpPr>
          <p:nvPr/>
        </p:nvCxnSpPr>
        <p:spPr>
          <a:xfrm>
            <a:off x="2256399" y="993"/>
            <a:ext cx="0" cy="699303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1" name="Freeform 96">
            <a:extLst>
              <a:ext uri="{FF2B5EF4-FFF2-40B4-BE49-F238E27FC236}">
                <a16:creationId xmlns:a16="http://schemas.microsoft.com/office/drawing/2014/main" id="{AD192F45-0865-4335-BE78-341546672050}"/>
              </a:ext>
            </a:extLst>
          </p:cNvPr>
          <p:cNvSpPr>
            <a:spLocks noChangeAspect="1" noEditPoints="1"/>
          </p:cNvSpPr>
          <p:nvPr/>
        </p:nvSpPr>
        <p:spPr bwMode="auto">
          <a:xfrm>
            <a:off x="3584954" y="2586301"/>
            <a:ext cx="758712" cy="698591"/>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Semilight"/>
            </a:endParaRPr>
          </a:p>
        </p:txBody>
      </p:sp>
      <p:sp>
        <p:nvSpPr>
          <p:cNvPr id="82" name="Beaker_F196">
            <a:extLst>
              <a:ext uri="{FF2B5EF4-FFF2-40B4-BE49-F238E27FC236}">
                <a16:creationId xmlns:a16="http://schemas.microsoft.com/office/drawing/2014/main" id="{59A7377C-0C8F-4F49-B977-132F7DE82BD7}"/>
              </a:ext>
            </a:extLst>
          </p:cNvPr>
          <p:cNvSpPr>
            <a:spLocks noChangeAspect="1" noEditPoints="1"/>
          </p:cNvSpPr>
          <p:nvPr/>
        </p:nvSpPr>
        <p:spPr bwMode="auto">
          <a:xfrm>
            <a:off x="6868482" y="2665370"/>
            <a:ext cx="536180" cy="619522"/>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3" name="chip">
            <a:extLst>
              <a:ext uri="{FF2B5EF4-FFF2-40B4-BE49-F238E27FC236}">
                <a16:creationId xmlns:a16="http://schemas.microsoft.com/office/drawing/2014/main" id="{4EAB853C-EACB-48E7-ABEB-93F15A08368D}"/>
              </a:ext>
            </a:extLst>
          </p:cNvPr>
          <p:cNvSpPr>
            <a:spLocks noChangeAspect="1" noEditPoints="1"/>
          </p:cNvSpPr>
          <p:nvPr/>
        </p:nvSpPr>
        <p:spPr bwMode="auto">
          <a:xfrm>
            <a:off x="10085289" y="2638150"/>
            <a:ext cx="660323" cy="673964"/>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Semilight"/>
            </a:endParaRPr>
          </a:p>
        </p:txBody>
      </p:sp>
    </p:spTree>
    <p:extLst>
      <p:ext uri="{BB962C8B-B14F-4D97-AF65-F5344CB8AC3E}">
        <p14:creationId xmlns:p14="http://schemas.microsoft.com/office/powerpoint/2010/main" val="182149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ild with a platform designed for future growth</a:t>
            </a:r>
          </a:p>
        </p:txBody>
      </p:sp>
      <p:cxnSp>
        <p:nvCxnSpPr>
          <p:cNvPr id="64" name="Straight Connector 63"/>
          <p:cNvCxnSpPr/>
          <p:nvPr/>
        </p:nvCxnSpPr>
        <p:spPr>
          <a:xfrm flipV="1">
            <a:off x="3187276"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5960884"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BAD7C0-ACFB-4E3B-96B7-A97A021BCB72}"/>
              </a:ext>
            </a:extLst>
          </p:cNvPr>
          <p:cNvCxnSpPr/>
          <p:nvPr/>
        </p:nvCxnSpPr>
        <p:spPr>
          <a:xfrm flipV="1">
            <a:off x="8734491"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844285" y="3220140"/>
            <a:ext cx="1912376" cy="583477"/>
          </a:xfrm>
          <a:prstGeom prst="rect">
            <a:avLst/>
          </a:prstGeom>
          <a:noFill/>
        </p:spPr>
        <p:txBody>
          <a:bodyPr wrap="none" lIns="274203" tIns="146241" rIns="274203" bIns="146241"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029">
              <a:spcAft>
                <a:spcPts val="0"/>
              </a:spcAft>
              <a:defRPr/>
            </a:pPr>
            <a:r>
              <a:rPr lang="en-US" sz="2040" kern="0" dirty="0">
                <a:solidFill>
                  <a:srgbClr val="0078D7"/>
                </a:solidFill>
                <a:latin typeface="Segoe UI"/>
              </a:rPr>
              <a:t>App service</a:t>
            </a:r>
          </a:p>
        </p:txBody>
      </p:sp>
      <p:sp>
        <p:nvSpPr>
          <p:cNvPr id="253" name="TextBox 252"/>
          <p:cNvSpPr txBox="1"/>
          <p:nvPr/>
        </p:nvSpPr>
        <p:spPr>
          <a:xfrm>
            <a:off x="855728" y="3902582"/>
            <a:ext cx="1889489" cy="700633"/>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Web, mobile, and API apps</a:t>
            </a:r>
          </a:p>
        </p:txBody>
      </p:sp>
      <p:sp>
        <p:nvSpPr>
          <p:cNvPr id="82" name="TextBox 81"/>
          <p:cNvSpPr txBox="1"/>
          <p:nvPr/>
        </p:nvSpPr>
        <p:spPr>
          <a:xfrm>
            <a:off x="3527154" y="3220140"/>
            <a:ext cx="2093852"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dirty="0">
                <a:solidFill>
                  <a:srgbClr val="0078D7"/>
                </a:solidFill>
                <a:latin typeface="Segoe UI"/>
              </a:rPr>
              <a:t>DevTest Labs</a:t>
            </a:r>
          </a:p>
        </p:txBody>
      </p:sp>
      <p:sp>
        <p:nvSpPr>
          <p:cNvPr id="254" name="TextBox 253"/>
          <p:cNvSpPr txBox="1"/>
          <p:nvPr/>
        </p:nvSpPr>
        <p:spPr>
          <a:xfrm>
            <a:off x="3312387" y="3902582"/>
            <a:ext cx="2523386" cy="956791"/>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Integrate with your existing toolchain</a:t>
            </a:r>
          </a:p>
          <a:p>
            <a:pPr algn="ctr" defTabSz="932029">
              <a:defRPr/>
            </a:pPr>
            <a:endParaRPr lang="en-US" sz="1632">
              <a:solidFill>
                <a:srgbClr val="505050"/>
              </a:solidFill>
              <a:latin typeface="Segoe UI"/>
            </a:endParaRPr>
          </a:p>
        </p:txBody>
      </p:sp>
      <p:sp>
        <p:nvSpPr>
          <p:cNvPr id="52" name="TextBox 51"/>
          <p:cNvSpPr txBox="1"/>
          <p:nvPr/>
        </p:nvSpPr>
        <p:spPr>
          <a:xfrm>
            <a:off x="6438913" y="3220140"/>
            <a:ext cx="1817551"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a:solidFill>
                  <a:srgbClr val="0078D7"/>
                </a:solidFill>
                <a:latin typeface="Segoe UI"/>
              </a:rPr>
              <a:t>Logic apps</a:t>
            </a:r>
          </a:p>
        </p:txBody>
      </p:sp>
      <p:sp>
        <p:nvSpPr>
          <p:cNvPr id="255" name="TextBox 254"/>
          <p:cNvSpPr txBox="1"/>
          <p:nvPr/>
        </p:nvSpPr>
        <p:spPr>
          <a:xfrm>
            <a:off x="6247548" y="3902582"/>
            <a:ext cx="2200279" cy="700633"/>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Workflow &amp; integration</a:t>
            </a:r>
          </a:p>
        </p:txBody>
      </p:sp>
      <p:sp>
        <p:nvSpPr>
          <p:cNvPr id="37" name="TextBox 36"/>
          <p:cNvSpPr txBox="1"/>
          <p:nvPr/>
        </p:nvSpPr>
        <p:spPr>
          <a:xfrm>
            <a:off x="9170015" y="3239612"/>
            <a:ext cx="1902567"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a:solidFill>
                  <a:srgbClr val="0078D7"/>
                </a:solidFill>
                <a:latin typeface="Segoe UI"/>
              </a:rPr>
              <a:t>Cosmos DB</a:t>
            </a:r>
          </a:p>
        </p:txBody>
      </p:sp>
      <p:sp>
        <p:nvSpPr>
          <p:cNvPr id="256" name="TextBox 255"/>
          <p:cNvSpPr txBox="1"/>
          <p:nvPr/>
        </p:nvSpPr>
        <p:spPr>
          <a:xfrm>
            <a:off x="8751734" y="3902582"/>
            <a:ext cx="2885884" cy="690632"/>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Globally distributed, </a:t>
            </a:r>
            <a:br>
              <a:rPr lang="en-US" sz="1632">
                <a:solidFill>
                  <a:srgbClr val="505050"/>
                </a:solidFill>
                <a:latin typeface="Segoe UI"/>
              </a:rPr>
            </a:br>
            <a:r>
              <a:rPr lang="en-US" sz="1632">
                <a:solidFill>
                  <a:srgbClr val="505050"/>
                </a:solidFill>
                <a:latin typeface="Segoe UI"/>
              </a:rPr>
              <a:t>multi-model database service</a:t>
            </a:r>
          </a:p>
        </p:txBody>
      </p:sp>
      <p:grpSp>
        <p:nvGrpSpPr>
          <p:cNvPr id="18" name="Group 17"/>
          <p:cNvGrpSpPr/>
          <p:nvPr/>
        </p:nvGrpSpPr>
        <p:grpSpPr>
          <a:xfrm>
            <a:off x="1356529" y="2156981"/>
            <a:ext cx="923327" cy="923328"/>
            <a:chOff x="5313363" y="-1925638"/>
            <a:chExt cx="1638300" cy="1638301"/>
          </a:xfrm>
          <a:solidFill>
            <a:schemeClr val="tx2"/>
          </a:solidFill>
        </p:grpSpPr>
        <p:sp>
          <p:nvSpPr>
            <p:cNvPr id="13" name="Freeform 11"/>
            <p:cNvSpPr>
              <a:spLocks noEditPoints="1"/>
            </p:cNvSpPr>
            <p:nvPr/>
          </p:nvSpPr>
          <p:spPr bwMode="auto">
            <a:xfrm>
              <a:off x="5578476" y="-1516063"/>
              <a:ext cx="1104900" cy="708025"/>
            </a:xfrm>
            <a:custGeom>
              <a:avLst/>
              <a:gdLst>
                <a:gd name="T0" fmla="*/ 225 w 259"/>
                <a:gd name="T1" fmla="*/ 166 h 166"/>
                <a:gd name="T2" fmla="*/ 58 w 259"/>
                <a:gd name="T3" fmla="*/ 166 h 166"/>
                <a:gd name="T4" fmla="*/ 0 w 259"/>
                <a:gd name="T5" fmla="*/ 108 h 166"/>
                <a:gd name="T6" fmla="*/ 58 w 259"/>
                <a:gd name="T7" fmla="*/ 50 h 166"/>
                <a:gd name="T8" fmla="*/ 72 w 259"/>
                <a:gd name="T9" fmla="*/ 52 h 166"/>
                <a:gd name="T10" fmla="*/ 148 w 259"/>
                <a:gd name="T11" fmla="*/ 0 h 166"/>
                <a:gd name="T12" fmla="*/ 229 w 259"/>
                <a:gd name="T13" fmla="*/ 81 h 166"/>
                <a:gd name="T14" fmla="*/ 228 w 259"/>
                <a:gd name="T15" fmla="*/ 99 h 166"/>
                <a:gd name="T16" fmla="*/ 259 w 259"/>
                <a:gd name="T17" fmla="*/ 132 h 166"/>
                <a:gd name="T18" fmla="*/ 225 w 259"/>
                <a:gd name="T19" fmla="*/ 166 h 166"/>
                <a:gd name="T20" fmla="*/ 58 w 259"/>
                <a:gd name="T21" fmla="*/ 70 h 166"/>
                <a:gd name="T22" fmla="*/ 20 w 259"/>
                <a:gd name="T23" fmla="*/ 108 h 166"/>
                <a:gd name="T24" fmla="*/ 58 w 259"/>
                <a:gd name="T25" fmla="*/ 146 h 166"/>
                <a:gd name="T26" fmla="*/ 225 w 259"/>
                <a:gd name="T27" fmla="*/ 146 h 166"/>
                <a:gd name="T28" fmla="*/ 239 w 259"/>
                <a:gd name="T29" fmla="*/ 132 h 166"/>
                <a:gd name="T30" fmla="*/ 225 w 259"/>
                <a:gd name="T31" fmla="*/ 119 h 166"/>
                <a:gd name="T32" fmla="*/ 224 w 259"/>
                <a:gd name="T33" fmla="*/ 119 h 166"/>
                <a:gd name="T34" fmla="*/ 200 w 259"/>
                <a:gd name="T35" fmla="*/ 123 h 166"/>
                <a:gd name="T36" fmla="*/ 207 w 259"/>
                <a:gd name="T37" fmla="*/ 100 h 166"/>
                <a:gd name="T38" fmla="*/ 209 w 259"/>
                <a:gd name="T39" fmla="*/ 81 h 166"/>
                <a:gd name="T40" fmla="*/ 148 w 259"/>
                <a:gd name="T41" fmla="*/ 20 h 166"/>
                <a:gd name="T42" fmla="*/ 89 w 259"/>
                <a:gd name="T43" fmla="*/ 63 h 166"/>
                <a:gd name="T44" fmla="*/ 85 w 259"/>
                <a:gd name="T45" fmla="*/ 77 h 166"/>
                <a:gd name="T46" fmla="*/ 70 w 259"/>
                <a:gd name="T47" fmla="*/ 72 h 166"/>
                <a:gd name="T48" fmla="*/ 58 w 259"/>
                <a:gd name="T49" fmla="*/ 7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166">
                  <a:moveTo>
                    <a:pt x="225" y="166"/>
                  </a:moveTo>
                  <a:cubicBezTo>
                    <a:pt x="58" y="166"/>
                    <a:pt x="58" y="166"/>
                    <a:pt x="58" y="166"/>
                  </a:cubicBezTo>
                  <a:cubicBezTo>
                    <a:pt x="26" y="166"/>
                    <a:pt x="0" y="140"/>
                    <a:pt x="0" y="108"/>
                  </a:cubicBezTo>
                  <a:cubicBezTo>
                    <a:pt x="0" y="76"/>
                    <a:pt x="26" y="50"/>
                    <a:pt x="58" y="50"/>
                  </a:cubicBezTo>
                  <a:cubicBezTo>
                    <a:pt x="63" y="50"/>
                    <a:pt x="67" y="51"/>
                    <a:pt x="72" y="52"/>
                  </a:cubicBezTo>
                  <a:cubicBezTo>
                    <a:pt x="84" y="21"/>
                    <a:pt x="114" y="0"/>
                    <a:pt x="148" y="0"/>
                  </a:cubicBezTo>
                  <a:cubicBezTo>
                    <a:pt x="193" y="0"/>
                    <a:pt x="229" y="36"/>
                    <a:pt x="229" y="81"/>
                  </a:cubicBezTo>
                  <a:cubicBezTo>
                    <a:pt x="229" y="87"/>
                    <a:pt x="229" y="93"/>
                    <a:pt x="228" y="99"/>
                  </a:cubicBezTo>
                  <a:cubicBezTo>
                    <a:pt x="245" y="100"/>
                    <a:pt x="259" y="115"/>
                    <a:pt x="259" y="132"/>
                  </a:cubicBezTo>
                  <a:cubicBezTo>
                    <a:pt x="259" y="151"/>
                    <a:pt x="244" y="166"/>
                    <a:pt x="225" y="166"/>
                  </a:cubicBezTo>
                  <a:close/>
                  <a:moveTo>
                    <a:pt x="58" y="70"/>
                  </a:moveTo>
                  <a:cubicBezTo>
                    <a:pt x="37" y="70"/>
                    <a:pt x="20" y="87"/>
                    <a:pt x="20" y="108"/>
                  </a:cubicBezTo>
                  <a:cubicBezTo>
                    <a:pt x="20" y="129"/>
                    <a:pt x="37" y="146"/>
                    <a:pt x="58" y="146"/>
                  </a:cubicBezTo>
                  <a:cubicBezTo>
                    <a:pt x="225" y="146"/>
                    <a:pt x="225" y="146"/>
                    <a:pt x="225" y="146"/>
                  </a:cubicBezTo>
                  <a:cubicBezTo>
                    <a:pt x="233" y="146"/>
                    <a:pt x="239" y="140"/>
                    <a:pt x="239" y="132"/>
                  </a:cubicBezTo>
                  <a:cubicBezTo>
                    <a:pt x="239" y="125"/>
                    <a:pt x="233" y="119"/>
                    <a:pt x="225" y="119"/>
                  </a:cubicBezTo>
                  <a:cubicBezTo>
                    <a:pt x="225" y="119"/>
                    <a:pt x="224" y="119"/>
                    <a:pt x="224" y="119"/>
                  </a:cubicBezTo>
                  <a:cubicBezTo>
                    <a:pt x="200" y="123"/>
                    <a:pt x="200" y="123"/>
                    <a:pt x="200" y="123"/>
                  </a:cubicBezTo>
                  <a:cubicBezTo>
                    <a:pt x="207" y="100"/>
                    <a:pt x="207" y="100"/>
                    <a:pt x="207" y="100"/>
                  </a:cubicBezTo>
                  <a:cubicBezTo>
                    <a:pt x="208" y="94"/>
                    <a:pt x="209" y="88"/>
                    <a:pt x="209" y="81"/>
                  </a:cubicBezTo>
                  <a:cubicBezTo>
                    <a:pt x="209" y="47"/>
                    <a:pt x="182" y="20"/>
                    <a:pt x="148" y="20"/>
                  </a:cubicBezTo>
                  <a:cubicBezTo>
                    <a:pt x="121" y="20"/>
                    <a:pt x="97" y="37"/>
                    <a:pt x="89" y="63"/>
                  </a:cubicBezTo>
                  <a:cubicBezTo>
                    <a:pt x="85" y="77"/>
                    <a:pt x="85" y="77"/>
                    <a:pt x="85" y="77"/>
                  </a:cubicBezTo>
                  <a:cubicBezTo>
                    <a:pt x="70" y="72"/>
                    <a:pt x="70" y="72"/>
                    <a:pt x="70" y="72"/>
                  </a:cubicBezTo>
                  <a:cubicBezTo>
                    <a:pt x="66" y="71"/>
                    <a:pt x="62" y="70"/>
                    <a:pt x="5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4" name="Freeform 12"/>
            <p:cNvSpPr>
              <a:spLocks/>
            </p:cNvSpPr>
            <p:nvPr/>
          </p:nvSpPr>
          <p:spPr bwMode="auto">
            <a:xfrm>
              <a:off x="6192838" y="-1047750"/>
              <a:ext cx="758825" cy="760413"/>
            </a:xfrm>
            <a:custGeom>
              <a:avLst/>
              <a:gdLst>
                <a:gd name="T0" fmla="*/ 130 w 178"/>
                <a:gd name="T1" fmla="*/ 3 h 178"/>
                <a:gd name="T2" fmla="*/ 134 w 178"/>
                <a:gd name="T3" fmla="*/ 19 h 178"/>
                <a:gd name="T4" fmla="*/ 134 w 178"/>
                <a:gd name="T5" fmla="*/ 21 h 178"/>
                <a:gd name="T6" fmla="*/ 157 w 178"/>
                <a:gd name="T7" fmla="*/ 21 h 178"/>
                <a:gd name="T8" fmla="*/ 157 w 178"/>
                <a:gd name="T9" fmla="*/ 157 h 178"/>
                <a:gd name="T10" fmla="*/ 21 w 178"/>
                <a:gd name="T11" fmla="*/ 157 h 178"/>
                <a:gd name="T12" fmla="*/ 21 w 178"/>
                <a:gd name="T13" fmla="*/ 75 h 178"/>
                <a:gd name="T14" fmla="*/ 0 w 178"/>
                <a:gd name="T15" fmla="*/ 75 h 178"/>
                <a:gd name="T16" fmla="*/ 0 w 178"/>
                <a:gd name="T17" fmla="*/ 178 h 178"/>
                <a:gd name="T18" fmla="*/ 178 w 178"/>
                <a:gd name="T19" fmla="*/ 178 h 178"/>
                <a:gd name="T20" fmla="*/ 178 w 178"/>
                <a:gd name="T21" fmla="*/ 0 h 178"/>
                <a:gd name="T22" fmla="*/ 129 w 178"/>
                <a:gd name="T23" fmla="*/ 0 h 178"/>
                <a:gd name="T24" fmla="*/ 130 w 178"/>
                <a:gd name="T25"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30" y="3"/>
                  </a:moveTo>
                  <a:cubicBezTo>
                    <a:pt x="132" y="8"/>
                    <a:pt x="133" y="13"/>
                    <a:pt x="134" y="19"/>
                  </a:cubicBezTo>
                  <a:cubicBezTo>
                    <a:pt x="134" y="21"/>
                    <a:pt x="134" y="21"/>
                    <a:pt x="134" y="21"/>
                  </a:cubicBezTo>
                  <a:cubicBezTo>
                    <a:pt x="157" y="21"/>
                    <a:pt x="157" y="21"/>
                    <a:pt x="157" y="21"/>
                  </a:cubicBezTo>
                  <a:cubicBezTo>
                    <a:pt x="157" y="157"/>
                    <a:pt x="157" y="157"/>
                    <a:pt x="157" y="157"/>
                  </a:cubicBezTo>
                  <a:cubicBezTo>
                    <a:pt x="21" y="157"/>
                    <a:pt x="21" y="157"/>
                    <a:pt x="21" y="157"/>
                  </a:cubicBezTo>
                  <a:cubicBezTo>
                    <a:pt x="21" y="75"/>
                    <a:pt x="21" y="75"/>
                    <a:pt x="21" y="75"/>
                  </a:cubicBezTo>
                  <a:cubicBezTo>
                    <a:pt x="0" y="75"/>
                    <a:pt x="0" y="75"/>
                    <a:pt x="0" y="75"/>
                  </a:cubicBezTo>
                  <a:cubicBezTo>
                    <a:pt x="0" y="178"/>
                    <a:pt x="0" y="178"/>
                    <a:pt x="0" y="178"/>
                  </a:cubicBezTo>
                  <a:cubicBezTo>
                    <a:pt x="178" y="178"/>
                    <a:pt x="178" y="178"/>
                    <a:pt x="178" y="178"/>
                  </a:cubicBezTo>
                  <a:cubicBezTo>
                    <a:pt x="178" y="0"/>
                    <a:pt x="178" y="0"/>
                    <a:pt x="178" y="0"/>
                  </a:cubicBezTo>
                  <a:cubicBezTo>
                    <a:pt x="129" y="0"/>
                    <a:pt x="129" y="0"/>
                    <a:pt x="129" y="0"/>
                  </a:cubicBezTo>
                  <a:lnTo>
                    <a:pt x="1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5" name="Freeform 13"/>
            <p:cNvSpPr>
              <a:spLocks/>
            </p:cNvSpPr>
            <p:nvPr/>
          </p:nvSpPr>
          <p:spPr bwMode="auto">
            <a:xfrm>
              <a:off x="5313363" y="-1047750"/>
              <a:ext cx="758825" cy="760413"/>
            </a:xfrm>
            <a:custGeom>
              <a:avLst/>
              <a:gdLst>
                <a:gd name="T0" fmla="*/ 157 w 178"/>
                <a:gd name="T1" fmla="*/ 157 h 178"/>
                <a:gd name="T2" fmla="*/ 21 w 178"/>
                <a:gd name="T3" fmla="*/ 157 h 178"/>
                <a:gd name="T4" fmla="*/ 21 w 178"/>
                <a:gd name="T5" fmla="*/ 21 h 178"/>
                <a:gd name="T6" fmla="*/ 47 w 178"/>
                <a:gd name="T7" fmla="*/ 21 h 178"/>
                <a:gd name="T8" fmla="*/ 46 w 178"/>
                <a:gd name="T9" fmla="*/ 18 h 178"/>
                <a:gd name="T10" fmla="*/ 43 w 178"/>
                <a:gd name="T11" fmla="*/ 2 h 178"/>
                <a:gd name="T12" fmla="*/ 43 w 178"/>
                <a:gd name="T13" fmla="*/ 0 h 178"/>
                <a:gd name="T14" fmla="*/ 0 w 178"/>
                <a:gd name="T15" fmla="*/ 0 h 178"/>
                <a:gd name="T16" fmla="*/ 0 w 178"/>
                <a:gd name="T17" fmla="*/ 178 h 178"/>
                <a:gd name="T18" fmla="*/ 178 w 178"/>
                <a:gd name="T19" fmla="*/ 178 h 178"/>
                <a:gd name="T20" fmla="*/ 178 w 178"/>
                <a:gd name="T21" fmla="*/ 75 h 178"/>
                <a:gd name="T22" fmla="*/ 157 w 178"/>
                <a:gd name="T23" fmla="*/ 75 h 178"/>
                <a:gd name="T24" fmla="*/ 157 w 178"/>
                <a:gd name="T25" fmla="*/ 15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57" y="157"/>
                  </a:moveTo>
                  <a:cubicBezTo>
                    <a:pt x="21" y="157"/>
                    <a:pt x="21" y="157"/>
                    <a:pt x="21" y="157"/>
                  </a:cubicBezTo>
                  <a:cubicBezTo>
                    <a:pt x="21" y="21"/>
                    <a:pt x="21" y="21"/>
                    <a:pt x="21" y="21"/>
                  </a:cubicBezTo>
                  <a:cubicBezTo>
                    <a:pt x="47" y="21"/>
                    <a:pt x="47" y="21"/>
                    <a:pt x="47" y="21"/>
                  </a:cubicBezTo>
                  <a:cubicBezTo>
                    <a:pt x="46" y="18"/>
                    <a:pt x="46" y="18"/>
                    <a:pt x="46" y="18"/>
                  </a:cubicBezTo>
                  <a:cubicBezTo>
                    <a:pt x="44" y="13"/>
                    <a:pt x="44" y="7"/>
                    <a:pt x="43" y="2"/>
                  </a:cubicBezTo>
                  <a:cubicBezTo>
                    <a:pt x="43" y="0"/>
                    <a:pt x="43" y="0"/>
                    <a:pt x="43" y="0"/>
                  </a:cubicBezTo>
                  <a:cubicBezTo>
                    <a:pt x="0" y="0"/>
                    <a:pt x="0" y="0"/>
                    <a:pt x="0" y="0"/>
                  </a:cubicBezTo>
                  <a:cubicBezTo>
                    <a:pt x="0" y="178"/>
                    <a:pt x="0" y="178"/>
                    <a:pt x="0" y="178"/>
                  </a:cubicBezTo>
                  <a:cubicBezTo>
                    <a:pt x="178" y="178"/>
                    <a:pt x="178" y="178"/>
                    <a:pt x="178" y="178"/>
                  </a:cubicBezTo>
                  <a:cubicBezTo>
                    <a:pt x="178" y="75"/>
                    <a:pt x="178" y="75"/>
                    <a:pt x="178" y="75"/>
                  </a:cubicBezTo>
                  <a:cubicBezTo>
                    <a:pt x="157" y="75"/>
                    <a:pt x="157" y="75"/>
                    <a:pt x="157" y="75"/>
                  </a:cubicBezTo>
                  <a:lnTo>
                    <a:pt x="15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 name="Freeform 14"/>
            <p:cNvSpPr>
              <a:spLocks/>
            </p:cNvSpPr>
            <p:nvPr/>
          </p:nvSpPr>
          <p:spPr bwMode="auto">
            <a:xfrm>
              <a:off x="6192838" y="-1925638"/>
              <a:ext cx="758825" cy="758825"/>
            </a:xfrm>
            <a:custGeom>
              <a:avLst/>
              <a:gdLst>
                <a:gd name="T0" fmla="*/ 0 w 178"/>
                <a:gd name="T1" fmla="*/ 0 h 178"/>
                <a:gd name="T2" fmla="*/ 0 w 178"/>
                <a:gd name="T3" fmla="*/ 78 h 178"/>
                <a:gd name="T4" fmla="*/ 4 w 178"/>
                <a:gd name="T5" fmla="*/ 78 h 178"/>
                <a:gd name="T6" fmla="*/ 19 w 178"/>
                <a:gd name="T7" fmla="*/ 79 h 178"/>
                <a:gd name="T8" fmla="*/ 21 w 178"/>
                <a:gd name="T9" fmla="*/ 79 h 178"/>
                <a:gd name="T10" fmla="*/ 21 w 178"/>
                <a:gd name="T11" fmla="*/ 21 h 178"/>
                <a:gd name="T12" fmla="*/ 157 w 178"/>
                <a:gd name="T13" fmla="*/ 21 h 178"/>
                <a:gd name="T14" fmla="*/ 157 w 178"/>
                <a:gd name="T15" fmla="*/ 157 h 178"/>
                <a:gd name="T16" fmla="*/ 101 w 178"/>
                <a:gd name="T17" fmla="*/ 157 h 178"/>
                <a:gd name="T18" fmla="*/ 102 w 178"/>
                <a:gd name="T19" fmla="*/ 160 h 178"/>
                <a:gd name="T20" fmla="*/ 103 w 178"/>
                <a:gd name="T21" fmla="*/ 176 h 178"/>
                <a:gd name="T22" fmla="*/ 103 w 178"/>
                <a:gd name="T23" fmla="*/ 178 h 178"/>
                <a:gd name="T24" fmla="*/ 178 w 178"/>
                <a:gd name="T25" fmla="*/ 178 h 178"/>
                <a:gd name="T26" fmla="*/ 178 w 178"/>
                <a:gd name="T27" fmla="*/ 0 h 178"/>
                <a:gd name="T28" fmla="*/ 0 w 178"/>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0"/>
                  </a:moveTo>
                  <a:cubicBezTo>
                    <a:pt x="0" y="78"/>
                    <a:pt x="0" y="78"/>
                    <a:pt x="0" y="78"/>
                  </a:cubicBezTo>
                  <a:cubicBezTo>
                    <a:pt x="4" y="78"/>
                    <a:pt x="4" y="78"/>
                    <a:pt x="4" y="78"/>
                  </a:cubicBezTo>
                  <a:cubicBezTo>
                    <a:pt x="10" y="78"/>
                    <a:pt x="14" y="78"/>
                    <a:pt x="19" y="79"/>
                  </a:cubicBezTo>
                  <a:cubicBezTo>
                    <a:pt x="21" y="79"/>
                    <a:pt x="21" y="79"/>
                    <a:pt x="21" y="79"/>
                  </a:cubicBezTo>
                  <a:cubicBezTo>
                    <a:pt x="21" y="21"/>
                    <a:pt x="21" y="21"/>
                    <a:pt x="21" y="21"/>
                  </a:cubicBezTo>
                  <a:cubicBezTo>
                    <a:pt x="157" y="21"/>
                    <a:pt x="157" y="21"/>
                    <a:pt x="157" y="21"/>
                  </a:cubicBezTo>
                  <a:cubicBezTo>
                    <a:pt x="157" y="157"/>
                    <a:pt x="157" y="157"/>
                    <a:pt x="157" y="157"/>
                  </a:cubicBezTo>
                  <a:cubicBezTo>
                    <a:pt x="101" y="157"/>
                    <a:pt x="101" y="157"/>
                    <a:pt x="101" y="157"/>
                  </a:cubicBezTo>
                  <a:cubicBezTo>
                    <a:pt x="102" y="160"/>
                    <a:pt x="102" y="160"/>
                    <a:pt x="102" y="160"/>
                  </a:cubicBezTo>
                  <a:cubicBezTo>
                    <a:pt x="103" y="165"/>
                    <a:pt x="103" y="171"/>
                    <a:pt x="103" y="176"/>
                  </a:cubicBezTo>
                  <a:cubicBezTo>
                    <a:pt x="103" y="178"/>
                    <a:pt x="103" y="178"/>
                    <a:pt x="103" y="178"/>
                  </a:cubicBezTo>
                  <a:cubicBezTo>
                    <a:pt x="178" y="178"/>
                    <a:pt x="178" y="178"/>
                    <a:pt x="178" y="178"/>
                  </a:cubicBezTo>
                  <a:cubicBezTo>
                    <a:pt x="178" y="0"/>
                    <a:pt x="178" y="0"/>
                    <a:pt x="17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 name="Freeform 15"/>
            <p:cNvSpPr>
              <a:spLocks/>
            </p:cNvSpPr>
            <p:nvPr/>
          </p:nvSpPr>
          <p:spPr bwMode="auto">
            <a:xfrm>
              <a:off x="5313363" y="-1925638"/>
              <a:ext cx="758825" cy="758825"/>
            </a:xfrm>
            <a:custGeom>
              <a:avLst/>
              <a:gdLst>
                <a:gd name="T0" fmla="*/ 0 w 178"/>
                <a:gd name="T1" fmla="*/ 178 h 178"/>
                <a:gd name="T2" fmla="*/ 48 w 178"/>
                <a:gd name="T3" fmla="*/ 178 h 178"/>
                <a:gd name="T4" fmla="*/ 48 w 178"/>
                <a:gd name="T5" fmla="*/ 177 h 178"/>
                <a:gd name="T6" fmla="*/ 57 w 178"/>
                <a:gd name="T7" fmla="*/ 160 h 178"/>
                <a:gd name="T8" fmla="*/ 59 w 178"/>
                <a:gd name="T9" fmla="*/ 157 h 178"/>
                <a:gd name="T10" fmla="*/ 21 w 178"/>
                <a:gd name="T11" fmla="*/ 157 h 178"/>
                <a:gd name="T12" fmla="*/ 21 w 178"/>
                <a:gd name="T13" fmla="*/ 21 h 178"/>
                <a:gd name="T14" fmla="*/ 157 w 178"/>
                <a:gd name="T15" fmla="*/ 21 h 178"/>
                <a:gd name="T16" fmla="*/ 157 w 178"/>
                <a:gd name="T17" fmla="*/ 93 h 178"/>
                <a:gd name="T18" fmla="*/ 160 w 178"/>
                <a:gd name="T19" fmla="*/ 91 h 178"/>
                <a:gd name="T20" fmla="*/ 177 w 178"/>
                <a:gd name="T21" fmla="*/ 83 h 178"/>
                <a:gd name="T22" fmla="*/ 178 w 178"/>
                <a:gd name="T23" fmla="*/ 83 h 178"/>
                <a:gd name="T24" fmla="*/ 178 w 178"/>
                <a:gd name="T25" fmla="*/ 0 h 178"/>
                <a:gd name="T26" fmla="*/ 0 w 178"/>
                <a:gd name="T27" fmla="*/ 0 h 178"/>
                <a:gd name="T28" fmla="*/ 0 w 178"/>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178"/>
                  </a:moveTo>
                  <a:cubicBezTo>
                    <a:pt x="48" y="178"/>
                    <a:pt x="48" y="178"/>
                    <a:pt x="48" y="178"/>
                  </a:cubicBezTo>
                  <a:cubicBezTo>
                    <a:pt x="48" y="177"/>
                    <a:pt x="48" y="177"/>
                    <a:pt x="48" y="177"/>
                  </a:cubicBezTo>
                  <a:cubicBezTo>
                    <a:pt x="50" y="171"/>
                    <a:pt x="53" y="166"/>
                    <a:pt x="57" y="160"/>
                  </a:cubicBezTo>
                  <a:cubicBezTo>
                    <a:pt x="59" y="157"/>
                    <a:pt x="59" y="157"/>
                    <a:pt x="59" y="157"/>
                  </a:cubicBezTo>
                  <a:cubicBezTo>
                    <a:pt x="21" y="157"/>
                    <a:pt x="21" y="157"/>
                    <a:pt x="21" y="157"/>
                  </a:cubicBezTo>
                  <a:cubicBezTo>
                    <a:pt x="21" y="21"/>
                    <a:pt x="21" y="21"/>
                    <a:pt x="21" y="21"/>
                  </a:cubicBezTo>
                  <a:cubicBezTo>
                    <a:pt x="157" y="21"/>
                    <a:pt x="157" y="21"/>
                    <a:pt x="157" y="21"/>
                  </a:cubicBezTo>
                  <a:cubicBezTo>
                    <a:pt x="157" y="93"/>
                    <a:pt x="157" y="93"/>
                    <a:pt x="157" y="93"/>
                  </a:cubicBezTo>
                  <a:cubicBezTo>
                    <a:pt x="160" y="91"/>
                    <a:pt x="160" y="91"/>
                    <a:pt x="160" y="91"/>
                  </a:cubicBezTo>
                  <a:cubicBezTo>
                    <a:pt x="165" y="88"/>
                    <a:pt x="171" y="86"/>
                    <a:pt x="177" y="83"/>
                  </a:cubicBezTo>
                  <a:cubicBezTo>
                    <a:pt x="178" y="83"/>
                    <a:pt x="178" y="83"/>
                    <a:pt x="178" y="83"/>
                  </a:cubicBezTo>
                  <a:cubicBezTo>
                    <a:pt x="178" y="0"/>
                    <a:pt x="178" y="0"/>
                    <a:pt x="178" y="0"/>
                  </a:cubicBezTo>
                  <a:cubicBezTo>
                    <a:pt x="0" y="0"/>
                    <a:pt x="0" y="0"/>
                    <a:pt x="0" y="0"/>
                  </a:cubicBezTo>
                  <a:lnTo>
                    <a:pt x="0"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5" name="Group 24"/>
          <p:cNvGrpSpPr/>
          <p:nvPr/>
        </p:nvGrpSpPr>
        <p:grpSpPr>
          <a:xfrm>
            <a:off x="4129987" y="2348467"/>
            <a:ext cx="888187" cy="606566"/>
            <a:chOff x="6011863" y="-1889125"/>
            <a:chExt cx="1887538" cy="1289050"/>
          </a:xfrm>
          <a:solidFill>
            <a:schemeClr val="tx2"/>
          </a:solidFill>
        </p:grpSpPr>
        <p:sp>
          <p:nvSpPr>
            <p:cNvPr id="22" name="Freeform 19"/>
            <p:cNvSpPr>
              <a:spLocks noEditPoints="1"/>
            </p:cNvSpPr>
            <p:nvPr/>
          </p:nvSpPr>
          <p:spPr bwMode="auto">
            <a:xfrm>
              <a:off x="6011863" y="-1889125"/>
              <a:ext cx="1887538" cy="1289050"/>
            </a:xfrm>
            <a:custGeom>
              <a:avLst/>
              <a:gdLst>
                <a:gd name="T0" fmla="*/ 333 w 443"/>
                <a:gd name="T1" fmla="*/ 70 h 302"/>
                <a:gd name="T2" fmla="*/ 332 w 443"/>
                <a:gd name="T3" fmla="*/ 70 h 302"/>
                <a:gd name="T4" fmla="*/ 332 w 443"/>
                <a:gd name="T5" fmla="*/ 69 h 302"/>
                <a:gd name="T6" fmla="*/ 222 w 443"/>
                <a:gd name="T7" fmla="*/ 0 h 302"/>
                <a:gd name="T8" fmla="*/ 98 w 443"/>
                <a:gd name="T9" fmla="*/ 110 h 302"/>
                <a:gd name="T10" fmla="*/ 98 w 443"/>
                <a:gd name="T11" fmla="*/ 111 h 302"/>
                <a:gd name="T12" fmla="*/ 96 w 443"/>
                <a:gd name="T13" fmla="*/ 111 h 302"/>
                <a:gd name="T14" fmla="*/ 0 w 443"/>
                <a:gd name="T15" fmla="*/ 207 h 302"/>
                <a:gd name="T16" fmla="*/ 96 w 443"/>
                <a:gd name="T17" fmla="*/ 302 h 302"/>
                <a:gd name="T18" fmla="*/ 326 w 443"/>
                <a:gd name="T19" fmla="*/ 302 h 302"/>
                <a:gd name="T20" fmla="*/ 443 w 443"/>
                <a:gd name="T21" fmla="*/ 186 h 302"/>
                <a:gd name="T22" fmla="*/ 333 w 443"/>
                <a:gd name="T23" fmla="*/ 70 h 302"/>
                <a:gd name="T24" fmla="*/ 420 w 443"/>
                <a:gd name="T25" fmla="*/ 186 h 302"/>
                <a:gd name="T26" fmla="*/ 326 w 443"/>
                <a:gd name="T27" fmla="*/ 279 h 302"/>
                <a:gd name="T28" fmla="*/ 96 w 443"/>
                <a:gd name="T29" fmla="*/ 279 h 302"/>
                <a:gd name="T30" fmla="*/ 44 w 443"/>
                <a:gd name="T31" fmla="*/ 258 h 302"/>
                <a:gd name="T32" fmla="*/ 23 w 443"/>
                <a:gd name="T33" fmla="*/ 207 h 302"/>
                <a:gd name="T34" fmla="*/ 44 w 443"/>
                <a:gd name="T35" fmla="*/ 156 h 302"/>
                <a:gd name="T36" fmla="*/ 96 w 443"/>
                <a:gd name="T37" fmla="*/ 135 h 302"/>
                <a:gd name="T38" fmla="*/ 118 w 443"/>
                <a:gd name="T39" fmla="*/ 135 h 302"/>
                <a:gd name="T40" fmla="*/ 121 w 443"/>
                <a:gd name="T41" fmla="*/ 112 h 302"/>
                <a:gd name="T42" fmla="*/ 153 w 443"/>
                <a:gd name="T43" fmla="*/ 49 h 302"/>
                <a:gd name="T44" fmla="*/ 222 w 443"/>
                <a:gd name="T45" fmla="*/ 24 h 302"/>
                <a:gd name="T46" fmla="*/ 311 w 443"/>
                <a:gd name="T47" fmla="*/ 79 h 302"/>
                <a:gd name="T48" fmla="*/ 317 w 443"/>
                <a:gd name="T49" fmla="*/ 91 h 302"/>
                <a:gd name="T50" fmla="*/ 331 w 443"/>
                <a:gd name="T51" fmla="*/ 93 h 302"/>
                <a:gd name="T52" fmla="*/ 420 w 443"/>
                <a:gd name="T53" fmla="*/ 18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3" h="302">
                  <a:moveTo>
                    <a:pt x="333" y="70"/>
                  </a:moveTo>
                  <a:cubicBezTo>
                    <a:pt x="332" y="70"/>
                    <a:pt x="332" y="70"/>
                    <a:pt x="332" y="70"/>
                  </a:cubicBezTo>
                  <a:cubicBezTo>
                    <a:pt x="332" y="69"/>
                    <a:pt x="332" y="69"/>
                    <a:pt x="332" y="69"/>
                  </a:cubicBezTo>
                  <a:cubicBezTo>
                    <a:pt x="311" y="28"/>
                    <a:pt x="267" y="0"/>
                    <a:pt x="222" y="0"/>
                  </a:cubicBezTo>
                  <a:cubicBezTo>
                    <a:pt x="158" y="0"/>
                    <a:pt x="105" y="47"/>
                    <a:pt x="98" y="110"/>
                  </a:cubicBezTo>
                  <a:cubicBezTo>
                    <a:pt x="98" y="111"/>
                    <a:pt x="98" y="111"/>
                    <a:pt x="98" y="111"/>
                  </a:cubicBezTo>
                  <a:cubicBezTo>
                    <a:pt x="96" y="111"/>
                    <a:pt x="96" y="111"/>
                    <a:pt x="96" y="111"/>
                  </a:cubicBezTo>
                  <a:cubicBezTo>
                    <a:pt x="43" y="111"/>
                    <a:pt x="0" y="154"/>
                    <a:pt x="0" y="207"/>
                  </a:cubicBezTo>
                  <a:cubicBezTo>
                    <a:pt x="0" y="261"/>
                    <a:pt x="41" y="302"/>
                    <a:pt x="96" y="302"/>
                  </a:cubicBezTo>
                  <a:cubicBezTo>
                    <a:pt x="326" y="302"/>
                    <a:pt x="326" y="302"/>
                    <a:pt x="326" y="302"/>
                  </a:cubicBezTo>
                  <a:cubicBezTo>
                    <a:pt x="390" y="302"/>
                    <a:pt x="443" y="249"/>
                    <a:pt x="443" y="186"/>
                  </a:cubicBezTo>
                  <a:cubicBezTo>
                    <a:pt x="443" y="126"/>
                    <a:pt x="397" y="77"/>
                    <a:pt x="333" y="70"/>
                  </a:cubicBezTo>
                  <a:close/>
                  <a:moveTo>
                    <a:pt x="420" y="186"/>
                  </a:moveTo>
                  <a:cubicBezTo>
                    <a:pt x="420" y="236"/>
                    <a:pt x="377" y="279"/>
                    <a:pt x="326" y="279"/>
                  </a:cubicBezTo>
                  <a:cubicBezTo>
                    <a:pt x="96" y="279"/>
                    <a:pt x="96" y="279"/>
                    <a:pt x="96" y="279"/>
                  </a:cubicBezTo>
                  <a:cubicBezTo>
                    <a:pt x="76" y="279"/>
                    <a:pt x="57" y="272"/>
                    <a:pt x="44" y="258"/>
                  </a:cubicBezTo>
                  <a:cubicBezTo>
                    <a:pt x="31" y="245"/>
                    <a:pt x="23" y="227"/>
                    <a:pt x="23" y="207"/>
                  </a:cubicBezTo>
                  <a:cubicBezTo>
                    <a:pt x="23" y="188"/>
                    <a:pt x="31" y="170"/>
                    <a:pt x="44" y="156"/>
                  </a:cubicBezTo>
                  <a:cubicBezTo>
                    <a:pt x="58" y="142"/>
                    <a:pt x="76" y="135"/>
                    <a:pt x="96" y="135"/>
                  </a:cubicBezTo>
                  <a:cubicBezTo>
                    <a:pt x="118" y="135"/>
                    <a:pt x="118" y="135"/>
                    <a:pt x="118" y="135"/>
                  </a:cubicBezTo>
                  <a:cubicBezTo>
                    <a:pt x="121" y="112"/>
                    <a:pt x="121" y="112"/>
                    <a:pt x="121" y="112"/>
                  </a:cubicBezTo>
                  <a:cubicBezTo>
                    <a:pt x="124" y="88"/>
                    <a:pt x="135" y="66"/>
                    <a:pt x="153" y="49"/>
                  </a:cubicBezTo>
                  <a:cubicBezTo>
                    <a:pt x="172" y="33"/>
                    <a:pt x="196" y="24"/>
                    <a:pt x="222" y="24"/>
                  </a:cubicBezTo>
                  <a:cubicBezTo>
                    <a:pt x="258" y="24"/>
                    <a:pt x="294" y="46"/>
                    <a:pt x="311" y="79"/>
                  </a:cubicBezTo>
                  <a:cubicBezTo>
                    <a:pt x="317" y="91"/>
                    <a:pt x="317" y="91"/>
                    <a:pt x="317" y="91"/>
                  </a:cubicBezTo>
                  <a:cubicBezTo>
                    <a:pt x="331" y="93"/>
                    <a:pt x="331" y="93"/>
                    <a:pt x="331" y="93"/>
                  </a:cubicBezTo>
                  <a:cubicBezTo>
                    <a:pt x="382" y="99"/>
                    <a:pt x="420" y="138"/>
                    <a:pt x="420" y="1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 name="Freeform 20"/>
            <p:cNvSpPr>
              <a:spLocks/>
            </p:cNvSpPr>
            <p:nvPr/>
          </p:nvSpPr>
          <p:spPr bwMode="auto">
            <a:xfrm>
              <a:off x="6723063" y="-1363663"/>
              <a:ext cx="307975" cy="465138"/>
            </a:xfrm>
            <a:custGeom>
              <a:avLst/>
              <a:gdLst>
                <a:gd name="T0" fmla="*/ 46 w 194"/>
                <a:gd name="T1" fmla="*/ 293 h 293"/>
                <a:gd name="T2" fmla="*/ 0 w 194"/>
                <a:gd name="T3" fmla="*/ 247 h 293"/>
                <a:gd name="T4" fmla="*/ 102 w 194"/>
                <a:gd name="T5" fmla="*/ 148 h 293"/>
                <a:gd name="T6" fmla="*/ 0 w 194"/>
                <a:gd name="T7" fmla="*/ 45 h 293"/>
                <a:gd name="T8" fmla="*/ 46 w 194"/>
                <a:gd name="T9" fmla="*/ 0 h 293"/>
                <a:gd name="T10" fmla="*/ 194 w 194"/>
                <a:gd name="T11" fmla="*/ 148 h 293"/>
                <a:gd name="T12" fmla="*/ 46 w 194"/>
                <a:gd name="T13" fmla="*/ 293 h 293"/>
              </a:gdLst>
              <a:ahLst/>
              <a:cxnLst>
                <a:cxn ang="0">
                  <a:pos x="T0" y="T1"/>
                </a:cxn>
                <a:cxn ang="0">
                  <a:pos x="T2" y="T3"/>
                </a:cxn>
                <a:cxn ang="0">
                  <a:pos x="T4" y="T5"/>
                </a:cxn>
                <a:cxn ang="0">
                  <a:pos x="T6" y="T7"/>
                </a:cxn>
                <a:cxn ang="0">
                  <a:pos x="T8" y="T9"/>
                </a:cxn>
                <a:cxn ang="0">
                  <a:pos x="T10" y="T11"/>
                </a:cxn>
                <a:cxn ang="0">
                  <a:pos x="T12" y="T13"/>
                </a:cxn>
              </a:cxnLst>
              <a:rect l="0" t="0" r="r" b="b"/>
              <a:pathLst>
                <a:path w="194" h="293">
                  <a:moveTo>
                    <a:pt x="46" y="293"/>
                  </a:moveTo>
                  <a:lnTo>
                    <a:pt x="0" y="247"/>
                  </a:lnTo>
                  <a:lnTo>
                    <a:pt x="102" y="148"/>
                  </a:lnTo>
                  <a:lnTo>
                    <a:pt x="0" y="45"/>
                  </a:lnTo>
                  <a:lnTo>
                    <a:pt x="46" y="0"/>
                  </a:lnTo>
                  <a:lnTo>
                    <a:pt x="194" y="148"/>
                  </a:lnTo>
                  <a:lnTo>
                    <a:pt x="46"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 name="Rectangle 21"/>
            <p:cNvSpPr>
              <a:spLocks noChangeArrowheads="1"/>
            </p:cNvSpPr>
            <p:nvPr/>
          </p:nvSpPr>
          <p:spPr bwMode="auto">
            <a:xfrm>
              <a:off x="7051676" y="-984250"/>
              <a:ext cx="392113"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40" name="Group 239"/>
          <p:cNvGrpSpPr/>
          <p:nvPr/>
        </p:nvGrpSpPr>
        <p:grpSpPr>
          <a:xfrm>
            <a:off x="9457299" y="2062850"/>
            <a:ext cx="1312074" cy="1002663"/>
            <a:chOff x="7356475" y="-1781175"/>
            <a:chExt cx="1958974" cy="1497013"/>
          </a:xfrm>
          <a:solidFill>
            <a:schemeClr val="tx2"/>
          </a:solidFill>
        </p:grpSpPr>
        <p:sp>
          <p:nvSpPr>
            <p:cNvPr id="29" name="Freeform 25"/>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26"/>
            <p:cNvSpPr>
              <a:spLocks noEditPoints="1"/>
            </p:cNvSpPr>
            <p:nvPr/>
          </p:nvSpPr>
          <p:spPr bwMode="auto">
            <a:xfrm>
              <a:off x="7394575" y="-1470025"/>
              <a:ext cx="1920874" cy="1027113"/>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27"/>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8" name="Freeform 28"/>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9" name="Freeform 29"/>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32" name="Group 31"/>
          <p:cNvGrpSpPr/>
          <p:nvPr/>
        </p:nvGrpSpPr>
        <p:grpSpPr>
          <a:xfrm>
            <a:off x="6840935" y="2235163"/>
            <a:ext cx="1019171" cy="801582"/>
            <a:chOff x="6529388" y="2047876"/>
            <a:chExt cx="1435100" cy="1128712"/>
          </a:xfrm>
          <a:solidFill>
            <a:schemeClr val="tx2"/>
          </a:solidFill>
        </p:grpSpPr>
        <p:sp>
          <p:nvSpPr>
            <p:cNvPr id="247" name="Freeform 33"/>
            <p:cNvSpPr>
              <a:spLocks/>
            </p:cNvSpPr>
            <p:nvPr/>
          </p:nvSpPr>
          <p:spPr bwMode="auto">
            <a:xfrm>
              <a:off x="7742238" y="2052638"/>
              <a:ext cx="222250" cy="1123950"/>
            </a:xfrm>
            <a:custGeom>
              <a:avLst/>
              <a:gdLst>
                <a:gd name="T0" fmla="*/ 0 w 52"/>
                <a:gd name="T1" fmla="*/ 263 h 263"/>
                <a:gd name="T2" fmla="*/ 0 w 52"/>
                <a:gd name="T3" fmla="*/ 246 h 263"/>
                <a:gd name="T4" fmla="*/ 9 w 52"/>
                <a:gd name="T5" fmla="*/ 246 h 263"/>
                <a:gd name="T6" fmla="*/ 15 w 52"/>
                <a:gd name="T7" fmla="*/ 243 h 263"/>
                <a:gd name="T8" fmla="*/ 18 w 52"/>
                <a:gd name="T9" fmla="*/ 237 h 263"/>
                <a:gd name="T10" fmla="*/ 18 w 52"/>
                <a:gd name="T11" fmla="*/ 148 h 263"/>
                <a:gd name="T12" fmla="*/ 24 w 52"/>
                <a:gd name="T13" fmla="*/ 132 h 263"/>
                <a:gd name="T14" fmla="*/ 25 w 52"/>
                <a:gd name="T15" fmla="*/ 131 h 263"/>
                <a:gd name="T16" fmla="*/ 24 w 52"/>
                <a:gd name="T17" fmla="*/ 130 h 263"/>
                <a:gd name="T18" fmla="*/ 18 w 52"/>
                <a:gd name="T19" fmla="*/ 114 h 263"/>
                <a:gd name="T20" fmla="*/ 18 w 52"/>
                <a:gd name="T21" fmla="*/ 25 h 263"/>
                <a:gd name="T22" fmla="*/ 15 w 52"/>
                <a:gd name="T23" fmla="*/ 19 h 263"/>
                <a:gd name="T24" fmla="*/ 13 w 52"/>
                <a:gd name="T25" fmla="*/ 17 h 263"/>
                <a:gd name="T26" fmla="*/ 9 w 52"/>
                <a:gd name="T27" fmla="*/ 16 h 263"/>
                <a:gd name="T28" fmla="*/ 0 w 52"/>
                <a:gd name="T29" fmla="*/ 16 h 263"/>
                <a:gd name="T30" fmla="*/ 0 w 52"/>
                <a:gd name="T31" fmla="*/ 0 h 263"/>
                <a:gd name="T32" fmla="*/ 9 w 52"/>
                <a:gd name="T33" fmla="*/ 0 h 263"/>
                <a:gd name="T34" fmla="*/ 19 w 52"/>
                <a:gd name="T35" fmla="*/ 2 h 263"/>
                <a:gd name="T36" fmla="*/ 27 w 52"/>
                <a:gd name="T37" fmla="*/ 7 h 263"/>
                <a:gd name="T38" fmla="*/ 35 w 52"/>
                <a:gd name="T39" fmla="*/ 25 h 263"/>
                <a:gd name="T40" fmla="*/ 35 w 52"/>
                <a:gd name="T41" fmla="*/ 114 h 263"/>
                <a:gd name="T42" fmla="*/ 37 w 52"/>
                <a:gd name="T43" fmla="*/ 120 h 263"/>
                <a:gd name="T44" fmla="*/ 43 w 52"/>
                <a:gd name="T45" fmla="*/ 123 h 263"/>
                <a:gd name="T46" fmla="*/ 52 w 52"/>
                <a:gd name="T47" fmla="*/ 123 h 263"/>
                <a:gd name="T48" fmla="*/ 52 w 52"/>
                <a:gd name="T49" fmla="*/ 139 h 263"/>
                <a:gd name="T50" fmla="*/ 43 w 52"/>
                <a:gd name="T51" fmla="*/ 139 h 263"/>
                <a:gd name="T52" fmla="*/ 37 w 52"/>
                <a:gd name="T53" fmla="*/ 142 h 263"/>
                <a:gd name="T54" fmla="*/ 35 w 52"/>
                <a:gd name="T55" fmla="*/ 148 h 263"/>
                <a:gd name="T56" fmla="*/ 35 w 52"/>
                <a:gd name="T57" fmla="*/ 237 h 263"/>
                <a:gd name="T58" fmla="*/ 27 w 52"/>
                <a:gd name="T59" fmla="*/ 255 h 263"/>
                <a:gd name="T60" fmla="*/ 9 w 52"/>
                <a:gd name="T61" fmla="*/ 263 h 263"/>
                <a:gd name="T62" fmla="*/ 0 w 52"/>
                <a:gd name="T6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63">
                  <a:moveTo>
                    <a:pt x="0" y="263"/>
                  </a:moveTo>
                  <a:cubicBezTo>
                    <a:pt x="0" y="246"/>
                    <a:pt x="0" y="246"/>
                    <a:pt x="0" y="246"/>
                  </a:cubicBezTo>
                  <a:cubicBezTo>
                    <a:pt x="9" y="246"/>
                    <a:pt x="9" y="246"/>
                    <a:pt x="9" y="246"/>
                  </a:cubicBezTo>
                  <a:cubicBezTo>
                    <a:pt x="12" y="246"/>
                    <a:pt x="14" y="245"/>
                    <a:pt x="15" y="243"/>
                  </a:cubicBezTo>
                  <a:cubicBezTo>
                    <a:pt x="17" y="242"/>
                    <a:pt x="18" y="240"/>
                    <a:pt x="18" y="237"/>
                  </a:cubicBezTo>
                  <a:cubicBezTo>
                    <a:pt x="18" y="148"/>
                    <a:pt x="18" y="148"/>
                    <a:pt x="18" y="148"/>
                  </a:cubicBezTo>
                  <a:cubicBezTo>
                    <a:pt x="18" y="143"/>
                    <a:pt x="20" y="137"/>
                    <a:pt x="24" y="132"/>
                  </a:cubicBezTo>
                  <a:cubicBezTo>
                    <a:pt x="25" y="131"/>
                    <a:pt x="25" y="131"/>
                    <a:pt x="25" y="131"/>
                  </a:cubicBezTo>
                  <a:cubicBezTo>
                    <a:pt x="24" y="130"/>
                    <a:pt x="24" y="130"/>
                    <a:pt x="24" y="130"/>
                  </a:cubicBezTo>
                  <a:cubicBezTo>
                    <a:pt x="20" y="125"/>
                    <a:pt x="18" y="120"/>
                    <a:pt x="18" y="114"/>
                  </a:cubicBezTo>
                  <a:cubicBezTo>
                    <a:pt x="18" y="25"/>
                    <a:pt x="18" y="25"/>
                    <a:pt x="18" y="25"/>
                  </a:cubicBezTo>
                  <a:cubicBezTo>
                    <a:pt x="18" y="23"/>
                    <a:pt x="17" y="21"/>
                    <a:pt x="15" y="19"/>
                  </a:cubicBezTo>
                  <a:cubicBezTo>
                    <a:pt x="15" y="18"/>
                    <a:pt x="14" y="18"/>
                    <a:pt x="13" y="17"/>
                  </a:cubicBezTo>
                  <a:cubicBezTo>
                    <a:pt x="12" y="17"/>
                    <a:pt x="11" y="16"/>
                    <a:pt x="9" y="16"/>
                  </a:cubicBezTo>
                  <a:cubicBezTo>
                    <a:pt x="0" y="16"/>
                    <a:pt x="0" y="16"/>
                    <a:pt x="0" y="16"/>
                  </a:cubicBezTo>
                  <a:cubicBezTo>
                    <a:pt x="0" y="0"/>
                    <a:pt x="0" y="0"/>
                    <a:pt x="0" y="0"/>
                  </a:cubicBezTo>
                  <a:cubicBezTo>
                    <a:pt x="9" y="0"/>
                    <a:pt x="9" y="0"/>
                    <a:pt x="9" y="0"/>
                  </a:cubicBezTo>
                  <a:cubicBezTo>
                    <a:pt x="12" y="0"/>
                    <a:pt x="16" y="0"/>
                    <a:pt x="19" y="2"/>
                  </a:cubicBezTo>
                  <a:cubicBezTo>
                    <a:pt x="22" y="3"/>
                    <a:pt x="25" y="5"/>
                    <a:pt x="27" y="7"/>
                  </a:cubicBezTo>
                  <a:cubicBezTo>
                    <a:pt x="32" y="12"/>
                    <a:pt x="35" y="18"/>
                    <a:pt x="35" y="25"/>
                  </a:cubicBezTo>
                  <a:cubicBezTo>
                    <a:pt x="35" y="114"/>
                    <a:pt x="35" y="114"/>
                    <a:pt x="35" y="114"/>
                  </a:cubicBezTo>
                  <a:cubicBezTo>
                    <a:pt x="35" y="117"/>
                    <a:pt x="36" y="119"/>
                    <a:pt x="37" y="120"/>
                  </a:cubicBezTo>
                  <a:cubicBezTo>
                    <a:pt x="39" y="122"/>
                    <a:pt x="41" y="123"/>
                    <a:pt x="43" y="123"/>
                  </a:cubicBezTo>
                  <a:cubicBezTo>
                    <a:pt x="52" y="123"/>
                    <a:pt x="52" y="123"/>
                    <a:pt x="52" y="123"/>
                  </a:cubicBezTo>
                  <a:cubicBezTo>
                    <a:pt x="52" y="139"/>
                    <a:pt x="52" y="139"/>
                    <a:pt x="52" y="139"/>
                  </a:cubicBezTo>
                  <a:cubicBezTo>
                    <a:pt x="43" y="139"/>
                    <a:pt x="43" y="139"/>
                    <a:pt x="43" y="139"/>
                  </a:cubicBezTo>
                  <a:cubicBezTo>
                    <a:pt x="41" y="139"/>
                    <a:pt x="39" y="140"/>
                    <a:pt x="37" y="142"/>
                  </a:cubicBezTo>
                  <a:cubicBezTo>
                    <a:pt x="36" y="144"/>
                    <a:pt x="35" y="146"/>
                    <a:pt x="35" y="148"/>
                  </a:cubicBezTo>
                  <a:cubicBezTo>
                    <a:pt x="35" y="237"/>
                    <a:pt x="35" y="237"/>
                    <a:pt x="35" y="237"/>
                  </a:cubicBezTo>
                  <a:cubicBezTo>
                    <a:pt x="35" y="244"/>
                    <a:pt x="32" y="250"/>
                    <a:pt x="27" y="255"/>
                  </a:cubicBezTo>
                  <a:cubicBezTo>
                    <a:pt x="23" y="260"/>
                    <a:pt x="16" y="263"/>
                    <a:pt x="9" y="263"/>
                  </a:cubicBezTo>
                  <a:lnTo>
                    <a:pt x="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8" name="Freeform 34"/>
            <p:cNvSpPr>
              <a:spLocks noEditPoints="1"/>
            </p:cNvSpPr>
            <p:nvPr/>
          </p:nvSpPr>
          <p:spPr bwMode="auto">
            <a:xfrm>
              <a:off x="6840538" y="2143125"/>
              <a:ext cx="803275" cy="866775"/>
            </a:xfrm>
            <a:custGeom>
              <a:avLst/>
              <a:gdLst>
                <a:gd name="T0" fmla="*/ 132 w 188"/>
                <a:gd name="T1" fmla="*/ 201 h 203"/>
                <a:gd name="T2" fmla="*/ 129 w 188"/>
                <a:gd name="T3" fmla="*/ 153 h 203"/>
                <a:gd name="T4" fmla="*/ 138 w 188"/>
                <a:gd name="T5" fmla="*/ 144 h 203"/>
                <a:gd name="T6" fmla="*/ 150 w 188"/>
                <a:gd name="T7" fmla="*/ 125 h 203"/>
                <a:gd name="T8" fmla="*/ 143 w 188"/>
                <a:gd name="T9" fmla="*/ 116 h 203"/>
                <a:gd name="T10" fmla="*/ 95 w 188"/>
                <a:gd name="T11" fmla="*/ 103 h 203"/>
                <a:gd name="T12" fmla="*/ 93 w 188"/>
                <a:gd name="T13" fmla="*/ 103 h 203"/>
                <a:gd name="T14" fmla="*/ 46 w 188"/>
                <a:gd name="T15" fmla="*/ 116 h 203"/>
                <a:gd name="T16" fmla="*/ 39 w 188"/>
                <a:gd name="T17" fmla="*/ 125 h 203"/>
                <a:gd name="T18" fmla="*/ 50 w 188"/>
                <a:gd name="T19" fmla="*/ 144 h 203"/>
                <a:gd name="T20" fmla="*/ 56 w 188"/>
                <a:gd name="T21" fmla="*/ 146 h 203"/>
                <a:gd name="T22" fmla="*/ 59 w 188"/>
                <a:gd name="T23" fmla="*/ 194 h 203"/>
                <a:gd name="T24" fmla="*/ 50 w 188"/>
                <a:gd name="T25" fmla="*/ 203 h 203"/>
                <a:gd name="T26" fmla="*/ 2 w 188"/>
                <a:gd name="T27" fmla="*/ 201 h 203"/>
                <a:gd name="T28" fmla="*/ 0 w 188"/>
                <a:gd name="T29" fmla="*/ 153 h 203"/>
                <a:gd name="T30" fmla="*/ 9 w 188"/>
                <a:gd name="T31" fmla="*/ 144 h 203"/>
                <a:gd name="T32" fmla="*/ 22 w 188"/>
                <a:gd name="T33" fmla="*/ 125 h 203"/>
                <a:gd name="T34" fmla="*/ 42 w 188"/>
                <a:gd name="T35" fmla="*/ 100 h 203"/>
                <a:gd name="T36" fmla="*/ 84 w 188"/>
                <a:gd name="T37" fmla="*/ 88 h 203"/>
                <a:gd name="T38" fmla="*/ 86 w 188"/>
                <a:gd name="T39" fmla="*/ 62 h 203"/>
                <a:gd name="T40" fmla="*/ 65 w 188"/>
                <a:gd name="T41" fmla="*/ 59 h 203"/>
                <a:gd name="T42" fmla="*/ 62 w 188"/>
                <a:gd name="T43" fmla="*/ 10 h 203"/>
                <a:gd name="T44" fmla="*/ 73 w 188"/>
                <a:gd name="T45" fmla="*/ 0 h 203"/>
                <a:gd name="T46" fmla="*/ 117 w 188"/>
                <a:gd name="T47" fmla="*/ 1 h 203"/>
                <a:gd name="T48" fmla="*/ 124 w 188"/>
                <a:gd name="T49" fmla="*/ 10 h 203"/>
                <a:gd name="T50" fmla="*/ 121 w 188"/>
                <a:gd name="T51" fmla="*/ 59 h 203"/>
                <a:gd name="T52" fmla="*/ 102 w 188"/>
                <a:gd name="T53" fmla="*/ 62 h 203"/>
                <a:gd name="T54" fmla="*/ 104 w 188"/>
                <a:gd name="T55" fmla="*/ 88 h 203"/>
                <a:gd name="T56" fmla="*/ 146 w 188"/>
                <a:gd name="T57" fmla="*/ 100 h 203"/>
                <a:gd name="T58" fmla="*/ 166 w 188"/>
                <a:gd name="T59" fmla="*/ 125 h 203"/>
                <a:gd name="T60" fmla="*/ 179 w 188"/>
                <a:gd name="T61" fmla="*/ 144 h 203"/>
                <a:gd name="T62" fmla="*/ 185 w 188"/>
                <a:gd name="T63" fmla="*/ 146 h 203"/>
                <a:gd name="T64" fmla="*/ 188 w 188"/>
                <a:gd name="T65" fmla="*/ 194 h 203"/>
                <a:gd name="T66" fmla="*/ 179 w 188"/>
                <a:gd name="T67" fmla="*/ 203 h 203"/>
                <a:gd name="T68" fmla="*/ 144 w 188"/>
                <a:gd name="T69" fmla="*/ 188 h 203"/>
                <a:gd name="T70" fmla="*/ 173 w 188"/>
                <a:gd name="T71" fmla="*/ 159 h 203"/>
                <a:gd name="T72" fmla="*/ 144 w 188"/>
                <a:gd name="T73" fmla="*/ 188 h 203"/>
                <a:gd name="T74" fmla="*/ 43 w 188"/>
                <a:gd name="T75" fmla="*/ 188 h 203"/>
                <a:gd name="T76" fmla="*/ 15 w 188"/>
                <a:gd name="T77" fmla="*/ 159 h 203"/>
                <a:gd name="T78" fmla="*/ 79 w 188"/>
                <a:gd name="T79" fmla="*/ 45 h 203"/>
                <a:gd name="T80" fmla="*/ 107 w 188"/>
                <a:gd name="T81" fmla="*/ 16 h 203"/>
                <a:gd name="T82" fmla="*/ 79 w 188"/>
                <a:gd name="T83" fmla="*/ 4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03">
                  <a:moveTo>
                    <a:pt x="138" y="203"/>
                  </a:moveTo>
                  <a:cubicBezTo>
                    <a:pt x="135" y="203"/>
                    <a:pt x="133" y="202"/>
                    <a:pt x="132" y="201"/>
                  </a:cubicBezTo>
                  <a:cubicBezTo>
                    <a:pt x="130" y="199"/>
                    <a:pt x="129" y="196"/>
                    <a:pt x="129" y="194"/>
                  </a:cubicBezTo>
                  <a:cubicBezTo>
                    <a:pt x="129" y="153"/>
                    <a:pt x="129" y="153"/>
                    <a:pt x="129" y="153"/>
                  </a:cubicBezTo>
                  <a:cubicBezTo>
                    <a:pt x="129" y="150"/>
                    <a:pt x="130" y="148"/>
                    <a:pt x="132" y="146"/>
                  </a:cubicBezTo>
                  <a:cubicBezTo>
                    <a:pt x="133" y="145"/>
                    <a:pt x="135" y="144"/>
                    <a:pt x="138" y="144"/>
                  </a:cubicBezTo>
                  <a:cubicBezTo>
                    <a:pt x="150" y="144"/>
                    <a:pt x="150" y="144"/>
                    <a:pt x="150" y="144"/>
                  </a:cubicBezTo>
                  <a:cubicBezTo>
                    <a:pt x="150" y="125"/>
                    <a:pt x="150" y="125"/>
                    <a:pt x="150" y="125"/>
                  </a:cubicBezTo>
                  <a:cubicBezTo>
                    <a:pt x="150" y="123"/>
                    <a:pt x="149" y="121"/>
                    <a:pt x="147" y="120"/>
                  </a:cubicBezTo>
                  <a:cubicBezTo>
                    <a:pt x="146" y="118"/>
                    <a:pt x="145" y="117"/>
                    <a:pt x="143" y="116"/>
                  </a:cubicBezTo>
                  <a:cubicBezTo>
                    <a:pt x="106" y="108"/>
                    <a:pt x="106" y="108"/>
                    <a:pt x="106" y="108"/>
                  </a:cubicBezTo>
                  <a:cubicBezTo>
                    <a:pt x="102" y="107"/>
                    <a:pt x="98" y="105"/>
                    <a:pt x="95" y="103"/>
                  </a:cubicBezTo>
                  <a:cubicBezTo>
                    <a:pt x="94" y="102"/>
                    <a:pt x="94" y="102"/>
                    <a:pt x="94" y="102"/>
                  </a:cubicBezTo>
                  <a:cubicBezTo>
                    <a:pt x="93" y="103"/>
                    <a:pt x="93" y="103"/>
                    <a:pt x="93" y="103"/>
                  </a:cubicBezTo>
                  <a:cubicBezTo>
                    <a:pt x="90" y="105"/>
                    <a:pt x="87" y="107"/>
                    <a:pt x="83" y="108"/>
                  </a:cubicBezTo>
                  <a:cubicBezTo>
                    <a:pt x="46" y="116"/>
                    <a:pt x="46" y="116"/>
                    <a:pt x="46" y="116"/>
                  </a:cubicBezTo>
                  <a:cubicBezTo>
                    <a:pt x="43" y="117"/>
                    <a:pt x="42" y="118"/>
                    <a:pt x="41" y="120"/>
                  </a:cubicBezTo>
                  <a:cubicBezTo>
                    <a:pt x="39" y="121"/>
                    <a:pt x="39" y="123"/>
                    <a:pt x="39" y="125"/>
                  </a:cubicBezTo>
                  <a:cubicBezTo>
                    <a:pt x="39" y="144"/>
                    <a:pt x="39" y="144"/>
                    <a:pt x="39" y="144"/>
                  </a:cubicBezTo>
                  <a:cubicBezTo>
                    <a:pt x="50" y="144"/>
                    <a:pt x="50" y="144"/>
                    <a:pt x="50" y="144"/>
                  </a:cubicBezTo>
                  <a:cubicBezTo>
                    <a:pt x="51" y="144"/>
                    <a:pt x="52" y="144"/>
                    <a:pt x="53" y="144"/>
                  </a:cubicBezTo>
                  <a:cubicBezTo>
                    <a:pt x="54" y="145"/>
                    <a:pt x="55" y="146"/>
                    <a:pt x="56" y="146"/>
                  </a:cubicBezTo>
                  <a:cubicBezTo>
                    <a:pt x="58" y="148"/>
                    <a:pt x="59" y="150"/>
                    <a:pt x="59" y="153"/>
                  </a:cubicBezTo>
                  <a:cubicBezTo>
                    <a:pt x="59" y="194"/>
                    <a:pt x="59" y="194"/>
                    <a:pt x="59" y="194"/>
                  </a:cubicBezTo>
                  <a:cubicBezTo>
                    <a:pt x="59" y="197"/>
                    <a:pt x="58" y="199"/>
                    <a:pt x="56" y="201"/>
                  </a:cubicBezTo>
                  <a:cubicBezTo>
                    <a:pt x="54" y="203"/>
                    <a:pt x="52" y="203"/>
                    <a:pt x="50" y="203"/>
                  </a:cubicBezTo>
                  <a:cubicBezTo>
                    <a:pt x="9" y="203"/>
                    <a:pt x="9" y="203"/>
                    <a:pt x="9" y="203"/>
                  </a:cubicBezTo>
                  <a:cubicBezTo>
                    <a:pt x="6" y="203"/>
                    <a:pt x="4" y="202"/>
                    <a:pt x="2" y="201"/>
                  </a:cubicBezTo>
                  <a:cubicBezTo>
                    <a:pt x="1" y="199"/>
                    <a:pt x="0" y="197"/>
                    <a:pt x="0" y="194"/>
                  </a:cubicBezTo>
                  <a:cubicBezTo>
                    <a:pt x="0" y="153"/>
                    <a:pt x="0" y="153"/>
                    <a:pt x="0" y="153"/>
                  </a:cubicBezTo>
                  <a:cubicBezTo>
                    <a:pt x="0" y="150"/>
                    <a:pt x="1" y="148"/>
                    <a:pt x="2" y="146"/>
                  </a:cubicBezTo>
                  <a:cubicBezTo>
                    <a:pt x="4" y="145"/>
                    <a:pt x="6" y="144"/>
                    <a:pt x="9" y="144"/>
                  </a:cubicBezTo>
                  <a:cubicBezTo>
                    <a:pt x="22" y="144"/>
                    <a:pt x="22" y="144"/>
                    <a:pt x="22" y="144"/>
                  </a:cubicBezTo>
                  <a:cubicBezTo>
                    <a:pt x="22" y="125"/>
                    <a:pt x="22" y="125"/>
                    <a:pt x="22" y="125"/>
                  </a:cubicBezTo>
                  <a:cubicBezTo>
                    <a:pt x="22" y="119"/>
                    <a:pt x="24" y="114"/>
                    <a:pt x="28" y="109"/>
                  </a:cubicBezTo>
                  <a:cubicBezTo>
                    <a:pt x="31" y="105"/>
                    <a:pt x="36" y="101"/>
                    <a:pt x="42" y="100"/>
                  </a:cubicBezTo>
                  <a:cubicBezTo>
                    <a:pt x="79" y="92"/>
                    <a:pt x="79" y="92"/>
                    <a:pt x="79" y="92"/>
                  </a:cubicBezTo>
                  <a:cubicBezTo>
                    <a:pt x="81" y="91"/>
                    <a:pt x="83" y="90"/>
                    <a:pt x="84" y="88"/>
                  </a:cubicBezTo>
                  <a:cubicBezTo>
                    <a:pt x="85" y="87"/>
                    <a:pt x="86" y="85"/>
                    <a:pt x="86" y="83"/>
                  </a:cubicBezTo>
                  <a:cubicBezTo>
                    <a:pt x="86" y="62"/>
                    <a:pt x="86" y="62"/>
                    <a:pt x="86" y="62"/>
                  </a:cubicBezTo>
                  <a:cubicBezTo>
                    <a:pt x="73" y="62"/>
                    <a:pt x="73" y="62"/>
                    <a:pt x="73" y="62"/>
                  </a:cubicBezTo>
                  <a:cubicBezTo>
                    <a:pt x="70" y="62"/>
                    <a:pt x="67" y="61"/>
                    <a:pt x="65" y="59"/>
                  </a:cubicBezTo>
                  <a:cubicBezTo>
                    <a:pt x="63" y="57"/>
                    <a:pt x="62" y="54"/>
                    <a:pt x="62" y="51"/>
                  </a:cubicBezTo>
                  <a:cubicBezTo>
                    <a:pt x="62" y="10"/>
                    <a:pt x="62" y="10"/>
                    <a:pt x="62" y="10"/>
                  </a:cubicBezTo>
                  <a:cubicBezTo>
                    <a:pt x="62" y="8"/>
                    <a:pt x="63" y="5"/>
                    <a:pt x="65" y="3"/>
                  </a:cubicBezTo>
                  <a:cubicBezTo>
                    <a:pt x="67" y="1"/>
                    <a:pt x="70" y="0"/>
                    <a:pt x="73" y="0"/>
                  </a:cubicBezTo>
                  <a:cubicBezTo>
                    <a:pt x="113" y="0"/>
                    <a:pt x="113" y="0"/>
                    <a:pt x="113" y="0"/>
                  </a:cubicBezTo>
                  <a:cubicBezTo>
                    <a:pt x="115" y="0"/>
                    <a:pt x="116" y="0"/>
                    <a:pt x="117" y="1"/>
                  </a:cubicBezTo>
                  <a:cubicBezTo>
                    <a:pt x="118" y="1"/>
                    <a:pt x="120" y="2"/>
                    <a:pt x="121" y="3"/>
                  </a:cubicBezTo>
                  <a:cubicBezTo>
                    <a:pt x="123" y="5"/>
                    <a:pt x="124" y="8"/>
                    <a:pt x="124" y="10"/>
                  </a:cubicBezTo>
                  <a:cubicBezTo>
                    <a:pt x="124" y="51"/>
                    <a:pt x="124" y="51"/>
                    <a:pt x="124" y="51"/>
                  </a:cubicBezTo>
                  <a:cubicBezTo>
                    <a:pt x="124" y="54"/>
                    <a:pt x="123" y="57"/>
                    <a:pt x="121" y="59"/>
                  </a:cubicBezTo>
                  <a:cubicBezTo>
                    <a:pt x="119" y="61"/>
                    <a:pt x="116" y="62"/>
                    <a:pt x="113" y="62"/>
                  </a:cubicBezTo>
                  <a:cubicBezTo>
                    <a:pt x="102" y="62"/>
                    <a:pt x="102" y="62"/>
                    <a:pt x="102" y="62"/>
                  </a:cubicBezTo>
                  <a:cubicBezTo>
                    <a:pt x="102" y="83"/>
                    <a:pt x="102" y="83"/>
                    <a:pt x="102" y="83"/>
                  </a:cubicBezTo>
                  <a:cubicBezTo>
                    <a:pt x="102" y="85"/>
                    <a:pt x="103" y="87"/>
                    <a:pt x="104" y="88"/>
                  </a:cubicBezTo>
                  <a:cubicBezTo>
                    <a:pt x="106" y="90"/>
                    <a:pt x="107" y="91"/>
                    <a:pt x="109" y="92"/>
                  </a:cubicBezTo>
                  <a:cubicBezTo>
                    <a:pt x="146" y="100"/>
                    <a:pt x="146" y="100"/>
                    <a:pt x="146" y="100"/>
                  </a:cubicBezTo>
                  <a:cubicBezTo>
                    <a:pt x="152" y="101"/>
                    <a:pt x="157" y="105"/>
                    <a:pt x="160" y="109"/>
                  </a:cubicBezTo>
                  <a:cubicBezTo>
                    <a:pt x="164" y="114"/>
                    <a:pt x="166" y="119"/>
                    <a:pt x="166" y="125"/>
                  </a:cubicBezTo>
                  <a:cubicBezTo>
                    <a:pt x="166" y="144"/>
                    <a:pt x="166" y="144"/>
                    <a:pt x="166" y="144"/>
                  </a:cubicBezTo>
                  <a:cubicBezTo>
                    <a:pt x="179" y="144"/>
                    <a:pt x="179" y="144"/>
                    <a:pt x="179" y="144"/>
                  </a:cubicBezTo>
                  <a:cubicBezTo>
                    <a:pt x="180" y="144"/>
                    <a:pt x="181" y="144"/>
                    <a:pt x="182" y="144"/>
                  </a:cubicBezTo>
                  <a:cubicBezTo>
                    <a:pt x="184" y="145"/>
                    <a:pt x="184" y="146"/>
                    <a:pt x="185" y="146"/>
                  </a:cubicBezTo>
                  <a:cubicBezTo>
                    <a:pt x="187" y="148"/>
                    <a:pt x="188" y="151"/>
                    <a:pt x="188" y="153"/>
                  </a:cubicBezTo>
                  <a:cubicBezTo>
                    <a:pt x="188" y="194"/>
                    <a:pt x="188" y="194"/>
                    <a:pt x="188" y="194"/>
                  </a:cubicBezTo>
                  <a:cubicBezTo>
                    <a:pt x="188" y="197"/>
                    <a:pt x="186" y="199"/>
                    <a:pt x="185" y="201"/>
                  </a:cubicBezTo>
                  <a:cubicBezTo>
                    <a:pt x="184" y="202"/>
                    <a:pt x="181" y="203"/>
                    <a:pt x="179" y="203"/>
                  </a:cubicBezTo>
                  <a:lnTo>
                    <a:pt x="138" y="203"/>
                  </a:lnTo>
                  <a:close/>
                  <a:moveTo>
                    <a:pt x="144" y="188"/>
                  </a:moveTo>
                  <a:cubicBezTo>
                    <a:pt x="173" y="188"/>
                    <a:pt x="173" y="188"/>
                    <a:pt x="173" y="188"/>
                  </a:cubicBezTo>
                  <a:cubicBezTo>
                    <a:pt x="173" y="159"/>
                    <a:pt x="173" y="159"/>
                    <a:pt x="173" y="159"/>
                  </a:cubicBezTo>
                  <a:cubicBezTo>
                    <a:pt x="144" y="159"/>
                    <a:pt x="144" y="159"/>
                    <a:pt x="144" y="159"/>
                  </a:cubicBezTo>
                  <a:lnTo>
                    <a:pt x="144" y="188"/>
                  </a:lnTo>
                  <a:close/>
                  <a:moveTo>
                    <a:pt x="15" y="188"/>
                  </a:moveTo>
                  <a:cubicBezTo>
                    <a:pt x="43" y="188"/>
                    <a:pt x="43" y="188"/>
                    <a:pt x="43" y="188"/>
                  </a:cubicBezTo>
                  <a:cubicBezTo>
                    <a:pt x="43" y="159"/>
                    <a:pt x="43" y="159"/>
                    <a:pt x="43" y="159"/>
                  </a:cubicBezTo>
                  <a:cubicBezTo>
                    <a:pt x="15" y="159"/>
                    <a:pt x="15" y="159"/>
                    <a:pt x="15" y="159"/>
                  </a:cubicBezTo>
                  <a:lnTo>
                    <a:pt x="15" y="188"/>
                  </a:lnTo>
                  <a:close/>
                  <a:moveTo>
                    <a:pt x="79" y="45"/>
                  </a:moveTo>
                  <a:cubicBezTo>
                    <a:pt x="107" y="45"/>
                    <a:pt x="107" y="45"/>
                    <a:pt x="107" y="45"/>
                  </a:cubicBezTo>
                  <a:cubicBezTo>
                    <a:pt x="107" y="16"/>
                    <a:pt x="107" y="16"/>
                    <a:pt x="107" y="16"/>
                  </a:cubicBezTo>
                  <a:cubicBezTo>
                    <a:pt x="79" y="16"/>
                    <a:pt x="79" y="16"/>
                    <a:pt x="79" y="16"/>
                  </a:cubicBezTo>
                  <a:lnTo>
                    <a:pt x="79"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9" name="Freeform 35"/>
            <p:cNvSpPr>
              <a:spLocks/>
            </p:cNvSpPr>
            <p:nvPr/>
          </p:nvSpPr>
          <p:spPr bwMode="auto">
            <a:xfrm>
              <a:off x="6529388" y="2047876"/>
              <a:ext cx="222250" cy="1120775"/>
            </a:xfrm>
            <a:custGeom>
              <a:avLst/>
              <a:gdLst>
                <a:gd name="T0" fmla="*/ 44 w 52"/>
                <a:gd name="T1" fmla="*/ 262 h 262"/>
                <a:gd name="T2" fmla="*/ 26 w 52"/>
                <a:gd name="T3" fmla="*/ 255 h 262"/>
                <a:gd name="T4" fmla="*/ 18 w 52"/>
                <a:gd name="T5" fmla="*/ 237 h 262"/>
                <a:gd name="T6" fmla="*/ 18 w 52"/>
                <a:gd name="T7" fmla="*/ 148 h 262"/>
                <a:gd name="T8" fmla="*/ 15 w 52"/>
                <a:gd name="T9" fmla="*/ 142 h 262"/>
                <a:gd name="T10" fmla="*/ 13 w 52"/>
                <a:gd name="T11" fmla="*/ 140 h 262"/>
                <a:gd name="T12" fmla="*/ 10 w 52"/>
                <a:gd name="T13" fmla="*/ 139 h 262"/>
                <a:gd name="T14" fmla="*/ 0 w 52"/>
                <a:gd name="T15" fmla="*/ 139 h 262"/>
                <a:gd name="T16" fmla="*/ 0 w 52"/>
                <a:gd name="T17" fmla="*/ 123 h 262"/>
                <a:gd name="T18" fmla="*/ 10 w 52"/>
                <a:gd name="T19" fmla="*/ 123 h 262"/>
                <a:gd name="T20" fmla="*/ 15 w 52"/>
                <a:gd name="T21" fmla="*/ 120 h 262"/>
                <a:gd name="T22" fmla="*/ 18 w 52"/>
                <a:gd name="T23" fmla="*/ 114 h 262"/>
                <a:gd name="T24" fmla="*/ 18 w 52"/>
                <a:gd name="T25" fmla="*/ 25 h 262"/>
                <a:gd name="T26" fmla="*/ 26 w 52"/>
                <a:gd name="T27" fmla="*/ 7 h 262"/>
                <a:gd name="T28" fmla="*/ 44 w 52"/>
                <a:gd name="T29" fmla="*/ 0 h 262"/>
                <a:gd name="T30" fmla="*/ 52 w 52"/>
                <a:gd name="T31" fmla="*/ 0 h 262"/>
                <a:gd name="T32" fmla="*/ 52 w 52"/>
                <a:gd name="T33" fmla="*/ 16 h 262"/>
                <a:gd name="T34" fmla="*/ 44 w 52"/>
                <a:gd name="T35" fmla="*/ 16 h 262"/>
                <a:gd name="T36" fmla="*/ 37 w 52"/>
                <a:gd name="T37" fmla="*/ 19 h 262"/>
                <a:gd name="T38" fmla="*/ 35 w 52"/>
                <a:gd name="T39" fmla="*/ 25 h 262"/>
                <a:gd name="T40" fmla="*/ 35 w 52"/>
                <a:gd name="T41" fmla="*/ 114 h 262"/>
                <a:gd name="T42" fmla="*/ 29 w 52"/>
                <a:gd name="T43" fmla="*/ 130 h 262"/>
                <a:gd name="T44" fmla="*/ 28 w 52"/>
                <a:gd name="T45" fmla="*/ 131 h 262"/>
                <a:gd name="T46" fmla="*/ 29 w 52"/>
                <a:gd name="T47" fmla="*/ 132 h 262"/>
                <a:gd name="T48" fmla="*/ 35 w 52"/>
                <a:gd name="T49" fmla="*/ 148 h 262"/>
                <a:gd name="T50" fmla="*/ 35 w 52"/>
                <a:gd name="T51" fmla="*/ 237 h 262"/>
                <a:gd name="T52" fmla="*/ 37 w 52"/>
                <a:gd name="T53" fmla="*/ 243 h 262"/>
                <a:gd name="T54" fmla="*/ 44 w 52"/>
                <a:gd name="T55" fmla="*/ 246 h 262"/>
                <a:gd name="T56" fmla="*/ 52 w 52"/>
                <a:gd name="T57" fmla="*/ 246 h 262"/>
                <a:gd name="T58" fmla="*/ 52 w 52"/>
                <a:gd name="T59" fmla="*/ 262 h 262"/>
                <a:gd name="T60" fmla="*/ 44 w 52"/>
                <a:gd name="T61"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262">
                  <a:moveTo>
                    <a:pt x="44" y="262"/>
                  </a:moveTo>
                  <a:cubicBezTo>
                    <a:pt x="37" y="262"/>
                    <a:pt x="30" y="260"/>
                    <a:pt x="26" y="255"/>
                  </a:cubicBezTo>
                  <a:cubicBezTo>
                    <a:pt x="21" y="250"/>
                    <a:pt x="18" y="244"/>
                    <a:pt x="18" y="237"/>
                  </a:cubicBezTo>
                  <a:cubicBezTo>
                    <a:pt x="18" y="148"/>
                    <a:pt x="18" y="148"/>
                    <a:pt x="18" y="148"/>
                  </a:cubicBezTo>
                  <a:cubicBezTo>
                    <a:pt x="18" y="146"/>
                    <a:pt x="17" y="144"/>
                    <a:pt x="15" y="142"/>
                  </a:cubicBezTo>
                  <a:cubicBezTo>
                    <a:pt x="15" y="141"/>
                    <a:pt x="14" y="141"/>
                    <a:pt x="13" y="140"/>
                  </a:cubicBezTo>
                  <a:cubicBezTo>
                    <a:pt x="12" y="140"/>
                    <a:pt x="11" y="139"/>
                    <a:pt x="10" y="139"/>
                  </a:cubicBezTo>
                  <a:cubicBezTo>
                    <a:pt x="0" y="139"/>
                    <a:pt x="0" y="139"/>
                    <a:pt x="0" y="139"/>
                  </a:cubicBezTo>
                  <a:cubicBezTo>
                    <a:pt x="0" y="123"/>
                    <a:pt x="0" y="123"/>
                    <a:pt x="0" y="123"/>
                  </a:cubicBezTo>
                  <a:cubicBezTo>
                    <a:pt x="10" y="123"/>
                    <a:pt x="10" y="123"/>
                    <a:pt x="10" y="123"/>
                  </a:cubicBezTo>
                  <a:cubicBezTo>
                    <a:pt x="12" y="123"/>
                    <a:pt x="14" y="122"/>
                    <a:pt x="15" y="120"/>
                  </a:cubicBezTo>
                  <a:cubicBezTo>
                    <a:pt x="17" y="118"/>
                    <a:pt x="18" y="116"/>
                    <a:pt x="18" y="114"/>
                  </a:cubicBezTo>
                  <a:cubicBezTo>
                    <a:pt x="18" y="25"/>
                    <a:pt x="18" y="25"/>
                    <a:pt x="18" y="25"/>
                  </a:cubicBezTo>
                  <a:cubicBezTo>
                    <a:pt x="18" y="19"/>
                    <a:pt x="21" y="12"/>
                    <a:pt x="26" y="7"/>
                  </a:cubicBezTo>
                  <a:cubicBezTo>
                    <a:pt x="30" y="2"/>
                    <a:pt x="37" y="0"/>
                    <a:pt x="44" y="0"/>
                  </a:cubicBezTo>
                  <a:cubicBezTo>
                    <a:pt x="52" y="0"/>
                    <a:pt x="52" y="0"/>
                    <a:pt x="52" y="0"/>
                  </a:cubicBezTo>
                  <a:cubicBezTo>
                    <a:pt x="52" y="16"/>
                    <a:pt x="52" y="16"/>
                    <a:pt x="52" y="16"/>
                  </a:cubicBezTo>
                  <a:cubicBezTo>
                    <a:pt x="44" y="16"/>
                    <a:pt x="44" y="16"/>
                    <a:pt x="44" y="16"/>
                  </a:cubicBezTo>
                  <a:cubicBezTo>
                    <a:pt x="41" y="16"/>
                    <a:pt x="39" y="17"/>
                    <a:pt x="37" y="19"/>
                  </a:cubicBezTo>
                  <a:cubicBezTo>
                    <a:pt x="36" y="21"/>
                    <a:pt x="35" y="23"/>
                    <a:pt x="35" y="25"/>
                  </a:cubicBezTo>
                  <a:cubicBezTo>
                    <a:pt x="35" y="114"/>
                    <a:pt x="35" y="114"/>
                    <a:pt x="35" y="114"/>
                  </a:cubicBezTo>
                  <a:cubicBezTo>
                    <a:pt x="35" y="120"/>
                    <a:pt x="33" y="125"/>
                    <a:pt x="29" y="130"/>
                  </a:cubicBezTo>
                  <a:cubicBezTo>
                    <a:pt x="28" y="131"/>
                    <a:pt x="28" y="131"/>
                    <a:pt x="28" y="131"/>
                  </a:cubicBezTo>
                  <a:cubicBezTo>
                    <a:pt x="29" y="132"/>
                    <a:pt x="29" y="132"/>
                    <a:pt x="29" y="132"/>
                  </a:cubicBezTo>
                  <a:cubicBezTo>
                    <a:pt x="33" y="137"/>
                    <a:pt x="35" y="142"/>
                    <a:pt x="35" y="148"/>
                  </a:cubicBezTo>
                  <a:cubicBezTo>
                    <a:pt x="35" y="237"/>
                    <a:pt x="35" y="237"/>
                    <a:pt x="35" y="237"/>
                  </a:cubicBezTo>
                  <a:cubicBezTo>
                    <a:pt x="35" y="239"/>
                    <a:pt x="36" y="241"/>
                    <a:pt x="37" y="243"/>
                  </a:cubicBezTo>
                  <a:cubicBezTo>
                    <a:pt x="39" y="245"/>
                    <a:pt x="41" y="246"/>
                    <a:pt x="44" y="246"/>
                  </a:cubicBezTo>
                  <a:cubicBezTo>
                    <a:pt x="52" y="246"/>
                    <a:pt x="52" y="246"/>
                    <a:pt x="52" y="246"/>
                  </a:cubicBezTo>
                  <a:cubicBezTo>
                    <a:pt x="52" y="262"/>
                    <a:pt x="52" y="262"/>
                    <a:pt x="52" y="262"/>
                  </a:cubicBezTo>
                  <a:lnTo>
                    <a:pt x="44"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7" name="Rectangle 46"/>
          <p:cNvSpPr/>
          <p:nvPr/>
        </p:nvSpPr>
        <p:spPr bwMode="auto">
          <a:xfrm>
            <a:off x="882" y="5595620"/>
            <a:ext cx="12434711" cy="13989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TextBox 47"/>
          <p:cNvSpPr txBox="1"/>
          <p:nvPr/>
        </p:nvSpPr>
        <p:spPr>
          <a:xfrm>
            <a:off x="4476849" y="5392804"/>
            <a:ext cx="3482774" cy="380451"/>
          </a:xfrm>
          <a:prstGeom prst="rect">
            <a:avLst/>
          </a:prstGeom>
          <a:solidFill>
            <a:schemeClr val="tx2"/>
          </a:solidFill>
          <a:ln w="15875" cap="sq">
            <a:noFill/>
            <a:miter lim="800000"/>
          </a:ln>
        </p:spPr>
        <p:txBody>
          <a:bodyPr wrap="square" lIns="93247" tIns="93247" rIns="93247" bIns="93247" rtlCol="0" anchor="t" anchorCtr="0">
            <a:spAutoFit/>
          </a:bodyPr>
          <a:lstStyle/>
          <a:p>
            <a:pPr algn="ctr" defTabSz="932029">
              <a:defRPr/>
            </a:pPr>
            <a:r>
              <a:rPr lang="en-US" sz="1224" b="1">
                <a:solidFill>
                  <a:srgbClr val="FFFFFF"/>
                </a:solidFill>
                <a:latin typeface="Segoe UI Semibold" panose="020B0702040204020203" pitchFamily="34" charset="0"/>
                <a:cs typeface="Segoe UI Semibold" panose="020B0702040204020203" pitchFamily="34" charset="0"/>
              </a:rPr>
              <a:t>RECENT ANNOUNCEMENTS</a:t>
            </a:r>
          </a:p>
        </p:txBody>
      </p:sp>
      <p:sp>
        <p:nvSpPr>
          <p:cNvPr id="49" name="Rectangle 48"/>
          <p:cNvSpPr/>
          <p:nvPr/>
        </p:nvSpPr>
        <p:spPr bwMode="auto">
          <a:xfrm>
            <a:off x="408894"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cs typeface="Segoe UI Semibold" panose="020B0702040204020203" pitchFamily="34" charset="0"/>
                <a:hlinkClick r:id="rId3"/>
              </a:rPr>
              <a:t>Azure Maps</a:t>
            </a:r>
            <a:endParaRPr lang="en-US" sz="2040" kern="0">
              <a:solidFill>
                <a:srgbClr val="0078D7"/>
              </a:solidFill>
              <a:cs typeface="Segoe UI Semibold" panose="020B0702040204020203" pitchFamily="34" charset="0"/>
            </a:endParaRPr>
          </a:p>
        </p:txBody>
      </p:sp>
      <p:sp>
        <p:nvSpPr>
          <p:cNvPr id="50" name="Rectangle 49">
            <a:extLst/>
          </p:cNvPr>
          <p:cNvSpPr/>
          <p:nvPr/>
        </p:nvSpPr>
        <p:spPr bwMode="auto">
          <a:xfrm>
            <a:off x="4559016" y="5925916"/>
            <a:ext cx="3556906"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r>
              <a:rPr lang="en-US" sz="2040">
                <a:solidFill>
                  <a:srgbClr val="505050"/>
                </a:solidFill>
                <a:cs typeface="Segoe UI Semibold" panose="020B0702040204020203" pitchFamily="34" charset="0"/>
                <a:hlinkClick r:id="rId4"/>
              </a:rPr>
              <a:t>Language Understanding Intelligent Service (LUIS)</a:t>
            </a:r>
            <a:endParaRPr lang="en-US" sz="2040"/>
          </a:p>
        </p:txBody>
      </p:sp>
      <p:sp>
        <p:nvSpPr>
          <p:cNvPr id="51" name="Rectangle 50">
            <a:extLst/>
          </p:cNvPr>
          <p:cNvSpPr/>
          <p:nvPr/>
        </p:nvSpPr>
        <p:spPr bwMode="auto">
          <a:xfrm>
            <a:off x="8709141" y="5925916"/>
            <a:ext cx="3726451"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cs typeface="Segoe UI Semibold" panose="020B0702040204020203" pitchFamily="34" charset="0"/>
                <a:hlinkClick r:id="rId5"/>
              </a:rPr>
              <a:t>Azure Sphere</a:t>
            </a:r>
            <a:endParaRPr lang="en-US" sz="2040" kern="0">
              <a:solidFill>
                <a:srgbClr val="0078D7"/>
              </a:solidFill>
              <a:cs typeface="Segoe UI Semibold" panose="020B0702040204020203" pitchFamily="34" charset="0"/>
            </a:endParaRPr>
          </a:p>
        </p:txBody>
      </p:sp>
      <p:cxnSp>
        <p:nvCxnSpPr>
          <p:cNvPr id="53" name="Straight Connector 52"/>
          <p:cNvCxnSpPr/>
          <p:nvPr/>
        </p:nvCxnSpPr>
        <p:spPr>
          <a:xfrm flipV="1">
            <a:off x="4143174"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8293297"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604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250"/>
                                        <p:tgtEl>
                                          <p:spTgt spid="7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3"/>
                                        </p:tgtEl>
                                        <p:attrNameLst>
                                          <p:attrName>style.visibility</p:attrName>
                                        </p:attrNameLst>
                                      </p:cBhvr>
                                      <p:to>
                                        <p:strVal val="visible"/>
                                      </p:to>
                                    </p:set>
                                    <p:animEffect transition="in" filter="fade">
                                      <p:cBhvr>
                                        <p:cTn id="10" dur="250"/>
                                        <p:tgtEl>
                                          <p:spTgt spid="253"/>
                                        </p:tgtEl>
                                      </p:cBhvr>
                                    </p:animEffect>
                                  </p:childTnLst>
                                </p:cTn>
                              </p:par>
                              <p:par>
                                <p:cTn id="11" presetID="10"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250"/>
                                        <p:tgtEl>
                                          <p:spTgt spid="18"/>
                                        </p:tgtEl>
                                      </p:cBhvr>
                                    </p:animEffect>
                                  </p:childTnLst>
                                </p:cTn>
                              </p:par>
                            </p:childTnLst>
                          </p:cTn>
                        </p:par>
                        <p:par>
                          <p:cTn id="14" fill="hold">
                            <p:stCondLst>
                              <p:cond delay="250"/>
                            </p:stCondLst>
                            <p:childTnLst>
                              <p:par>
                                <p:cTn id="15" presetID="10" presetClass="entr" presetSubtype="0" fill="hold" nodeType="afterEffect">
                                  <p:stCondLst>
                                    <p:cond delay="0"/>
                                  </p:stCondLst>
                                  <p:childTnLst>
                                    <p:set>
                                      <p:cBhvr>
                                        <p:cTn id="16" dur="1" fill="hold">
                                          <p:stCondLst>
                                            <p:cond delay="0"/>
                                          </p:stCondLst>
                                        </p:cTn>
                                        <p:tgtEl>
                                          <p:spTgt spid="64"/>
                                        </p:tgtEl>
                                        <p:attrNameLst>
                                          <p:attrName>style.visibility</p:attrName>
                                        </p:attrNameLst>
                                      </p:cBhvr>
                                      <p:to>
                                        <p:strVal val="visible"/>
                                      </p:to>
                                    </p:set>
                                    <p:animEffect transition="in" filter="fade">
                                      <p:cBhvr>
                                        <p:cTn id="17" dur="250"/>
                                        <p:tgtEl>
                                          <p:spTgt spid="64"/>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82"/>
                                        </p:tgtEl>
                                        <p:attrNameLst>
                                          <p:attrName>style.visibility</p:attrName>
                                        </p:attrNameLst>
                                      </p:cBhvr>
                                      <p:to>
                                        <p:strVal val="visible"/>
                                      </p:to>
                                    </p:set>
                                    <p:animEffect transition="in" filter="fade">
                                      <p:cBhvr>
                                        <p:cTn id="21" dur="250"/>
                                        <p:tgtEl>
                                          <p:spTgt spid="82"/>
                                        </p:tgtEl>
                                      </p:cBhvr>
                                    </p:animEffect>
                                  </p:childTnLst>
                                </p:cTn>
                              </p:par>
                              <p:par>
                                <p:cTn id="22" presetID="10" presetClass="entr" presetSubtype="0" fill="hold" nodeType="with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250"/>
                                        <p:tgtEl>
                                          <p:spTgt spid="2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54"/>
                                        </p:tgtEl>
                                        <p:attrNameLst>
                                          <p:attrName>style.visibility</p:attrName>
                                        </p:attrNameLst>
                                      </p:cBhvr>
                                      <p:to>
                                        <p:strVal val="visible"/>
                                      </p:to>
                                    </p:set>
                                    <p:animEffect transition="in" filter="fade">
                                      <p:cBhvr>
                                        <p:cTn id="27" dur="250"/>
                                        <p:tgtEl>
                                          <p:spTgt spid="254"/>
                                        </p:tgtEl>
                                      </p:cBhvr>
                                    </p:animEffect>
                                  </p:childTnLst>
                                </p:cTn>
                              </p:par>
                            </p:childTnLst>
                          </p:cTn>
                        </p:par>
                        <p:par>
                          <p:cTn id="28" fill="hold">
                            <p:stCondLst>
                              <p:cond delay="750"/>
                            </p:stCondLst>
                            <p:childTnLst>
                              <p:par>
                                <p:cTn id="29" presetID="10" presetClass="entr" presetSubtype="0" fill="hold" nodeType="after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fade">
                                      <p:cBhvr>
                                        <p:cTn id="31" dur="250"/>
                                        <p:tgtEl>
                                          <p:spTgt spid="65"/>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55"/>
                                        </p:tgtEl>
                                        <p:attrNameLst>
                                          <p:attrName>style.visibility</p:attrName>
                                        </p:attrNameLst>
                                      </p:cBhvr>
                                      <p:to>
                                        <p:strVal val="visible"/>
                                      </p:to>
                                    </p:set>
                                    <p:animEffect transition="in" filter="fade">
                                      <p:cBhvr>
                                        <p:cTn id="38" dur="250"/>
                                        <p:tgtEl>
                                          <p:spTgt spid="255"/>
                                        </p:tgtEl>
                                      </p:cBhvr>
                                    </p:animEffect>
                                  </p:childTnLst>
                                </p:cTn>
                              </p:par>
                              <p:par>
                                <p:cTn id="39" presetID="10" presetClass="entr" presetSubtype="0" fill="hold" nodeType="with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250"/>
                                        <p:tgtEl>
                                          <p:spTgt spid="32"/>
                                        </p:tgtEl>
                                      </p:cBhvr>
                                    </p:animEffect>
                                  </p:childTnLst>
                                </p:cTn>
                              </p:par>
                            </p:childTnLst>
                          </p:cTn>
                        </p:par>
                        <p:par>
                          <p:cTn id="42" fill="hold">
                            <p:stCondLst>
                              <p:cond delay="1250"/>
                            </p:stCondLst>
                            <p:childTnLst>
                              <p:par>
                                <p:cTn id="43" presetID="10" presetClass="entr" presetSubtype="0" fill="hold" nodeType="after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fade">
                                      <p:cBhvr>
                                        <p:cTn id="45" dur="250"/>
                                        <p:tgtEl>
                                          <p:spTgt spid="45"/>
                                        </p:tgtEl>
                                      </p:cBhvr>
                                    </p:animEffect>
                                  </p:childTnLst>
                                </p:cTn>
                              </p:par>
                            </p:childTnLst>
                          </p:cTn>
                        </p:par>
                        <p:par>
                          <p:cTn id="46" fill="hold">
                            <p:stCondLst>
                              <p:cond delay="1500"/>
                            </p:stCondLst>
                            <p:childTnLst>
                              <p:par>
                                <p:cTn id="47" presetID="10" presetClass="entr" presetSubtype="0" fill="hold" grpId="0" nodeType="afterEffect">
                                  <p:stCondLst>
                                    <p:cond delay="0"/>
                                  </p:stCondLst>
                                  <p:childTnLst>
                                    <p:set>
                                      <p:cBhvr>
                                        <p:cTn id="48" dur="1" fill="hold">
                                          <p:stCondLst>
                                            <p:cond delay="0"/>
                                          </p:stCondLst>
                                        </p:cTn>
                                        <p:tgtEl>
                                          <p:spTgt spid="37"/>
                                        </p:tgtEl>
                                        <p:attrNameLst>
                                          <p:attrName>style.visibility</p:attrName>
                                        </p:attrNameLst>
                                      </p:cBhvr>
                                      <p:to>
                                        <p:strVal val="visible"/>
                                      </p:to>
                                    </p:set>
                                    <p:animEffect transition="in" filter="fade">
                                      <p:cBhvr>
                                        <p:cTn id="49" dur="250"/>
                                        <p:tgtEl>
                                          <p:spTgt spid="37"/>
                                        </p:tgtEl>
                                      </p:cBhvr>
                                    </p:animEffect>
                                  </p:childTnLst>
                                </p:cTn>
                              </p:par>
                              <p:par>
                                <p:cTn id="50" presetID="10" presetClass="entr" presetSubtype="0" fill="hold" nodeType="withEffect">
                                  <p:stCondLst>
                                    <p:cond delay="0"/>
                                  </p:stCondLst>
                                  <p:childTnLst>
                                    <p:set>
                                      <p:cBhvr>
                                        <p:cTn id="51" dur="1" fill="hold">
                                          <p:stCondLst>
                                            <p:cond delay="0"/>
                                          </p:stCondLst>
                                        </p:cTn>
                                        <p:tgtEl>
                                          <p:spTgt spid="240"/>
                                        </p:tgtEl>
                                        <p:attrNameLst>
                                          <p:attrName>style.visibility</p:attrName>
                                        </p:attrNameLst>
                                      </p:cBhvr>
                                      <p:to>
                                        <p:strVal val="visible"/>
                                      </p:to>
                                    </p:set>
                                    <p:animEffect transition="in" filter="fade">
                                      <p:cBhvr>
                                        <p:cTn id="52" dur="250"/>
                                        <p:tgtEl>
                                          <p:spTgt spid="24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56"/>
                                        </p:tgtEl>
                                        <p:attrNameLst>
                                          <p:attrName>style.visibility</p:attrName>
                                        </p:attrNameLst>
                                      </p:cBhvr>
                                      <p:to>
                                        <p:strVal val="visible"/>
                                      </p:to>
                                    </p:set>
                                    <p:animEffect transition="in" filter="fade">
                                      <p:cBhvr>
                                        <p:cTn id="55" dur="250"/>
                                        <p:tgtEl>
                                          <p:spTgt spid="256"/>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47"/>
                                        </p:tgtEl>
                                        <p:attrNameLst>
                                          <p:attrName>style.visibility</p:attrName>
                                        </p:attrNameLst>
                                      </p:cBhvr>
                                      <p:to>
                                        <p:strVal val="visible"/>
                                      </p:to>
                                    </p:set>
                                    <p:animEffect transition="in" filter="fade">
                                      <p:cBhvr>
                                        <p:cTn id="60" dur="500"/>
                                        <p:tgtEl>
                                          <p:spTgt spid="4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8"/>
                                        </p:tgtEl>
                                        <p:attrNameLst>
                                          <p:attrName>style.visibility</p:attrName>
                                        </p:attrNameLst>
                                      </p:cBhvr>
                                      <p:to>
                                        <p:strVal val="visible"/>
                                      </p:to>
                                    </p:set>
                                    <p:animEffect transition="in" filter="fade">
                                      <p:cBhvr>
                                        <p:cTn id="63" dur="500"/>
                                        <p:tgtEl>
                                          <p:spTgt spid="48"/>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9"/>
                                        </p:tgtEl>
                                        <p:attrNameLst>
                                          <p:attrName>style.visibility</p:attrName>
                                        </p:attrNameLst>
                                      </p:cBhvr>
                                      <p:to>
                                        <p:strVal val="visible"/>
                                      </p:to>
                                    </p:set>
                                    <p:animEffect transition="in" filter="fade">
                                      <p:cBhvr>
                                        <p:cTn id="66" dur="500"/>
                                        <p:tgtEl>
                                          <p:spTgt spid="49"/>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50"/>
                                        </p:tgtEl>
                                        <p:attrNameLst>
                                          <p:attrName>style.visibility</p:attrName>
                                        </p:attrNameLst>
                                      </p:cBhvr>
                                      <p:to>
                                        <p:strVal val="visible"/>
                                      </p:to>
                                    </p:set>
                                    <p:animEffect transition="in" filter="fade">
                                      <p:cBhvr>
                                        <p:cTn id="69" dur="500"/>
                                        <p:tgtEl>
                                          <p:spTgt spid="50"/>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1"/>
                                        </p:tgtEl>
                                        <p:attrNameLst>
                                          <p:attrName>style.visibility</p:attrName>
                                        </p:attrNameLst>
                                      </p:cBhvr>
                                      <p:to>
                                        <p:strVal val="visible"/>
                                      </p:to>
                                    </p:set>
                                    <p:animEffect transition="in" filter="fade">
                                      <p:cBhvr>
                                        <p:cTn id="72" dur="500"/>
                                        <p:tgtEl>
                                          <p:spTgt spid="51"/>
                                        </p:tgtEl>
                                      </p:cBhvr>
                                    </p:animEffect>
                                  </p:childTnLst>
                                </p:cTn>
                              </p:par>
                              <p:par>
                                <p:cTn id="73" presetID="10" presetClass="entr" presetSubtype="0" fill="hold" nodeType="withEffect">
                                  <p:stCondLst>
                                    <p:cond delay="0"/>
                                  </p:stCondLst>
                                  <p:childTnLst>
                                    <p:set>
                                      <p:cBhvr>
                                        <p:cTn id="74" dur="1" fill="hold">
                                          <p:stCondLst>
                                            <p:cond delay="0"/>
                                          </p:stCondLst>
                                        </p:cTn>
                                        <p:tgtEl>
                                          <p:spTgt spid="53"/>
                                        </p:tgtEl>
                                        <p:attrNameLst>
                                          <p:attrName>style.visibility</p:attrName>
                                        </p:attrNameLst>
                                      </p:cBhvr>
                                      <p:to>
                                        <p:strVal val="visible"/>
                                      </p:to>
                                    </p:set>
                                    <p:animEffect transition="in" filter="fade">
                                      <p:cBhvr>
                                        <p:cTn id="75" dur="500"/>
                                        <p:tgtEl>
                                          <p:spTgt spid="53"/>
                                        </p:tgtEl>
                                      </p:cBhvr>
                                    </p:animEffect>
                                  </p:childTnLst>
                                </p:cTn>
                              </p:par>
                              <p:par>
                                <p:cTn id="76" presetID="10" presetClass="entr" presetSubtype="0" fill="hold" nodeType="withEffect">
                                  <p:stCondLst>
                                    <p:cond delay="0"/>
                                  </p:stCondLst>
                                  <p:childTnLst>
                                    <p:set>
                                      <p:cBhvr>
                                        <p:cTn id="77" dur="1" fill="hold">
                                          <p:stCondLst>
                                            <p:cond delay="0"/>
                                          </p:stCondLst>
                                        </p:cTn>
                                        <p:tgtEl>
                                          <p:spTgt spid="54"/>
                                        </p:tgtEl>
                                        <p:attrNameLst>
                                          <p:attrName>style.visibility</p:attrName>
                                        </p:attrNameLst>
                                      </p:cBhvr>
                                      <p:to>
                                        <p:strVal val="visible"/>
                                      </p:to>
                                    </p:set>
                                    <p:animEffect transition="in" filter="fade">
                                      <p:cBhvr>
                                        <p:cTn id="78"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p:bldP spid="253" grpId="0"/>
      <p:bldP spid="82" grpId="0"/>
      <p:bldP spid="254" grpId="0"/>
      <p:bldP spid="52" grpId="0"/>
      <p:bldP spid="255" grpId="0"/>
      <p:bldP spid="37" grpId="0"/>
      <p:bldP spid="256" grpId="0"/>
      <p:bldP spid="47" grpId="0" animBg="1"/>
      <p:bldP spid="48" grpId="0" animBg="1"/>
      <p:bldP spid="49" grpId="0"/>
      <p:bldP spid="50" grpId="0"/>
      <p:bldP spid="5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reeform 6">
            <a:extLst>
              <a:ext uri="{FF2B5EF4-FFF2-40B4-BE49-F238E27FC236}">
                <a16:creationId xmlns:a16="http://schemas.microsoft.com/office/drawing/2014/main" id="{3693DD08-7DA5-44E4-B3AA-91519EED6DF2}"/>
              </a:ext>
            </a:extLst>
          </p:cNvPr>
          <p:cNvSpPr>
            <a:spLocks noEditPoints="1"/>
          </p:cNvSpPr>
          <p:nvPr/>
        </p:nvSpPr>
        <p:spPr bwMode="auto">
          <a:xfrm>
            <a:off x="1417043" y="5744"/>
            <a:ext cx="11184113" cy="5202596"/>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tx1">
              <a:lumMod val="20000"/>
              <a:lumOff val="80000"/>
            </a:schemeClr>
          </a:solidFill>
          <a:ln>
            <a:noFill/>
          </a:ln>
        </p:spPr>
        <p:txBody>
          <a:bodyPr vert="horz" wrap="square" lIns="121886" tIns="60944" rIns="121886" bIns="60944" numCol="1" anchor="t" anchorCtr="0" compatLnSpc="1">
            <a:prstTxWarp prst="textNoShape">
              <a:avLst/>
            </a:prstTxWarp>
          </a:bodyPr>
          <a:lstStyle/>
          <a:p>
            <a:pPr defTabSz="1218701">
              <a:defRPr/>
            </a:pPr>
            <a:endParaRPr lang="en-US" sz="2400" kern="0">
              <a:solidFill>
                <a:sysClr val="windowText" lastClr="000000"/>
              </a:solidFill>
              <a:latin typeface="Calibri"/>
            </a:endParaRPr>
          </a:p>
        </p:txBody>
      </p:sp>
      <p:sp>
        <p:nvSpPr>
          <p:cNvPr id="2" name="Rectangle 1">
            <a:extLst>
              <a:ext uri="{FF2B5EF4-FFF2-40B4-BE49-F238E27FC236}">
                <a16:creationId xmlns:a16="http://schemas.microsoft.com/office/drawing/2014/main" id="{1C944E01-D6CE-42A2-A35B-AACCA0723B21}"/>
              </a:ext>
            </a:extLst>
          </p:cNvPr>
          <p:cNvSpPr/>
          <p:nvPr/>
        </p:nvSpPr>
        <p:spPr bwMode="auto">
          <a:xfrm>
            <a:off x="883" y="497"/>
            <a:ext cx="2245849" cy="69935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873EBAA1-18BA-452A-8502-5375E15D996A}"/>
              </a:ext>
            </a:extLst>
          </p:cNvPr>
          <p:cNvSpPr/>
          <p:nvPr/>
        </p:nvSpPr>
        <p:spPr bwMode="auto">
          <a:xfrm>
            <a:off x="10072742" y="3035127"/>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5" name="Oval 94">
            <a:extLst>
              <a:ext uri="{FF2B5EF4-FFF2-40B4-BE49-F238E27FC236}">
                <a16:creationId xmlns:a16="http://schemas.microsoft.com/office/drawing/2014/main" id="{6A65532B-4FC6-40DC-AE1B-CFC155C29A02}"/>
              </a:ext>
            </a:extLst>
          </p:cNvPr>
          <p:cNvSpPr/>
          <p:nvPr/>
        </p:nvSpPr>
        <p:spPr bwMode="auto">
          <a:xfrm>
            <a:off x="10333119" y="1694379"/>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6" name="Oval 95">
            <a:extLst>
              <a:ext uri="{FF2B5EF4-FFF2-40B4-BE49-F238E27FC236}">
                <a16:creationId xmlns:a16="http://schemas.microsoft.com/office/drawing/2014/main" id="{C0438A4C-69AF-4AC0-96E3-7A1BC41ABD66}"/>
              </a:ext>
            </a:extLst>
          </p:cNvPr>
          <p:cNvSpPr/>
          <p:nvPr/>
        </p:nvSpPr>
        <p:spPr bwMode="auto">
          <a:xfrm>
            <a:off x="10403465" y="115934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7" name="Oval 96">
            <a:extLst>
              <a:ext uri="{FF2B5EF4-FFF2-40B4-BE49-F238E27FC236}">
                <a16:creationId xmlns:a16="http://schemas.microsoft.com/office/drawing/2014/main" id="{43565768-FF51-41F0-99A1-14A4EE5DB266}"/>
              </a:ext>
            </a:extLst>
          </p:cNvPr>
          <p:cNvSpPr/>
          <p:nvPr/>
        </p:nvSpPr>
        <p:spPr bwMode="auto">
          <a:xfrm>
            <a:off x="8909073" y="234036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8" name="Oval 97">
            <a:extLst>
              <a:ext uri="{FF2B5EF4-FFF2-40B4-BE49-F238E27FC236}">
                <a16:creationId xmlns:a16="http://schemas.microsoft.com/office/drawing/2014/main" id="{7D920139-03B5-4159-A4D9-162D3F2A9F2C}"/>
              </a:ext>
            </a:extLst>
          </p:cNvPr>
          <p:cNvSpPr/>
          <p:nvPr/>
        </p:nvSpPr>
        <p:spPr bwMode="auto">
          <a:xfrm>
            <a:off x="9132458" y="231121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9" name="Oval 98">
            <a:extLst>
              <a:ext uri="{FF2B5EF4-FFF2-40B4-BE49-F238E27FC236}">
                <a16:creationId xmlns:a16="http://schemas.microsoft.com/office/drawing/2014/main" id="{1E167ECE-8D1B-430C-88E9-65068B88E30B}"/>
              </a:ext>
            </a:extLst>
          </p:cNvPr>
          <p:cNvSpPr/>
          <p:nvPr/>
        </p:nvSpPr>
        <p:spPr bwMode="auto">
          <a:xfrm>
            <a:off x="6906310" y="145459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0" name="Oval 99">
            <a:extLst>
              <a:ext uri="{FF2B5EF4-FFF2-40B4-BE49-F238E27FC236}">
                <a16:creationId xmlns:a16="http://schemas.microsoft.com/office/drawing/2014/main" id="{405B8EE7-F616-4FF1-ADAD-8CDCA1ED4EAA}"/>
              </a:ext>
            </a:extLst>
          </p:cNvPr>
          <p:cNvSpPr/>
          <p:nvPr/>
        </p:nvSpPr>
        <p:spPr bwMode="auto">
          <a:xfrm>
            <a:off x="6478783" y="1412957"/>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1" name="Oval 100">
            <a:extLst>
              <a:ext uri="{FF2B5EF4-FFF2-40B4-BE49-F238E27FC236}">
                <a16:creationId xmlns:a16="http://schemas.microsoft.com/office/drawing/2014/main" id="{8D6AAB85-5A0A-45DE-B878-C8335D7D2113}"/>
              </a:ext>
            </a:extLst>
          </p:cNvPr>
          <p:cNvSpPr/>
          <p:nvPr/>
        </p:nvSpPr>
        <p:spPr bwMode="auto">
          <a:xfrm>
            <a:off x="5071548" y="3438408"/>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2" name="Oval 101">
            <a:extLst>
              <a:ext uri="{FF2B5EF4-FFF2-40B4-BE49-F238E27FC236}">
                <a16:creationId xmlns:a16="http://schemas.microsoft.com/office/drawing/2014/main" id="{9F69122F-5A20-414D-87E3-9585E7D0EAB5}"/>
              </a:ext>
            </a:extLst>
          </p:cNvPr>
          <p:cNvSpPr/>
          <p:nvPr/>
        </p:nvSpPr>
        <p:spPr bwMode="auto">
          <a:xfrm>
            <a:off x="3407729" y="1637926"/>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3" name="Oval 102">
            <a:extLst>
              <a:ext uri="{FF2B5EF4-FFF2-40B4-BE49-F238E27FC236}">
                <a16:creationId xmlns:a16="http://schemas.microsoft.com/office/drawing/2014/main" id="{6A461276-709E-4E14-A313-3A2EFEB8F801}"/>
              </a:ext>
            </a:extLst>
          </p:cNvPr>
          <p:cNvSpPr/>
          <p:nvPr/>
        </p:nvSpPr>
        <p:spPr bwMode="auto">
          <a:xfrm>
            <a:off x="3500299" y="129999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4" name="Oval 103">
            <a:extLst>
              <a:ext uri="{FF2B5EF4-FFF2-40B4-BE49-F238E27FC236}">
                <a16:creationId xmlns:a16="http://schemas.microsoft.com/office/drawing/2014/main" id="{F25F6D0C-9044-4568-9A5A-5E00118C3114}"/>
              </a:ext>
            </a:extLst>
          </p:cNvPr>
          <p:cNvSpPr/>
          <p:nvPr/>
        </p:nvSpPr>
        <p:spPr bwMode="auto">
          <a:xfrm>
            <a:off x="3170345" y="122192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5" name="Oval 104">
            <a:extLst>
              <a:ext uri="{FF2B5EF4-FFF2-40B4-BE49-F238E27FC236}">
                <a16:creationId xmlns:a16="http://schemas.microsoft.com/office/drawing/2014/main" id="{9784D49C-9753-420D-A823-D5D08F72E05E}"/>
              </a:ext>
            </a:extLst>
          </p:cNvPr>
          <p:cNvSpPr/>
          <p:nvPr/>
        </p:nvSpPr>
        <p:spPr bwMode="auto">
          <a:xfrm>
            <a:off x="3960617" y="1271770"/>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6" name="Oval 105">
            <a:extLst>
              <a:ext uri="{FF2B5EF4-FFF2-40B4-BE49-F238E27FC236}">
                <a16:creationId xmlns:a16="http://schemas.microsoft.com/office/drawing/2014/main" id="{80A4F9FF-6257-431B-B7F3-BF328F512811}"/>
              </a:ext>
            </a:extLst>
          </p:cNvPr>
          <p:cNvSpPr/>
          <p:nvPr/>
        </p:nvSpPr>
        <p:spPr bwMode="auto">
          <a:xfrm>
            <a:off x="3166579" y="191755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7" name="Oval 106">
            <a:extLst>
              <a:ext uri="{FF2B5EF4-FFF2-40B4-BE49-F238E27FC236}">
                <a16:creationId xmlns:a16="http://schemas.microsoft.com/office/drawing/2014/main" id="{E7ABFECD-221A-489D-A0F6-6430E7BA8742}"/>
              </a:ext>
            </a:extLst>
          </p:cNvPr>
          <p:cNvSpPr/>
          <p:nvPr/>
        </p:nvSpPr>
        <p:spPr bwMode="auto">
          <a:xfrm>
            <a:off x="2526799" y="172946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8" name="Oval 107">
            <a:extLst>
              <a:ext uri="{FF2B5EF4-FFF2-40B4-BE49-F238E27FC236}">
                <a16:creationId xmlns:a16="http://schemas.microsoft.com/office/drawing/2014/main" id="{B1E8B547-B30D-4A81-9FF3-6FFBF4AC0036}"/>
              </a:ext>
            </a:extLst>
          </p:cNvPr>
          <p:cNvSpPr/>
          <p:nvPr/>
        </p:nvSpPr>
        <p:spPr bwMode="auto">
          <a:xfrm>
            <a:off x="11219729" y="1239855"/>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9" name="Oval 108">
            <a:extLst>
              <a:ext uri="{FF2B5EF4-FFF2-40B4-BE49-F238E27FC236}">
                <a16:creationId xmlns:a16="http://schemas.microsoft.com/office/drawing/2014/main" id="{C24406AD-261D-4923-A91A-5405419D50DC}"/>
              </a:ext>
            </a:extLst>
          </p:cNvPr>
          <p:cNvSpPr/>
          <p:nvPr/>
        </p:nvSpPr>
        <p:spPr bwMode="auto">
          <a:xfrm>
            <a:off x="10967177" y="162110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0" name="Oval 109">
            <a:extLst>
              <a:ext uri="{FF2B5EF4-FFF2-40B4-BE49-F238E27FC236}">
                <a16:creationId xmlns:a16="http://schemas.microsoft.com/office/drawing/2014/main" id="{A9B71984-4196-46AA-B4BC-2BA0F58D9783}"/>
              </a:ext>
            </a:extLst>
          </p:cNvPr>
          <p:cNvSpPr/>
          <p:nvPr/>
        </p:nvSpPr>
        <p:spPr bwMode="auto">
          <a:xfrm>
            <a:off x="11621289" y="3992256"/>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1" name="Oval 110">
            <a:extLst>
              <a:ext uri="{FF2B5EF4-FFF2-40B4-BE49-F238E27FC236}">
                <a16:creationId xmlns:a16="http://schemas.microsoft.com/office/drawing/2014/main" id="{78095FA5-BF16-4D77-83A4-EDB2838C4473}"/>
              </a:ext>
            </a:extLst>
          </p:cNvPr>
          <p:cNvSpPr/>
          <p:nvPr/>
        </p:nvSpPr>
        <p:spPr bwMode="auto">
          <a:xfrm>
            <a:off x="11359976" y="427537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2" name="Oval 111">
            <a:extLst>
              <a:ext uri="{FF2B5EF4-FFF2-40B4-BE49-F238E27FC236}">
                <a16:creationId xmlns:a16="http://schemas.microsoft.com/office/drawing/2014/main" id="{DC0FB658-7494-4639-B39A-6436C3E996FE}"/>
              </a:ext>
            </a:extLst>
          </p:cNvPr>
          <p:cNvSpPr/>
          <p:nvPr/>
        </p:nvSpPr>
        <p:spPr bwMode="auto">
          <a:xfrm>
            <a:off x="10181772" y="201703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3" name="Oval 112">
            <a:extLst>
              <a:ext uri="{FF2B5EF4-FFF2-40B4-BE49-F238E27FC236}">
                <a16:creationId xmlns:a16="http://schemas.microsoft.com/office/drawing/2014/main" id="{0CD75865-0940-4D0B-8A65-962DBDF85C24}"/>
              </a:ext>
            </a:extLst>
          </p:cNvPr>
          <p:cNvSpPr/>
          <p:nvPr/>
        </p:nvSpPr>
        <p:spPr bwMode="auto">
          <a:xfrm>
            <a:off x="3143085" y="153143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4" name="Oval 113">
            <a:extLst>
              <a:ext uri="{FF2B5EF4-FFF2-40B4-BE49-F238E27FC236}">
                <a16:creationId xmlns:a16="http://schemas.microsoft.com/office/drawing/2014/main" id="{E4FAE74A-C88C-43A1-A201-EBBDD7770F0D}"/>
              </a:ext>
            </a:extLst>
          </p:cNvPr>
          <p:cNvSpPr/>
          <p:nvPr/>
        </p:nvSpPr>
        <p:spPr bwMode="auto">
          <a:xfrm>
            <a:off x="9132458" y="273577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5" name="Oval 114">
            <a:extLst>
              <a:ext uri="{FF2B5EF4-FFF2-40B4-BE49-F238E27FC236}">
                <a16:creationId xmlns:a16="http://schemas.microsoft.com/office/drawing/2014/main" id="{B5D3D8C3-7466-453F-BC13-9AA5711DC872}"/>
              </a:ext>
            </a:extLst>
          </p:cNvPr>
          <p:cNvSpPr/>
          <p:nvPr/>
        </p:nvSpPr>
        <p:spPr bwMode="auto">
          <a:xfrm>
            <a:off x="3724757" y="1741678"/>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6" name="Oval 115">
            <a:extLst>
              <a:ext uri="{FF2B5EF4-FFF2-40B4-BE49-F238E27FC236}">
                <a16:creationId xmlns:a16="http://schemas.microsoft.com/office/drawing/2014/main" id="{9F96A7BA-2356-49B1-9423-BA758A4FA5D3}"/>
              </a:ext>
            </a:extLst>
          </p:cNvPr>
          <p:cNvSpPr/>
          <p:nvPr/>
        </p:nvSpPr>
        <p:spPr bwMode="auto">
          <a:xfrm>
            <a:off x="3822499" y="1562115"/>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7" name="Oval 116">
            <a:extLst>
              <a:ext uri="{FF2B5EF4-FFF2-40B4-BE49-F238E27FC236}">
                <a16:creationId xmlns:a16="http://schemas.microsoft.com/office/drawing/2014/main" id="{1430C6AF-27ED-4053-9F6E-D1065CF3B6FF}"/>
              </a:ext>
            </a:extLst>
          </p:cNvPr>
          <p:cNvSpPr/>
          <p:nvPr/>
        </p:nvSpPr>
        <p:spPr bwMode="auto">
          <a:xfrm>
            <a:off x="6412052" y="114920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8" name="Oval 117">
            <a:extLst>
              <a:ext uri="{FF2B5EF4-FFF2-40B4-BE49-F238E27FC236}">
                <a16:creationId xmlns:a16="http://schemas.microsoft.com/office/drawing/2014/main" id="{E6CD10A4-723A-4AD1-9C95-EEC885F623F5}"/>
              </a:ext>
            </a:extLst>
          </p:cNvPr>
          <p:cNvSpPr/>
          <p:nvPr/>
        </p:nvSpPr>
        <p:spPr bwMode="auto">
          <a:xfrm>
            <a:off x="6864046" y="1249113"/>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9" name="Oval 118">
            <a:extLst>
              <a:ext uri="{FF2B5EF4-FFF2-40B4-BE49-F238E27FC236}">
                <a16:creationId xmlns:a16="http://schemas.microsoft.com/office/drawing/2014/main" id="{50F5C2E3-DCDB-4F6E-B1FD-7AA608F120C4}"/>
              </a:ext>
            </a:extLst>
          </p:cNvPr>
          <p:cNvSpPr/>
          <p:nvPr/>
        </p:nvSpPr>
        <p:spPr bwMode="auto">
          <a:xfrm>
            <a:off x="6692546" y="1578663"/>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0" name="Oval 119">
            <a:extLst>
              <a:ext uri="{FF2B5EF4-FFF2-40B4-BE49-F238E27FC236}">
                <a16:creationId xmlns:a16="http://schemas.microsoft.com/office/drawing/2014/main" id="{740C2F45-5558-4003-8B06-F90C2885B27D}"/>
              </a:ext>
            </a:extLst>
          </p:cNvPr>
          <p:cNvSpPr/>
          <p:nvPr/>
        </p:nvSpPr>
        <p:spPr bwMode="auto">
          <a:xfrm>
            <a:off x="6692546" y="116594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1" name="Oval 120">
            <a:extLst>
              <a:ext uri="{FF2B5EF4-FFF2-40B4-BE49-F238E27FC236}">
                <a16:creationId xmlns:a16="http://schemas.microsoft.com/office/drawing/2014/main" id="{4BFF3132-501E-40CF-8532-D984FD9C6F65}"/>
              </a:ext>
            </a:extLst>
          </p:cNvPr>
          <p:cNvSpPr/>
          <p:nvPr/>
        </p:nvSpPr>
        <p:spPr bwMode="auto">
          <a:xfrm>
            <a:off x="7489704" y="377987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2" name="Oval 121">
            <a:extLst>
              <a:ext uri="{FF2B5EF4-FFF2-40B4-BE49-F238E27FC236}">
                <a16:creationId xmlns:a16="http://schemas.microsoft.com/office/drawing/2014/main" id="{72987119-F430-4D6F-9DFA-B6911C1152E0}"/>
              </a:ext>
            </a:extLst>
          </p:cNvPr>
          <p:cNvSpPr/>
          <p:nvPr/>
        </p:nvSpPr>
        <p:spPr bwMode="auto">
          <a:xfrm>
            <a:off x="7218241" y="4164250"/>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3" name="Oval 122">
            <a:extLst>
              <a:ext uri="{FF2B5EF4-FFF2-40B4-BE49-F238E27FC236}">
                <a16:creationId xmlns:a16="http://schemas.microsoft.com/office/drawing/2014/main" id="{D3E0030C-8386-4F3B-A460-8FE7BDC31E7A}"/>
              </a:ext>
            </a:extLst>
          </p:cNvPr>
          <p:cNvSpPr/>
          <p:nvPr/>
        </p:nvSpPr>
        <p:spPr bwMode="auto">
          <a:xfrm>
            <a:off x="6675040" y="1360424"/>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91286FB6-53D7-42F2-A345-B699EF1EB52F}"/>
              </a:ext>
            </a:extLst>
          </p:cNvPr>
          <p:cNvGrpSpPr/>
          <p:nvPr/>
        </p:nvGrpSpPr>
        <p:grpSpPr>
          <a:xfrm>
            <a:off x="2373226" y="4409911"/>
            <a:ext cx="4092762" cy="2698460"/>
            <a:chOff x="824268" y="4593027"/>
            <a:chExt cx="4175422" cy="2752959"/>
          </a:xfrm>
        </p:grpSpPr>
        <p:sp>
          <p:nvSpPr>
            <p:cNvPr id="125" name="TextBox 124">
              <a:extLst>
                <a:ext uri="{FF2B5EF4-FFF2-40B4-BE49-F238E27FC236}">
                  <a16:creationId xmlns:a16="http://schemas.microsoft.com/office/drawing/2014/main" id="{517E3171-8D21-4F2A-973B-1125769C370F}"/>
                </a:ext>
              </a:extLst>
            </p:cNvPr>
            <p:cNvSpPr txBox="1"/>
            <p:nvPr/>
          </p:nvSpPr>
          <p:spPr>
            <a:xfrm>
              <a:off x="824268" y="4593027"/>
              <a:ext cx="2767170" cy="2752959"/>
            </a:xfrm>
            <a:prstGeom prst="rect">
              <a:avLst/>
            </a:prstGeom>
            <a:noFill/>
          </p:spPr>
          <p:txBody>
            <a:bodyPr wrap="none" rtlCol="0">
              <a:spAutoFit/>
            </a:bodyPr>
            <a:lstStyle/>
            <a:p>
              <a:pPr defTabSz="914050">
                <a:defRPr/>
              </a:pPr>
              <a:r>
                <a:rPr lang="en-US" sz="16593" spc="-784">
                  <a:gradFill>
                    <a:gsLst>
                      <a:gs pos="41860">
                        <a:srgbClr val="0078D7"/>
                      </a:gs>
                      <a:gs pos="61000">
                        <a:srgbClr val="0078D7"/>
                      </a:gs>
                    </a:gsLst>
                    <a:lin ang="0" scaled="0"/>
                  </a:gradFill>
                  <a:latin typeface="Segoe UI Light"/>
                  <a:cs typeface="Segoe UI Semilight" panose="020B0402040204020203" pitchFamily="34" charset="0"/>
                </a:rPr>
                <a:t>50</a:t>
              </a:r>
              <a:r>
                <a:rPr lang="en-US" sz="16593" spc="-784">
                  <a:gradFill>
                    <a:gsLst>
                      <a:gs pos="41860">
                        <a:srgbClr val="0078D7"/>
                      </a:gs>
                      <a:gs pos="61000">
                        <a:srgbClr val="0078D7"/>
                      </a:gs>
                    </a:gsLst>
                    <a:lin ang="0" scaled="0"/>
                  </a:gradFill>
                  <a:latin typeface="Segoe UI Light"/>
                  <a:cs typeface="Segoe UI Semibold" panose="020B0702040204020203" pitchFamily="34" charset="0"/>
                </a:rPr>
                <a:t> </a:t>
              </a:r>
              <a:endParaRPr lang="en-US" sz="4799" spc="-784">
                <a:gradFill>
                  <a:gsLst>
                    <a:gs pos="41860">
                      <a:srgbClr val="0078D7"/>
                    </a:gs>
                    <a:gs pos="61000">
                      <a:srgbClr val="0078D7"/>
                    </a:gs>
                  </a:gsLst>
                  <a:lin ang="0" scaled="0"/>
                </a:gradFill>
                <a:latin typeface="Segoe UI Light"/>
                <a:cs typeface="Segoe UI Semilight" panose="020B0402040204020203" pitchFamily="34" charset="0"/>
              </a:endParaRPr>
            </a:p>
          </p:txBody>
        </p:sp>
        <p:sp>
          <p:nvSpPr>
            <p:cNvPr id="126" name="Rectangle 125">
              <a:extLst>
                <a:ext uri="{FF2B5EF4-FFF2-40B4-BE49-F238E27FC236}">
                  <a16:creationId xmlns:a16="http://schemas.microsoft.com/office/drawing/2014/main" id="{2933195A-C922-4689-92B2-6487BDC3B85C}"/>
                </a:ext>
              </a:extLst>
            </p:cNvPr>
            <p:cNvSpPr/>
            <p:nvPr/>
          </p:nvSpPr>
          <p:spPr>
            <a:xfrm>
              <a:off x="3009577" y="5883025"/>
              <a:ext cx="1990113" cy="1069613"/>
            </a:xfrm>
            <a:prstGeom prst="rect">
              <a:avLst/>
            </a:prstGeom>
          </p:spPr>
          <p:txBody>
            <a:bodyPr wrap="none">
              <a:spAutoFit/>
            </a:bodyPr>
            <a:lstStyle/>
            <a:p>
              <a:pPr defTabSz="914050">
                <a:lnSpc>
                  <a:spcPts val="3599"/>
                </a:lnSpc>
                <a:defRPr/>
              </a:pPr>
              <a:r>
                <a:rPr lang="en-US" sz="4399">
                  <a:gradFill>
                    <a:gsLst>
                      <a:gs pos="41860">
                        <a:srgbClr val="0078D7"/>
                      </a:gs>
                      <a:gs pos="61000">
                        <a:srgbClr val="0078D7"/>
                      </a:gs>
                    </a:gsLst>
                    <a:lin ang="0" scaled="0"/>
                  </a:gradFill>
                  <a:latin typeface="Segoe UI Light" panose="020B0502040204020203" pitchFamily="34" charset="0"/>
                  <a:cs typeface="Segoe UI Light" panose="020B0502040204020203" pitchFamily="34" charset="0"/>
                </a:rPr>
                <a:t>Azure </a:t>
              </a:r>
              <a:br>
                <a:rPr lang="en-US" sz="4399">
                  <a:gradFill>
                    <a:gsLst>
                      <a:gs pos="41860">
                        <a:srgbClr val="0078D7"/>
                      </a:gs>
                      <a:gs pos="61000">
                        <a:srgbClr val="0078D7"/>
                      </a:gs>
                    </a:gsLst>
                    <a:lin ang="0" scaled="0"/>
                  </a:gradFill>
                  <a:latin typeface="Segoe UI Light" panose="020B0502040204020203" pitchFamily="34" charset="0"/>
                  <a:cs typeface="Segoe UI Light" panose="020B0502040204020203" pitchFamily="34" charset="0"/>
                </a:rPr>
              </a:br>
              <a:r>
                <a:rPr lang="en-US" sz="4399">
                  <a:gradFill>
                    <a:gsLst>
                      <a:gs pos="41860">
                        <a:srgbClr val="0078D7"/>
                      </a:gs>
                      <a:gs pos="61000">
                        <a:srgbClr val="0078D7"/>
                      </a:gs>
                    </a:gsLst>
                    <a:lin ang="0" scaled="0"/>
                  </a:gradFill>
                  <a:latin typeface="Segoe UI Light" panose="020B0502040204020203" pitchFamily="34" charset="0"/>
                  <a:cs typeface="Segoe UI Light" panose="020B0502040204020203" pitchFamily="34" charset="0"/>
                </a:rPr>
                <a:t>regions</a:t>
              </a:r>
            </a:p>
          </p:txBody>
        </p:sp>
      </p:grpSp>
      <p:sp>
        <p:nvSpPr>
          <p:cNvPr id="48" name="Oval 47">
            <a:extLst/>
          </p:cNvPr>
          <p:cNvSpPr/>
          <p:nvPr/>
        </p:nvSpPr>
        <p:spPr bwMode="auto">
          <a:xfrm>
            <a:off x="11500223" y="3895520"/>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49" name="Oval 48">
            <a:extLst/>
          </p:cNvPr>
          <p:cNvSpPr/>
          <p:nvPr/>
        </p:nvSpPr>
        <p:spPr bwMode="auto">
          <a:xfrm>
            <a:off x="11238911" y="4178635"/>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86" name="Freeform 100">
            <a:extLst>
              <a:ext uri="{FF2B5EF4-FFF2-40B4-BE49-F238E27FC236}">
                <a16:creationId xmlns:a16="http://schemas.microsoft.com/office/drawing/2014/main" id="{DED77049-420E-49D7-B145-28B173AA8493}"/>
              </a:ext>
            </a:extLst>
          </p:cNvPr>
          <p:cNvSpPr>
            <a:spLocks noChangeArrowheads="1"/>
          </p:cNvSpPr>
          <p:nvPr/>
        </p:nvSpPr>
        <p:spPr bwMode="auto">
          <a:xfrm>
            <a:off x="881338" y="5145390"/>
            <a:ext cx="620313" cy="613795"/>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chemeClr val="accent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endParaRPr lang="en-US">
              <a:solidFill>
                <a:srgbClr val="505050"/>
              </a:solidFill>
              <a:latin typeface="Segoe UI"/>
            </a:endParaRPr>
          </a:p>
        </p:txBody>
      </p:sp>
      <p:sp>
        <p:nvSpPr>
          <p:cNvPr id="87" name="Rectangle 86">
            <a:extLst>
              <a:ext uri="{FF2B5EF4-FFF2-40B4-BE49-F238E27FC236}">
                <a16:creationId xmlns:a16="http://schemas.microsoft.com/office/drawing/2014/main" id="{EECAF4CE-1FB4-4D8D-9AC4-3B8F446B31E6}"/>
              </a:ext>
            </a:extLst>
          </p:cNvPr>
          <p:cNvSpPr/>
          <p:nvPr/>
        </p:nvSpPr>
        <p:spPr>
          <a:xfrm>
            <a:off x="776388" y="3187715"/>
            <a:ext cx="870102"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Hybrid</a:t>
            </a:r>
          </a:p>
        </p:txBody>
      </p:sp>
      <p:sp>
        <p:nvSpPr>
          <p:cNvPr id="88" name="Rectangle 87">
            <a:extLst>
              <a:ext uri="{FF2B5EF4-FFF2-40B4-BE49-F238E27FC236}">
                <a16:creationId xmlns:a16="http://schemas.microsoft.com/office/drawing/2014/main" id="{8D691EFF-89F8-44EF-BAC1-257D60F4C023}"/>
              </a:ext>
            </a:extLst>
          </p:cNvPr>
          <p:cNvSpPr/>
          <p:nvPr/>
        </p:nvSpPr>
        <p:spPr>
          <a:xfrm>
            <a:off x="591349" y="1815478"/>
            <a:ext cx="1270656"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Productive</a:t>
            </a:r>
          </a:p>
        </p:txBody>
      </p:sp>
      <p:sp>
        <p:nvSpPr>
          <p:cNvPr id="89" name="speedometer_2">
            <a:extLst>
              <a:ext uri="{FF2B5EF4-FFF2-40B4-BE49-F238E27FC236}">
                <a16:creationId xmlns:a16="http://schemas.microsoft.com/office/drawing/2014/main" id="{2D37789A-8677-47FF-AC8E-A19F093A319C}"/>
              </a:ext>
            </a:extLst>
          </p:cNvPr>
          <p:cNvSpPr>
            <a:spLocks noChangeAspect="1" noEditPoints="1"/>
          </p:cNvSpPr>
          <p:nvPr/>
        </p:nvSpPr>
        <p:spPr bwMode="auto">
          <a:xfrm>
            <a:off x="1012114" y="1172215"/>
            <a:ext cx="439618" cy="43961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0" name="Rectangle 89">
            <a:extLst>
              <a:ext uri="{FF2B5EF4-FFF2-40B4-BE49-F238E27FC236}">
                <a16:creationId xmlns:a16="http://schemas.microsoft.com/office/drawing/2014/main" id="{2F05EEE1-0392-4025-AB95-FECB1229682D}"/>
              </a:ext>
            </a:extLst>
          </p:cNvPr>
          <p:cNvSpPr/>
          <p:nvPr/>
        </p:nvSpPr>
        <p:spPr>
          <a:xfrm>
            <a:off x="555676" y="5858994"/>
            <a:ext cx="1311529" cy="470856"/>
          </a:xfrm>
          <a:prstGeom prst="rect">
            <a:avLst/>
          </a:prstGeom>
        </p:spPr>
        <p:txBody>
          <a:bodyPr wrap="none">
            <a:spAutoFit/>
          </a:bodyPr>
          <a:lstStyle/>
          <a:p>
            <a:pPr algn="ctr" defTabSz="932330">
              <a:defRPr/>
            </a:pPr>
            <a:r>
              <a:rPr lang="en-US" sz="2400" kern="0" spc="5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Trusted</a:t>
            </a:r>
          </a:p>
        </p:txBody>
      </p:sp>
      <p:sp>
        <p:nvSpPr>
          <p:cNvPr id="91" name="Rectangle 90">
            <a:extLst>
              <a:ext uri="{FF2B5EF4-FFF2-40B4-BE49-F238E27FC236}">
                <a16:creationId xmlns:a16="http://schemas.microsoft.com/office/drawing/2014/main" id="{9EB1DC17-F6B2-4434-A2BC-63B58613FD2A}"/>
              </a:ext>
            </a:extLst>
          </p:cNvPr>
          <p:cNvSpPr/>
          <p:nvPr/>
        </p:nvSpPr>
        <p:spPr>
          <a:xfrm>
            <a:off x="598183" y="4447376"/>
            <a:ext cx="1226513" cy="344967"/>
          </a:xfrm>
          <a:prstGeom prst="rect">
            <a:avLst/>
          </a:prstGeom>
        </p:spPr>
        <p:txBody>
          <a:bodyPr wrap="none">
            <a:spAutoFit/>
          </a:bodyPr>
          <a:lstStyle/>
          <a:p>
            <a:pPr algn="ctr" defTabSz="932330">
              <a:defRPr/>
            </a:pPr>
            <a:r>
              <a:rPr lang="en-US" sz="1598" kern="0" spc="50">
                <a:gradFill>
                  <a:gsLst>
                    <a:gs pos="1250">
                      <a:srgbClr val="737373"/>
                    </a:gs>
                    <a:gs pos="100000">
                      <a:srgbClr val="737373"/>
                    </a:gs>
                  </a:gsLst>
                  <a:lin ang="5400000" scaled="0"/>
                </a:gradFill>
                <a:latin typeface="Segoe UI Semibold" panose="020B0702040204020203" pitchFamily="34" charset="0"/>
                <a:cs typeface="Segoe UI Semibold" panose="020B0702040204020203" pitchFamily="34" charset="0"/>
              </a:rPr>
              <a:t>Intelligent</a:t>
            </a:r>
          </a:p>
        </p:txBody>
      </p:sp>
      <p:sp>
        <p:nvSpPr>
          <p:cNvPr id="127" name="Rectangle 126">
            <a:extLst>
              <a:ext uri="{FF2B5EF4-FFF2-40B4-BE49-F238E27FC236}">
                <a16:creationId xmlns:a16="http://schemas.microsoft.com/office/drawing/2014/main" id="{69219E2E-58A0-4DE2-87AC-134E99E2DA24}"/>
              </a:ext>
            </a:extLst>
          </p:cNvPr>
          <p:cNvSpPr/>
          <p:nvPr/>
        </p:nvSpPr>
        <p:spPr bwMode="auto">
          <a:xfrm>
            <a:off x="1100872" y="2572571"/>
            <a:ext cx="326406" cy="326402"/>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28" name="Rectangle 127">
            <a:extLst>
              <a:ext uri="{FF2B5EF4-FFF2-40B4-BE49-F238E27FC236}">
                <a16:creationId xmlns:a16="http://schemas.microsoft.com/office/drawing/2014/main" id="{3D9A1A62-65AD-4C1C-975D-5A3D2401BF8D}"/>
              </a:ext>
            </a:extLst>
          </p:cNvPr>
          <p:cNvSpPr/>
          <p:nvPr/>
        </p:nvSpPr>
        <p:spPr bwMode="auto">
          <a:xfrm>
            <a:off x="967098" y="2695640"/>
            <a:ext cx="326406" cy="326402"/>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cxnSp>
        <p:nvCxnSpPr>
          <p:cNvPr id="129" name="Straight Connector 128">
            <a:extLst>
              <a:ext uri="{FF2B5EF4-FFF2-40B4-BE49-F238E27FC236}">
                <a16:creationId xmlns:a16="http://schemas.microsoft.com/office/drawing/2014/main" id="{872CF725-FCEF-4EE4-9E49-FDE8A76A223D}"/>
              </a:ext>
            </a:extLst>
          </p:cNvPr>
          <p:cNvCxnSpPr>
            <a:cxnSpLocks/>
          </p:cNvCxnSpPr>
          <p:nvPr/>
        </p:nvCxnSpPr>
        <p:spPr>
          <a:xfrm>
            <a:off x="2256399" y="993"/>
            <a:ext cx="0" cy="699303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30" name="light">
            <a:extLst>
              <a:ext uri="{FF2B5EF4-FFF2-40B4-BE49-F238E27FC236}">
                <a16:creationId xmlns:a16="http://schemas.microsoft.com/office/drawing/2014/main" id="{0934F071-9047-437C-AF32-2F9833FC6C04}"/>
              </a:ext>
            </a:extLst>
          </p:cNvPr>
          <p:cNvSpPr>
            <a:spLocks noChangeAspect="1" noEditPoints="1"/>
          </p:cNvSpPr>
          <p:nvPr/>
        </p:nvSpPr>
        <p:spPr bwMode="auto">
          <a:xfrm>
            <a:off x="1065739" y="3844051"/>
            <a:ext cx="291398" cy="43262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0" name="Oval 49">
            <a:extLst>
              <a:ext uri="{FF2B5EF4-FFF2-40B4-BE49-F238E27FC236}">
                <a16:creationId xmlns:a16="http://schemas.microsoft.com/office/drawing/2014/main" id="{C97DE3E8-C8A0-44B1-BDE0-BA0FDED3CF37}"/>
              </a:ext>
            </a:extLst>
          </p:cNvPr>
          <p:cNvSpPr/>
          <p:nvPr/>
        </p:nvSpPr>
        <p:spPr bwMode="auto">
          <a:xfrm>
            <a:off x="2720360" y="135881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1" name="Oval 50">
            <a:extLst>
              <a:ext uri="{FF2B5EF4-FFF2-40B4-BE49-F238E27FC236}">
                <a16:creationId xmlns:a16="http://schemas.microsoft.com/office/drawing/2014/main" id="{23D727BE-A6CA-45F0-90AC-016EB30EB0B4}"/>
              </a:ext>
            </a:extLst>
          </p:cNvPr>
          <p:cNvSpPr/>
          <p:nvPr/>
        </p:nvSpPr>
        <p:spPr bwMode="auto">
          <a:xfrm>
            <a:off x="2386775" y="1305273"/>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2" name="Oval 51">
            <a:extLst>
              <a:ext uri="{FF2B5EF4-FFF2-40B4-BE49-F238E27FC236}">
                <a16:creationId xmlns:a16="http://schemas.microsoft.com/office/drawing/2014/main" id="{D977222A-067E-4A25-807F-3E449988C99D}"/>
              </a:ext>
            </a:extLst>
          </p:cNvPr>
          <p:cNvSpPr/>
          <p:nvPr/>
        </p:nvSpPr>
        <p:spPr bwMode="auto">
          <a:xfrm>
            <a:off x="7309907" y="135575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4" name="Oval 53">
            <a:extLst>
              <a:ext uri="{FF2B5EF4-FFF2-40B4-BE49-F238E27FC236}">
                <a16:creationId xmlns:a16="http://schemas.microsoft.com/office/drawing/2014/main" id="{5DC76949-C486-4C97-9687-B906E46926A2}"/>
              </a:ext>
            </a:extLst>
          </p:cNvPr>
          <p:cNvSpPr/>
          <p:nvPr/>
        </p:nvSpPr>
        <p:spPr bwMode="auto">
          <a:xfrm>
            <a:off x="7124582" y="1034521"/>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5" name="Oval 54">
            <a:extLst>
              <a:ext uri="{FF2B5EF4-FFF2-40B4-BE49-F238E27FC236}">
                <a16:creationId xmlns:a16="http://schemas.microsoft.com/office/drawing/2014/main" id="{50E11220-633B-425F-9A3E-70ECB0697EDC}"/>
              </a:ext>
            </a:extLst>
          </p:cNvPr>
          <p:cNvSpPr/>
          <p:nvPr/>
        </p:nvSpPr>
        <p:spPr bwMode="auto">
          <a:xfrm>
            <a:off x="8377808" y="2237402"/>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6" name="Oval 55">
            <a:extLst>
              <a:ext uri="{FF2B5EF4-FFF2-40B4-BE49-F238E27FC236}">
                <a16:creationId xmlns:a16="http://schemas.microsoft.com/office/drawing/2014/main" id="{8B332EB5-D16C-41CA-85A1-764135E34495}"/>
              </a:ext>
            </a:extLst>
          </p:cNvPr>
          <p:cNvSpPr/>
          <p:nvPr/>
        </p:nvSpPr>
        <p:spPr bwMode="auto">
          <a:xfrm>
            <a:off x="8251253" y="2200117"/>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7" name="Oval 56">
            <a:extLst>
              <a:ext uri="{FF2B5EF4-FFF2-40B4-BE49-F238E27FC236}">
                <a16:creationId xmlns:a16="http://schemas.microsoft.com/office/drawing/2014/main" id="{FE13F51F-10D6-4C72-8028-709D31A3DDC5}"/>
              </a:ext>
            </a:extLst>
          </p:cNvPr>
          <p:cNvSpPr/>
          <p:nvPr/>
        </p:nvSpPr>
        <p:spPr bwMode="auto">
          <a:xfrm>
            <a:off x="10816250" y="1299588"/>
            <a:ext cx="280495" cy="28048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Tree>
    <p:extLst>
      <p:ext uri="{BB962C8B-B14F-4D97-AF65-F5344CB8AC3E}">
        <p14:creationId xmlns:p14="http://schemas.microsoft.com/office/powerpoint/2010/main" val="290463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500"/>
                                        <p:tgtEl>
                                          <p:spTgt spid="1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fade">
                                      <p:cBhvr>
                                        <p:cTn id="19" dur="500"/>
                                        <p:tgtEl>
                                          <p:spTgt spid="94"/>
                                        </p:tgtEl>
                                      </p:cBhvr>
                                    </p:animEffect>
                                  </p:childTnLst>
                                </p:cTn>
                              </p:par>
                              <p:par>
                                <p:cTn id="20" presetID="10" presetClass="entr" presetSubtype="0" fill="hold" grpId="0" nodeType="withEffect">
                                  <p:stCondLst>
                                    <p:cond delay="2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10" presetClass="entr" presetSubtype="0" fill="hold" grpId="0" nodeType="withEffect">
                                  <p:stCondLst>
                                    <p:cond delay="40"/>
                                  </p:stCondLst>
                                  <p:childTnLst>
                                    <p:set>
                                      <p:cBhvr>
                                        <p:cTn id="24" dur="1" fill="hold">
                                          <p:stCondLst>
                                            <p:cond delay="0"/>
                                          </p:stCondLst>
                                        </p:cTn>
                                        <p:tgtEl>
                                          <p:spTgt spid="96"/>
                                        </p:tgtEl>
                                        <p:attrNameLst>
                                          <p:attrName>style.visibility</p:attrName>
                                        </p:attrNameLst>
                                      </p:cBhvr>
                                      <p:to>
                                        <p:strVal val="visible"/>
                                      </p:to>
                                    </p:set>
                                    <p:animEffect transition="in" filter="fade">
                                      <p:cBhvr>
                                        <p:cTn id="25" dur="500"/>
                                        <p:tgtEl>
                                          <p:spTgt spid="96"/>
                                        </p:tgtEl>
                                      </p:cBhvr>
                                    </p:animEffect>
                                  </p:childTnLst>
                                </p:cTn>
                              </p:par>
                              <p:par>
                                <p:cTn id="26" presetID="10" presetClass="entr" presetSubtype="0" fill="hold" grpId="0" nodeType="withEffect">
                                  <p:stCondLst>
                                    <p:cond delay="6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500"/>
                                        <p:tgtEl>
                                          <p:spTgt spid="97"/>
                                        </p:tgtEl>
                                      </p:cBhvr>
                                    </p:animEffect>
                                  </p:childTnLst>
                                </p:cTn>
                              </p:par>
                              <p:par>
                                <p:cTn id="29" presetID="10" presetClass="entr" presetSubtype="0" fill="hold" grpId="0" nodeType="withEffect">
                                  <p:stCondLst>
                                    <p:cond delay="80"/>
                                  </p:stCondLst>
                                  <p:childTnLst>
                                    <p:set>
                                      <p:cBhvr>
                                        <p:cTn id="30" dur="1" fill="hold">
                                          <p:stCondLst>
                                            <p:cond delay="0"/>
                                          </p:stCondLst>
                                        </p:cTn>
                                        <p:tgtEl>
                                          <p:spTgt spid="98"/>
                                        </p:tgtEl>
                                        <p:attrNameLst>
                                          <p:attrName>style.visibility</p:attrName>
                                        </p:attrNameLst>
                                      </p:cBhvr>
                                      <p:to>
                                        <p:strVal val="visible"/>
                                      </p:to>
                                    </p:set>
                                    <p:animEffect transition="in" filter="fade">
                                      <p:cBhvr>
                                        <p:cTn id="31" dur="500"/>
                                        <p:tgtEl>
                                          <p:spTgt spid="98"/>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99"/>
                                        </p:tgtEl>
                                        <p:attrNameLst>
                                          <p:attrName>style.visibility</p:attrName>
                                        </p:attrNameLst>
                                      </p:cBhvr>
                                      <p:to>
                                        <p:strVal val="visible"/>
                                      </p:to>
                                    </p:set>
                                    <p:animEffect transition="in" filter="fade">
                                      <p:cBhvr>
                                        <p:cTn id="34" dur="500"/>
                                        <p:tgtEl>
                                          <p:spTgt spid="99"/>
                                        </p:tgtEl>
                                      </p:cBhvr>
                                    </p:animEffect>
                                  </p:childTnLst>
                                </p:cTn>
                              </p:par>
                              <p:par>
                                <p:cTn id="35" presetID="10" presetClass="entr" presetSubtype="0" fill="hold" grpId="0" nodeType="withEffect">
                                  <p:stCondLst>
                                    <p:cond delay="12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14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10" presetClass="entr" presetSubtype="0" fill="hold" grpId="0" nodeType="withEffect">
                                  <p:stCondLst>
                                    <p:cond delay="180"/>
                                  </p:stCondLst>
                                  <p:childTnLst>
                                    <p:set>
                                      <p:cBhvr>
                                        <p:cTn id="42" dur="1" fill="hold">
                                          <p:stCondLst>
                                            <p:cond delay="0"/>
                                          </p:stCondLst>
                                        </p:cTn>
                                        <p:tgtEl>
                                          <p:spTgt spid="102"/>
                                        </p:tgtEl>
                                        <p:attrNameLst>
                                          <p:attrName>style.visibility</p:attrName>
                                        </p:attrNameLst>
                                      </p:cBhvr>
                                      <p:to>
                                        <p:strVal val="visible"/>
                                      </p:to>
                                    </p:set>
                                    <p:animEffect transition="in" filter="fade">
                                      <p:cBhvr>
                                        <p:cTn id="43" dur="500"/>
                                        <p:tgtEl>
                                          <p:spTgt spid="102"/>
                                        </p:tgtEl>
                                      </p:cBhvr>
                                    </p:animEffect>
                                  </p:childTnLst>
                                </p:cTn>
                              </p:par>
                              <p:par>
                                <p:cTn id="44" presetID="10" presetClass="entr" presetSubtype="0" fill="hold" grpId="0" nodeType="withEffect">
                                  <p:stCondLst>
                                    <p:cond delay="20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500"/>
                                        <p:tgtEl>
                                          <p:spTgt spid="103"/>
                                        </p:tgtEl>
                                      </p:cBhvr>
                                    </p:animEffect>
                                  </p:childTnLst>
                                </p:cTn>
                              </p:par>
                              <p:par>
                                <p:cTn id="47" presetID="10" presetClass="entr" presetSubtype="0" fill="hold" grpId="0" nodeType="withEffect">
                                  <p:stCondLst>
                                    <p:cond delay="22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500"/>
                                        <p:tgtEl>
                                          <p:spTgt spid="104"/>
                                        </p:tgtEl>
                                      </p:cBhvr>
                                    </p:animEffect>
                                  </p:childTnLst>
                                </p:cTn>
                              </p:par>
                              <p:par>
                                <p:cTn id="50" presetID="10" presetClass="entr" presetSubtype="0" fill="hold" grpId="0" nodeType="withEffect">
                                  <p:stCondLst>
                                    <p:cond delay="240"/>
                                  </p:stCondLst>
                                  <p:childTnLst>
                                    <p:set>
                                      <p:cBhvr>
                                        <p:cTn id="51" dur="1" fill="hold">
                                          <p:stCondLst>
                                            <p:cond delay="0"/>
                                          </p:stCondLst>
                                        </p:cTn>
                                        <p:tgtEl>
                                          <p:spTgt spid="105"/>
                                        </p:tgtEl>
                                        <p:attrNameLst>
                                          <p:attrName>style.visibility</p:attrName>
                                        </p:attrNameLst>
                                      </p:cBhvr>
                                      <p:to>
                                        <p:strVal val="visible"/>
                                      </p:to>
                                    </p:set>
                                    <p:animEffect transition="in" filter="fade">
                                      <p:cBhvr>
                                        <p:cTn id="52" dur="500"/>
                                        <p:tgtEl>
                                          <p:spTgt spid="105"/>
                                        </p:tgtEl>
                                      </p:cBhvr>
                                    </p:animEffect>
                                  </p:childTnLst>
                                </p:cTn>
                              </p:par>
                              <p:par>
                                <p:cTn id="53" presetID="10" presetClass="entr" presetSubtype="0" fill="hold" grpId="0" nodeType="withEffect">
                                  <p:stCondLst>
                                    <p:cond delay="26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par>
                                <p:cTn id="56" presetID="10" presetClass="entr" presetSubtype="0" fill="hold" grpId="0" nodeType="withEffect">
                                  <p:stCondLst>
                                    <p:cond delay="28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30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500"/>
                                        <p:tgtEl>
                                          <p:spTgt spid="108"/>
                                        </p:tgtEl>
                                      </p:cBhvr>
                                    </p:animEffect>
                                  </p:childTnLst>
                                </p:cTn>
                              </p:par>
                              <p:par>
                                <p:cTn id="62" presetID="10" presetClass="entr" presetSubtype="0" fill="hold" grpId="0" nodeType="withEffect">
                                  <p:stCondLst>
                                    <p:cond delay="340"/>
                                  </p:stCondLst>
                                  <p:childTnLst>
                                    <p:set>
                                      <p:cBhvr>
                                        <p:cTn id="63" dur="1" fill="hold">
                                          <p:stCondLst>
                                            <p:cond delay="0"/>
                                          </p:stCondLst>
                                        </p:cTn>
                                        <p:tgtEl>
                                          <p:spTgt spid="109"/>
                                        </p:tgtEl>
                                        <p:attrNameLst>
                                          <p:attrName>style.visibility</p:attrName>
                                        </p:attrNameLst>
                                      </p:cBhvr>
                                      <p:to>
                                        <p:strVal val="visible"/>
                                      </p:to>
                                    </p:set>
                                    <p:animEffect transition="in" filter="fade">
                                      <p:cBhvr>
                                        <p:cTn id="64" dur="500"/>
                                        <p:tgtEl>
                                          <p:spTgt spid="109"/>
                                        </p:tgtEl>
                                      </p:cBhvr>
                                    </p:animEffect>
                                  </p:childTnLst>
                                </p:cTn>
                              </p:par>
                              <p:par>
                                <p:cTn id="65" presetID="10" presetClass="entr" presetSubtype="0" fill="hold" grpId="0" nodeType="withEffect">
                                  <p:stCondLst>
                                    <p:cond delay="380"/>
                                  </p:stCondLst>
                                  <p:childTnLst>
                                    <p:set>
                                      <p:cBhvr>
                                        <p:cTn id="66" dur="1" fill="hold">
                                          <p:stCondLst>
                                            <p:cond delay="0"/>
                                          </p:stCondLst>
                                        </p:cTn>
                                        <p:tgtEl>
                                          <p:spTgt spid="110"/>
                                        </p:tgtEl>
                                        <p:attrNameLst>
                                          <p:attrName>style.visibility</p:attrName>
                                        </p:attrNameLst>
                                      </p:cBhvr>
                                      <p:to>
                                        <p:strVal val="visible"/>
                                      </p:to>
                                    </p:set>
                                    <p:animEffect transition="in" filter="fade">
                                      <p:cBhvr>
                                        <p:cTn id="67" dur="500"/>
                                        <p:tgtEl>
                                          <p:spTgt spid="110"/>
                                        </p:tgtEl>
                                      </p:cBhvr>
                                    </p:animEffect>
                                  </p:childTnLst>
                                </p:cTn>
                              </p:par>
                              <p:par>
                                <p:cTn id="68" presetID="10" presetClass="entr" presetSubtype="0" fill="hold" grpId="0" nodeType="withEffect">
                                  <p:stCondLst>
                                    <p:cond delay="420"/>
                                  </p:stCondLst>
                                  <p:childTnLst>
                                    <p:set>
                                      <p:cBhvr>
                                        <p:cTn id="69" dur="1" fill="hold">
                                          <p:stCondLst>
                                            <p:cond delay="0"/>
                                          </p:stCondLst>
                                        </p:cTn>
                                        <p:tgtEl>
                                          <p:spTgt spid="111"/>
                                        </p:tgtEl>
                                        <p:attrNameLst>
                                          <p:attrName>style.visibility</p:attrName>
                                        </p:attrNameLst>
                                      </p:cBhvr>
                                      <p:to>
                                        <p:strVal val="visible"/>
                                      </p:to>
                                    </p:set>
                                    <p:animEffect transition="in" filter="fade">
                                      <p:cBhvr>
                                        <p:cTn id="70" dur="500"/>
                                        <p:tgtEl>
                                          <p:spTgt spid="111"/>
                                        </p:tgtEl>
                                      </p:cBhvr>
                                    </p:animEffect>
                                  </p:childTnLst>
                                </p:cTn>
                              </p:par>
                              <p:par>
                                <p:cTn id="71" presetID="10" presetClass="entr" presetSubtype="0" fill="hold" grpId="0" nodeType="withEffect">
                                  <p:stCondLst>
                                    <p:cond delay="550"/>
                                  </p:stCondLst>
                                  <p:childTnLst>
                                    <p:set>
                                      <p:cBhvr>
                                        <p:cTn id="72" dur="1" fill="hold">
                                          <p:stCondLst>
                                            <p:cond delay="0"/>
                                          </p:stCondLst>
                                        </p:cTn>
                                        <p:tgtEl>
                                          <p:spTgt spid="113"/>
                                        </p:tgtEl>
                                        <p:attrNameLst>
                                          <p:attrName>style.visibility</p:attrName>
                                        </p:attrNameLst>
                                      </p:cBhvr>
                                      <p:to>
                                        <p:strVal val="visible"/>
                                      </p:to>
                                    </p:set>
                                    <p:animEffect transition="in" filter="fade">
                                      <p:cBhvr>
                                        <p:cTn id="73" dur="500"/>
                                        <p:tgtEl>
                                          <p:spTgt spid="113"/>
                                        </p:tgtEl>
                                      </p:cBhvr>
                                    </p:animEffect>
                                  </p:childTnLst>
                                </p:cTn>
                              </p:par>
                              <p:par>
                                <p:cTn id="74" presetID="10" presetClass="entr" presetSubtype="0" fill="hold" grpId="0" nodeType="withEffect">
                                  <p:stCondLst>
                                    <p:cond delay="550"/>
                                  </p:stCondLst>
                                  <p:childTnLst>
                                    <p:set>
                                      <p:cBhvr>
                                        <p:cTn id="75" dur="1" fill="hold">
                                          <p:stCondLst>
                                            <p:cond delay="0"/>
                                          </p:stCondLst>
                                        </p:cTn>
                                        <p:tgtEl>
                                          <p:spTgt spid="114"/>
                                        </p:tgtEl>
                                        <p:attrNameLst>
                                          <p:attrName>style.visibility</p:attrName>
                                        </p:attrNameLst>
                                      </p:cBhvr>
                                      <p:to>
                                        <p:strVal val="visible"/>
                                      </p:to>
                                    </p:set>
                                    <p:animEffect transition="in" filter="fade">
                                      <p:cBhvr>
                                        <p:cTn id="76" dur="500"/>
                                        <p:tgtEl>
                                          <p:spTgt spid="114"/>
                                        </p:tgtEl>
                                      </p:cBhvr>
                                    </p:animEffect>
                                  </p:childTnLst>
                                </p:cTn>
                              </p:par>
                              <p:par>
                                <p:cTn id="77" presetID="10" presetClass="entr" presetSubtype="0" fill="hold" grpId="0" nodeType="withEffect">
                                  <p:stCondLst>
                                    <p:cond delay="600"/>
                                  </p:stCondLst>
                                  <p:childTnLst>
                                    <p:set>
                                      <p:cBhvr>
                                        <p:cTn id="78" dur="1" fill="hold">
                                          <p:stCondLst>
                                            <p:cond delay="0"/>
                                          </p:stCondLst>
                                        </p:cTn>
                                        <p:tgtEl>
                                          <p:spTgt spid="115"/>
                                        </p:tgtEl>
                                        <p:attrNameLst>
                                          <p:attrName>style.visibility</p:attrName>
                                        </p:attrNameLst>
                                      </p:cBhvr>
                                      <p:to>
                                        <p:strVal val="visible"/>
                                      </p:to>
                                    </p:set>
                                    <p:animEffect transition="in" filter="fade">
                                      <p:cBhvr>
                                        <p:cTn id="79" dur="500"/>
                                        <p:tgtEl>
                                          <p:spTgt spid="115"/>
                                        </p:tgtEl>
                                      </p:cBhvr>
                                    </p:animEffect>
                                  </p:childTnLst>
                                </p:cTn>
                              </p:par>
                              <p:par>
                                <p:cTn id="80" presetID="10" presetClass="entr" presetSubtype="0" fill="hold" grpId="0" nodeType="withEffect">
                                  <p:stCondLst>
                                    <p:cond delay="650"/>
                                  </p:stCondLst>
                                  <p:childTnLst>
                                    <p:set>
                                      <p:cBhvr>
                                        <p:cTn id="81" dur="1" fill="hold">
                                          <p:stCondLst>
                                            <p:cond delay="0"/>
                                          </p:stCondLst>
                                        </p:cTn>
                                        <p:tgtEl>
                                          <p:spTgt spid="116"/>
                                        </p:tgtEl>
                                        <p:attrNameLst>
                                          <p:attrName>style.visibility</p:attrName>
                                        </p:attrNameLst>
                                      </p:cBhvr>
                                      <p:to>
                                        <p:strVal val="visible"/>
                                      </p:to>
                                    </p:set>
                                    <p:animEffect transition="in" filter="fade">
                                      <p:cBhvr>
                                        <p:cTn id="82" dur="500"/>
                                        <p:tgtEl>
                                          <p:spTgt spid="116"/>
                                        </p:tgtEl>
                                      </p:cBhvr>
                                    </p:animEffect>
                                  </p:childTnLst>
                                </p:cTn>
                              </p:par>
                              <p:par>
                                <p:cTn id="83" presetID="10" presetClass="entr" presetSubtype="0" fill="hold" grpId="0" nodeType="withEffect">
                                  <p:stCondLst>
                                    <p:cond delay="700"/>
                                  </p:stCondLst>
                                  <p:childTnLst>
                                    <p:set>
                                      <p:cBhvr>
                                        <p:cTn id="84" dur="1" fill="hold">
                                          <p:stCondLst>
                                            <p:cond delay="0"/>
                                          </p:stCondLst>
                                        </p:cTn>
                                        <p:tgtEl>
                                          <p:spTgt spid="117"/>
                                        </p:tgtEl>
                                        <p:attrNameLst>
                                          <p:attrName>style.visibility</p:attrName>
                                        </p:attrNameLst>
                                      </p:cBhvr>
                                      <p:to>
                                        <p:strVal val="visible"/>
                                      </p:to>
                                    </p:set>
                                    <p:animEffect transition="in" filter="fade">
                                      <p:cBhvr>
                                        <p:cTn id="85" dur="500"/>
                                        <p:tgtEl>
                                          <p:spTgt spid="117"/>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18"/>
                                        </p:tgtEl>
                                        <p:attrNameLst>
                                          <p:attrName>style.visibility</p:attrName>
                                        </p:attrNameLst>
                                      </p:cBhvr>
                                      <p:to>
                                        <p:strVal val="visible"/>
                                      </p:to>
                                    </p:set>
                                    <p:animEffect transition="in" filter="fade">
                                      <p:cBhvr>
                                        <p:cTn id="88" dur="500"/>
                                        <p:tgtEl>
                                          <p:spTgt spid="118"/>
                                        </p:tgtEl>
                                      </p:cBhvr>
                                    </p:animEffect>
                                  </p:childTnLst>
                                </p:cTn>
                              </p:par>
                              <p:par>
                                <p:cTn id="89" presetID="10" presetClass="entr" presetSubtype="0" fill="hold" grpId="0" nodeType="withEffect">
                                  <p:stCondLst>
                                    <p:cond delay="80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500"/>
                                        <p:tgtEl>
                                          <p:spTgt spid="119"/>
                                        </p:tgtEl>
                                      </p:cBhvr>
                                    </p:animEffect>
                                  </p:childTnLst>
                                </p:cTn>
                              </p:par>
                              <p:par>
                                <p:cTn id="92" presetID="10" presetClass="entr" presetSubtype="0" fill="hold" grpId="0" nodeType="withEffect">
                                  <p:stCondLst>
                                    <p:cond delay="850"/>
                                  </p:stCondLst>
                                  <p:childTnLst>
                                    <p:set>
                                      <p:cBhvr>
                                        <p:cTn id="93" dur="1" fill="hold">
                                          <p:stCondLst>
                                            <p:cond delay="0"/>
                                          </p:stCondLst>
                                        </p:cTn>
                                        <p:tgtEl>
                                          <p:spTgt spid="120"/>
                                        </p:tgtEl>
                                        <p:attrNameLst>
                                          <p:attrName>style.visibility</p:attrName>
                                        </p:attrNameLst>
                                      </p:cBhvr>
                                      <p:to>
                                        <p:strVal val="visible"/>
                                      </p:to>
                                    </p:set>
                                    <p:animEffect transition="in" filter="fade">
                                      <p:cBhvr>
                                        <p:cTn id="94" dur="500"/>
                                        <p:tgtEl>
                                          <p:spTgt spid="120"/>
                                        </p:tgtEl>
                                      </p:cBhvr>
                                    </p:animEffect>
                                  </p:childTnLst>
                                </p:cTn>
                              </p:par>
                              <p:par>
                                <p:cTn id="95" presetID="10" presetClass="entr" presetSubtype="0" fill="hold" grpId="0" nodeType="withEffect">
                                  <p:stCondLst>
                                    <p:cond delay="900"/>
                                  </p:stCondLst>
                                  <p:childTnLst>
                                    <p:set>
                                      <p:cBhvr>
                                        <p:cTn id="96" dur="1" fill="hold">
                                          <p:stCondLst>
                                            <p:cond delay="0"/>
                                          </p:stCondLst>
                                        </p:cTn>
                                        <p:tgtEl>
                                          <p:spTgt spid="121"/>
                                        </p:tgtEl>
                                        <p:attrNameLst>
                                          <p:attrName>style.visibility</p:attrName>
                                        </p:attrNameLst>
                                      </p:cBhvr>
                                      <p:to>
                                        <p:strVal val="visible"/>
                                      </p:to>
                                    </p:set>
                                    <p:animEffect transition="in" filter="fade">
                                      <p:cBhvr>
                                        <p:cTn id="97" dur="500"/>
                                        <p:tgtEl>
                                          <p:spTgt spid="121"/>
                                        </p:tgtEl>
                                      </p:cBhvr>
                                    </p:animEffect>
                                  </p:childTnLst>
                                </p:cTn>
                              </p:par>
                              <p:par>
                                <p:cTn id="98" presetID="10" presetClass="entr" presetSubtype="0" fill="hold" grpId="0" nodeType="withEffect">
                                  <p:stCondLst>
                                    <p:cond delay="800"/>
                                  </p:stCondLst>
                                  <p:childTnLst>
                                    <p:set>
                                      <p:cBhvr>
                                        <p:cTn id="99" dur="1" fill="hold">
                                          <p:stCondLst>
                                            <p:cond delay="0"/>
                                          </p:stCondLst>
                                        </p:cTn>
                                        <p:tgtEl>
                                          <p:spTgt spid="123"/>
                                        </p:tgtEl>
                                        <p:attrNameLst>
                                          <p:attrName>style.visibility</p:attrName>
                                        </p:attrNameLst>
                                      </p:cBhvr>
                                      <p:to>
                                        <p:strVal val="visible"/>
                                      </p:to>
                                    </p:set>
                                    <p:animEffect transition="in" filter="fade">
                                      <p:cBhvr>
                                        <p:cTn id="100" dur="500"/>
                                        <p:tgtEl>
                                          <p:spTgt spid="123"/>
                                        </p:tgtEl>
                                      </p:cBhvr>
                                    </p:animEffect>
                                  </p:childTnLst>
                                </p:cTn>
                              </p:par>
                            </p:childTnLst>
                          </p:cTn>
                        </p:par>
                        <p:par>
                          <p:cTn id="101" fill="hold">
                            <p:stCondLst>
                              <p:cond delay="1900"/>
                            </p:stCondLst>
                            <p:childTnLst>
                              <p:par>
                                <p:cTn id="102" presetID="10" presetClass="entr" presetSubtype="0" fill="hold" nodeType="afterEffect">
                                  <p:stCondLst>
                                    <p:cond delay="0"/>
                                  </p:stCondLst>
                                  <p:childTnLst>
                                    <p:set>
                                      <p:cBhvr>
                                        <p:cTn id="103" dur="1" fill="hold">
                                          <p:stCondLst>
                                            <p:cond delay="0"/>
                                          </p:stCondLst>
                                        </p:cTn>
                                        <p:tgtEl>
                                          <p:spTgt spid="124"/>
                                        </p:tgtEl>
                                        <p:attrNameLst>
                                          <p:attrName>style.visibility</p:attrName>
                                        </p:attrNameLst>
                                      </p:cBhvr>
                                      <p:to>
                                        <p:strVal val="visible"/>
                                      </p:to>
                                    </p:set>
                                    <p:animEffect transition="in" filter="fade">
                                      <p:cBhvr>
                                        <p:cTn id="104" dur="500"/>
                                        <p:tgtEl>
                                          <p:spTgt spid="124"/>
                                        </p:tgtEl>
                                      </p:cBhvr>
                                    </p:animEffect>
                                  </p:childTnLst>
                                </p:cTn>
                              </p:par>
                              <p:par>
                                <p:cTn id="105" presetID="10" presetClass="entr" presetSubtype="0" fill="hold" grpId="0" nodeType="withEffect">
                                  <p:stCondLst>
                                    <p:cond delay="38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500"/>
                                        <p:tgtEl>
                                          <p:spTgt spid="48"/>
                                        </p:tgtEl>
                                      </p:cBhvr>
                                    </p:animEffect>
                                  </p:childTnLst>
                                </p:cTn>
                              </p:par>
                              <p:par>
                                <p:cTn id="108" presetID="10" presetClass="entr" presetSubtype="0" fill="hold" grpId="0" nodeType="withEffect">
                                  <p:stCondLst>
                                    <p:cond delay="420"/>
                                  </p:stCondLst>
                                  <p:childTnLst>
                                    <p:set>
                                      <p:cBhvr>
                                        <p:cTn id="109" dur="1" fill="hold">
                                          <p:stCondLst>
                                            <p:cond delay="0"/>
                                          </p:stCondLst>
                                        </p:cTn>
                                        <p:tgtEl>
                                          <p:spTgt spid="49"/>
                                        </p:tgtEl>
                                        <p:attrNameLst>
                                          <p:attrName>style.visibility</p:attrName>
                                        </p:attrNameLst>
                                      </p:cBhvr>
                                      <p:to>
                                        <p:strVal val="visible"/>
                                      </p:to>
                                    </p:set>
                                    <p:animEffect transition="in" filter="fade">
                                      <p:cBhvr>
                                        <p:cTn id="110" dur="500"/>
                                        <p:tgtEl>
                                          <p:spTgt spid="49"/>
                                        </p:tgtEl>
                                      </p:cBhvr>
                                    </p:animEffect>
                                  </p:childTnLst>
                                </p:cTn>
                              </p:par>
                              <p:par>
                                <p:cTn id="111" presetID="10" presetClass="entr" presetSubtype="0" fill="hold" grpId="0" nodeType="withEffect">
                                  <p:stCondLst>
                                    <p:cond delay="280"/>
                                  </p:stCondLst>
                                  <p:childTnLst>
                                    <p:set>
                                      <p:cBhvr>
                                        <p:cTn id="112" dur="1" fill="hold">
                                          <p:stCondLst>
                                            <p:cond delay="0"/>
                                          </p:stCondLst>
                                        </p:cTn>
                                        <p:tgtEl>
                                          <p:spTgt spid="50"/>
                                        </p:tgtEl>
                                        <p:attrNameLst>
                                          <p:attrName>style.visibility</p:attrName>
                                        </p:attrNameLst>
                                      </p:cBhvr>
                                      <p:to>
                                        <p:strVal val="visible"/>
                                      </p:to>
                                    </p:set>
                                    <p:animEffect transition="in" filter="fade">
                                      <p:cBhvr>
                                        <p:cTn id="113" dur="500"/>
                                        <p:tgtEl>
                                          <p:spTgt spid="50"/>
                                        </p:tgtEl>
                                      </p:cBhvr>
                                    </p:animEffect>
                                  </p:childTnLst>
                                </p:cTn>
                              </p:par>
                              <p:par>
                                <p:cTn id="114" presetID="10" presetClass="entr" presetSubtype="0" fill="hold" grpId="0" nodeType="withEffect">
                                  <p:stCondLst>
                                    <p:cond delay="280"/>
                                  </p:stCondLst>
                                  <p:childTnLst>
                                    <p:set>
                                      <p:cBhvr>
                                        <p:cTn id="115" dur="1" fill="hold">
                                          <p:stCondLst>
                                            <p:cond delay="0"/>
                                          </p:stCondLst>
                                        </p:cTn>
                                        <p:tgtEl>
                                          <p:spTgt spid="51"/>
                                        </p:tgtEl>
                                        <p:attrNameLst>
                                          <p:attrName>style.visibility</p:attrName>
                                        </p:attrNameLst>
                                      </p:cBhvr>
                                      <p:to>
                                        <p:strVal val="visible"/>
                                      </p:to>
                                    </p:set>
                                    <p:animEffect transition="in" filter="fade">
                                      <p:cBhvr>
                                        <p:cTn id="116" dur="500"/>
                                        <p:tgtEl>
                                          <p:spTgt spid="51"/>
                                        </p:tgtEl>
                                      </p:cBhvr>
                                    </p:animEffect>
                                  </p:childTnLst>
                                </p:cTn>
                              </p:par>
                              <p:par>
                                <p:cTn id="117" presetID="10" presetClass="entr" presetSubtype="0" fill="hold" grpId="0" nodeType="withEffect">
                                  <p:stCondLst>
                                    <p:cond delay="100"/>
                                  </p:stCondLst>
                                  <p:childTnLst>
                                    <p:set>
                                      <p:cBhvr>
                                        <p:cTn id="118" dur="1" fill="hold">
                                          <p:stCondLst>
                                            <p:cond delay="0"/>
                                          </p:stCondLst>
                                        </p:cTn>
                                        <p:tgtEl>
                                          <p:spTgt spid="52"/>
                                        </p:tgtEl>
                                        <p:attrNameLst>
                                          <p:attrName>style.visibility</p:attrName>
                                        </p:attrNameLst>
                                      </p:cBhvr>
                                      <p:to>
                                        <p:strVal val="visible"/>
                                      </p:to>
                                    </p:set>
                                    <p:animEffect transition="in" filter="fade">
                                      <p:cBhvr>
                                        <p:cTn id="119" dur="500"/>
                                        <p:tgtEl>
                                          <p:spTgt spid="52"/>
                                        </p:tgtEl>
                                      </p:cBhvr>
                                    </p:animEffect>
                                  </p:childTnLst>
                                </p:cTn>
                              </p:par>
                              <p:par>
                                <p:cTn id="120" presetID="10" presetClass="entr" presetSubtype="0" fill="hold" grpId="0" nodeType="withEffect">
                                  <p:stCondLst>
                                    <p:cond delay="100"/>
                                  </p:stCondLst>
                                  <p:childTnLst>
                                    <p:set>
                                      <p:cBhvr>
                                        <p:cTn id="121" dur="1" fill="hold">
                                          <p:stCondLst>
                                            <p:cond delay="0"/>
                                          </p:stCondLst>
                                        </p:cTn>
                                        <p:tgtEl>
                                          <p:spTgt spid="54"/>
                                        </p:tgtEl>
                                        <p:attrNameLst>
                                          <p:attrName>style.visibility</p:attrName>
                                        </p:attrNameLst>
                                      </p:cBhvr>
                                      <p:to>
                                        <p:strVal val="visible"/>
                                      </p:to>
                                    </p:set>
                                    <p:animEffect transition="in" filter="fade">
                                      <p:cBhvr>
                                        <p:cTn id="122" dur="500"/>
                                        <p:tgtEl>
                                          <p:spTgt spid="54"/>
                                        </p:tgtEl>
                                      </p:cBhvr>
                                    </p:animEffect>
                                  </p:childTnLst>
                                </p:cTn>
                              </p:par>
                              <p:par>
                                <p:cTn id="123" presetID="10" presetClass="entr" presetSubtype="0" fill="hold" grpId="0" nodeType="withEffect">
                                  <p:stCondLst>
                                    <p:cond delay="60"/>
                                  </p:stCondLst>
                                  <p:childTnLst>
                                    <p:set>
                                      <p:cBhvr>
                                        <p:cTn id="124" dur="1" fill="hold">
                                          <p:stCondLst>
                                            <p:cond delay="0"/>
                                          </p:stCondLst>
                                        </p:cTn>
                                        <p:tgtEl>
                                          <p:spTgt spid="55"/>
                                        </p:tgtEl>
                                        <p:attrNameLst>
                                          <p:attrName>style.visibility</p:attrName>
                                        </p:attrNameLst>
                                      </p:cBhvr>
                                      <p:to>
                                        <p:strVal val="visible"/>
                                      </p:to>
                                    </p:set>
                                    <p:animEffect transition="in" filter="fade">
                                      <p:cBhvr>
                                        <p:cTn id="125" dur="500"/>
                                        <p:tgtEl>
                                          <p:spTgt spid="55"/>
                                        </p:tgtEl>
                                      </p:cBhvr>
                                    </p:animEffect>
                                  </p:childTnLst>
                                </p:cTn>
                              </p:par>
                              <p:par>
                                <p:cTn id="126" presetID="10" presetClass="entr" presetSubtype="0" fill="hold" grpId="0" nodeType="withEffect">
                                  <p:stCondLst>
                                    <p:cond delay="60"/>
                                  </p:stCondLst>
                                  <p:childTnLst>
                                    <p:set>
                                      <p:cBhvr>
                                        <p:cTn id="127" dur="1" fill="hold">
                                          <p:stCondLst>
                                            <p:cond delay="0"/>
                                          </p:stCondLst>
                                        </p:cTn>
                                        <p:tgtEl>
                                          <p:spTgt spid="56"/>
                                        </p:tgtEl>
                                        <p:attrNameLst>
                                          <p:attrName>style.visibility</p:attrName>
                                        </p:attrNameLst>
                                      </p:cBhvr>
                                      <p:to>
                                        <p:strVal val="visible"/>
                                      </p:to>
                                    </p:set>
                                    <p:animEffect transition="in" filter="fade">
                                      <p:cBhvr>
                                        <p:cTn id="128" dur="500"/>
                                        <p:tgtEl>
                                          <p:spTgt spid="56"/>
                                        </p:tgtEl>
                                      </p:cBhvr>
                                    </p:animEffect>
                                  </p:childTnLst>
                                </p:cTn>
                              </p:par>
                              <p:par>
                                <p:cTn id="129" presetID="10" presetClass="entr" presetSubtype="0" fill="hold" grpId="0" nodeType="withEffect">
                                  <p:stCondLst>
                                    <p:cond delay="340"/>
                                  </p:stCondLst>
                                  <p:childTnLst>
                                    <p:set>
                                      <p:cBhvr>
                                        <p:cTn id="130" dur="1" fill="hold">
                                          <p:stCondLst>
                                            <p:cond delay="0"/>
                                          </p:stCondLst>
                                        </p:cTn>
                                        <p:tgtEl>
                                          <p:spTgt spid="57"/>
                                        </p:tgtEl>
                                        <p:attrNameLst>
                                          <p:attrName>style.visibility</p:attrName>
                                        </p:attrNameLst>
                                      </p:cBhvr>
                                      <p:to>
                                        <p:strVal val="visible"/>
                                      </p:to>
                                    </p:set>
                                    <p:animEffect transition="in" filter="fade">
                                      <p:cBhvr>
                                        <p:cTn id="131"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48" grpId="0" animBg="1"/>
      <p:bldP spid="49" grpId="0" animBg="1"/>
      <p:bldP spid="50" grpId="0" animBg="1"/>
      <p:bldP spid="51" grpId="0" animBg="1"/>
      <p:bldP spid="52" grpId="0" animBg="1"/>
      <p:bldP spid="54" grpId="0" animBg="1"/>
      <p:bldP spid="55" grpId="0" animBg="1"/>
      <p:bldP spid="56" grpId="0" animBg="1"/>
      <p:bldP spid="5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61C741-C7CF-484B-8727-D3CA3F68D841}"/>
              </a:ext>
            </a:extLst>
          </p:cNvPr>
          <p:cNvSpPr/>
          <p:nvPr/>
        </p:nvSpPr>
        <p:spPr bwMode="auto">
          <a:xfrm>
            <a:off x="428782" y="1296021"/>
            <a:ext cx="12006811" cy="54251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428782" y="2487911"/>
            <a:ext cx="373041" cy="985650"/>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algn="ctr" defTabSz="932563">
              <a:spcAft>
                <a:spcPts val="1199"/>
              </a:spcAft>
              <a:defRPr/>
            </a:pPr>
            <a:r>
              <a:rPr lang="en-IN" sz="1632" kern="0">
                <a:solidFill>
                  <a:srgbClr val="FFFFFF"/>
                </a:solidFill>
                <a:latin typeface="Segoe UI Semibold" panose="020B0702040204020203" pitchFamily="34" charset="0"/>
                <a:cs typeface="Segoe UI Semibold" panose="020B0702040204020203" pitchFamily="34" charset="0"/>
              </a:rPr>
              <a:t>US Gov</a:t>
            </a:r>
          </a:p>
        </p:txBody>
      </p:sp>
      <p:sp>
        <p:nvSpPr>
          <p:cNvPr id="28" name="Rectangle 27"/>
          <p:cNvSpPr/>
          <p:nvPr/>
        </p:nvSpPr>
        <p:spPr bwMode="auto">
          <a:xfrm>
            <a:off x="428782" y="1339910"/>
            <a:ext cx="373041" cy="1032937"/>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632" kern="0">
                <a:solidFill>
                  <a:srgbClr val="FFFFFF"/>
                </a:solidFill>
                <a:latin typeface="Segoe UI Semibold" panose="020B0702040204020203" pitchFamily="34" charset="0"/>
                <a:cs typeface="Segoe UI Semibold" panose="020B0702040204020203" pitchFamily="34" charset="0"/>
              </a:rPr>
              <a:t>Global</a:t>
            </a:r>
          </a:p>
        </p:txBody>
      </p:sp>
      <p:sp>
        <p:nvSpPr>
          <p:cNvPr id="52" name="Rectangle 51"/>
          <p:cNvSpPr/>
          <p:nvPr/>
        </p:nvSpPr>
        <p:spPr bwMode="auto">
          <a:xfrm>
            <a:off x="428782" y="5129037"/>
            <a:ext cx="373041" cy="135796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algn="ctr" defTabSz="932563">
              <a:spcAft>
                <a:spcPts val="1199"/>
              </a:spcAft>
              <a:defRPr/>
            </a:pPr>
            <a:r>
              <a:rPr lang="en-IN" sz="1632" kern="0" dirty="0">
                <a:solidFill>
                  <a:srgbClr val="FFFFFF"/>
                </a:solidFill>
                <a:latin typeface="Segoe UI Semibold" panose="020B0702040204020203" pitchFamily="34" charset="0"/>
                <a:cs typeface="Segoe UI Semibold" panose="020B0702040204020203" pitchFamily="34" charset="0"/>
              </a:rPr>
              <a:t>Regional</a:t>
            </a:r>
          </a:p>
        </p:txBody>
      </p:sp>
      <p:sp>
        <p:nvSpPr>
          <p:cNvPr id="101" name="Rectangle 100"/>
          <p:cNvSpPr/>
          <p:nvPr/>
        </p:nvSpPr>
        <p:spPr bwMode="auto">
          <a:xfrm>
            <a:off x="428782" y="3588624"/>
            <a:ext cx="373041" cy="142534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632" kern="0">
                <a:solidFill>
                  <a:srgbClr val="FFFFFF"/>
                </a:solidFill>
                <a:latin typeface="Segoe UI Semibold" panose="020B0702040204020203" pitchFamily="34" charset="0"/>
                <a:cs typeface="Segoe UI Semibold" panose="020B0702040204020203" pitchFamily="34" charset="0"/>
              </a:rPr>
              <a:t>Industry</a:t>
            </a:r>
          </a:p>
        </p:txBody>
      </p:sp>
      <p:graphicFrame>
        <p:nvGraphicFramePr>
          <p:cNvPr id="56" name="Table 55">
            <a:extLst>
              <a:ext uri="{FF2B5EF4-FFF2-40B4-BE49-F238E27FC236}">
                <a16:creationId xmlns:a16="http://schemas.microsoft.com/office/drawing/2014/main" id="{4BEAEF06-E34A-4EFE-A5B7-EB1B6F61CD2C}"/>
              </a:ext>
            </a:extLst>
          </p:cNvPr>
          <p:cNvGraphicFramePr>
            <a:graphicFrameLocks noGrp="1"/>
          </p:cNvGraphicFramePr>
          <p:nvPr>
            <p:extLst/>
          </p:nvPr>
        </p:nvGraphicFramePr>
        <p:xfrm>
          <a:off x="1008794" y="1417339"/>
          <a:ext cx="2294525" cy="718131"/>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7001:201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7017:2015</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7018:2014</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7" name="Table 56">
            <a:extLst>
              <a:ext uri="{FF2B5EF4-FFF2-40B4-BE49-F238E27FC236}">
                <a16:creationId xmlns:a16="http://schemas.microsoft.com/office/drawing/2014/main" id="{370FE74A-309C-431E-9E61-BD01994EE90D}"/>
              </a:ext>
            </a:extLst>
          </p:cNvPr>
          <p:cNvGraphicFramePr>
            <a:graphicFrameLocks noGrp="1"/>
          </p:cNvGraphicFramePr>
          <p:nvPr>
            <p:extLst/>
          </p:nvPr>
        </p:nvGraphicFramePr>
        <p:xfrm>
          <a:off x="3627408" y="1417338"/>
          <a:ext cx="2294525" cy="931407"/>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2301:2012</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9001:2015</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SO 20000-1:201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8" name="Table 57">
            <a:extLst>
              <a:ext uri="{FF2B5EF4-FFF2-40B4-BE49-F238E27FC236}">
                <a16:creationId xmlns:a16="http://schemas.microsoft.com/office/drawing/2014/main" id="{6C62576A-9943-49F9-A1CF-A00DB0618A93}"/>
              </a:ext>
            </a:extLst>
          </p:cNvPr>
          <p:cNvGraphicFramePr>
            <a:graphicFrameLocks noGrp="1"/>
          </p:cNvGraphicFramePr>
          <p:nvPr>
            <p:extLst/>
          </p:nvPr>
        </p:nvGraphicFramePr>
        <p:xfrm>
          <a:off x="6996317" y="1417339"/>
          <a:ext cx="2133954" cy="718131"/>
        </p:xfrm>
        <a:graphic>
          <a:graphicData uri="http://schemas.openxmlformats.org/drawingml/2006/table">
            <a:tbl>
              <a:tblPr/>
              <a:tblGrid>
                <a:gridCol w="2133954">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OC 1 Type 2</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OC 2 Type 2</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OC 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9" name="Table 58">
            <a:extLst>
              <a:ext uri="{FF2B5EF4-FFF2-40B4-BE49-F238E27FC236}">
                <a16:creationId xmlns:a16="http://schemas.microsoft.com/office/drawing/2014/main" id="{0F692CFF-5661-4441-924F-08066DF8E64E}"/>
              </a:ext>
            </a:extLst>
          </p:cNvPr>
          <p:cNvGraphicFramePr>
            <a:graphicFrameLocks noGrp="1"/>
          </p:cNvGraphicFramePr>
          <p:nvPr>
            <p:extLst/>
          </p:nvPr>
        </p:nvGraphicFramePr>
        <p:xfrm>
          <a:off x="9725141" y="1417338"/>
          <a:ext cx="2454368" cy="931407"/>
        </p:xfrm>
        <a:graphic>
          <a:graphicData uri="http://schemas.openxmlformats.org/drawingml/2006/table">
            <a:tbl>
              <a:tblPr/>
              <a:tblGrid>
                <a:gridCol w="2454368">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SA STAR Certification</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SA STAR Attestation</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SA STAR Self-Assessment</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WCAG 2.0</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0" name="Table 59">
            <a:extLst>
              <a:ext uri="{FF2B5EF4-FFF2-40B4-BE49-F238E27FC236}">
                <a16:creationId xmlns:a16="http://schemas.microsoft.com/office/drawing/2014/main" id="{B33E85B5-EED7-47F2-8357-B6B0C702E7A7}"/>
              </a:ext>
            </a:extLst>
          </p:cNvPr>
          <p:cNvGraphicFramePr>
            <a:graphicFrameLocks noGrp="1"/>
          </p:cNvGraphicFramePr>
          <p:nvPr>
            <p:extLst/>
          </p:nvPr>
        </p:nvGraphicFramePr>
        <p:xfrm>
          <a:off x="1008794" y="2559940"/>
          <a:ext cx="2294525" cy="1170784"/>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edRAMP High</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edRAMP Moderate</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EAR</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accent5"/>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accent5"/>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4904379"/>
                  </a:ext>
                </a:extLst>
              </a:tr>
            </a:tbl>
          </a:graphicData>
        </a:graphic>
      </p:graphicFrame>
      <p:graphicFrame>
        <p:nvGraphicFramePr>
          <p:cNvPr id="61" name="Table 60">
            <a:extLst>
              <a:ext uri="{FF2B5EF4-FFF2-40B4-BE49-F238E27FC236}">
                <a16:creationId xmlns:a16="http://schemas.microsoft.com/office/drawing/2014/main" id="{8AE9FFFD-CC61-4170-B48F-183121AF1EE0}"/>
              </a:ext>
            </a:extLst>
          </p:cNvPr>
          <p:cNvGraphicFramePr>
            <a:graphicFrameLocks noGrp="1"/>
          </p:cNvGraphicFramePr>
          <p:nvPr>
            <p:extLst/>
          </p:nvPr>
        </p:nvGraphicFramePr>
        <p:xfrm>
          <a:off x="3627408" y="2559939"/>
          <a:ext cx="2294525" cy="905307"/>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5</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6702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4</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2</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FAR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2" name="Table 61">
            <a:extLst>
              <a:ext uri="{FF2B5EF4-FFF2-40B4-BE49-F238E27FC236}">
                <a16:creationId xmlns:a16="http://schemas.microsoft.com/office/drawing/2014/main" id="{0EFABDB2-37A0-47EB-877C-7A658907E5DE}"/>
              </a:ext>
            </a:extLst>
          </p:cNvPr>
          <p:cNvGraphicFramePr>
            <a:graphicFrameLocks noGrp="1"/>
          </p:cNvGraphicFramePr>
          <p:nvPr>
            <p:extLst/>
          </p:nvPr>
        </p:nvGraphicFramePr>
        <p:xfrm>
          <a:off x="6996318" y="2542502"/>
          <a:ext cx="2741596" cy="922745"/>
        </p:xfrm>
        <a:graphic>
          <a:graphicData uri="http://schemas.openxmlformats.org/drawingml/2006/table">
            <a:tbl>
              <a:tblPr/>
              <a:tblGrid>
                <a:gridCol w="2741596">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DoE 10 CFR Part 810</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IST SP 800-17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IST CSF</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ection 508 VPAT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4" name="Table 63">
            <a:extLst>
              <a:ext uri="{FF2B5EF4-FFF2-40B4-BE49-F238E27FC236}">
                <a16:creationId xmlns:a16="http://schemas.microsoft.com/office/drawing/2014/main" id="{AC77CB23-159F-47F8-A265-57DA2ECE6926}"/>
              </a:ext>
            </a:extLst>
          </p:cNvPr>
          <p:cNvGraphicFramePr>
            <a:graphicFrameLocks noGrp="1"/>
          </p:cNvGraphicFramePr>
          <p:nvPr>
            <p:extLst/>
          </p:nvPr>
        </p:nvGraphicFramePr>
        <p:xfrm>
          <a:off x="1008794" y="3656014"/>
          <a:ext cx="2294525" cy="1357960"/>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PCI DSS Level 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GLB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88786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FIEC</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Shared Assessment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ISC (Japan)</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APRA (Australi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5" name="Table 64">
            <a:extLst>
              <a:ext uri="{FF2B5EF4-FFF2-40B4-BE49-F238E27FC236}">
                <a16:creationId xmlns:a16="http://schemas.microsoft.com/office/drawing/2014/main" id="{D5081648-E068-4A3A-B838-27F187201E6A}"/>
              </a:ext>
            </a:extLst>
          </p:cNvPr>
          <p:cNvGraphicFramePr>
            <a:graphicFrameLocks noGrp="1"/>
          </p:cNvGraphicFramePr>
          <p:nvPr>
            <p:extLst/>
          </p:nvPr>
        </p:nvGraphicFramePr>
        <p:xfrm>
          <a:off x="3627408" y="3656014"/>
          <a:ext cx="2294525" cy="1122914"/>
        </p:xfrm>
        <a:graphic>
          <a:graphicData uri="http://schemas.openxmlformats.org/drawingml/2006/table">
            <a:tbl>
              <a:tblPr/>
              <a:tblGrid>
                <a:gridCol w="2294525">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CA (UK)</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MAS + ABS (Singapore)</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6702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23 NYCRR 500</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HIPAA BAA</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HITRUST</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6" name="Table 65">
            <a:extLst>
              <a:ext uri="{FF2B5EF4-FFF2-40B4-BE49-F238E27FC236}">
                <a16:creationId xmlns:a16="http://schemas.microsoft.com/office/drawing/2014/main" id="{4CC6A3F3-4688-49D8-90B5-01A385061825}"/>
              </a:ext>
            </a:extLst>
          </p:cNvPr>
          <p:cNvGraphicFramePr>
            <a:graphicFrameLocks noGrp="1"/>
          </p:cNvGraphicFramePr>
          <p:nvPr>
            <p:extLst/>
          </p:nvPr>
        </p:nvGraphicFramePr>
        <p:xfrm>
          <a:off x="6996317" y="3656014"/>
          <a:ext cx="2861548" cy="1140353"/>
        </p:xfrm>
        <a:graphic>
          <a:graphicData uri="http://schemas.openxmlformats.org/drawingml/2006/table">
            <a:tbl>
              <a:tblPr/>
              <a:tblGrid>
                <a:gridCol w="2861548">
                  <a:extLst>
                    <a:ext uri="{9D8B030D-6E8A-4147-A177-3AD203B41FA5}">
                      <a16:colId xmlns:a16="http://schemas.microsoft.com/office/drawing/2014/main" val="1996122080"/>
                    </a:ext>
                  </a:extLst>
                </a:gridCol>
              </a:tblGrid>
              <a:tr h="6702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21 CFR Part 11 (GxP)</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MARS-E</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NHS IG Toolkit (UK)</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EN 7510:2011 (Netherland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ERP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7" name="Table 66">
            <a:extLst>
              <a:ext uri="{FF2B5EF4-FFF2-40B4-BE49-F238E27FC236}">
                <a16:creationId xmlns:a16="http://schemas.microsoft.com/office/drawing/2014/main" id="{34596F6D-FBDA-458D-93C1-0B5560ADA393}"/>
              </a:ext>
            </a:extLst>
          </p:cNvPr>
          <p:cNvGraphicFramePr>
            <a:graphicFrameLocks noGrp="1"/>
          </p:cNvGraphicFramePr>
          <p:nvPr>
            <p:extLst/>
          </p:nvPr>
        </p:nvGraphicFramePr>
        <p:xfrm>
          <a:off x="9725141" y="3656015"/>
          <a:ext cx="1883862" cy="1140353"/>
        </p:xfrm>
        <a:graphic>
          <a:graphicData uri="http://schemas.openxmlformats.org/drawingml/2006/table">
            <a:tbl>
              <a:tblPr/>
              <a:tblGrid>
                <a:gridCol w="1883862">
                  <a:extLst>
                    <a:ext uri="{9D8B030D-6E8A-4147-A177-3AD203B41FA5}">
                      <a16:colId xmlns:a16="http://schemas.microsoft.com/office/drawing/2014/main" val="1996122080"/>
                    </a:ext>
                  </a:extLst>
                </a:gridCol>
              </a:tblGrid>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DS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MPA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702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FACT (UK)</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DPP (UK)</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SOX</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8" name="Table 67">
            <a:extLst>
              <a:ext uri="{FF2B5EF4-FFF2-40B4-BE49-F238E27FC236}">
                <a16:creationId xmlns:a16="http://schemas.microsoft.com/office/drawing/2014/main" id="{2AB65144-F1E5-4F33-B159-C2C84D50D203}"/>
              </a:ext>
            </a:extLst>
          </p:cNvPr>
          <p:cNvGraphicFramePr>
            <a:graphicFrameLocks noGrp="1"/>
          </p:cNvGraphicFramePr>
          <p:nvPr>
            <p:extLst/>
          </p:nvPr>
        </p:nvGraphicFramePr>
        <p:xfrm>
          <a:off x="1008794" y="5208905"/>
          <a:ext cx="2660614" cy="1375286"/>
        </p:xfrm>
        <a:graphic>
          <a:graphicData uri="http://schemas.openxmlformats.org/drawingml/2006/table">
            <a:tbl>
              <a:tblPr/>
              <a:tblGrid>
                <a:gridCol w="2660614">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Argentina PDP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Australia IRAP Unclassified</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Australia IRAP Protected</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8325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Canada Privacy Law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GB 18030:2005</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DJCP (MLPS) Level 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9" name="Table 68">
            <a:extLst>
              <a:ext uri="{FF2B5EF4-FFF2-40B4-BE49-F238E27FC236}">
                <a16:creationId xmlns:a16="http://schemas.microsoft.com/office/drawing/2014/main" id="{FB087131-87F0-42D7-B492-3CE46D9B5A93}"/>
              </a:ext>
            </a:extLst>
          </p:cNvPr>
          <p:cNvGraphicFramePr>
            <a:graphicFrameLocks noGrp="1"/>
          </p:cNvGraphicFramePr>
          <p:nvPr>
            <p:extLst/>
          </p:nvPr>
        </p:nvGraphicFramePr>
        <p:xfrm>
          <a:off x="6996317" y="5208905"/>
          <a:ext cx="2861548" cy="1375286"/>
        </p:xfrm>
        <a:graphic>
          <a:graphicData uri="http://schemas.openxmlformats.org/drawingml/2006/table">
            <a:tbl>
              <a:tblPr/>
              <a:tblGrid>
                <a:gridCol w="2861548">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Germany C5</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ndia </a:t>
                      </a:r>
                      <a:r>
                        <a:rPr lang="en-US" sz="1400" u="none" strike="noStrike" kern="1200" err="1">
                          <a:solidFill>
                            <a:schemeClr val="tx1"/>
                          </a:solidFill>
                          <a:effectLst/>
                          <a:latin typeface="+mn-lt"/>
                          <a:ea typeface="+mn-ea"/>
                          <a:cs typeface="+mn-cs"/>
                        </a:rPr>
                        <a:t>MeitY</a:t>
                      </a: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Japan CS Mark Gold</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8325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Japan My Number Act</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etherlands BIR 2012</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New Zealand Gov CIO </a:t>
                      </a:r>
                      <a:r>
                        <a:rPr lang="en-US" sz="1400" u="none" strike="noStrike" kern="1200" err="1">
                          <a:solidFill>
                            <a:schemeClr val="tx1"/>
                          </a:solidFill>
                          <a:effectLst/>
                          <a:latin typeface="+mn-lt"/>
                          <a:ea typeface="+mn-ea"/>
                          <a:cs typeface="+mn-cs"/>
                        </a:rPr>
                        <a:t>Fwk</a:t>
                      </a: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0" name="Table 69">
            <a:extLst>
              <a:ext uri="{FF2B5EF4-FFF2-40B4-BE49-F238E27FC236}">
                <a16:creationId xmlns:a16="http://schemas.microsoft.com/office/drawing/2014/main" id="{EF58E864-310A-4BAF-AEDB-EF400FB6B372}"/>
              </a:ext>
            </a:extLst>
          </p:cNvPr>
          <p:cNvGraphicFramePr>
            <a:graphicFrameLocks noGrp="1"/>
          </p:cNvGraphicFramePr>
          <p:nvPr>
            <p:extLst/>
          </p:nvPr>
        </p:nvGraphicFramePr>
        <p:xfrm>
          <a:off x="9725141" y="5208904"/>
          <a:ext cx="2454368" cy="1357960"/>
        </p:xfrm>
        <a:graphic>
          <a:graphicData uri="http://schemas.openxmlformats.org/drawingml/2006/table">
            <a:tbl>
              <a:tblPr/>
              <a:tblGrid>
                <a:gridCol w="2454368">
                  <a:extLst>
                    <a:ext uri="{9D8B030D-6E8A-4147-A177-3AD203B41FA5}">
                      <a16:colId xmlns:a16="http://schemas.microsoft.com/office/drawing/2014/main" val="1996122080"/>
                    </a:ext>
                  </a:extLst>
                </a:gridCol>
              </a:tblGrid>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ingapore MTCS Level 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pain EN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88786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Spain DPA</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UK Cyber Essentials Plu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UK G-Cloud</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UK PASF</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2" name="Table 71">
            <a:extLst>
              <a:ext uri="{FF2B5EF4-FFF2-40B4-BE49-F238E27FC236}">
                <a16:creationId xmlns:a16="http://schemas.microsoft.com/office/drawing/2014/main" id="{085E1FB3-BCE1-401A-93CE-FA109427F7A3}"/>
              </a:ext>
            </a:extLst>
          </p:cNvPr>
          <p:cNvGraphicFramePr>
            <a:graphicFrameLocks noGrp="1"/>
          </p:cNvGraphicFramePr>
          <p:nvPr>
            <p:extLst/>
          </p:nvPr>
        </p:nvGraphicFramePr>
        <p:xfrm>
          <a:off x="9725141" y="2559940"/>
          <a:ext cx="1684343" cy="922745"/>
        </p:xfrm>
        <a:graphic>
          <a:graphicData uri="http://schemas.openxmlformats.org/drawingml/2006/table">
            <a:tbl>
              <a:tblPr/>
              <a:tblGrid>
                <a:gridCol w="1684343">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FIPS 140-2</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TAR</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JI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IRS 1075</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9" name="Title 8">
            <a:extLst>
              <a:ext uri="{FF2B5EF4-FFF2-40B4-BE49-F238E27FC236}">
                <a16:creationId xmlns:a16="http://schemas.microsoft.com/office/drawing/2014/main" id="{1EE7F7F5-268D-4B00-B2EE-E6D438B2DB35}"/>
              </a:ext>
            </a:extLst>
          </p:cNvPr>
          <p:cNvSpPr>
            <a:spLocks noGrp="1"/>
          </p:cNvSpPr>
          <p:nvPr>
            <p:ph type="title"/>
          </p:nvPr>
        </p:nvSpPr>
        <p:spPr>
          <a:xfrm>
            <a:off x="275481" y="-10239"/>
            <a:ext cx="11887878" cy="917575"/>
          </a:xfrm>
        </p:spPr>
        <p:txBody>
          <a:bodyPr/>
          <a:lstStyle/>
          <a:p>
            <a:r>
              <a:rPr lang="en-US" dirty="0"/>
              <a:t>Azure </a:t>
            </a:r>
            <a:r>
              <a:rPr lang="en-US"/>
              <a:t>covers 73 </a:t>
            </a:r>
            <a:r>
              <a:rPr lang="en-US" dirty="0"/>
              <a:t>compliance offerings </a:t>
            </a:r>
          </a:p>
        </p:txBody>
      </p:sp>
      <p:sp>
        <p:nvSpPr>
          <p:cNvPr id="10" name="Rectangle 9">
            <a:extLst>
              <a:ext uri="{FF2B5EF4-FFF2-40B4-BE49-F238E27FC236}">
                <a16:creationId xmlns:a16="http://schemas.microsoft.com/office/drawing/2014/main" id="{9453F578-197F-45DE-B9A3-9BFCAC976AF9}"/>
              </a:ext>
            </a:extLst>
          </p:cNvPr>
          <p:cNvSpPr/>
          <p:nvPr/>
        </p:nvSpPr>
        <p:spPr>
          <a:xfrm>
            <a:off x="338563" y="766104"/>
            <a:ext cx="10355464" cy="353469"/>
          </a:xfrm>
          <a:prstGeom prst="rect">
            <a:avLst/>
          </a:prstGeom>
        </p:spPr>
        <p:txBody>
          <a:bodyPr wrap="square">
            <a:spAutoFit/>
          </a:bodyPr>
          <a:lstStyle/>
          <a:p>
            <a:pPr defTabSz="932563">
              <a:lnSpc>
                <a:spcPct val="90000"/>
              </a:lnSpc>
              <a:spcBef>
                <a:spcPct val="20000"/>
              </a:spcBef>
              <a:buSzPct val="90000"/>
              <a:defRPr/>
            </a:pPr>
            <a:r>
              <a:rPr lang="en-US" sz="1836">
                <a:solidFill>
                  <a:srgbClr val="505050"/>
                </a:solidFill>
                <a:latin typeface="Segoe UI"/>
              </a:rPr>
              <a:t>Azure has the deepest and most comprehensive compliance coverage in the industry</a:t>
            </a:r>
          </a:p>
        </p:txBody>
      </p:sp>
      <p:cxnSp>
        <p:nvCxnSpPr>
          <p:cNvPr id="63" name="Straight Connector 62">
            <a:extLst>
              <a:ext uri="{FF2B5EF4-FFF2-40B4-BE49-F238E27FC236}">
                <a16:creationId xmlns:a16="http://schemas.microsoft.com/office/drawing/2014/main" id="{94349E4C-3598-4D2B-8C0A-0494CB01A9D9}"/>
              </a:ext>
            </a:extLst>
          </p:cNvPr>
          <p:cNvCxnSpPr>
            <a:cxnSpLocks/>
          </p:cNvCxnSpPr>
          <p:nvPr/>
        </p:nvCxnSpPr>
        <p:spPr>
          <a:xfrm>
            <a:off x="998259" y="2439860"/>
            <a:ext cx="11264859" cy="0"/>
          </a:xfrm>
          <a:prstGeom prst="line">
            <a:avLst/>
          </a:prstGeom>
          <a:noFill/>
          <a:ln w="12700" cap="flat" cmpd="sng" algn="ctr">
            <a:solidFill>
              <a:schemeClr val="bg2">
                <a:lumMod val="75000"/>
              </a:schemeClr>
            </a:solidFill>
            <a:prstDash val="solid"/>
            <a:headEnd type="none"/>
            <a:tailEnd type="none"/>
          </a:ln>
          <a:effectLst/>
        </p:spPr>
      </p:cxnSp>
      <p:cxnSp>
        <p:nvCxnSpPr>
          <p:cNvPr id="78" name="Straight Connector 77">
            <a:extLst>
              <a:ext uri="{FF2B5EF4-FFF2-40B4-BE49-F238E27FC236}">
                <a16:creationId xmlns:a16="http://schemas.microsoft.com/office/drawing/2014/main" id="{DCD70B18-9049-4AC0-B43A-048E0703F04D}"/>
              </a:ext>
            </a:extLst>
          </p:cNvPr>
          <p:cNvCxnSpPr>
            <a:cxnSpLocks/>
          </p:cNvCxnSpPr>
          <p:nvPr/>
        </p:nvCxnSpPr>
        <p:spPr>
          <a:xfrm>
            <a:off x="998259" y="3565660"/>
            <a:ext cx="11264859" cy="0"/>
          </a:xfrm>
          <a:prstGeom prst="line">
            <a:avLst/>
          </a:prstGeom>
          <a:noFill/>
          <a:ln w="12700" cap="flat" cmpd="sng" algn="ctr">
            <a:solidFill>
              <a:schemeClr val="bg2">
                <a:lumMod val="75000"/>
              </a:schemeClr>
            </a:solidFill>
            <a:prstDash val="solid"/>
            <a:headEnd type="none"/>
            <a:tailEnd type="none"/>
          </a:ln>
          <a:effectLst/>
        </p:spPr>
      </p:cxnSp>
      <p:cxnSp>
        <p:nvCxnSpPr>
          <p:cNvPr id="79" name="Straight Connector 78">
            <a:extLst>
              <a:ext uri="{FF2B5EF4-FFF2-40B4-BE49-F238E27FC236}">
                <a16:creationId xmlns:a16="http://schemas.microsoft.com/office/drawing/2014/main" id="{32D06C3C-A58B-4AF7-B501-907E0751E39B}"/>
              </a:ext>
            </a:extLst>
          </p:cNvPr>
          <p:cNvCxnSpPr>
            <a:cxnSpLocks/>
          </p:cNvCxnSpPr>
          <p:nvPr/>
        </p:nvCxnSpPr>
        <p:spPr>
          <a:xfrm>
            <a:off x="998259" y="5084500"/>
            <a:ext cx="11264859" cy="0"/>
          </a:xfrm>
          <a:prstGeom prst="line">
            <a:avLst/>
          </a:prstGeom>
          <a:noFill/>
          <a:ln w="12700" cap="flat" cmpd="sng" algn="ctr">
            <a:solidFill>
              <a:schemeClr val="bg2">
                <a:lumMod val="75000"/>
              </a:schemeClr>
            </a:solidFill>
            <a:prstDash val="solid"/>
            <a:headEnd type="none"/>
            <a:tailEnd type="none"/>
          </a:ln>
          <a:effectLst/>
        </p:spPr>
      </p:cxnSp>
      <p:sp>
        <p:nvSpPr>
          <p:cNvPr id="33" name="Freeform 13"/>
          <p:cNvSpPr>
            <a:spLocks noChangeAspect="1" noEditPoints="1"/>
          </p:cNvSpPr>
          <p:nvPr/>
        </p:nvSpPr>
        <p:spPr bwMode="auto">
          <a:xfrm>
            <a:off x="11805711" y="313745"/>
            <a:ext cx="257890" cy="27747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graphicFrame>
        <p:nvGraphicFramePr>
          <p:cNvPr id="35" name="Table 34">
            <a:extLst>
              <a:ext uri="{FF2B5EF4-FFF2-40B4-BE49-F238E27FC236}">
                <a16:creationId xmlns:a16="http://schemas.microsoft.com/office/drawing/2014/main" id="{71EB0804-133E-4F34-A043-F6E7CBC695D7}"/>
              </a:ext>
            </a:extLst>
          </p:cNvPr>
          <p:cNvGraphicFramePr>
            <a:graphicFrameLocks noGrp="1"/>
          </p:cNvGraphicFramePr>
          <p:nvPr>
            <p:extLst/>
          </p:nvPr>
        </p:nvGraphicFramePr>
        <p:xfrm>
          <a:off x="3627406" y="5204485"/>
          <a:ext cx="3241824" cy="1366622"/>
        </p:xfrm>
        <a:graphic>
          <a:graphicData uri="http://schemas.openxmlformats.org/drawingml/2006/table">
            <a:tbl>
              <a:tblPr/>
              <a:tblGrid>
                <a:gridCol w="3241824">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China TRUCS / CCCPPF</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a:solidFill>
                            <a:schemeClr val="tx1"/>
                          </a:solidFill>
                          <a:effectLst/>
                          <a:latin typeface="+mn-lt"/>
                          <a:ea typeface="+mn-ea"/>
                          <a:cs typeface="+mn-cs"/>
                        </a:rPr>
                        <a:t>EN 301 549</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88786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EU ENISA IAF</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EU Model Clauses</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EU – US Privacy Shield</a:t>
                      </a:r>
                    </a:p>
                    <a:p>
                      <a:pPr marL="285750" indent="-285750" algn="l" defTabSz="914367" rtl="0" eaLnBrk="1" fontAlgn="b" latinLnBrk="0" hangingPunct="1">
                        <a:buClr>
                          <a:schemeClr val="accent5"/>
                        </a:buClr>
                        <a:buFont typeface="Wingdings" panose="05000000000000000000" pitchFamily="2" charset="2"/>
                        <a:buChar char=""/>
                      </a:pPr>
                      <a:r>
                        <a:rPr lang="en-US" sz="1400" u="none" strike="noStrike" kern="1200" dirty="0">
                          <a:solidFill>
                            <a:schemeClr val="tx1"/>
                          </a:solidFill>
                          <a:effectLst/>
                          <a:latin typeface="+mn-lt"/>
                          <a:ea typeface="+mn-ea"/>
                          <a:cs typeface="+mn-cs"/>
                        </a:rPr>
                        <a:t>Germany </a:t>
                      </a:r>
                      <a:r>
                        <a:rPr lang="en-US" sz="1400" u="none" strike="noStrike" kern="1200" dirty="0">
                          <a:solidFill>
                            <a:schemeClr val="tx1"/>
                          </a:solidFill>
                          <a:effectLst/>
                          <a:latin typeface="Segoe UI"/>
                          <a:ea typeface="+mn-ea"/>
                          <a:cs typeface="+mn-cs"/>
                        </a:rPr>
                        <a:t>IT-</a:t>
                      </a:r>
                      <a:r>
                        <a:rPr lang="en-US" sz="1400" u="none" strike="noStrike" kern="1200" dirty="0" err="1">
                          <a:solidFill>
                            <a:schemeClr val="tx1"/>
                          </a:solidFill>
                          <a:effectLst/>
                          <a:latin typeface="Segoe UI"/>
                          <a:ea typeface="+mn-ea"/>
                          <a:cs typeface="+mn-cs"/>
                        </a:rPr>
                        <a:t>Grundschutz</a:t>
                      </a:r>
                      <a:r>
                        <a:rPr lang="en-US" sz="1400" u="none" strike="noStrike" kern="1200" dirty="0">
                          <a:solidFill>
                            <a:schemeClr val="tx1"/>
                          </a:solidFill>
                          <a:effectLst/>
                          <a:latin typeface="Segoe UI"/>
                          <a:ea typeface="+mn-ea"/>
                          <a:cs typeface="+mn-cs"/>
                        </a:rPr>
                        <a:t> workbook</a:t>
                      </a:r>
                      <a:endParaRPr lang="en-US" sz="1400" u="none" strike="noStrike" kern="1200" dirty="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2" name="TextBox 1">
            <a:extLst>
              <a:ext uri="{FF2B5EF4-FFF2-40B4-BE49-F238E27FC236}">
                <a16:creationId xmlns:a16="http://schemas.microsoft.com/office/drawing/2014/main" id="{FCDA859B-7598-401D-AD77-8A417B1A3B5C}"/>
              </a:ext>
            </a:extLst>
          </p:cNvPr>
          <p:cNvSpPr txBox="1"/>
          <p:nvPr/>
        </p:nvSpPr>
        <p:spPr>
          <a:xfrm>
            <a:off x="9037496" y="6552520"/>
            <a:ext cx="3424905" cy="527358"/>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632" dirty="0">
                <a:gradFill>
                  <a:gsLst>
                    <a:gs pos="2917">
                      <a:srgbClr val="505050"/>
                    </a:gs>
                    <a:gs pos="30000">
                      <a:srgbClr val="505050"/>
                    </a:gs>
                  </a:gsLst>
                  <a:lin ang="5400000" scaled="0"/>
                </a:gradFill>
                <a:latin typeface="Segoe UI"/>
                <a:hlinkClick r:id="rId3"/>
              </a:rPr>
              <a:t>https://aka.ms/AzureCompliance</a:t>
            </a:r>
            <a:r>
              <a:rPr lang="en-US" sz="1632" dirty="0">
                <a:gradFill>
                  <a:gsLst>
                    <a:gs pos="2917">
                      <a:srgbClr val="505050"/>
                    </a:gs>
                    <a:gs pos="30000">
                      <a:srgbClr val="505050"/>
                    </a:gs>
                  </a:gsLst>
                  <a:lin ang="5400000" scaled="0"/>
                </a:gradFill>
                <a:latin typeface="Segoe UI"/>
              </a:rPr>
              <a:t> </a:t>
            </a:r>
          </a:p>
        </p:txBody>
      </p:sp>
    </p:spTree>
    <p:extLst>
      <p:ext uri="{BB962C8B-B14F-4D97-AF65-F5344CB8AC3E}">
        <p14:creationId xmlns:p14="http://schemas.microsoft.com/office/powerpoint/2010/main" val="123116154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14FA063-8E4E-40E4-860B-852CD6B4D2E7}"/>
              </a:ext>
            </a:extLst>
          </p:cNvPr>
          <p:cNvSpPr>
            <a:spLocks noGrp="1"/>
          </p:cNvSpPr>
          <p:nvPr>
            <p:ph type="body" sz="quarter" idx="10"/>
          </p:nvPr>
        </p:nvSpPr>
        <p:spPr/>
        <p:txBody>
          <a:bodyPr/>
          <a:lstStyle/>
          <a:p>
            <a:r>
              <a:rPr lang="en-US"/>
              <a:t>Microsoft inter-datacenter backbone</a:t>
            </a:r>
          </a:p>
        </p:txBody>
      </p:sp>
      <p:grpSp>
        <p:nvGrpSpPr>
          <p:cNvPr id="2" name="Group 1"/>
          <p:cNvGrpSpPr/>
          <p:nvPr/>
        </p:nvGrpSpPr>
        <p:grpSpPr>
          <a:xfrm>
            <a:off x="292354" y="1128264"/>
            <a:ext cx="11850748" cy="5415336"/>
            <a:chOff x="291512" y="1044398"/>
            <a:chExt cx="11852429" cy="5416104"/>
          </a:xfrm>
        </p:grpSpPr>
        <p:grpSp>
          <p:nvGrpSpPr>
            <p:cNvPr id="6" name="Group 5"/>
            <p:cNvGrpSpPr/>
            <p:nvPr/>
          </p:nvGrpSpPr>
          <p:grpSpPr>
            <a:xfrm>
              <a:off x="291512" y="1044398"/>
              <a:ext cx="11730895" cy="5416104"/>
              <a:chOff x="291512" y="1044398"/>
              <a:chExt cx="11730895" cy="5416104"/>
            </a:xfrm>
          </p:grpSpPr>
          <p:pic>
            <p:nvPicPr>
              <p:cNvPr id="1051" name="Picture 1050" descr="world map"/>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566"/>
              <a:stretch/>
            </p:blipFill>
            <p:spPr>
              <a:xfrm>
                <a:off x="291512" y="1044398"/>
                <a:ext cx="11730895" cy="5416104"/>
              </a:xfrm>
              <a:prstGeom prst="rect">
                <a:avLst/>
              </a:prstGeom>
              <a:ln w="19050">
                <a:noFill/>
              </a:ln>
            </p:spPr>
          </p:pic>
          <p:sp>
            <p:nvSpPr>
              <p:cNvPr id="1053" name="Rectangle 1052"/>
              <p:cNvSpPr/>
              <p:nvPr/>
            </p:nvSpPr>
            <p:spPr bwMode="auto">
              <a:xfrm>
                <a:off x="2189041" y="3305112"/>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States</a:t>
                </a:r>
                <a:endParaRPr lang="en-US" sz="700">
                  <a:solidFill>
                    <a:srgbClr val="353535"/>
                  </a:solidFill>
                  <a:latin typeface="Segoe UI Semilight"/>
                </a:endParaRPr>
              </a:p>
            </p:txBody>
          </p:sp>
          <p:sp>
            <p:nvSpPr>
              <p:cNvPr id="1050" name="Freeform 8"/>
              <p:cNvSpPr>
                <a:spLocks/>
              </p:cNvSpPr>
              <p:nvPr/>
            </p:nvSpPr>
            <p:spPr bwMode="auto">
              <a:xfrm>
                <a:off x="2032427" y="3447104"/>
                <a:ext cx="156919" cy="162047"/>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1823 w 10000"/>
                  <a:gd name="connsiteY7" fmla="*/ 2634 h 10000"/>
                  <a:gd name="connsiteX8" fmla="*/ 3019 w 10000"/>
                  <a:gd name="connsiteY8" fmla="*/ 1580 h 10000"/>
                  <a:gd name="connsiteX9" fmla="*/ 3467 w 10000"/>
                  <a:gd name="connsiteY9" fmla="*/ 702 h 10000"/>
                  <a:gd name="connsiteX10" fmla="*/ 4065 w 10000"/>
                  <a:gd name="connsiteY10" fmla="*/ 176 h 10000"/>
                  <a:gd name="connsiteX11" fmla="*/ 5706 w 10000"/>
                  <a:gd name="connsiteY11" fmla="*/ 702 h 10000"/>
                  <a:gd name="connsiteX12" fmla="*/ 6454 w 10000"/>
                  <a:gd name="connsiteY12" fmla="*/ 351 h 10000"/>
                  <a:gd name="connsiteX13" fmla="*/ 9141 w 10000"/>
                  <a:gd name="connsiteY13" fmla="*/ 176 h 10000"/>
                  <a:gd name="connsiteX14" fmla="*/ 9888 w 10000"/>
                  <a:gd name="connsiteY14" fmla="*/ 526 h 10000"/>
                  <a:gd name="connsiteX15" fmla="*/ 9888 w 10000"/>
                  <a:gd name="connsiteY15" fmla="*/ 1405 h 10000"/>
                  <a:gd name="connsiteX16" fmla="*/ 9441 w 10000"/>
                  <a:gd name="connsiteY16" fmla="*/ 2281 h 10000"/>
                  <a:gd name="connsiteX17" fmla="*/ 9292 w 10000"/>
                  <a:gd name="connsiteY17" fmla="*/ 4038 h 10000"/>
                  <a:gd name="connsiteX18" fmla="*/ 8993 w 10000"/>
                  <a:gd name="connsiteY18" fmla="*/ 4914 h 10000"/>
                  <a:gd name="connsiteX19" fmla="*/ 6454 w 10000"/>
                  <a:gd name="connsiteY19" fmla="*/ 8074 h 10000"/>
                  <a:gd name="connsiteX20" fmla="*/ 5407 w 10000"/>
                  <a:gd name="connsiteY20" fmla="*/ 9127 h 10000"/>
                  <a:gd name="connsiteX21" fmla="*/ 5110 w 10000"/>
                  <a:gd name="connsiteY21" fmla="*/ 9654 h 10000"/>
                  <a:gd name="connsiteX22" fmla="*/ 4929 w 10000"/>
                  <a:gd name="connsiteY22" fmla="*/ 9950 h 10000"/>
                  <a:gd name="connsiteX23" fmla="*/ 4160 w 10000"/>
                  <a:gd name="connsiteY23" fmla="*/ 9679 h 10000"/>
                  <a:gd name="connsiteX24" fmla="*/ 2158 w 10000"/>
                  <a:gd name="connsiteY24" fmla="*/ 8856 h 10000"/>
                  <a:gd name="connsiteX25" fmla="*/ 1483 w 10000"/>
                  <a:gd name="connsiteY25" fmla="*/ 8012 h 10000"/>
                  <a:gd name="connsiteX26" fmla="*/ 1207 w 10000"/>
                  <a:gd name="connsiteY26"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019 w 10000"/>
                  <a:gd name="connsiteY7" fmla="*/ 1580 h 10000"/>
                  <a:gd name="connsiteX8" fmla="*/ 3467 w 10000"/>
                  <a:gd name="connsiteY8" fmla="*/ 702 h 10000"/>
                  <a:gd name="connsiteX9" fmla="*/ 4065 w 10000"/>
                  <a:gd name="connsiteY9" fmla="*/ 176 h 10000"/>
                  <a:gd name="connsiteX10" fmla="*/ 5706 w 10000"/>
                  <a:gd name="connsiteY10" fmla="*/ 702 h 10000"/>
                  <a:gd name="connsiteX11" fmla="*/ 6454 w 10000"/>
                  <a:gd name="connsiteY11" fmla="*/ 351 h 10000"/>
                  <a:gd name="connsiteX12" fmla="*/ 9141 w 10000"/>
                  <a:gd name="connsiteY12" fmla="*/ 176 h 10000"/>
                  <a:gd name="connsiteX13" fmla="*/ 9888 w 10000"/>
                  <a:gd name="connsiteY13" fmla="*/ 526 h 10000"/>
                  <a:gd name="connsiteX14" fmla="*/ 9888 w 10000"/>
                  <a:gd name="connsiteY14" fmla="*/ 1405 h 10000"/>
                  <a:gd name="connsiteX15" fmla="*/ 9441 w 10000"/>
                  <a:gd name="connsiteY15" fmla="*/ 2281 h 10000"/>
                  <a:gd name="connsiteX16" fmla="*/ 9292 w 10000"/>
                  <a:gd name="connsiteY16" fmla="*/ 4038 h 10000"/>
                  <a:gd name="connsiteX17" fmla="*/ 8993 w 10000"/>
                  <a:gd name="connsiteY17" fmla="*/ 4914 h 10000"/>
                  <a:gd name="connsiteX18" fmla="*/ 6454 w 10000"/>
                  <a:gd name="connsiteY18" fmla="*/ 8074 h 10000"/>
                  <a:gd name="connsiteX19" fmla="*/ 5407 w 10000"/>
                  <a:gd name="connsiteY19" fmla="*/ 9127 h 10000"/>
                  <a:gd name="connsiteX20" fmla="*/ 5110 w 10000"/>
                  <a:gd name="connsiteY20" fmla="*/ 9654 h 10000"/>
                  <a:gd name="connsiteX21" fmla="*/ 4929 w 10000"/>
                  <a:gd name="connsiteY21" fmla="*/ 9950 h 10000"/>
                  <a:gd name="connsiteX22" fmla="*/ 4160 w 10000"/>
                  <a:gd name="connsiteY22" fmla="*/ 9679 h 10000"/>
                  <a:gd name="connsiteX23" fmla="*/ 2158 w 10000"/>
                  <a:gd name="connsiteY23" fmla="*/ 8856 h 10000"/>
                  <a:gd name="connsiteX24" fmla="*/ 1483 w 10000"/>
                  <a:gd name="connsiteY24" fmla="*/ 8012 h 10000"/>
                  <a:gd name="connsiteX25" fmla="*/ 1207 w 10000"/>
                  <a:gd name="connsiteY25"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5706 w 10000"/>
                  <a:gd name="connsiteY9" fmla="*/ 702 h 10000"/>
                  <a:gd name="connsiteX10" fmla="*/ 6454 w 10000"/>
                  <a:gd name="connsiteY10" fmla="*/ 351 h 10000"/>
                  <a:gd name="connsiteX11" fmla="*/ 9141 w 10000"/>
                  <a:gd name="connsiteY11" fmla="*/ 176 h 10000"/>
                  <a:gd name="connsiteX12" fmla="*/ 9888 w 10000"/>
                  <a:gd name="connsiteY12" fmla="*/ 526 h 10000"/>
                  <a:gd name="connsiteX13" fmla="*/ 9888 w 10000"/>
                  <a:gd name="connsiteY13" fmla="*/ 1405 h 10000"/>
                  <a:gd name="connsiteX14" fmla="*/ 9441 w 10000"/>
                  <a:gd name="connsiteY14" fmla="*/ 2281 h 10000"/>
                  <a:gd name="connsiteX15" fmla="*/ 9292 w 10000"/>
                  <a:gd name="connsiteY15" fmla="*/ 4038 h 10000"/>
                  <a:gd name="connsiteX16" fmla="*/ 8993 w 10000"/>
                  <a:gd name="connsiteY16" fmla="*/ 4914 h 10000"/>
                  <a:gd name="connsiteX17" fmla="*/ 6454 w 10000"/>
                  <a:gd name="connsiteY17" fmla="*/ 8074 h 10000"/>
                  <a:gd name="connsiteX18" fmla="*/ 5407 w 10000"/>
                  <a:gd name="connsiteY18" fmla="*/ 9127 h 10000"/>
                  <a:gd name="connsiteX19" fmla="*/ 5110 w 10000"/>
                  <a:gd name="connsiteY19" fmla="*/ 9654 h 10000"/>
                  <a:gd name="connsiteX20" fmla="*/ 4929 w 10000"/>
                  <a:gd name="connsiteY20" fmla="*/ 9950 h 10000"/>
                  <a:gd name="connsiteX21" fmla="*/ 4160 w 10000"/>
                  <a:gd name="connsiteY21" fmla="*/ 9679 h 10000"/>
                  <a:gd name="connsiteX22" fmla="*/ 2158 w 10000"/>
                  <a:gd name="connsiteY22" fmla="*/ 8856 h 10000"/>
                  <a:gd name="connsiteX23" fmla="*/ 1483 w 10000"/>
                  <a:gd name="connsiteY23" fmla="*/ 8012 h 10000"/>
                  <a:gd name="connsiteX24" fmla="*/ 1207 w 10000"/>
                  <a:gd name="connsiteY24"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6454 w 10000"/>
                  <a:gd name="connsiteY9" fmla="*/ 351 h 10000"/>
                  <a:gd name="connsiteX10" fmla="*/ 9141 w 10000"/>
                  <a:gd name="connsiteY10" fmla="*/ 176 h 10000"/>
                  <a:gd name="connsiteX11" fmla="*/ 9888 w 10000"/>
                  <a:gd name="connsiteY11" fmla="*/ 526 h 10000"/>
                  <a:gd name="connsiteX12" fmla="*/ 9888 w 10000"/>
                  <a:gd name="connsiteY12" fmla="*/ 1405 h 10000"/>
                  <a:gd name="connsiteX13" fmla="*/ 9441 w 10000"/>
                  <a:gd name="connsiteY13" fmla="*/ 2281 h 10000"/>
                  <a:gd name="connsiteX14" fmla="*/ 9292 w 10000"/>
                  <a:gd name="connsiteY14" fmla="*/ 4038 h 10000"/>
                  <a:gd name="connsiteX15" fmla="*/ 8993 w 10000"/>
                  <a:gd name="connsiteY15" fmla="*/ 4914 h 10000"/>
                  <a:gd name="connsiteX16" fmla="*/ 6454 w 10000"/>
                  <a:gd name="connsiteY16" fmla="*/ 8074 h 10000"/>
                  <a:gd name="connsiteX17" fmla="*/ 5407 w 10000"/>
                  <a:gd name="connsiteY17" fmla="*/ 9127 h 10000"/>
                  <a:gd name="connsiteX18" fmla="*/ 5110 w 10000"/>
                  <a:gd name="connsiteY18" fmla="*/ 9654 h 10000"/>
                  <a:gd name="connsiteX19" fmla="*/ 4929 w 10000"/>
                  <a:gd name="connsiteY19" fmla="*/ 9950 h 10000"/>
                  <a:gd name="connsiteX20" fmla="*/ 4160 w 10000"/>
                  <a:gd name="connsiteY20" fmla="*/ 9679 h 10000"/>
                  <a:gd name="connsiteX21" fmla="*/ 2158 w 10000"/>
                  <a:gd name="connsiteY21" fmla="*/ 8856 h 10000"/>
                  <a:gd name="connsiteX22" fmla="*/ 1483 w 10000"/>
                  <a:gd name="connsiteY22" fmla="*/ 8012 h 10000"/>
                  <a:gd name="connsiteX23" fmla="*/ 1207 w 10000"/>
                  <a:gd name="connsiteY23" fmla="*/ 7790 h 10000"/>
                  <a:gd name="connsiteX0" fmla="*/ 1207 w 9892"/>
                  <a:gd name="connsiteY0" fmla="*/ 7790 h 10000"/>
                  <a:gd name="connsiteX1" fmla="*/ 2209 w 9892"/>
                  <a:gd name="connsiteY1" fmla="*/ 7169 h 10000"/>
                  <a:gd name="connsiteX2" fmla="*/ 2073 w 9892"/>
                  <a:gd name="connsiteY2" fmla="*/ 6007 h 10000"/>
                  <a:gd name="connsiteX3" fmla="*/ 1258 w 9892"/>
                  <a:gd name="connsiteY3" fmla="*/ 4927 h 10000"/>
                  <a:gd name="connsiteX4" fmla="*/ 780 w 9892"/>
                  <a:gd name="connsiteY4" fmla="*/ 4213 h 10000"/>
                  <a:gd name="connsiteX5" fmla="*/ 66 w 9892"/>
                  <a:gd name="connsiteY5" fmla="*/ 3606 h 10000"/>
                  <a:gd name="connsiteX6" fmla="*/ 289 w 9892"/>
                  <a:gd name="connsiteY6" fmla="*/ 3809 h 10000"/>
                  <a:gd name="connsiteX7" fmla="*/ 3467 w 9892"/>
                  <a:gd name="connsiteY7" fmla="*/ 702 h 10000"/>
                  <a:gd name="connsiteX8" fmla="*/ 4065 w 9892"/>
                  <a:gd name="connsiteY8" fmla="*/ 176 h 10000"/>
                  <a:gd name="connsiteX9" fmla="*/ 6454 w 9892"/>
                  <a:gd name="connsiteY9" fmla="*/ 351 h 10000"/>
                  <a:gd name="connsiteX10" fmla="*/ 9141 w 9892"/>
                  <a:gd name="connsiteY10" fmla="*/ 176 h 10000"/>
                  <a:gd name="connsiteX11" fmla="*/ 9888 w 9892"/>
                  <a:gd name="connsiteY11" fmla="*/ 526 h 10000"/>
                  <a:gd name="connsiteX12" fmla="*/ 9441 w 9892"/>
                  <a:gd name="connsiteY12" fmla="*/ 2281 h 10000"/>
                  <a:gd name="connsiteX13" fmla="*/ 9292 w 9892"/>
                  <a:gd name="connsiteY13" fmla="*/ 4038 h 10000"/>
                  <a:gd name="connsiteX14" fmla="*/ 8993 w 9892"/>
                  <a:gd name="connsiteY14" fmla="*/ 4914 h 10000"/>
                  <a:gd name="connsiteX15" fmla="*/ 6454 w 9892"/>
                  <a:gd name="connsiteY15" fmla="*/ 8074 h 10000"/>
                  <a:gd name="connsiteX16" fmla="*/ 5407 w 9892"/>
                  <a:gd name="connsiteY16" fmla="*/ 9127 h 10000"/>
                  <a:gd name="connsiteX17" fmla="*/ 5110 w 9892"/>
                  <a:gd name="connsiteY17" fmla="*/ 9654 h 10000"/>
                  <a:gd name="connsiteX18" fmla="*/ 4929 w 9892"/>
                  <a:gd name="connsiteY18" fmla="*/ 9950 h 10000"/>
                  <a:gd name="connsiteX19" fmla="*/ 4160 w 9892"/>
                  <a:gd name="connsiteY19" fmla="*/ 9679 h 10000"/>
                  <a:gd name="connsiteX20" fmla="*/ 2158 w 9892"/>
                  <a:gd name="connsiteY20" fmla="*/ 8856 h 10000"/>
                  <a:gd name="connsiteX21" fmla="*/ 1483 w 9892"/>
                  <a:gd name="connsiteY21" fmla="*/ 8012 h 10000"/>
                  <a:gd name="connsiteX22" fmla="*/ 1207 w 9892"/>
                  <a:gd name="connsiteY22"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9393 w 10000"/>
                  <a:gd name="connsiteY13" fmla="*/ 4038 h 10000"/>
                  <a:gd name="connsiteX14" fmla="*/ 6524 w 10000"/>
                  <a:gd name="connsiteY14" fmla="*/ 8074 h 10000"/>
                  <a:gd name="connsiteX15" fmla="*/ 5466 w 10000"/>
                  <a:gd name="connsiteY15" fmla="*/ 9127 h 10000"/>
                  <a:gd name="connsiteX16" fmla="*/ 5166 w 10000"/>
                  <a:gd name="connsiteY16" fmla="*/ 9654 h 10000"/>
                  <a:gd name="connsiteX17" fmla="*/ 4983 w 10000"/>
                  <a:gd name="connsiteY17" fmla="*/ 9950 h 10000"/>
                  <a:gd name="connsiteX18" fmla="*/ 4205 w 10000"/>
                  <a:gd name="connsiteY18" fmla="*/ 9679 h 10000"/>
                  <a:gd name="connsiteX19" fmla="*/ 2182 w 10000"/>
                  <a:gd name="connsiteY19" fmla="*/ 8856 h 10000"/>
                  <a:gd name="connsiteX20" fmla="*/ 1499 w 10000"/>
                  <a:gd name="connsiteY20" fmla="*/ 8012 h 10000"/>
                  <a:gd name="connsiteX21" fmla="*/ 1220 w 10000"/>
                  <a:gd name="connsiteY21"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6524 w 10000"/>
                  <a:gd name="connsiteY13" fmla="*/ 8074 h 10000"/>
                  <a:gd name="connsiteX14" fmla="*/ 5466 w 10000"/>
                  <a:gd name="connsiteY14" fmla="*/ 9127 h 10000"/>
                  <a:gd name="connsiteX15" fmla="*/ 5166 w 10000"/>
                  <a:gd name="connsiteY15" fmla="*/ 9654 h 10000"/>
                  <a:gd name="connsiteX16" fmla="*/ 4983 w 10000"/>
                  <a:gd name="connsiteY16" fmla="*/ 9950 h 10000"/>
                  <a:gd name="connsiteX17" fmla="*/ 4205 w 10000"/>
                  <a:gd name="connsiteY17" fmla="*/ 9679 h 10000"/>
                  <a:gd name="connsiteX18" fmla="*/ 2182 w 10000"/>
                  <a:gd name="connsiteY18" fmla="*/ 8856 h 10000"/>
                  <a:gd name="connsiteX19" fmla="*/ 1499 w 10000"/>
                  <a:gd name="connsiteY19" fmla="*/ 8012 h 10000"/>
                  <a:gd name="connsiteX20" fmla="*/ 1220 w 10000"/>
                  <a:gd name="connsiteY20" fmla="*/ 7790 h 10000"/>
                  <a:gd name="connsiteX0" fmla="*/ 1220 w 9996"/>
                  <a:gd name="connsiteY0" fmla="*/ 7790 h 10000"/>
                  <a:gd name="connsiteX1" fmla="*/ 2233 w 9996"/>
                  <a:gd name="connsiteY1" fmla="*/ 7169 h 10000"/>
                  <a:gd name="connsiteX2" fmla="*/ 2096 w 9996"/>
                  <a:gd name="connsiteY2" fmla="*/ 6007 h 10000"/>
                  <a:gd name="connsiteX3" fmla="*/ 1272 w 9996"/>
                  <a:gd name="connsiteY3" fmla="*/ 4927 h 10000"/>
                  <a:gd name="connsiteX4" fmla="*/ 789 w 9996"/>
                  <a:gd name="connsiteY4" fmla="*/ 4213 h 10000"/>
                  <a:gd name="connsiteX5" fmla="*/ 67 w 9996"/>
                  <a:gd name="connsiteY5" fmla="*/ 3606 h 10000"/>
                  <a:gd name="connsiteX6" fmla="*/ 292 w 9996"/>
                  <a:gd name="connsiteY6" fmla="*/ 3809 h 10000"/>
                  <a:gd name="connsiteX7" fmla="*/ 3505 w 9996"/>
                  <a:gd name="connsiteY7" fmla="*/ 702 h 10000"/>
                  <a:gd name="connsiteX8" fmla="*/ 4109 w 9996"/>
                  <a:gd name="connsiteY8" fmla="*/ 176 h 10000"/>
                  <a:gd name="connsiteX9" fmla="*/ 6524 w 9996"/>
                  <a:gd name="connsiteY9" fmla="*/ 351 h 10000"/>
                  <a:gd name="connsiteX10" fmla="*/ 9241 w 9996"/>
                  <a:gd name="connsiteY10" fmla="*/ 176 h 10000"/>
                  <a:gd name="connsiteX11" fmla="*/ 9996 w 9996"/>
                  <a:gd name="connsiteY11" fmla="*/ 526 h 10000"/>
                  <a:gd name="connsiteX12" fmla="*/ 6524 w 9996"/>
                  <a:gd name="connsiteY12" fmla="*/ 8074 h 10000"/>
                  <a:gd name="connsiteX13" fmla="*/ 5466 w 9996"/>
                  <a:gd name="connsiteY13" fmla="*/ 9127 h 10000"/>
                  <a:gd name="connsiteX14" fmla="*/ 5166 w 9996"/>
                  <a:gd name="connsiteY14" fmla="*/ 9654 h 10000"/>
                  <a:gd name="connsiteX15" fmla="*/ 4983 w 9996"/>
                  <a:gd name="connsiteY15" fmla="*/ 9950 h 10000"/>
                  <a:gd name="connsiteX16" fmla="*/ 4205 w 9996"/>
                  <a:gd name="connsiteY16" fmla="*/ 9679 h 10000"/>
                  <a:gd name="connsiteX17" fmla="*/ 2182 w 9996"/>
                  <a:gd name="connsiteY17" fmla="*/ 8856 h 10000"/>
                  <a:gd name="connsiteX18" fmla="*/ 1499 w 9996"/>
                  <a:gd name="connsiteY18" fmla="*/ 8012 h 10000"/>
                  <a:gd name="connsiteX19" fmla="*/ 1220 w 9996"/>
                  <a:gd name="connsiteY19" fmla="*/ 7790 h 10000"/>
                  <a:gd name="connsiteX0" fmla="*/ 1220 w 9245"/>
                  <a:gd name="connsiteY0" fmla="*/ 7790 h 10000"/>
                  <a:gd name="connsiteX1" fmla="*/ 2234 w 9245"/>
                  <a:gd name="connsiteY1" fmla="*/ 7169 h 10000"/>
                  <a:gd name="connsiteX2" fmla="*/ 2097 w 9245"/>
                  <a:gd name="connsiteY2" fmla="*/ 6007 h 10000"/>
                  <a:gd name="connsiteX3" fmla="*/ 1273 w 9245"/>
                  <a:gd name="connsiteY3" fmla="*/ 4927 h 10000"/>
                  <a:gd name="connsiteX4" fmla="*/ 789 w 9245"/>
                  <a:gd name="connsiteY4" fmla="*/ 4213 h 10000"/>
                  <a:gd name="connsiteX5" fmla="*/ 67 w 9245"/>
                  <a:gd name="connsiteY5" fmla="*/ 3606 h 10000"/>
                  <a:gd name="connsiteX6" fmla="*/ 292 w 9245"/>
                  <a:gd name="connsiteY6" fmla="*/ 3809 h 10000"/>
                  <a:gd name="connsiteX7" fmla="*/ 3506 w 9245"/>
                  <a:gd name="connsiteY7" fmla="*/ 702 h 10000"/>
                  <a:gd name="connsiteX8" fmla="*/ 4111 w 9245"/>
                  <a:gd name="connsiteY8" fmla="*/ 176 h 10000"/>
                  <a:gd name="connsiteX9" fmla="*/ 6527 w 9245"/>
                  <a:gd name="connsiteY9" fmla="*/ 351 h 10000"/>
                  <a:gd name="connsiteX10" fmla="*/ 9245 w 9245"/>
                  <a:gd name="connsiteY10" fmla="*/ 176 h 10000"/>
                  <a:gd name="connsiteX11" fmla="*/ 6527 w 9245"/>
                  <a:gd name="connsiteY11" fmla="*/ 8074 h 10000"/>
                  <a:gd name="connsiteX12" fmla="*/ 5468 w 9245"/>
                  <a:gd name="connsiteY12" fmla="*/ 9127 h 10000"/>
                  <a:gd name="connsiteX13" fmla="*/ 5168 w 9245"/>
                  <a:gd name="connsiteY13" fmla="*/ 9654 h 10000"/>
                  <a:gd name="connsiteX14" fmla="*/ 4985 w 9245"/>
                  <a:gd name="connsiteY14" fmla="*/ 9950 h 10000"/>
                  <a:gd name="connsiteX15" fmla="*/ 4207 w 9245"/>
                  <a:gd name="connsiteY15" fmla="*/ 9679 h 10000"/>
                  <a:gd name="connsiteX16" fmla="*/ 2183 w 9245"/>
                  <a:gd name="connsiteY16" fmla="*/ 8856 h 10000"/>
                  <a:gd name="connsiteX17" fmla="*/ 1500 w 9245"/>
                  <a:gd name="connsiteY17" fmla="*/ 8012 h 10000"/>
                  <a:gd name="connsiteX18" fmla="*/ 1220 w 9245"/>
                  <a:gd name="connsiteY18" fmla="*/ 7790 h 10000"/>
                  <a:gd name="connsiteX0" fmla="*/ 1320 w 10000"/>
                  <a:gd name="connsiteY0" fmla="*/ 8218 h 10428"/>
                  <a:gd name="connsiteX1" fmla="*/ 2416 w 10000"/>
                  <a:gd name="connsiteY1" fmla="*/ 7597 h 10428"/>
                  <a:gd name="connsiteX2" fmla="*/ 2268 w 10000"/>
                  <a:gd name="connsiteY2" fmla="*/ 6435 h 10428"/>
                  <a:gd name="connsiteX3" fmla="*/ 1377 w 10000"/>
                  <a:gd name="connsiteY3" fmla="*/ 5355 h 10428"/>
                  <a:gd name="connsiteX4" fmla="*/ 853 w 10000"/>
                  <a:gd name="connsiteY4" fmla="*/ 4641 h 10428"/>
                  <a:gd name="connsiteX5" fmla="*/ 72 w 10000"/>
                  <a:gd name="connsiteY5" fmla="*/ 4034 h 10428"/>
                  <a:gd name="connsiteX6" fmla="*/ 316 w 10000"/>
                  <a:gd name="connsiteY6" fmla="*/ 4237 h 10428"/>
                  <a:gd name="connsiteX7" fmla="*/ 3792 w 10000"/>
                  <a:gd name="connsiteY7" fmla="*/ 1130 h 10428"/>
                  <a:gd name="connsiteX8" fmla="*/ 4447 w 10000"/>
                  <a:gd name="connsiteY8" fmla="*/ 604 h 10428"/>
                  <a:gd name="connsiteX9" fmla="*/ 10000 w 10000"/>
                  <a:gd name="connsiteY9" fmla="*/ 604 h 10428"/>
                  <a:gd name="connsiteX10" fmla="*/ 7060 w 10000"/>
                  <a:gd name="connsiteY10" fmla="*/ 8502 h 10428"/>
                  <a:gd name="connsiteX11" fmla="*/ 5915 w 10000"/>
                  <a:gd name="connsiteY11" fmla="*/ 9555 h 10428"/>
                  <a:gd name="connsiteX12" fmla="*/ 5590 w 10000"/>
                  <a:gd name="connsiteY12" fmla="*/ 10082 h 10428"/>
                  <a:gd name="connsiteX13" fmla="*/ 5392 w 10000"/>
                  <a:gd name="connsiteY13" fmla="*/ 10378 h 10428"/>
                  <a:gd name="connsiteX14" fmla="*/ 4551 w 10000"/>
                  <a:gd name="connsiteY14" fmla="*/ 10107 h 10428"/>
                  <a:gd name="connsiteX15" fmla="*/ 2361 w 10000"/>
                  <a:gd name="connsiteY15" fmla="*/ 9284 h 10428"/>
                  <a:gd name="connsiteX16" fmla="*/ 1622 w 10000"/>
                  <a:gd name="connsiteY16" fmla="*/ 8440 h 10428"/>
                  <a:gd name="connsiteX17" fmla="*/ 1320 w 10000"/>
                  <a:gd name="connsiteY17" fmla="*/ 8218 h 10428"/>
                  <a:gd name="connsiteX0" fmla="*/ 1320 w 7060"/>
                  <a:gd name="connsiteY0" fmla="*/ 7614 h 9824"/>
                  <a:gd name="connsiteX1" fmla="*/ 2416 w 7060"/>
                  <a:gd name="connsiteY1" fmla="*/ 6993 h 9824"/>
                  <a:gd name="connsiteX2" fmla="*/ 2268 w 7060"/>
                  <a:gd name="connsiteY2" fmla="*/ 5831 h 9824"/>
                  <a:gd name="connsiteX3" fmla="*/ 1377 w 7060"/>
                  <a:gd name="connsiteY3" fmla="*/ 4751 h 9824"/>
                  <a:gd name="connsiteX4" fmla="*/ 853 w 7060"/>
                  <a:gd name="connsiteY4" fmla="*/ 4037 h 9824"/>
                  <a:gd name="connsiteX5" fmla="*/ 72 w 7060"/>
                  <a:gd name="connsiteY5" fmla="*/ 3430 h 9824"/>
                  <a:gd name="connsiteX6" fmla="*/ 316 w 7060"/>
                  <a:gd name="connsiteY6" fmla="*/ 3633 h 9824"/>
                  <a:gd name="connsiteX7" fmla="*/ 3792 w 7060"/>
                  <a:gd name="connsiteY7" fmla="*/ 526 h 9824"/>
                  <a:gd name="connsiteX8" fmla="*/ 4447 w 7060"/>
                  <a:gd name="connsiteY8" fmla="*/ 0 h 9824"/>
                  <a:gd name="connsiteX9" fmla="*/ 7060 w 7060"/>
                  <a:gd name="connsiteY9" fmla="*/ 7898 h 9824"/>
                  <a:gd name="connsiteX10" fmla="*/ 5915 w 7060"/>
                  <a:gd name="connsiteY10" fmla="*/ 8951 h 9824"/>
                  <a:gd name="connsiteX11" fmla="*/ 5590 w 7060"/>
                  <a:gd name="connsiteY11" fmla="*/ 9478 h 9824"/>
                  <a:gd name="connsiteX12" fmla="*/ 5392 w 7060"/>
                  <a:gd name="connsiteY12" fmla="*/ 9774 h 9824"/>
                  <a:gd name="connsiteX13" fmla="*/ 4551 w 7060"/>
                  <a:gd name="connsiteY13" fmla="*/ 9503 h 9824"/>
                  <a:gd name="connsiteX14" fmla="*/ 2361 w 7060"/>
                  <a:gd name="connsiteY14" fmla="*/ 8680 h 9824"/>
                  <a:gd name="connsiteX15" fmla="*/ 1622 w 7060"/>
                  <a:gd name="connsiteY15" fmla="*/ 7836 h 9824"/>
                  <a:gd name="connsiteX16" fmla="*/ 1320 w 7060"/>
                  <a:gd name="connsiteY16" fmla="*/ 7614 h 9824"/>
                  <a:gd name="connsiteX0" fmla="*/ 1869 w 9999"/>
                  <a:gd name="connsiteY0" fmla="*/ 7215 h 9464"/>
                  <a:gd name="connsiteX1" fmla="*/ 3421 w 9999"/>
                  <a:gd name="connsiteY1" fmla="*/ 6583 h 9464"/>
                  <a:gd name="connsiteX2" fmla="*/ 3211 w 9999"/>
                  <a:gd name="connsiteY2" fmla="*/ 5400 h 9464"/>
                  <a:gd name="connsiteX3" fmla="*/ 1949 w 9999"/>
                  <a:gd name="connsiteY3" fmla="*/ 4301 h 9464"/>
                  <a:gd name="connsiteX4" fmla="*/ 1207 w 9999"/>
                  <a:gd name="connsiteY4" fmla="*/ 3574 h 9464"/>
                  <a:gd name="connsiteX5" fmla="*/ 101 w 9999"/>
                  <a:gd name="connsiteY5" fmla="*/ 2956 h 9464"/>
                  <a:gd name="connsiteX6" fmla="*/ 447 w 9999"/>
                  <a:gd name="connsiteY6" fmla="*/ 3163 h 9464"/>
                  <a:gd name="connsiteX7" fmla="*/ 5370 w 9999"/>
                  <a:gd name="connsiteY7" fmla="*/ 0 h 9464"/>
                  <a:gd name="connsiteX8" fmla="*/ 9999 w 9999"/>
                  <a:gd name="connsiteY8" fmla="*/ 7504 h 9464"/>
                  <a:gd name="connsiteX9" fmla="*/ 8377 w 9999"/>
                  <a:gd name="connsiteY9" fmla="*/ 8576 h 9464"/>
                  <a:gd name="connsiteX10" fmla="*/ 7917 w 9999"/>
                  <a:gd name="connsiteY10" fmla="*/ 9113 h 9464"/>
                  <a:gd name="connsiteX11" fmla="*/ 7636 w 9999"/>
                  <a:gd name="connsiteY11" fmla="*/ 9414 h 9464"/>
                  <a:gd name="connsiteX12" fmla="*/ 6445 w 9999"/>
                  <a:gd name="connsiteY12" fmla="*/ 9138 h 9464"/>
                  <a:gd name="connsiteX13" fmla="*/ 3343 w 9999"/>
                  <a:gd name="connsiteY13" fmla="*/ 8301 h 9464"/>
                  <a:gd name="connsiteX14" fmla="*/ 2296 w 9999"/>
                  <a:gd name="connsiteY14" fmla="*/ 7441 h 9464"/>
                  <a:gd name="connsiteX15" fmla="*/ 1869 w 9999"/>
                  <a:gd name="connsiteY15" fmla="*/ 7215 h 9464"/>
                  <a:gd name="connsiteX0" fmla="*/ 1869 w 10000"/>
                  <a:gd name="connsiteY0" fmla="*/ 4551 h 6927"/>
                  <a:gd name="connsiteX1" fmla="*/ 3421 w 10000"/>
                  <a:gd name="connsiteY1" fmla="*/ 3883 h 6927"/>
                  <a:gd name="connsiteX2" fmla="*/ 3211 w 10000"/>
                  <a:gd name="connsiteY2" fmla="*/ 2633 h 6927"/>
                  <a:gd name="connsiteX3" fmla="*/ 1949 w 10000"/>
                  <a:gd name="connsiteY3" fmla="*/ 1472 h 6927"/>
                  <a:gd name="connsiteX4" fmla="*/ 1207 w 10000"/>
                  <a:gd name="connsiteY4" fmla="*/ 703 h 6927"/>
                  <a:gd name="connsiteX5" fmla="*/ 101 w 10000"/>
                  <a:gd name="connsiteY5" fmla="*/ 50 h 6927"/>
                  <a:gd name="connsiteX6" fmla="*/ 447 w 10000"/>
                  <a:gd name="connsiteY6" fmla="*/ 269 h 6927"/>
                  <a:gd name="connsiteX7" fmla="*/ 10000 w 10000"/>
                  <a:gd name="connsiteY7" fmla="*/ 4856 h 6927"/>
                  <a:gd name="connsiteX8" fmla="*/ 8378 w 10000"/>
                  <a:gd name="connsiteY8" fmla="*/ 5989 h 6927"/>
                  <a:gd name="connsiteX9" fmla="*/ 7918 w 10000"/>
                  <a:gd name="connsiteY9" fmla="*/ 6556 h 6927"/>
                  <a:gd name="connsiteX10" fmla="*/ 7637 w 10000"/>
                  <a:gd name="connsiteY10" fmla="*/ 6874 h 6927"/>
                  <a:gd name="connsiteX11" fmla="*/ 6446 w 10000"/>
                  <a:gd name="connsiteY11" fmla="*/ 6583 h 6927"/>
                  <a:gd name="connsiteX12" fmla="*/ 3343 w 10000"/>
                  <a:gd name="connsiteY12" fmla="*/ 5698 h 6927"/>
                  <a:gd name="connsiteX13" fmla="*/ 2296 w 10000"/>
                  <a:gd name="connsiteY13" fmla="*/ 4789 h 6927"/>
                  <a:gd name="connsiteX14" fmla="*/ 1869 w 10000"/>
                  <a:gd name="connsiteY14" fmla="*/ 4551 h 6927"/>
                  <a:gd name="connsiteX0" fmla="*/ 1869 w 8378"/>
                  <a:gd name="connsiteY0" fmla="*/ 6570 h 10000"/>
                  <a:gd name="connsiteX1" fmla="*/ 3421 w 8378"/>
                  <a:gd name="connsiteY1" fmla="*/ 5606 h 10000"/>
                  <a:gd name="connsiteX2" fmla="*/ 3211 w 8378"/>
                  <a:gd name="connsiteY2" fmla="*/ 3801 h 10000"/>
                  <a:gd name="connsiteX3" fmla="*/ 1949 w 8378"/>
                  <a:gd name="connsiteY3" fmla="*/ 2125 h 10000"/>
                  <a:gd name="connsiteX4" fmla="*/ 1207 w 8378"/>
                  <a:gd name="connsiteY4" fmla="*/ 1015 h 10000"/>
                  <a:gd name="connsiteX5" fmla="*/ 101 w 8378"/>
                  <a:gd name="connsiteY5" fmla="*/ 72 h 10000"/>
                  <a:gd name="connsiteX6" fmla="*/ 447 w 8378"/>
                  <a:gd name="connsiteY6" fmla="*/ 388 h 10000"/>
                  <a:gd name="connsiteX7" fmla="*/ 8378 w 8378"/>
                  <a:gd name="connsiteY7" fmla="*/ 8646 h 10000"/>
                  <a:gd name="connsiteX8" fmla="*/ 7918 w 8378"/>
                  <a:gd name="connsiteY8" fmla="*/ 9464 h 10000"/>
                  <a:gd name="connsiteX9" fmla="*/ 7637 w 8378"/>
                  <a:gd name="connsiteY9" fmla="*/ 9923 h 10000"/>
                  <a:gd name="connsiteX10" fmla="*/ 6446 w 8378"/>
                  <a:gd name="connsiteY10" fmla="*/ 9503 h 10000"/>
                  <a:gd name="connsiteX11" fmla="*/ 3343 w 8378"/>
                  <a:gd name="connsiteY11" fmla="*/ 8226 h 10000"/>
                  <a:gd name="connsiteX12" fmla="*/ 2296 w 8378"/>
                  <a:gd name="connsiteY12" fmla="*/ 6914 h 10000"/>
                  <a:gd name="connsiteX13" fmla="*/ 1869 w 8378"/>
                  <a:gd name="connsiteY13" fmla="*/ 6570 h 10000"/>
                  <a:gd name="connsiteX0" fmla="*/ 10000 w 15827"/>
                  <a:gd name="connsiteY0" fmla="*/ 8646 h 14289"/>
                  <a:gd name="connsiteX1" fmla="*/ 9451 w 15827"/>
                  <a:gd name="connsiteY1" fmla="*/ 9464 h 14289"/>
                  <a:gd name="connsiteX2" fmla="*/ 9116 w 15827"/>
                  <a:gd name="connsiteY2" fmla="*/ 9923 h 14289"/>
                  <a:gd name="connsiteX3" fmla="*/ 7694 w 15827"/>
                  <a:gd name="connsiteY3" fmla="*/ 9503 h 14289"/>
                  <a:gd name="connsiteX4" fmla="*/ 3990 w 15827"/>
                  <a:gd name="connsiteY4" fmla="*/ 8226 h 14289"/>
                  <a:gd name="connsiteX5" fmla="*/ 2741 w 15827"/>
                  <a:gd name="connsiteY5" fmla="*/ 6914 h 14289"/>
                  <a:gd name="connsiteX6" fmla="*/ 2231 w 15827"/>
                  <a:gd name="connsiteY6" fmla="*/ 6570 h 14289"/>
                  <a:gd name="connsiteX7" fmla="*/ 4083 w 15827"/>
                  <a:gd name="connsiteY7" fmla="*/ 5606 h 14289"/>
                  <a:gd name="connsiteX8" fmla="*/ 3833 w 15827"/>
                  <a:gd name="connsiteY8" fmla="*/ 3801 h 14289"/>
                  <a:gd name="connsiteX9" fmla="*/ 2326 w 15827"/>
                  <a:gd name="connsiteY9" fmla="*/ 2125 h 14289"/>
                  <a:gd name="connsiteX10" fmla="*/ 1441 w 15827"/>
                  <a:gd name="connsiteY10" fmla="*/ 1015 h 14289"/>
                  <a:gd name="connsiteX11" fmla="*/ 121 w 15827"/>
                  <a:gd name="connsiteY11" fmla="*/ 72 h 14289"/>
                  <a:gd name="connsiteX12" fmla="*/ 534 w 15827"/>
                  <a:gd name="connsiteY12" fmla="*/ 388 h 14289"/>
                  <a:gd name="connsiteX13" fmla="*/ 15827 w 15827"/>
                  <a:gd name="connsiteY13" fmla="*/ 14289 h 14289"/>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2231 w 10000"/>
                  <a:gd name="connsiteY6" fmla="*/ 6570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3901 w 10000"/>
                  <a:gd name="connsiteY6" fmla="*/ 3778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10000" y="8646"/>
                    </a:moveTo>
                    <a:cubicBezTo>
                      <a:pt x="10000" y="8920"/>
                      <a:pt x="9723" y="9193"/>
                      <a:pt x="9451" y="9464"/>
                    </a:cubicBezTo>
                    <a:cubicBezTo>
                      <a:pt x="8899" y="10280"/>
                      <a:pt x="10220" y="9923"/>
                      <a:pt x="9116" y="9923"/>
                    </a:cubicBezTo>
                    <a:cubicBezTo>
                      <a:pt x="8287" y="9923"/>
                      <a:pt x="8519" y="9776"/>
                      <a:pt x="7694" y="9503"/>
                    </a:cubicBezTo>
                    <a:cubicBezTo>
                      <a:pt x="6862" y="9503"/>
                      <a:pt x="4638" y="8804"/>
                      <a:pt x="3990" y="8226"/>
                    </a:cubicBezTo>
                    <a:cubicBezTo>
                      <a:pt x="3342" y="7648"/>
                      <a:pt x="4459" y="5827"/>
                      <a:pt x="3803" y="6032"/>
                    </a:cubicBezTo>
                    <a:cubicBezTo>
                      <a:pt x="3836" y="5281"/>
                      <a:pt x="3868" y="4529"/>
                      <a:pt x="3901" y="3778"/>
                    </a:cubicBezTo>
                    <a:cubicBezTo>
                      <a:pt x="3625" y="3507"/>
                      <a:pt x="4359" y="5877"/>
                      <a:pt x="4083" y="5606"/>
                    </a:cubicBezTo>
                    <a:cubicBezTo>
                      <a:pt x="4083" y="5060"/>
                      <a:pt x="4108" y="4348"/>
                      <a:pt x="3833" y="3801"/>
                    </a:cubicBezTo>
                    <a:cubicBezTo>
                      <a:pt x="3282" y="2983"/>
                      <a:pt x="2604" y="3216"/>
                      <a:pt x="2326" y="2125"/>
                    </a:cubicBezTo>
                    <a:cubicBezTo>
                      <a:pt x="2046" y="1855"/>
                      <a:pt x="1806" y="1356"/>
                      <a:pt x="1441" y="1015"/>
                    </a:cubicBezTo>
                    <a:cubicBezTo>
                      <a:pt x="1074" y="673"/>
                      <a:pt x="-432" y="72"/>
                      <a:pt x="121" y="72"/>
                    </a:cubicBezTo>
                    <a:cubicBezTo>
                      <a:pt x="673" y="-201"/>
                      <a:pt x="-14" y="388"/>
                      <a:pt x="534" y="388"/>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1" name="Freeform 5"/>
              <p:cNvSpPr>
                <a:spLocks/>
              </p:cNvSpPr>
              <p:nvPr/>
            </p:nvSpPr>
            <p:spPr bwMode="auto">
              <a:xfrm>
                <a:off x="556161" y="4133636"/>
                <a:ext cx="406680" cy="894569"/>
              </a:xfrm>
              <a:custGeom>
                <a:avLst/>
                <a:gdLst>
                  <a:gd name="T0" fmla="*/ 0 w 94"/>
                  <a:gd name="T1" fmla="*/ 202 h 202"/>
                  <a:gd name="T2" fmla="*/ 25 w 94"/>
                  <a:gd name="T3" fmla="*/ 167 h 202"/>
                  <a:gd name="T4" fmla="*/ 89 w 94"/>
                  <a:gd name="T5" fmla="*/ 16 h 202"/>
                  <a:gd name="T6" fmla="*/ 90 w 94"/>
                  <a:gd name="T7" fmla="*/ 0 h 202"/>
                </a:gdLst>
                <a:ahLst/>
                <a:cxnLst>
                  <a:cxn ang="0">
                    <a:pos x="T0" y="T1"/>
                  </a:cxn>
                  <a:cxn ang="0">
                    <a:pos x="T2" y="T3"/>
                  </a:cxn>
                  <a:cxn ang="0">
                    <a:pos x="T4" y="T5"/>
                  </a:cxn>
                  <a:cxn ang="0">
                    <a:pos x="T6" y="T7"/>
                  </a:cxn>
                </a:cxnLst>
                <a:rect l="0" t="0" r="r" b="b"/>
                <a:pathLst>
                  <a:path w="94" h="202">
                    <a:moveTo>
                      <a:pt x="0" y="202"/>
                    </a:moveTo>
                    <a:cubicBezTo>
                      <a:pt x="14" y="191"/>
                      <a:pt x="17" y="182"/>
                      <a:pt x="25" y="167"/>
                    </a:cubicBezTo>
                    <a:cubicBezTo>
                      <a:pt x="50" y="121"/>
                      <a:pt x="66" y="68"/>
                      <a:pt x="89" y="16"/>
                    </a:cubicBezTo>
                    <a:cubicBezTo>
                      <a:pt x="91" y="11"/>
                      <a:pt x="94" y="2"/>
                      <a:pt x="90"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3" name="Freeform 6"/>
              <p:cNvSpPr>
                <a:spLocks/>
              </p:cNvSpPr>
              <p:nvPr/>
            </p:nvSpPr>
            <p:spPr bwMode="auto">
              <a:xfrm>
                <a:off x="487680" y="4110328"/>
                <a:ext cx="381864" cy="707256"/>
              </a:xfrm>
              <a:custGeom>
                <a:avLst/>
                <a:gdLst>
                  <a:gd name="T0" fmla="*/ 0 w 76"/>
                  <a:gd name="T1" fmla="*/ 3 h 157"/>
                  <a:gd name="T2" fmla="*/ 72 w 76"/>
                  <a:gd name="T3" fmla="*/ 3 h 157"/>
                  <a:gd name="T4" fmla="*/ 0 w 76"/>
                  <a:gd name="T5" fmla="*/ 157 h 157"/>
                  <a:gd name="connsiteX0" fmla="*/ 0 w 11593"/>
                  <a:gd name="connsiteY0" fmla="*/ 356 h 10165"/>
                  <a:gd name="connsiteX1" fmla="*/ 11570 w 11593"/>
                  <a:gd name="connsiteY1" fmla="*/ 48 h 10165"/>
                  <a:gd name="connsiteX2" fmla="*/ 0 w 11593"/>
                  <a:gd name="connsiteY2" fmla="*/ 10165 h 10165"/>
                </a:gdLst>
                <a:ahLst/>
                <a:cxnLst>
                  <a:cxn ang="0">
                    <a:pos x="connsiteX0" y="connsiteY0"/>
                  </a:cxn>
                  <a:cxn ang="0">
                    <a:pos x="connsiteX1" y="connsiteY1"/>
                  </a:cxn>
                  <a:cxn ang="0">
                    <a:pos x="connsiteX2" y="connsiteY2"/>
                  </a:cxn>
                </a:cxnLst>
                <a:rect l="l" t="t" r="r" b="b"/>
                <a:pathLst>
                  <a:path w="11593" h="10165">
                    <a:moveTo>
                      <a:pt x="0" y="356"/>
                    </a:moveTo>
                    <a:cubicBezTo>
                      <a:pt x="3158" y="292"/>
                      <a:pt x="8412" y="-143"/>
                      <a:pt x="11570" y="48"/>
                    </a:cubicBezTo>
                    <a:cubicBezTo>
                      <a:pt x="12096" y="1067"/>
                      <a:pt x="3684" y="7108"/>
                      <a:pt x="0" y="1016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4" name="Freeform 7"/>
              <p:cNvSpPr>
                <a:spLocks/>
              </p:cNvSpPr>
              <p:nvPr/>
            </p:nvSpPr>
            <p:spPr bwMode="auto">
              <a:xfrm>
                <a:off x="864917" y="3637161"/>
                <a:ext cx="1276002" cy="458588"/>
              </a:xfrm>
              <a:custGeom>
                <a:avLst/>
                <a:gdLst>
                  <a:gd name="T0" fmla="*/ 0 w 301"/>
                  <a:gd name="T1" fmla="*/ 108 h 108"/>
                  <a:gd name="T2" fmla="*/ 301 w 301"/>
                  <a:gd name="T3" fmla="*/ 0 h 108"/>
                  <a:gd name="connsiteX0" fmla="*/ 0 w 10288"/>
                  <a:gd name="connsiteY0" fmla="*/ 10490 h 10490"/>
                  <a:gd name="connsiteX1" fmla="*/ 10288 w 10288"/>
                  <a:gd name="connsiteY1" fmla="*/ 0 h 10490"/>
                  <a:gd name="connsiteX0" fmla="*/ 0 w 10288"/>
                  <a:gd name="connsiteY0" fmla="*/ 10490 h 10490"/>
                  <a:gd name="connsiteX1" fmla="*/ 10288 w 10288"/>
                  <a:gd name="connsiteY1" fmla="*/ 0 h 10490"/>
                </a:gdLst>
                <a:ahLst/>
                <a:cxnLst>
                  <a:cxn ang="0">
                    <a:pos x="connsiteX0" y="connsiteY0"/>
                  </a:cxn>
                  <a:cxn ang="0">
                    <a:pos x="connsiteX1" y="connsiteY1"/>
                  </a:cxn>
                </a:cxnLst>
                <a:rect l="l" t="t" r="r" b="b"/>
                <a:pathLst>
                  <a:path w="10288" h="10490">
                    <a:moveTo>
                      <a:pt x="0" y="10490"/>
                    </a:moveTo>
                    <a:cubicBezTo>
                      <a:pt x="3256" y="6971"/>
                      <a:pt x="7014" y="4189"/>
                      <a:pt x="10288"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5" name="Freeform 8"/>
              <p:cNvSpPr>
                <a:spLocks/>
              </p:cNvSpPr>
              <p:nvPr/>
            </p:nvSpPr>
            <p:spPr bwMode="auto">
              <a:xfrm>
                <a:off x="1990525" y="3379803"/>
                <a:ext cx="290241" cy="251612"/>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83" h="10000">
                    <a:moveTo>
                      <a:pt x="1193" y="7790"/>
                    </a:moveTo>
                    <a:cubicBezTo>
                      <a:pt x="1046" y="7615"/>
                      <a:pt x="2329" y="7344"/>
                      <a:pt x="2183" y="7169"/>
                    </a:cubicBezTo>
                    <a:cubicBezTo>
                      <a:pt x="2183" y="6817"/>
                      <a:pt x="2196" y="6359"/>
                      <a:pt x="2049" y="6007"/>
                    </a:cubicBezTo>
                    <a:cubicBezTo>
                      <a:pt x="1754" y="5480"/>
                      <a:pt x="1393" y="5630"/>
                      <a:pt x="1243" y="4927"/>
                    </a:cubicBezTo>
                    <a:cubicBezTo>
                      <a:pt x="1095" y="4753"/>
                      <a:pt x="966" y="4432"/>
                      <a:pt x="771" y="4213"/>
                    </a:cubicBezTo>
                    <a:cubicBezTo>
                      <a:pt x="575" y="3992"/>
                      <a:pt x="-230" y="3606"/>
                      <a:pt x="65" y="3606"/>
                    </a:cubicBezTo>
                    <a:cubicBezTo>
                      <a:pt x="361" y="3430"/>
                      <a:pt x="-7" y="3809"/>
                      <a:pt x="286" y="3809"/>
                    </a:cubicBezTo>
                    <a:cubicBezTo>
                      <a:pt x="1468" y="3985"/>
                      <a:pt x="770" y="3161"/>
                      <a:pt x="1802" y="2634"/>
                    </a:cubicBezTo>
                    <a:cubicBezTo>
                      <a:pt x="2246" y="2281"/>
                      <a:pt x="2688" y="2107"/>
                      <a:pt x="2984" y="1580"/>
                    </a:cubicBezTo>
                    <a:cubicBezTo>
                      <a:pt x="3132" y="1405"/>
                      <a:pt x="3277" y="1054"/>
                      <a:pt x="3426" y="702"/>
                    </a:cubicBezTo>
                    <a:cubicBezTo>
                      <a:pt x="3574" y="526"/>
                      <a:pt x="3722" y="176"/>
                      <a:pt x="4017" y="176"/>
                    </a:cubicBezTo>
                    <a:cubicBezTo>
                      <a:pt x="4606" y="0"/>
                      <a:pt x="5050" y="702"/>
                      <a:pt x="5639" y="702"/>
                    </a:cubicBezTo>
                    <a:cubicBezTo>
                      <a:pt x="5935" y="702"/>
                      <a:pt x="6082" y="526"/>
                      <a:pt x="6378" y="351"/>
                    </a:cubicBezTo>
                    <a:cubicBezTo>
                      <a:pt x="7115" y="-175"/>
                      <a:pt x="8148" y="0"/>
                      <a:pt x="9034" y="176"/>
                    </a:cubicBezTo>
                    <a:cubicBezTo>
                      <a:pt x="9331" y="176"/>
                      <a:pt x="9625" y="176"/>
                      <a:pt x="9772" y="526"/>
                    </a:cubicBezTo>
                    <a:cubicBezTo>
                      <a:pt x="9921" y="879"/>
                      <a:pt x="9921" y="1228"/>
                      <a:pt x="9772" y="1405"/>
                    </a:cubicBezTo>
                    <a:cubicBezTo>
                      <a:pt x="9625" y="1755"/>
                      <a:pt x="9478" y="1931"/>
                      <a:pt x="9331" y="2281"/>
                    </a:cubicBezTo>
                    <a:cubicBezTo>
                      <a:pt x="9183" y="2808"/>
                      <a:pt x="9331" y="3511"/>
                      <a:pt x="9183" y="4038"/>
                    </a:cubicBezTo>
                    <a:cubicBezTo>
                      <a:pt x="9183" y="4389"/>
                      <a:pt x="9034" y="4565"/>
                      <a:pt x="8888" y="4914"/>
                    </a:cubicBezTo>
                    <a:cubicBezTo>
                      <a:pt x="8148" y="6142"/>
                      <a:pt x="7411" y="7195"/>
                      <a:pt x="6378" y="8074"/>
                    </a:cubicBezTo>
                    <a:cubicBezTo>
                      <a:pt x="6082" y="8425"/>
                      <a:pt x="5639" y="8601"/>
                      <a:pt x="5344" y="9127"/>
                    </a:cubicBezTo>
                    <a:cubicBezTo>
                      <a:pt x="5344" y="9303"/>
                      <a:pt x="5196" y="9479"/>
                      <a:pt x="5050" y="9654"/>
                    </a:cubicBezTo>
                    <a:cubicBezTo>
                      <a:pt x="4756" y="10180"/>
                      <a:pt x="5462" y="9950"/>
                      <a:pt x="4871" y="9950"/>
                    </a:cubicBezTo>
                    <a:cubicBezTo>
                      <a:pt x="4429" y="9950"/>
                      <a:pt x="4553" y="9855"/>
                      <a:pt x="4111" y="9679"/>
                    </a:cubicBezTo>
                    <a:cubicBezTo>
                      <a:pt x="3667" y="9679"/>
                      <a:pt x="2574" y="9134"/>
                      <a:pt x="2133" y="8856"/>
                    </a:cubicBezTo>
                    <a:cubicBezTo>
                      <a:pt x="1692" y="8578"/>
                      <a:pt x="1816" y="7879"/>
                      <a:pt x="1466" y="801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6" name="Freeform 9"/>
              <p:cNvSpPr>
                <a:spLocks/>
              </p:cNvSpPr>
              <p:nvPr/>
            </p:nvSpPr>
            <p:spPr bwMode="auto">
              <a:xfrm>
                <a:off x="1930275" y="3070013"/>
                <a:ext cx="1364442" cy="898012"/>
              </a:xfrm>
              <a:custGeom>
                <a:avLst/>
                <a:gdLst>
                  <a:gd name="T0" fmla="*/ 51 w 317"/>
                  <a:gd name="T1" fmla="*/ 138 h 204"/>
                  <a:gd name="T2" fmla="*/ 84 w 317"/>
                  <a:gd name="T3" fmla="*/ 142 h 204"/>
                  <a:gd name="T4" fmla="*/ 90 w 317"/>
                  <a:gd name="T5" fmla="*/ 150 h 204"/>
                  <a:gd name="T6" fmla="*/ 103 w 317"/>
                  <a:gd name="T7" fmla="*/ 151 h 204"/>
                  <a:gd name="T8" fmla="*/ 152 w 317"/>
                  <a:gd name="T9" fmla="*/ 169 h 204"/>
                  <a:gd name="T10" fmla="*/ 167 w 317"/>
                  <a:gd name="T11" fmla="*/ 176 h 204"/>
                  <a:gd name="T12" fmla="*/ 230 w 317"/>
                  <a:gd name="T13" fmla="*/ 169 h 204"/>
                  <a:gd name="T14" fmla="*/ 298 w 317"/>
                  <a:gd name="T15" fmla="*/ 169 h 204"/>
                  <a:gd name="T16" fmla="*/ 306 w 317"/>
                  <a:gd name="T17" fmla="*/ 182 h 204"/>
                  <a:gd name="T18" fmla="*/ 312 w 317"/>
                  <a:gd name="T19" fmla="*/ 204 h 204"/>
                  <a:gd name="T20" fmla="*/ 299 w 317"/>
                  <a:gd name="T21" fmla="*/ 148 h 204"/>
                  <a:gd name="T22" fmla="*/ 278 w 317"/>
                  <a:gd name="T23" fmla="*/ 124 h 204"/>
                  <a:gd name="T24" fmla="*/ 261 w 317"/>
                  <a:gd name="T25" fmla="*/ 125 h 204"/>
                  <a:gd name="T26" fmla="*/ 228 w 317"/>
                  <a:gd name="T27" fmla="*/ 128 h 204"/>
                  <a:gd name="T28" fmla="*/ 201 w 317"/>
                  <a:gd name="T29" fmla="*/ 129 h 204"/>
                  <a:gd name="T30" fmla="*/ 220 w 317"/>
                  <a:gd name="T31" fmla="*/ 69 h 204"/>
                  <a:gd name="T32" fmla="*/ 207 w 317"/>
                  <a:gd name="T33" fmla="*/ 66 h 204"/>
                  <a:gd name="T34" fmla="*/ 183 w 317"/>
                  <a:gd name="T35" fmla="*/ 75 h 204"/>
                  <a:gd name="T36" fmla="*/ 147 w 317"/>
                  <a:gd name="T37" fmla="*/ 78 h 204"/>
                  <a:gd name="T38" fmla="*/ 141 w 317"/>
                  <a:gd name="T39" fmla="*/ 80 h 204"/>
                  <a:gd name="T40" fmla="*/ 136 w 317"/>
                  <a:gd name="T41" fmla="*/ 69 h 204"/>
                  <a:gd name="T42" fmla="*/ 127 w 317"/>
                  <a:gd name="T43" fmla="*/ 64 h 204"/>
                  <a:gd name="T44" fmla="*/ 104 w 317"/>
                  <a:gd name="T45" fmla="*/ 66 h 204"/>
                  <a:gd name="T46" fmla="*/ 82 w 317"/>
                  <a:gd name="T47" fmla="*/ 73 h 204"/>
                  <a:gd name="T48" fmla="*/ 84 w 317"/>
                  <a:gd name="T49" fmla="*/ 62 h 204"/>
                  <a:gd name="T50" fmla="*/ 75 w 317"/>
                  <a:gd name="T51" fmla="*/ 57 h 204"/>
                  <a:gd name="T52" fmla="*/ 60 w 317"/>
                  <a:gd name="T53" fmla="*/ 49 h 204"/>
                  <a:gd name="T54" fmla="*/ 51 w 317"/>
                  <a:gd name="T55" fmla="*/ 42 h 204"/>
                  <a:gd name="T56" fmla="*/ 36 w 317"/>
                  <a:gd name="T57" fmla="*/ 23 h 204"/>
                  <a:gd name="T58" fmla="*/ 22 w 317"/>
                  <a:gd name="T59" fmla="*/ 13 h 204"/>
                  <a:gd name="T60" fmla="*/ 8 w 317"/>
                  <a:gd name="T61" fmla="*/ 2 h 204"/>
                  <a:gd name="T62" fmla="*/ 3 w 317"/>
                  <a:gd name="T63" fmla="*/ 10 h 204"/>
                  <a:gd name="T64" fmla="*/ 4 w 317"/>
                  <a:gd name="T65" fmla="*/ 29 h 204"/>
                  <a:gd name="T66" fmla="*/ 2 w 317"/>
                  <a:gd name="T67" fmla="*/ 41 h 204"/>
                  <a:gd name="T68" fmla="*/ 12 w 317"/>
                  <a:gd name="T69" fmla="*/ 50 h 204"/>
                  <a:gd name="T70" fmla="*/ 13 w 317"/>
                  <a:gd name="T71" fmla="*/ 62 h 204"/>
                  <a:gd name="T72" fmla="*/ 15 w 317"/>
                  <a:gd name="T73" fmla="*/ 78 h 204"/>
                  <a:gd name="T74" fmla="*/ 30 w 317"/>
                  <a:gd name="T75" fmla="*/ 83 h 204"/>
                  <a:gd name="connsiteX0" fmla="*/ 1507 w 9926"/>
                  <a:gd name="connsiteY0" fmla="*/ 6241 h 9955"/>
                  <a:gd name="connsiteX1" fmla="*/ 1583 w 9926"/>
                  <a:gd name="connsiteY1" fmla="*/ 6720 h 9955"/>
                  <a:gd name="connsiteX2" fmla="*/ 2403 w 9926"/>
                  <a:gd name="connsiteY2" fmla="*/ 7014 h 9955"/>
                  <a:gd name="connsiteX3" fmla="*/ 2624 w 9926"/>
                  <a:gd name="connsiteY3" fmla="*/ 6916 h 9955"/>
                  <a:gd name="connsiteX4" fmla="*/ 2813 w 9926"/>
                  <a:gd name="connsiteY4" fmla="*/ 7014 h 9955"/>
                  <a:gd name="connsiteX5" fmla="*/ 2813 w 9926"/>
                  <a:gd name="connsiteY5" fmla="*/ 7308 h 9955"/>
                  <a:gd name="connsiteX6" fmla="*/ 3002 w 9926"/>
                  <a:gd name="connsiteY6" fmla="*/ 7455 h 9955"/>
                  <a:gd name="connsiteX7" fmla="*/ 3223 w 9926"/>
                  <a:gd name="connsiteY7" fmla="*/ 7357 h 9955"/>
                  <a:gd name="connsiteX8" fmla="*/ 4012 w 9926"/>
                  <a:gd name="connsiteY8" fmla="*/ 7651 h 9955"/>
                  <a:gd name="connsiteX9" fmla="*/ 4769 w 9926"/>
                  <a:gd name="connsiteY9" fmla="*/ 8239 h 9955"/>
                  <a:gd name="connsiteX10" fmla="*/ 5021 w 9926"/>
                  <a:gd name="connsiteY10" fmla="*/ 8337 h 9955"/>
                  <a:gd name="connsiteX11" fmla="*/ 5242 w 9926"/>
                  <a:gd name="connsiteY11" fmla="*/ 8582 h 9955"/>
                  <a:gd name="connsiteX12" fmla="*/ 6409 w 9926"/>
                  <a:gd name="connsiteY12" fmla="*/ 8533 h 9955"/>
                  <a:gd name="connsiteX13" fmla="*/ 7230 w 9926"/>
                  <a:gd name="connsiteY13" fmla="*/ 8239 h 9955"/>
                  <a:gd name="connsiteX14" fmla="*/ 7987 w 9926"/>
                  <a:gd name="connsiteY14" fmla="*/ 8043 h 9955"/>
                  <a:gd name="connsiteX15" fmla="*/ 9375 w 9926"/>
                  <a:gd name="connsiteY15" fmla="*/ 8239 h 9955"/>
                  <a:gd name="connsiteX16" fmla="*/ 9501 w 9926"/>
                  <a:gd name="connsiteY16" fmla="*/ 8828 h 9955"/>
                  <a:gd name="connsiteX17" fmla="*/ 9627 w 9926"/>
                  <a:gd name="connsiteY17" fmla="*/ 8877 h 9955"/>
                  <a:gd name="connsiteX18" fmla="*/ 9722 w 9926"/>
                  <a:gd name="connsiteY18" fmla="*/ 9171 h 9955"/>
                  <a:gd name="connsiteX19" fmla="*/ 9816 w 9926"/>
                  <a:gd name="connsiteY19" fmla="*/ 9955 h 9955"/>
                  <a:gd name="connsiteX20" fmla="*/ 9848 w 9926"/>
                  <a:gd name="connsiteY20" fmla="*/ 8533 h 9955"/>
                  <a:gd name="connsiteX21" fmla="*/ 9406 w 9926"/>
                  <a:gd name="connsiteY21" fmla="*/ 7210 h 9955"/>
                  <a:gd name="connsiteX22" fmla="*/ 8901 w 9926"/>
                  <a:gd name="connsiteY22" fmla="*/ 6769 h 9955"/>
                  <a:gd name="connsiteX23" fmla="*/ 8744 w 9926"/>
                  <a:gd name="connsiteY23" fmla="*/ 6033 h 9955"/>
                  <a:gd name="connsiteX24" fmla="*/ 8334 w 9926"/>
                  <a:gd name="connsiteY24" fmla="*/ 5886 h 9955"/>
                  <a:gd name="connsiteX25" fmla="*/ 8207 w 9926"/>
                  <a:gd name="connsiteY25" fmla="*/ 6082 h 9955"/>
                  <a:gd name="connsiteX26" fmla="*/ 7955 w 9926"/>
                  <a:gd name="connsiteY26" fmla="*/ 6180 h 9955"/>
                  <a:gd name="connsiteX27" fmla="*/ 7166 w 9926"/>
                  <a:gd name="connsiteY27" fmla="*/ 6230 h 9955"/>
                  <a:gd name="connsiteX28" fmla="*/ 6094 w 9926"/>
                  <a:gd name="connsiteY28" fmla="*/ 7308 h 9955"/>
                  <a:gd name="connsiteX29" fmla="*/ 6315 w 9926"/>
                  <a:gd name="connsiteY29" fmla="*/ 6279 h 9955"/>
                  <a:gd name="connsiteX30" fmla="*/ 6599 w 9926"/>
                  <a:gd name="connsiteY30" fmla="*/ 4906 h 9955"/>
                  <a:gd name="connsiteX31" fmla="*/ 6914 w 9926"/>
                  <a:gd name="connsiteY31" fmla="*/ 3337 h 9955"/>
                  <a:gd name="connsiteX32" fmla="*/ 6914 w 9926"/>
                  <a:gd name="connsiteY32" fmla="*/ 3239 h 9955"/>
                  <a:gd name="connsiteX33" fmla="*/ 6504 w 9926"/>
                  <a:gd name="connsiteY33" fmla="*/ 3190 h 9955"/>
                  <a:gd name="connsiteX34" fmla="*/ 6125 w 9926"/>
                  <a:gd name="connsiteY34" fmla="*/ 3631 h 9955"/>
                  <a:gd name="connsiteX35" fmla="*/ 5747 w 9926"/>
                  <a:gd name="connsiteY35" fmla="*/ 3631 h 9955"/>
                  <a:gd name="connsiteX36" fmla="*/ 5021 w 9926"/>
                  <a:gd name="connsiteY36" fmla="*/ 3877 h 9955"/>
                  <a:gd name="connsiteX37" fmla="*/ 4611 w 9926"/>
                  <a:gd name="connsiteY37" fmla="*/ 3779 h 9955"/>
                  <a:gd name="connsiteX38" fmla="*/ 4359 w 9926"/>
                  <a:gd name="connsiteY38" fmla="*/ 3926 h 9955"/>
                  <a:gd name="connsiteX39" fmla="*/ 4422 w 9926"/>
                  <a:gd name="connsiteY39" fmla="*/ 3877 h 9955"/>
                  <a:gd name="connsiteX40" fmla="*/ 4390 w 9926"/>
                  <a:gd name="connsiteY40" fmla="*/ 3779 h 9955"/>
                  <a:gd name="connsiteX41" fmla="*/ 4264 w 9926"/>
                  <a:gd name="connsiteY41" fmla="*/ 3337 h 9955"/>
                  <a:gd name="connsiteX42" fmla="*/ 4075 w 9926"/>
                  <a:gd name="connsiteY42" fmla="*/ 3092 h 9955"/>
                  <a:gd name="connsiteX43" fmla="*/ 3980 w 9926"/>
                  <a:gd name="connsiteY43" fmla="*/ 3092 h 9955"/>
                  <a:gd name="connsiteX44" fmla="*/ 3476 w 9926"/>
                  <a:gd name="connsiteY44" fmla="*/ 3092 h 9955"/>
                  <a:gd name="connsiteX45" fmla="*/ 3255 w 9926"/>
                  <a:gd name="connsiteY45" fmla="*/ 3190 h 9955"/>
                  <a:gd name="connsiteX46" fmla="*/ 3097 w 9926"/>
                  <a:gd name="connsiteY46" fmla="*/ 3190 h 9955"/>
                  <a:gd name="connsiteX47" fmla="*/ 2561 w 9926"/>
                  <a:gd name="connsiteY47" fmla="*/ 3533 h 9955"/>
                  <a:gd name="connsiteX48" fmla="*/ 2687 w 9926"/>
                  <a:gd name="connsiteY48" fmla="*/ 3239 h 9955"/>
                  <a:gd name="connsiteX49" fmla="*/ 2624 w 9926"/>
                  <a:gd name="connsiteY49" fmla="*/ 2994 h 9955"/>
                  <a:gd name="connsiteX50" fmla="*/ 2371 w 9926"/>
                  <a:gd name="connsiteY50" fmla="*/ 2896 h 9955"/>
                  <a:gd name="connsiteX51" fmla="*/ 2340 w 9926"/>
                  <a:gd name="connsiteY51" fmla="*/ 2749 h 9955"/>
                  <a:gd name="connsiteX52" fmla="*/ 2151 w 9926"/>
                  <a:gd name="connsiteY52" fmla="*/ 2455 h 9955"/>
                  <a:gd name="connsiteX53" fmla="*/ 1867 w 9926"/>
                  <a:gd name="connsiteY53" fmla="*/ 2357 h 9955"/>
                  <a:gd name="connsiteX54" fmla="*/ 1741 w 9926"/>
                  <a:gd name="connsiteY54" fmla="*/ 2308 h 9955"/>
                  <a:gd name="connsiteX55" fmla="*/ 1583 w 9926"/>
                  <a:gd name="connsiteY55" fmla="*/ 2014 h 9955"/>
                  <a:gd name="connsiteX56" fmla="*/ 1236 w 9926"/>
                  <a:gd name="connsiteY56" fmla="*/ 1524 h 9955"/>
                  <a:gd name="connsiteX57" fmla="*/ 1110 w 9926"/>
                  <a:gd name="connsiteY57" fmla="*/ 1082 h 9955"/>
                  <a:gd name="connsiteX58" fmla="*/ 983 w 9926"/>
                  <a:gd name="connsiteY58" fmla="*/ 935 h 9955"/>
                  <a:gd name="connsiteX59" fmla="*/ 668 w 9926"/>
                  <a:gd name="connsiteY59" fmla="*/ 592 h 9955"/>
                  <a:gd name="connsiteX60" fmla="*/ 258 w 9926"/>
                  <a:gd name="connsiteY60" fmla="*/ 4 h 9955"/>
                  <a:gd name="connsiteX61" fmla="*/ 226 w 9926"/>
                  <a:gd name="connsiteY61" fmla="*/ 53 h 9955"/>
                  <a:gd name="connsiteX62" fmla="*/ 195 w 9926"/>
                  <a:gd name="connsiteY62" fmla="*/ 102 h 9955"/>
                  <a:gd name="connsiteX63" fmla="*/ 69 w 9926"/>
                  <a:gd name="connsiteY63" fmla="*/ 445 h 9955"/>
                  <a:gd name="connsiteX64" fmla="*/ 100 w 9926"/>
                  <a:gd name="connsiteY64" fmla="*/ 837 h 9955"/>
                  <a:gd name="connsiteX65" fmla="*/ 100 w 9926"/>
                  <a:gd name="connsiteY65" fmla="*/ 1377 h 9955"/>
                  <a:gd name="connsiteX66" fmla="*/ 6 w 9926"/>
                  <a:gd name="connsiteY66" fmla="*/ 1867 h 9955"/>
                  <a:gd name="connsiteX67" fmla="*/ 37 w 9926"/>
                  <a:gd name="connsiteY67" fmla="*/ 1965 h 9955"/>
                  <a:gd name="connsiteX68" fmla="*/ 289 w 9926"/>
                  <a:gd name="connsiteY68" fmla="*/ 2161 h 9955"/>
                  <a:gd name="connsiteX69" fmla="*/ 353 w 9926"/>
                  <a:gd name="connsiteY69" fmla="*/ 2406 h 9955"/>
                  <a:gd name="connsiteX70" fmla="*/ 384 w 9926"/>
                  <a:gd name="connsiteY70" fmla="*/ 2700 h 9955"/>
                  <a:gd name="connsiteX71" fmla="*/ 384 w 9926"/>
                  <a:gd name="connsiteY71" fmla="*/ 2994 h 9955"/>
                  <a:gd name="connsiteX72" fmla="*/ 416 w 9926"/>
                  <a:gd name="connsiteY72" fmla="*/ 3092 h 9955"/>
                  <a:gd name="connsiteX73" fmla="*/ 447 w 9926"/>
                  <a:gd name="connsiteY73" fmla="*/ 3779 h 9955"/>
                  <a:gd name="connsiteX74" fmla="*/ 479 w 9926"/>
                  <a:gd name="connsiteY74" fmla="*/ 3877 h 9955"/>
                  <a:gd name="connsiteX75" fmla="*/ 920 w 9926"/>
                  <a:gd name="connsiteY75" fmla="*/ 4024 h 9955"/>
                  <a:gd name="connsiteX0" fmla="*/ 1518 w 10000"/>
                  <a:gd name="connsiteY0" fmla="*/ 6269 h 10000"/>
                  <a:gd name="connsiteX1" fmla="*/ 1804 w 10000"/>
                  <a:gd name="connsiteY1" fmla="*/ 6670 h 10000"/>
                  <a:gd name="connsiteX2" fmla="*/ 2421 w 10000"/>
                  <a:gd name="connsiteY2" fmla="*/ 7046 h 10000"/>
                  <a:gd name="connsiteX3" fmla="*/ 2644 w 10000"/>
                  <a:gd name="connsiteY3" fmla="*/ 6947 h 10000"/>
                  <a:gd name="connsiteX4" fmla="*/ 2834 w 10000"/>
                  <a:gd name="connsiteY4" fmla="*/ 7046 h 10000"/>
                  <a:gd name="connsiteX5" fmla="*/ 2834 w 10000"/>
                  <a:gd name="connsiteY5" fmla="*/ 7341 h 10000"/>
                  <a:gd name="connsiteX6" fmla="*/ 3024 w 10000"/>
                  <a:gd name="connsiteY6" fmla="*/ 7489 h 10000"/>
                  <a:gd name="connsiteX7" fmla="*/ 3247 w 10000"/>
                  <a:gd name="connsiteY7" fmla="*/ 7390 h 10000"/>
                  <a:gd name="connsiteX8" fmla="*/ 4042 w 10000"/>
                  <a:gd name="connsiteY8" fmla="*/ 7686 h 10000"/>
                  <a:gd name="connsiteX9" fmla="*/ 4805 w 10000"/>
                  <a:gd name="connsiteY9" fmla="*/ 8276 h 10000"/>
                  <a:gd name="connsiteX10" fmla="*/ 5058 w 10000"/>
                  <a:gd name="connsiteY10" fmla="*/ 8375 h 10000"/>
                  <a:gd name="connsiteX11" fmla="*/ 5281 w 10000"/>
                  <a:gd name="connsiteY11" fmla="*/ 8621 h 10000"/>
                  <a:gd name="connsiteX12" fmla="*/ 6457 w 10000"/>
                  <a:gd name="connsiteY12" fmla="*/ 8572 h 10000"/>
                  <a:gd name="connsiteX13" fmla="*/ 7284 w 10000"/>
                  <a:gd name="connsiteY13" fmla="*/ 8276 h 10000"/>
                  <a:gd name="connsiteX14" fmla="*/ 8047 w 10000"/>
                  <a:gd name="connsiteY14" fmla="*/ 8079 h 10000"/>
                  <a:gd name="connsiteX15" fmla="*/ 9445 w 10000"/>
                  <a:gd name="connsiteY15" fmla="*/ 8276 h 10000"/>
                  <a:gd name="connsiteX16" fmla="*/ 9572 w 10000"/>
                  <a:gd name="connsiteY16" fmla="*/ 8868 h 10000"/>
                  <a:gd name="connsiteX17" fmla="*/ 9699 w 10000"/>
                  <a:gd name="connsiteY17" fmla="*/ 8917 h 10000"/>
                  <a:gd name="connsiteX18" fmla="*/ 9794 w 10000"/>
                  <a:gd name="connsiteY18" fmla="*/ 9212 h 10000"/>
                  <a:gd name="connsiteX19" fmla="*/ 9889 w 10000"/>
                  <a:gd name="connsiteY19" fmla="*/ 10000 h 10000"/>
                  <a:gd name="connsiteX20" fmla="*/ 9921 w 10000"/>
                  <a:gd name="connsiteY20" fmla="*/ 8572 h 10000"/>
                  <a:gd name="connsiteX21" fmla="*/ 9476 w 10000"/>
                  <a:gd name="connsiteY21" fmla="*/ 7243 h 10000"/>
                  <a:gd name="connsiteX22" fmla="*/ 8967 w 10000"/>
                  <a:gd name="connsiteY22" fmla="*/ 6800 h 10000"/>
                  <a:gd name="connsiteX23" fmla="*/ 8809 w 10000"/>
                  <a:gd name="connsiteY23" fmla="*/ 6060 h 10000"/>
                  <a:gd name="connsiteX24" fmla="*/ 8396 w 10000"/>
                  <a:gd name="connsiteY24" fmla="*/ 5913 h 10000"/>
                  <a:gd name="connsiteX25" fmla="*/ 8268 w 10000"/>
                  <a:gd name="connsiteY25" fmla="*/ 6109 h 10000"/>
                  <a:gd name="connsiteX26" fmla="*/ 8014 w 10000"/>
                  <a:gd name="connsiteY26" fmla="*/ 6208 h 10000"/>
                  <a:gd name="connsiteX27" fmla="*/ 7219 w 10000"/>
                  <a:gd name="connsiteY27" fmla="*/ 6258 h 10000"/>
                  <a:gd name="connsiteX28" fmla="*/ 6139 w 10000"/>
                  <a:gd name="connsiteY28" fmla="*/ 7341 h 10000"/>
                  <a:gd name="connsiteX29" fmla="*/ 6362 w 10000"/>
                  <a:gd name="connsiteY29" fmla="*/ 6307 h 10000"/>
                  <a:gd name="connsiteX30" fmla="*/ 6648 w 10000"/>
                  <a:gd name="connsiteY30" fmla="*/ 4928 h 10000"/>
                  <a:gd name="connsiteX31" fmla="*/ 6966 w 10000"/>
                  <a:gd name="connsiteY31" fmla="*/ 3352 h 10000"/>
                  <a:gd name="connsiteX32" fmla="*/ 6966 w 10000"/>
                  <a:gd name="connsiteY32" fmla="*/ 3254 h 10000"/>
                  <a:gd name="connsiteX33" fmla="*/ 6552 w 10000"/>
                  <a:gd name="connsiteY33" fmla="*/ 3204 h 10000"/>
                  <a:gd name="connsiteX34" fmla="*/ 6171 w 10000"/>
                  <a:gd name="connsiteY34" fmla="*/ 3647 h 10000"/>
                  <a:gd name="connsiteX35" fmla="*/ 5790 w 10000"/>
                  <a:gd name="connsiteY35" fmla="*/ 3647 h 10000"/>
                  <a:gd name="connsiteX36" fmla="*/ 5058 w 10000"/>
                  <a:gd name="connsiteY36" fmla="*/ 3895 h 10000"/>
                  <a:gd name="connsiteX37" fmla="*/ 4645 w 10000"/>
                  <a:gd name="connsiteY37" fmla="*/ 3796 h 10000"/>
                  <a:gd name="connsiteX38" fmla="*/ 4391 w 10000"/>
                  <a:gd name="connsiteY38" fmla="*/ 3944 h 10000"/>
                  <a:gd name="connsiteX39" fmla="*/ 4455 w 10000"/>
                  <a:gd name="connsiteY39" fmla="*/ 3895 h 10000"/>
                  <a:gd name="connsiteX40" fmla="*/ 4423 w 10000"/>
                  <a:gd name="connsiteY40" fmla="*/ 3796 h 10000"/>
                  <a:gd name="connsiteX41" fmla="*/ 4296 w 10000"/>
                  <a:gd name="connsiteY41" fmla="*/ 3352 h 10000"/>
                  <a:gd name="connsiteX42" fmla="*/ 4105 w 10000"/>
                  <a:gd name="connsiteY42" fmla="*/ 3106 h 10000"/>
                  <a:gd name="connsiteX43" fmla="*/ 4010 w 10000"/>
                  <a:gd name="connsiteY43" fmla="*/ 3106 h 10000"/>
                  <a:gd name="connsiteX44" fmla="*/ 3502 w 10000"/>
                  <a:gd name="connsiteY44" fmla="*/ 3106 h 10000"/>
                  <a:gd name="connsiteX45" fmla="*/ 3279 w 10000"/>
                  <a:gd name="connsiteY45" fmla="*/ 3204 h 10000"/>
                  <a:gd name="connsiteX46" fmla="*/ 3120 w 10000"/>
                  <a:gd name="connsiteY46" fmla="*/ 3204 h 10000"/>
                  <a:gd name="connsiteX47" fmla="*/ 2580 w 10000"/>
                  <a:gd name="connsiteY47" fmla="*/ 3549 h 10000"/>
                  <a:gd name="connsiteX48" fmla="*/ 2707 w 10000"/>
                  <a:gd name="connsiteY48" fmla="*/ 3254 h 10000"/>
                  <a:gd name="connsiteX49" fmla="*/ 2644 w 10000"/>
                  <a:gd name="connsiteY49" fmla="*/ 3008 h 10000"/>
                  <a:gd name="connsiteX50" fmla="*/ 2389 w 10000"/>
                  <a:gd name="connsiteY50" fmla="*/ 2909 h 10000"/>
                  <a:gd name="connsiteX51" fmla="*/ 2357 w 10000"/>
                  <a:gd name="connsiteY51" fmla="*/ 2761 h 10000"/>
                  <a:gd name="connsiteX52" fmla="*/ 2167 w 10000"/>
                  <a:gd name="connsiteY52" fmla="*/ 2466 h 10000"/>
                  <a:gd name="connsiteX53" fmla="*/ 1881 w 10000"/>
                  <a:gd name="connsiteY53" fmla="*/ 2368 h 10000"/>
                  <a:gd name="connsiteX54" fmla="*/ 1754 w 10000"/>
                  <a:gd name="connsiteY54" fmla="*/ 2318 h 10000"/>
                  <a:gd name="connsiteX55" fmla="*/ 1595 w 10000"/>
                  <a:gd name="connsiteY55" fmla="*/ 2023 h 10000"/>
                  <a:gd name="connsiteX56" fmla="*/ 1245 w 10000"/>
                  <a:gd name="connsiteY56" fmla="*/ 1531 h 10000"/>
                  <a:gd name="connsiteX57" fmla="*/ 1118 w 10000"/>
                  <a:gd name="connsiteY57" fmla="*/ 1087 h 10000"/>
                  <a:gd name="connsiteX58" fmla="*/ 990 w 10000"/>
                  <a:gd name="connsiteY58" fmla="*/ 939 h 10000"/>
                  <a:gd name="connsiteX59" fmla="*/ 673 w 10000"/>
                  <a:gd name="connsiteY59" fmla="*/ 595 h 10000"/>
                  <a:gd name="connsiteX60" fmla="*/ 260 w 10000"/>
                  <a:gd name="connsiteY60" fmla="*/ 4 h 10000"/>
                  <a:gd name="connsiteX61" fmla="*/ 228 w 10000"/>
                  <a:gd name="connsiteY61" fmla="*/ 53 h 10000"/>
                  <a:gd name="connsiteX62" fmla="*/ 196 w 10000"/>
                  <a:gd name="connsiteY62" fmla="*/ 102 h 10000"/>
                  <a:gd name="connsiteX63" fmla="*/ 70 w 10000"/>
                  <a:gd name="connsiteY63" fmla="*/ 447 h 10000"/>
                  <a:gd name="connsiteX64" fmla="*/ 101 w 10000"/>
                  <a:gd name="connsiteY64" fmla="*/ 841 h 10000"/>
                  <a:gd name="connsiteX65" fmla="*/ 101 w 10000"/>
                  <a:gd name="connsiteY65" fmla="*/ 1383 h 10000"/>
                  <a:gd name="connsiteX66" fmla="*/ 6 w 10000"/>
                  <a:gd name="connsiteY66" fmla="*/ 1875 h 10000"/>
                  <a:gd name="connsiteX67" fmla="*/ 37 w 10000"/>
                  <a:gd name="connsiteY67" fmla="*/ 1974 h 10000"/>
                  <a:gd name="connsiteX68" fmla="*/ 291 w 10000"/>
                  <a:gd name="connsiteY68" fmla="*/ 2171 h 10000"/>
                  <a:gd name="connsiteX69" fmla="*/ 356 w 10000"/>
                  <a:gd name="connsiteY69" fmla="*/ 2417 h 10000"/>
                  <a:gd name="connsiteX70" fmla="*/ 387 w 10000"/>
                  <a:gd name="connsiteY70" fmla="*/ 2712 h 10000"/>
                  <a:gd name="connsiteX71" fmla="*/ 387 w 10000"/>
                  <a:gd name="connsiteY71" fmla="*/ 3008 h 10000"/>
                  <a:gd name="connsiteX72" fmla="*/ 419 w 10000"/>
                  <a:gd name="connsiteY72" fmla="*/ 3106 h 10000"/>
                  <a:gd name="connsiteX73" fmla="*/ 450 w 10000"/>
                  <a:gd name="connsiteY73" fmla="*/ 3796 h 10000"/>
                  <a:gd name="connsiteX74" fmla="*/ 483 w 10000"/>
                  <a:gd name="connsiteY74" fmla="*/ 3895 h 10000"/>
                  <a:gd name="connsiteX75" fmla="*/ 927 w 10000"/>
                  <a:gd name="connsiteY75" fmla="*/ 40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000" h="10000">
                    <a:moveTo>
                      <a:pt x="1518" y="6269"/>
                    </a:moveTo>
                    <a:cubicBezTo>
                      <a:pt x="1614" y="6368"/>
                      <a:pt x="1708" y="6572"/>
                      <a:pt x="1804" y="6670"/>
                    </a:cubicBezTo>
                    <a:cubicBezTo>
                      <a:pt x="2058" y="6916"/>
                      <a:pt x="2167" y="7243"/>
                      <a:pt x="2421" y="7046"/>
                    </a:cubicBezTo>
                    <a:cubicBezTo>
                      <a:pt x="2517" y="7046"/>
                      <a:pt x="2580" y="6947"/>
                      <a:pt x="2644" y="6947"/>
                    </a:cubicBezTo>
                    <a:cubicBezTo>
                      <a:pt x="2707" y="6898"/>
                      <a:pt x="2803" y="6947"/>
                      <a:pt x="2834" y="7046"/>
                    </a:cubicBezTo>
                    <a:cubicBezTo>
                      <a:pt x="2866" y="7144"/>
                      <a:pt x="2834" y="7243"/>
                      <a:pt x="2834" y="7341"/>
                    </a:cubicBezTo>
                    <a:cubicBezTo>
                      <a:pt x="2866" y="7489"/>
                      <a:pt x="2961" y="7489"/>
                      <a:pt x="3024" y="7489"/>
                    </a:cubicBezTo>
                    <a:cubicBezTo>
                      <a:pt x="3088" y="7489"/>
                      <a:pt x="3152" y="7439"/>
                      <a:pt x="3247" y="7390"/>
                    </a:cubicBezTo>
                    <a:cubicBezTo>
                      <a:pt x="3502" y="7243"/>
                      <a:pt x="3819" y="7439"/>
                      <a:pt x="4042" y="7686"/>
                    </a:cubicBezTo>
                    <a:cubicBezTo>
                      <a:pt x="4296" y="7932"/>
                      <a:pt x="4518" y="8227"/>
                      <a:pt x="4805" y="8276"/>
                    </a:cubicBezTo>
                    <a:cubicBezTo>
                      <a:pt x="4900" y="8325"/>
                      <a:pt x="4995" y="8325"/>
                      <a:pt x="5058" y="8375"/>
                    </a:cubicBezTo>
                    <a:cubicBezTo>
                      <a:pt x="5154" y="8424"/>
                      <a:pt x="5218" y="8522"/>
                      <a:pt x="5281" y="8621"/>
                    </a:cubicBezTo>
                    <a:cubicBezTo>
                      <a:pt x="5663" y="8868"/>
                      <a:pt x="6139" y="8227"/>
                      <a:pt x="6457" y="8572"/>
                    </a:cubicBezTo>
                    <a:cubicBezTo>
                      <a:pt x="6648" y="8276"/>
                      <a:pt x="6998" y="8325"/>
                      <a:pt x="7284" y="8276"/>
                    </a:cubicBezTo>
                    <a:cubicBezTo>
                      <a:pt x="7538" y="8276"/>
                      <a:pt x="7792" y="8129"/>
                      <a:pt x="8047" y="8079"/>
                    </a:cubicBezTo>
                    <a:cubicBezTo>
                      <a:pt x="8523" y="7932"/>
                      <a:pt x="9000" y="8030"/>
                      <a:pt x="9445" y="8276"/>
                    </a:cubicBezTo>
                    <a:cubicBezTo>
                      <a:pt x="9445" y="8522"/>
                      <a:pt x="9445" y="8769"/>
                      <a:pt x="9572" y="8868"/>
                    </a:cubicBezTo>
                    <a:cubicBezTo>
                      <a:pt x="9603" y="8917"/>
                      <a:pt x="9667" y="8917"/>
                      <a:pt x="9699" y="8917"/>
                    </a:cubicBezTo>
                    <a:cubicBezTo>
                      <a:pt x="9762" y="9016"/>
                      <a:pt x="9762" y="9114"/>
                      <a:pt x="9794" y="9212"/>
                    </a:cubicBezTo>
                    <a:cubicBezTo>
                      <a:pt x="9826" y="9459"/>
                      <a:pt x="9858" y="9754"/>
                      <a:pt x="9889" y="10000"/>
                    </a:cubicBezTo>
                    <a:cubicBezTo>
                      <a:pt x="10048" y="9557"/>
                      <a:pt x="10016" y="9016"/>
                      <a:pt x="9921" y="8572"/>
                    </a:cubicBezTo>
                    <a:cubicBezTo>
                      <a:pt x="9826" y="8079"/>
                      <a:pt x="9667" y="7636"/>
                      <a:pt x="9476" y="7243"/>
                    </a:cubicBezTo>
                    <a:cubicBezTo>
                      <a:pt x="9349" y="6996"/>
                      <a:pt x="9159" y="6701"/>
                      <a:pt x="8967" y="6800"/>
                    </a:cubicBezTo>
                    <a:cubicBezTo>
                      <a:pt x="8936" y="6504"/>
                      <a:pt x="8936" y="6258"/>
                      <a:pt x="8809" y="6060"/>
                    </a:cubicBezTo>
                    <a:cubicBezTo>
                      <a:pt x="8713" y="5863"/>
                      <a:pt x="8523" y="5765"/>
                      <a:pt x="8396" y="5913"/>
                    </a:cubicBezTo>
                    <a:cubicBezTo>
                      <a:pt x="8333" y="5962"/>
                      <a:pt x="8300" y="6060"/>
                      <a:pt x="8268" y="6109"/>
                    </a:cubicBezTo>
                    <a:cubicBezTo>
                      <a:pt x="8205" y="6208"/>
                      <a:pt x="8110" y="6208"/>
                      <a:pt x="8014" y="6208"/>
                    </a:cubicBezTo>
                    <a:cubicBezTo>
                      <a:pt x="7760" y="6208"/>
                      <a:pt x="7474" y="6109"/>
                      <a:pt x="7219" y="6258"/>
                    </a:cubicBezTo>
                    <a:cubicBezTo>
                      <a:pt x="6806" y="6455"/>
                      <a:pt x="6585" y="7292"/>
                      <a:pt x="6139" y="7341"/>
                    </a:cubicBezTo>
                    <a:cubicBezTo>
                      <a:pt x="6203" y="6996"/>
                      <a:pt x="6299" y="6652"/>
                      <a:pt x="6362" y="6307"/>
                    </a:cubicBezTo>
                    <a:cubicBezTo>
                      <a:pt x="6457" y="5863"/>
                      <a:pt x="6552" y="5371"/>
                      <a:pt x="6648" y="4928"/>
                    </a:cubicBezTo>
                    <a:cubicBezTo>
                      <a:pt x="6775" y="4387"/>
                      <a:pt x="6902" y="3895"/>
                      <a:pt x="6966" y="3352"/>
                    </a:cubicBezTo>
                    <a:lnTo>
                      <a:pt x="6966" y="3254"/>
                    </a:lnTo>
                    <a:cubicBezTo>
                      <a:pt x="6934" y="3106"/>
                      <a:pt x="6648" y="3155"/>
                      <a:pt x="6552" y="3204"/>
                    </a:cubicBezTo>
                    <a:cubicBezTo>
                      <a:pt x="6362" y="3352"/>
                      <a:pt x="6330" y="3549"/>
                      <a:pt x="6171" y="3647"/>
                    </a:cubicBezTo>
                    <a:cubicBezTo>
                      <a:pt x="6044" y="3697"/>
                      <a:pt x="5917" y="3598"/>
                      <a:pt x="5790" y="3647"/>
                    </a:cubicBezTo>
                    <a:cubicBezTo>
                      <a:pt x="5567" y="3747"/>
                      <a:pt x="5281" y="3895"/>
                      <a:pt x="5058" y="3895"/>
                    </a:cubicBezTo>
                    <a:cubicBezTo>
                      <a:pt x="4964" y="3944"/>
                      <a:pt x="4741" y="3796"/>
                      <a:pt x="4645" y="3796"/>
                    </a:cubicBezTo>
                    <a:cubicBezTo>
                      <a:pt x="4518" y="3796"/>
                      <a:pt x="4518" y="3944"/>
                      <a:pt x="4391" y="3944"/>
                    </a:cubicBezTo>
                    <a:cubicBezTo>
                      <a:pt x="4391" y="3944"/>
                      <a:pt x="4423" y="3944"/>
                      <a:pt x="4455" y="3895"/>
                    </a:cubicBezTo>
                    <a:cubicBezTo>
                      <a:pt x="4455" y="3845"/>
                      <a:pt x="4423" y="3796"/>
                      <a:pt x="4423" y="3796"/>
                    </a:cubicBezTo>
                    <a:cubicBezTo>
                      <a:pt x="4391" y="3647"/>
                      <a:pt x="4328" y="3500"/>
                      <a:pt x="4296" y="3352"/>
                    </a:cubicBezTo>
                    <a:cubicBezTo>
                      <a:pt x="4265" y="3204"/>
                      <a:pt x="4201" y="3057"/>
                      <a:pt x="4105" y="3106"/>
                    </a:cubicBezTo>
                    <a:lnTo>
                      <a:pt x="4010" y="3106"/>
                    </a:lnTo>
                    <a:cubicBezTo>
                      <a:pt x="3852" y="3204"/>
                      <a:pt x="3660" y="3008"/>
                      <a:pt x="3502" y="3106"/>
                    </a:cubicBezTo>
                    <a:cubicBezTo>
                      <a:pt x="3406" y="3106"/>
                      <a:pt x="3343" y="3204"/>
                      <a:pt x="3279" y="3204"/>
                    </a:cubicBezTo>
                    <a:lnTo>
                      <a:pt x="3120" y="3204"/>
                    </a:lnTo>
                    <a:cubicBezTo>
                      <a:pt x="2930" y="3204"/>
                      <a:pt x="2771" y="3549"/>
                      <a:pt x="2580" y="3549"/>
                    </a:cubicBezTo>
                    <a:cubicBezTo>
                      <a:pt x="2611" y="3500"/>
                      <a:pt x="2675" y="3352"/>
                      <a:pt x="2707" y="3254"/>
                    </a:cubicBezTo>
                    <a:cubicBezTo>
                      <a:pt x="2707" y="3155"/>
                      <a:pt x="2707" y="3057"/>
                      <a:pt x="2644" y="3008"/>
                    </a:cubicBezTo>
                    <a:cubicBezTo>
                      <a:pt x="2580" y="2909"/>
                      <a:pt x="2453" y="3008"/>
                      <a:pt x="2389" y="2909"/>
                    </a:cubicBezTo>
                    <a:cubicBezTo>
                      <a:pt x="2357" y="2860"/>
                      <a:pt x="2357" y="2811"/>
                      <a:pt x="2357" y="2761"/>
                    </a:cubicBezTo>
                    <a:cubicBezTo>
                      <a:pt x="2325" y="2614"/>
                      <a:pt x="2231" y="2515"/>
                      <a:pt x="2167" y="2466"/>
                    </a:cubicBezTo>
                    <a:cubicBezTo>
                      <a:pt x="2071" y="2368"/>
                      <a:pt x="1976" y="2368"/>
                      <a:pt x="1881" y="2368"/>
                    </a:cubicBezTo>
                    <a:cubicBezTo>
                      <a:pt x="1849" y="2318"/>
                      <a:pt x="1785" y="2318"/>
                      <a:pt x="1754" y="2318"/>
                    </a:cubicBezTo>
                    <a:cubicBezTo>
                      <a:pt x="1690" y="2269"/>
                      <a:pt x="1626" y="2122"/>
                      <a:pt x="1595" y="2023"/>
                    </a:cubicBezTo>
                    <a:cubicBezTo>
                      <a:pt x="1499" y="1826"/>
                      <a:pt x="1340" y="1728"/>
                      <a:pt x="1245" y="1531"/>
                    </a:cubicBezTo>
                    <a:cubicBezTo>
                      <a:pt x="1213" y="1383"/>
                      <a:pt x="1182" y="1185"/>
                      <a:pt x="1118" y="1087"/>
                    </a:cubicBezTo>
                    <a:cubicBezTo>
                      <a:pt x="1086" y="988"/>
                      <a:pt x="1023" y="988"/>
                      <a:pt x="990" y="939"/>
                    </a:cubicBezTo>
                    <a:cubicBezTo>
                      <a:pt x="896" y="792"/>
                      <a:pt x="736" y="742"/>
                      <a:pt x="673" y="595"/>
                    </a:cubicBezTo>
                    <a:cubicBezTo>
                      <a:pt x="577" y="447"/>
                      <a:pt x="387" y="-45"/>
                      <a:pt x="260" y="4"/>
                    </a:cubicBezTo>
                    <a:cubicBezTo>
                      <a:pt x="260" y="4"/>
                      <a:pt x="228" y="4"/>
                      <a:pt x="228" y="53"/>
                    </a:cubicBezTo>
                    <a:cubicBezTo>
                      <a:pt x="217" y="69"/>
                      <a:pt x="207" y="86"/>
                      <a:pt x="196" y="102"/>
                    </a:cubicBezTo>
                    <a:cubicBezTo>
                      <a:pt x="164" y="250"/>
                      <a:pt x="101" y="250"/>
                      <a:pt x="70" y="447"/>
                    </a:cubicBezTo>
                    <a:cubicBezTo>
                      <a:pt x="37" y="496"/>
                      <a:pt x="101" y="742"/>
                      <a:pt x="101" y="841"/>
                    </a:cubicBezTo>
                    <a:cubicBezTo>
                      <a:pt x="101" y="988"/>
                      <a:pt x="133" y="1236"/>
                      <a:pt x="101" y="1383"/>
                    </a:cubicBezTo>
                    <a:cubicBezTo>
                      <a:pt x="101" y="1531"/>
                      <a:pt x="-26" y="1728"/>
                      <a:pt x="6" y="1875"/>
                    </a:cubicBezTo>
                    <a:cubicBezTo>
                      <a:pt x="6" y="1925"/>
                      <a:pt x="6" y="1925"/>
                      <a:pt x="37" y="1974"/>
                    </a:cubicBezTo>
                    <a:cubicBezTo>
                      <a:pt x="37" y="1974"/>
                      <a:pt x="260" y="2122"/>
                      <a:pt x="291" y="2171"/>
                    </a:cubicBezTo>
                    <a:cubicBezTo>
                      <a:pt x="356" y="2220"/>
                      <a:pt x="356" y="2318"/>
                      <a:pt x="356" y="2417"/>
                    </a:cubicBezTo>
                    <a:cubicBezTo>
                      <a:pt x="356" y="2565"/>
                      <a:pt x="356" y="2663"/>
                      <a:pt x="387" y="2712"/>
                    </a:cubicBezTo>
                    <a:cubicBezTo>
                      <a:pt x="387" y="2811"/>
                      <a:pt x="356" y="2909"/>
                      <a:pt x="387" y="3008"/>
                    </a:cubicBezTo>
                    <a:cubicBezTo>
                      <a:pt x="387" y="3106"/>
                      <a:pt x="387" y="3008"/>
                      <a:pt x="419" y="3106"/>
                    </a:cubicBezTo>
                    <a:cubicBezTo>
                      <a:pt x="483" y="3303"/>
                      <a:pt x="450" y="3549"/>
                      <a:pt x="450" y="3796"/>
                    </a:cubicBezTo>
                    <a:cubicBezTo>
                      <a:pt x="450" y="3845"/>
                      <a:pt x="483" y="3845"/>
                      <a:pt x="483" y="3895"/>
                    </a:cubicBezTo>
                    <a:cubicBezTo>
                      <a:pt x="514" y="3993"/>
                      <a:pt x="736" y="4190"/>
                      <a:pt x="927" y="4042"/>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7" name="Freeform 10"/>
              <p:cNvSpPr>
                <a:spLocks/>
              </p:cNvSpPr>
              <p:nvPr/>
            </p:nvSpPr>
            <p:spPr bwMode="auto">
              <a:xfrm>
                <a:off x="2524759" y="3424156"/>
                <a:ext cx="242904" cy="305691"/>
              </a:xfrm>
              <a:custGeom>
                <a:avLst/>
                <a:gdLst>
                  <a:gd name="T0" fmla="*/ 0 w 56"/>
                  <a:gd name="T1" fmla="*/ 0 h 69"/>
                  <a:gd name="T2" fmla="*/ 4 w 56"/>
                  <a:gd name="T3" fmla="*/ 15 h 69"/>
                  <a:gd name="T4" fmla="*/ 12 w 56"/>
                  <a:gd name="T5" fmla="*/ 20 h 69"/>
                  <a:gd name="T6" fmla="*/ 15 w 56"/>
                  <a:gd name="T7" fmla="*/ 26 h 69"/>
                  <a:gd name="T8" fmla="*/ 20 w 56"/>
                  <a:gd name="T9" fmla="*/ 37 h 69"/>
                  <a:gd name="T10" fmla="*/ 21 w 56"/>
                  <a:gd name="T11" fmla="*/ 40 h 69"/>
                  <a:gd name="T12" fmla="*/ 23 w 56"/>
                  <a:gd name="T13" fmla="*/ 42 h 69"/>
                  <a:gd name="T14" fmla="*/ 41 w 56"/>
                  <a:gd name="T15" fmla="*/ 51 h 69"/>
                  <a:gd name="T16" fmla="*/ 56 w 56"/>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0" y="0"/>
                    </a:moveTo>
                    <a:cubicBezTo>
                      <a:pt x="0" y="4"/>
                      <a:pt x="1" y="12"/>
                      <a:pt x="4" y="15"/>
                    </a:cubicBezTo>
                    <a:cubicBezTo>
                      <a:pt x="7" y="17"/>
                      <a:pt x="10" y="18"/>
                      <a:pt x="12" y="20"/>
                    </a:cubicBezTo>
                    <a:cubicBezTo>
                      <a:pt x="13" y="22"/>
                      <a:pt x="14" y="24"/>
                      <a:pt x="15" y="26"/>
                    </a:cubicBezTo>
                    <a:cubicBezTo>
                      <a:pt x="16" y="30"/>
                      <a:pt x="18" y="33"/>
                      <a:pt x="20" y="37"/>
                    </a:cubicBezTo>
                    <a:cubicBezTo>
                      <a:pt x="20" y="38"/>
                      <a:pt x="20" y="39"/>
                      <a:pt x="21" y="40"/>
                    </a:cubicBezTo>
                    <a:cubicBezTo>
                      <a:pt x="22" y="41"/>
                      <a:pt x="22" y="41"/>
                      <a:pt x="23" y="42"/>
                    </a:cubicBezTo>
                    <a:cubicBezTo>
                      <a:pt x="29" y="45"/>
                      <a:pt x="35" y="47"/>
                      <a:pt x="41" y="51"/>
                    </a:cubicBezTo>
                    <a:cubicBezTo>
                      <a:pt x="46" y="55"/>
                      <a:pt x="54" y="63"/>
                      <a:pt x="56" y="69"/>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8" name="Freeform 11"/>
              <p:cNvSpPr>
                <a:spLocks/>
              </p:cNvSpPr>
              <p:nvPr/>
            </p:nvSpPr>
            <p:spPr bwMode="auto">
              <a:xfrm>
                <a:off x="2725339" y="3583566"/>
                <a:ext cx="450844" cy="283186"/>
              </a:xfrm>
              <a:custGeom>
                <a:avLst/>
                <a:gdLst>
                  <a:gd name="T0" fmla="*/ 10 w 104"/>
                  <a:gd name="T1" fmla="*/ 44 h 64"/>
                  <a:gd name="T2" fmla="*/ 9 w 104"/>
                  <a:gd name="T3" fmla="*/ 46 h 64"/>
                  <a:gd name="T4" fmla="*/ 8 w 104"/>
                  <a:gd name="T5" fmla="*/ 49 h 64"/>
                  <a:gd name="T6" fmla="*/ 0 w 104"/>
                  <a:gd name="T7" fmla="*/ 58 h 64"/>
                  <a:gd name="T8" fmla="*/ 3 w 104"/>
                  <a:gd name="T9" fmla="*/ 63 h 64"/>
                  <a:gd name="T10" fmla="*/ 9 w 104"/>
                  <a:gd name="T11" fmla="*/ 64 h 64"/>
                  <a:gd name="T12" fmla="*/ 18 w 104"/>
                  <a:gd name="T13" fmla="*/ 62 h 64"/>
                  <a:gd name="T14" fmla="*/ 25 w 104"/>
                  <a:gd name="T15" fmla="*/ 55 h 64"/>
                  <a:gd name="T16" fmla="*/ 33 w 104"/>
                  <a:gd name="T17" fmla="*/ 53 h 64"/>
                  <a:gd name="T18" fmla="*/ 76 w 104"/>
                  <a:gd name="T19" fmla="*/ 37 h 64"/>
                  <a:gd name="T20" fmla="*/ 82 w 104"/>
                  <a:gd name="T21" fmla="*/ 32 h 64"/>
                  <a:gd name="T22" fmla="*/ 100 w 104"/>
                  <a:gd name="T23" fmla="*/ 25 h 64"/>
                  <a:gd name="T24" fmla="*/ 104 w 104"/>
                  <a:gd name="T25" fmla="*/ 21 h 64"/>
                  <a:gd name="T26" fmla="*/ 99 w 104"/>
                  <a:gd name="T27" fmla="*/ 18 h 64"/>
                  <a:gd name="T28" fmla="*/ 99 w 104"/>
                  <a:gd name="T29" fmla="*/ 13 h 64"/>
                  <a:gd name="T30" fmla="*/ 90 w 104"/>
                  <a:gd name="T31" fmla="*/ 3 h 64"/>
                  <a:gd name="T32" fmla="*/ 89 w 104"/>
                  <a:gd name="T33" fmla="*/ 1 h 64"/>
                  <a:gd name="T34" fmla="*/ 85 w 104"/>
                  <a:gd name="T35" fmla="*/ 3 h 64"/>
                  <a:gd name="T36" fmla="*/ 70 w 104"/>
                  <a:gd name="T37" fmla="*/ 10 h 64"/>
                  <a:gd name="T38" fmla="*/ 67 w 104"/>
                  <a:gd name="T39" fmla="*/ 10 h 64"/>
                  <a:gd name="T40" fmla="*/ 64 w 104"/>
                  <a:gd name="T41" fmla="*/ 8 h 64"/>
                  <a:gd name="T42" fmla="*/ 55 w 104"/>
                  <a:gd name="T43" fmla="*/ 9 h 64"/>
                  <a:gd name="T44" fmla="*/ 45 w 104"/>
                  <a:gd name="T45" fmla="*/ 13 h 64"/>
                  <a:gd name="T46" fmla="*/ 42 w 104"/>
                  <a:gd name="T47" fmla="*/ 14 h 64"/>
                  <a:gd name="T48" fmla="*/ 39 w 104"/>
                  <a:gd name="T49" fmla="*/ 17 h 64"/>
                  <a:gd name="T50" fmla="*/ 23 w 104"/>
                  <a:gd name="T51" fmla="*/ 25 h 64"/>
                  <a:gd name="T52" fmla="*/ 17 w 104"/>
                  <a:gd name="T53" fmla="*/ 30 h 64"/>
                  <a:gd name="T54" fmla="*/ 10 w 104"/>
                  <a:gd name="T55" fmla="*/ 34 h 64"/>
                  <a:gd name="T56" fmla="*/ 11 w 104"/>
                  <a:gd name="T57" fmla="*/ 38 h 64"/>
                  <a:gd name="T58" fmla="*/ 10 w 104"/>
                  <a:gd name="T5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64">
                    <a:moveTo>
                      <a:pt x="10" y="44"/>
                    </a:moveTo>
                    <a:cubicBezTo>
                      <a:pt x="9" y="45"/>
                      <a:pt x="9" y="45"/>
                      <a:pt x="9" y="46"/>
                    </a:cubicBezTo>
                    <a:cubicBezTo>
                      <a:pt x="8" y="47"/>
                      <a:pt x="8" y="48"/>
                      <a:pt x="8" y="49"/>
                    </a:cubicBezTo>
                    <a:cubicBezTo>
                      <a:pt x="7" y="53"/>
                      <a:pt x="1" y="54"/>
                      <a:pt x="0" y="58"/>
                    </a:cubicBezTo>
                    <a:cubicBezTo>
                      <a:pt x="0" y="60"/>
                      <a:pt x="1" y="62"/>
                      <a:pt x="3" y="63"/>
                    </a:cubicBezTo>
                    <a:cubicBezTo>
                      <a:pt x="5" y="63"/>
                      <a:pt x="7" y="64"/>
                      <a:pt x="9" y="64"/>
                    </a:cubicBezTo>
                    <a:cubicBezTo>
                      <a:pt x="12" y="63"/>
                      <a:pt x="15" y="63"/>
                      <a:pt x="18" y="62"/>
                    </a:cubicBezTo>
                    <a:cubicBezTo>
                      <a:pt x="20" y="60"/>
                      <a:pt x="22" y="57"/>
                      <a:pt x="25" y="55"/>
                    </a:cubicBezTo>
                    <a:cubicBezTo>
                      <a:pt x="27" y="54"/>
                      <a:pt x="30" y="53"/>
                      <a:pt x="33" y="53"/>
                    </a:cubicBezTo>
                    <a:cubicBezTo>
                      <a:pt x="48" y="51"/>
                      <a:pt x="63" y="46"/>
                      <a:pt x="76" y="37"/>
                    </a:cubicBezTo>
                    <a:cubicBezTo>
                      <a:pt x="78" y="35"/>
                      <a:pt x="80" y="33"/>
                      <a:pt x="82" y="32"/>
                    </a:cubicBezTo>
                    <a:cubicBezTo>
                      <a:pt x="88" y="28"/>
                      <a:pt x="94" y="26"/>
                      <a:pt x="100" y="25"/>
                    </a:cubicBezTo>
                    <a:cubicBezTo>
                      <a:pt x="102" y="24"/>
                      <a:pt x="104" y="23"/>
                      <a:pt x="104" y="21"/>
                    </a:cubicBezTo>
                    <a:cubicBezTo>
                      <a:pt x="102" y="22"/>
                      <a:pt x="99" y="20"/>
                      <a:pt x="99" y="18"/>
                    </a:cubicBezTo>
                    <a:cubicBezTo>
                      <a:pt x="98" y="16"/>
                      <a:pt x="99" y="15"/>
                      <a:pt x="99" y="13"/>
                    </a:cubicBezTo>
                    <a:cubicBezTo>
                      <a:pt x="98" y="9"/>
                      <a:pt x="91" y="8"/>
                      <a:pt x="90" y="3"/>
                    </a:cubicBezTo>
                    <a:cubicBezTo>
                      <a:pt x="89" y="3"/>
                      <a:pt x="90" y="1"/>
                      <a:pt x="89" y="1"/>
                    </a:cubicBezTo>
                    <a:cubicBezTo>
                      <a:pt x="87" y="0"/>
                      <a:pt x="86" y="2"/>
                      <a:pt x="85" y="3"/>
                    </a:cubicBezTo>
                    <a:cubicBezTo>
                      <a:pt x="82" y="8"/>
                      <a:pt x="76" y="10"/>
                      <a:pt x="70" y="10"/>
                    </a:cubicBezTo>
                    <a:cubicBezTo>
                      <a:pt x="69" y="10"/>
                      <a:pt x="68" y="10"/>
                      <a:pt x="67" y="10"/>
                    </a:cubicBezTo>
                    <a:cubicBezTo>
                      <a:pt x="66" y="9"/>
                      <a:pt x="65" y="9"/>
                      <a:pt x="64" y="8"/>
                    </a:cubicBezTo>
                    <a:cubicBezTo>
                      <a:pt x="61" y="7"/>
                      <a:pt x="58" y="8"/>
                      <a:pt x="55" y="9"/>
                    </a:cubicBezTo>
                    <a:cubicBezTo>
                      <a:pt x="51" y="10"/>
                      <a:pt x="48" y="12"/>
                      <a:pt x="45" y="13"/>
                    </a:cubicBezTo>
                    <a:cubicBezTo>
                      <a:pt x="44" y="13"/>
                      <a:pt x="43" y="13"/>
                      <a:pt x="42" y="14"/>
                    </a:cubicBezTo>
                    <a:cubicBezTo>
                      <a:pt x="41" y="15"/>
                      <a:pt x="40" y="16"/>
                      <a:pt x="39" y="17"/>
                    </a:cubicBezTo>
                    <a:cubicBezTo>
                      <a:pt x="35" y="21"/>
                      <a:pt x="28" y="21"/>
                      <a:pt x="23" y="25"/>
                    </a:cubicBezTo>
                    <a:cubicBezTo>
                      <a:pt x="21" y="26"/>
                      <a:pt x="19" y="28"/>
                      <a:pt x="17" y="30"/>
                    </a:cubicBezTo>
                    <a:cubicBezTo>
                      <a:pt x="15" y="32"/>
                      <a:pt x="11" y="32"/>
                      <a:pt x="10" y="34"/>
                    </a:cubicBezTo>
                    <a:cubicBezTo>
                      <a:pt x="10" y="35"/>
                      <a:pt x="11" y="37"/>
                      <a:pt x="11" y="38"/>
                    </a:cubicBezTo>
                    <a:cubicBezTo>
                      <a:pt x="11" y="40"/>
                      <a:pt x="10" y="42"/>
                      <a:pt x="10" y="44"/>
                    </a:cubicBezTo>
                    <a:close/>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9" name="Freeform 12"/>
              <p:cNvSpPr>
                <a:spLocks/>
              </p:cNvSpPr>
              <p:nvPr/>
            </p:nvSpPr>
            <p:spPr bwMode="auto">
              <a:xfrm>
                <a:off x="2881754" y="3206609"/>
                <a:ext cx="290748" cy="380708"/>
              </a:xfrm>
              <a:custGeom>
                <a:avLst/>
                <a:gdLst>
                  <a:gd name="T0" fmla="*/ 0 w 67"/>
                  <a:gd name="T1" fmla="*/ 34 h 86"/>
                  <a:gd name="T2" fmla="*/ 0 w 67"/>
                  <a:gd name="T3" fmla="*/ 26 h 86"/>
                  <a:gd name="T4" fmla="*/ 0 w 67"/>
                  <a:gd name="T5" fmla="*/ 21 h 86"/>
                  <a:gd name="T6" fmla="*/ 1 w 67"/>
                  <a:gd name="T7" fmla="*/ 17 h 86"/>
                  <a:gd name="T8" fmla="*/ 2 w 67"/>
                  <a:gd name="T9" fmla="*/ 11 h 86"/>
                  <a:gd name="T10" fmla="*/ 2 w 67"/>
                  <a:gd name="T11" fmla="*/ 9 h 86"/>
                  <a:gd name="T12" fmla="*/ 3 w 67"/>
                  <a:gd name="T13" fmla="*/ 6 h 86"/>
                  <a:gd name="T14" fmla="*/ 9 w 67"/>
                  <a:gd name="T15" fmla="*/ 1 h 86"/>
                  <a:gd name="T16" fmla="*/ 18 w 67"/>
                  <a:gd name="T17" fmla="*/ 0 h 86"/>
                  <a:gd name="T18" fmla="*/ 20 w 67"/>
                  <a:gd name="T19" fmla="*/ 1 h 86"/>
                  <a:gd name="T20" fmla="*/ 23 w 67"/>
                  <a:gd name="T21" fmla="*/ 4 h 86"/>
                  <a:gd name="T22" fmla="*/ 33 w 67"/>
                  <a:gd name="T23" fmla="*/ 9 h 86"/>
                  <a:gd name="T24" fmla="*/ 39 w 67"/>
                  <a:gd name="T25" fmla="*/ 24 h 86"/>
                  <a:gd name="T26" fmla="*/ 40 w 67"/>
                  <a:gd name="T27" fmla="*/ 26 h 86"/>
                  <a:gd name="T28" fmla="*/ 43 w 67"/>
                  <a:gd name="T29" fmla="*/ 29 h 86"/>
                  <a:gd name="T30" fmla="*/ 47 w 67"/>
                  <a:gd name="T31" fmla="*/ 38 h 86"/>
                  <a:gd name="T32" fmla="*/ 55 w 67"/>
                  <a:gd name="T33" fmla="*/ 46 h 86"/>
                  <a:gd name="T34" fmla="*/ 61 w 67"/>
                  <a:gd name="T35" fmla="*/ 49 h 86"/>
                  <a:gd name="T36" fmla="*/ 64 w 67"/>
                  <a:gd name="T37" fmla="*/ 53 h 86"/>
                  <a:gd name="T38" fmla="*/ 67 w 67"/>
                  <a:gd name="T39" fmla="*/ 56 h 86"/>
                  <a:gd name="T40" fmla="*/ 66 w 67"/>
                  <a:gd name="T41" fmla="*/ 59 h 86"/>
                  <a:gd name="T42" fmla="*/ 55 w 67"/>
                  <a:gd name="T43" fmla="*/ 70 h 86"/>
                  <a:gd name="T44" fmla="*/ 51 w 67"/>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86">
                    <a:moveTo>
                      <a:pt x="0" y="34"/>
                    </a:moveTo>
                    <a:cubicBezTo>
                      <a:pt x="1" y="32"/>
                      <a:pt x="1" y="29"/>
                      <a:pt x="0" y="26"/>
                    </a:cubicBezTo>
                    <a:cubicBezTo>
                      <a:pt x="0" y="24"/>
                      <a:pt x="0" y="23"/>
                      <a:pt x="0" y="21"/>
                    </a:cubicBezTo>
                    <a:cubicBezTo>
                      <a:pt x="0" y="20"/>
                      <a:pt x="1" y="18"/>
                      <a:pt x="1" y="17"/>
                    </a:cubicBezTo>
                    <a:cubicBezTo>
                      <a:pt x="2" y="15"/>
                      <a:pt x="2" y="13"/>
                      <a:pt x="2" y="11"/>
                    </a:cubicBezTo>
                    <a:cubicBezTo>
                      <a:pt x="2" y="10"/>
                      <a:pt x="2" y="10"/>
                      <a:pt x="2" y="9"/>
                    </a:cubicBezTo>
                    <a:cubicBezTo>
                      <a:pt x="2" y="8"/>
                      <a:pt x="3" y="7"/>
                      <a:pt x="3" y="6"/>
                    </a:cubicBezTo>
                    <a:cubicBezTo>
                      <a:pt x="5" y="4"/>
                      <a:pt x="7" y="2"/>
                      <a:pt x="9" y="1"/>
                    </a:cubicBezTo>
                    <a:cubicBezTo>
                      <a:pt x="12" y="0"/>
                      <a:pt x="15" y="0"/>
                      <a:pt x="18" y="0"/>
                    </a:cubicBezTo>
                    <a:cubicBezTo>
                      <a:pt x="19" y="0"/>
                      <a:pt x="20" y="0"/>
                      <a:pt x="20" y="1"/>
                    </a:cubicBezTo>
                    <a:cubicBezTo>
                      <a:pt x="21" y="2"/>
                      <a:pt x="22" y="3"/>
                      <a:pt x="23" y="4"/>
                    </a:cubicBezTo>
                    <a:cubicBezTo>
                      <a:pt x="25" y="7"/>
                      <a:pt x="30" y="7"/>
                      <a:pt x="33" y="9"/>
                    </a:cubicBezTo>
                    <a:cubicBezTo>
                      <a:pt x="38" y="12"/>
                      <a:pt x="38" y="18"/>
                      <a:pt x="39" y="24"/>
                    </a:cubicBezTo>
                    <a:cubicBezTo>
                      <a:pt x="39" y="25"/>
                      <a:pt x="39" y="26"/>
                      <a:pt x="40" y="26"/>
                    </a:cubicBezTo>
                    <a:cubicBezTo>
                      <a:pt x="41" y="28"/>
                      <a:pt x="42" y="28"/>
                      <a:pt x="43" y="29"/>
                    </a:cubicBezTo>
                    <a:cubicBezTo>
                      <a:pt x="45" y="32"/>
                      <a:pt x="46" y="35"/>
                      <a:pt x="47" y="38"/>
                    </a:cubicBezTo>
                    <a:cubicBezTo>
                      <a:pt x="49" y="42"/>
                      <a:pt x="52" y="44"/>
                      <a:pt x="55" y="46"/>
                    </a:cubicBezTo>
                    <a:cubicBezTo>
                      <a:pt x="57" y="47"/>
                      <a:pt x="60" y="48"/>
                      <a:pt x="61" y="49"/>
                    </a:cubicBezTo>
                    <a:cubicBezTo>
                      <a:pt x="62" y="50"/>
                      <a:pt x="63" y="52"/>
                      <a:pt x="64" y="53"/>
                    </a:cubicBezTo>
                    <a:cubicBezTo>
                      <a:pt x="65" y="54"/>
                      <a:pt x="67" y="54"/>
                      <a:pt x="67" y="56"/>
                    </a:cubicBezTo>
                    <a:cubicBezTo>
                      <a:pt x="67" y="57"/>
                      <a:pt x="67" y="58"/>
                      <a:pt x="66" y="59"/>
                    </a:cubicBezTo>
                    <a:cubicBezTo>
                      <a:pt x="63" y="63"/>
                      <a:pt x="57" y="65"/>
                      <a:pt x="55" y="70"/>
                    </a:cubicBezTo>
                    <a:cubicBezTo>
                      <a:pt x="53" y="73"/>
                      <a:pt x="52" y="82"/>
                      <a:pt x="51" y="8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0" name="Freeform 13"/>
              <p:cNvSpPr>
                <a:spLocks/>
              </p:cNvSpPr>
              <p:nvPr/>
            </p:nvSpPr>
            <p:spPr bwMode="auto">
              <a:xfrm>
                <a:off x="3076813" y="3343514"/>
                <a:ext cx="195059" cy="110649"/>
              </a:xfrm>
              <a:custGeom>
                <a:avLst/>
                <a:gdLst>
                  <a:gd name="T0" fmla="*/ 0 w 45"/>
                  <a:gd name="T1" fmla="*/ 1 h 25"/>
                  <a:gd name="T2" fmla="*/ 21 w 45"/>
                  <a:gd name="T3" fmla="*/ 0 h 25"/>
                  <a:gd name="T4" fmla="*/ 31 w 45"/>
                  <a:gd name="T5" fmla="*/ 3 h 25"/>
                  <a:gd name="T6" fmla="*/ 44 w 45"/>
                  <a:gd name="T7" fmla="*/ 3 h 25"/>
                  <a:gd name="T8" fmla="*/ 45 w 45"/>
                  <a:gd name="T9" fmla="*/ 9 h 25"/>
                  <a:gd name="T10" fmla="*/ 43 w 45"/>
                  <a:gd name="T11" fmla="*/ 16 h 25"/>
                  <a:gd name="T12" fmla="*/ 31 w 45"/>
                  <a:gd name="T13" fmla="*/ 17 h 25"/>
                  <a:gd name="T14" fmla="*/ 22 w 4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5">
                    <a:moveTo>
                      <a:pt x="0" y="1"/>
                    </a:moveTo>
                    <a:cubicBezTo>
                      <a:pt x="6" y="2"/>
                      <a:pt x="14" y="0"/>
                      <a:pt x="21" y="0"/>
                    </a:cubicBezTo>
                    <a:cubicBezTo>
                      <a:pt x="24" y="1"/>
                      <a:pt x="27" y="2"/>
                      <a:pt x="31" y="3"/>
                    </a:cubicBezTo>
                    <a:cubicBezTo>
                      <a:pt x="35" y="4"/>
                      <a:pt x="40" y="4"/>
                      <a:pt x="44" y="3"/>
                    </a:cubicBezTo>
                    <a:cubicBezTo>
                      <a:pt x="45" y="5"/>
                      <a:pt x="45" y="7"/>
                      <a:pt x="45" y="9"/>
                    </a:cubicBezTo>
                    <a:cubicBezTo>
                      <a:pt x="45" y="12"/>
                      <a:pt x="45" y="14"/>
                      <a:pt x="43" y="16"/>
                    </a:cubicBezTo>
                    <a:cubicBezTo>
                      <a:pt x="40" y="18"/>
                      <a:pt x="35" y="16"/>
                      <a:pt x="31" y="17"/>
                    </a:cubicBezTo>
                    <a:cubicBezTo>
                      <a:pt x="27" y="18"/>
                      <a:pt x="24" y="22"/>
                      <a:pt x="22"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1" name="Freeform 14"/>
              <p:cNvSpPr>
                <a:spLocks/>
              </p:cNvSpPr>
              <p:nvPr/>
            </p:nvSpPr>
            <p:spPr bwMode="auto">
              <a:xfrm>
                <a:off x="3176183" y="3446661"/>
                <a:ext cx="239223" cy="228800"/>
              </a:xfrm>
              <a:custGeom>
                <a:avLst/>
                <a:gdLst>
                  <a:gd name="T0" fmla="*/ 0 w 55"/>
                  <a:gd name="T1" fmla="*/ 52 h 52"/>
                  <a:gd name="T2" fmla="*/ 11 w 55"/>
                  <a:gd name="T3" fmla="*/ 49 h 52"/>
                  <a:gd name="T4" fmla="*/ 15 w 55"/>
                  <a:gd name="T5" fmla="*/ 48 h 52"/>
                  <a:gd name="T6" fmla="*/ 18 w 55"/>
                  <a:gd name="T7" fmla="*/ 45 h 52"/>
                  <a:gd name="T8" fmla="*/ 24 w 55"/>
                  <a:gd name="T9" fmla="*/ 40 h 52"/>
                  <a:gd name="T10" fmla="*/ 27 w 55"/>
                  <a:gd name="T11" fmla="*/ 39 h 52"/>
                  <a:gd name="T12" fmla="*/ 30 w 55"/>
                  <a:gd name="T13" fmla="*/ 34 h 52"/>
                  <a:gd name="T14" fmla="*/ 45 w 55"/>
                  <a:gd name="T15" fmla="*/ 19 h 52"/>
                  <a:gd name="T16" fmla="*/ 53 w 55"/>
                  <a:gd name="T17" fmla="*/ 5 h 52"/>
                  <a:gd name="T18" fmla="*/ 55 w 55"/>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2">
                    <a:moveTo>
                      <a:pt x="0" y="52"/>
                    </a:moveTo>
                    <a:cubicBezTo>
                      <a:pt x="3" y="51"/>
                      <a:pt x="7" y="50"/>
                      <a:pt x="11" y="49"/>
                    </a:cubicBezTo>
                    <a:cubicBezTo>
                      <a:pt x="12" y="49"/>
                      <a:pt x="13" y="48"/>
                      <a:pt x="15" y="48"/>
                    </a:cubicBezTo>
                    <a:cubicBezTo>
                      <a:pt x="16" y="47"/>
                      <a:pt x="17" y="46"/>
                      <a:pt x="18" y="45"/>
                    </a:cubicBezTo>
                    <a:cubicBezTo>
                      <a:pt x="20" y="43"/>
                      <a:pt x="22" y="42"/>
                      <a:pt x="24" y="40"/>
                    </a:cubicBezTo>
                    <a:cubicBezTo>
                      <a:pt x="25" y="40"/>
                      <a:pt x="26" y="40"/>
                      <a:pt x="27" y="39"/>
                    </a:cubicBezTo>
                    <a:cubicBezTo>
                      <a:pt x="28" y="38"/>
                      <a:pt x="29" y="36"/>
                      <a:pt x="30" y="34"/>
                    </a:cubicBezTo>
                    <a:cubicBezTo>
                      <a:pt x="33" y="28"/>
                      <a:pt x="40" y="25"/>
                      <a:pt x="45" y="19"/>
                    </a:cubicBezTo>
                    <a:cubicBezTo>
                      <a:pt x="49" y="16"/>
                      <a:pt x="52" y="10"/>
                      <a:pt x="53" y="5"/>
                    </a:cubicBezTo>
                    <a:cubicBezTo>
                      <a:pt x="54" y="3"/>
                      <a:pt x="54" y="2"/>
                      <a:pt x="55"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2" name="Freeform 15"/>
              <p:cNvSpPr>
                <a:spLocks/>
              </p:cNvSpPr>
              <p:nvPr/>
            </p:nvSpPr>
            <p:spPr bwMode="auto">
              <a:xfrm>
                <a:off x="3901214" y="3086583"/>
                <a:ext cx="1122510" cy="328196"/>
              </a:xfrm>
              <a:custGeom>
                <a:avLst/>
                <a:gdLst>
                  <a:gd name="T0" fmla="*/ 0 w 259"/>
                  <a:gd name="T1" fmla="*/ 60 h 74"/>
                  <a:gd name="T2" fmla="*/ 16 w 259"/>
                  <a:gd name="T3" fmla="*/ 60 h 74"/>
                  <a:gd name="T4" fmla="*/ 23 w 259"/>
                  <a:gd name="T5" fmla="*/ 70 h 74"/>
                  <a:gd name="T6" fmla="*/ 26 w 259"/>
                  <a:gd name="T7" fmla="*/ 71 h 74"/>
                  <a:gd name="T8" fmla="*/ 87 w 259"/>
                  <a:gd name="T9" fmla="*/ 67 h 74"/>
                  <a:gd name="T10" fmla="*/ 107 w 259"/>
                  <a:gd name="T11" fmla="*/ 63 h 74"/>
                  <a:gd name="T12" fmla="*/ 122 w 259"/>
                  <a:gd name="T13" fmla="*/ 54 h 74"/>
                  <a:gd name="T14" fmla="*/ 163 w 259"/>
                  <a:gd name="T15" fmla="*/ 36 h 74"/>
                  <a:gd name="T16" fmla="*/ 173 w 259"/>
                  <a:gd name="T17" fmla="*/ 32 h 74"/>
                  <a:gd name="T18" fmla="*/ 183 w 259"/>
                  <a:gd name="T19" fmla="*/ 24 h 74"/>
                  <a:gd name="T20" fmla="*/ 191 w 259"/>
                  <a:gd name="T21" fmla="*/ 21 h 74"/>
                  <a:gd name="T22" fmla="*/ 239 w 259"/>
                  <a:gd name="T23" fmla="*/ 5 h 74"/>
                  <a:gd name="T24" fmla="*/ 259 w 259"/>
                  <a:gd name="T25"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74">
                    <a:moveTo>
                      <a:pt x="0" y="60"/>
                    </a:moveTo>
                    <a:cubicBezTo>
                      <a:pt x="6" y="58"/>
                      <a:pt x="12" y="57"/>
                      <a:pt x="16" y="60"/>
                    </a:cubicBezTo>
                    <a:cubicBezTo>
                      <a:pt x="19" y="63"/>
                      <a:pt x="19" y="68"/>
                      <a:pt x="23" y="70"/>
                    </a:cubicBezTo>
                    <a:cubicBezTo>
                      <a:pt x="24" y="71"/>
                      <a:pt x="25" y="71"/>
                      <a:pt x="26" y="71"/>
                    </a:cubicBezTo>
                    <a:cubicBezTo>
                      <a:pt x="47" y="74"/>
                      <a:pt x="67" y="71"/>
                      <a:pt x="87" y="67"/>
                    </a:cubicBezTo>
                    <a:cubicBezTo>
                      <a:pt x="94" y="66"/>
                      <a:pt x="101" y="65"/>
                      <a:pt x="107" y="63"/>
                    </a:cubicBezTo>
                    <a:cubicBezTo>
                      <a:pt x="112" y="60"/>
                      <a:pt x="117" y="57"/>
                      <a:pt x="122" y="54"/>
                    </a:cubicBezTo>
                    <a:cubicBezTo>
                      <a:pt x="135" y="46"/>
                      <a:pt x="148" y="40"/>
                      <a:pt x="163" y="36"/>
                    </a:cubicBezTo>
                    <a:cubicBezTo>
                      <a:pt x="166" y="35"/>
                      <a:pt x="170" y="34"/>
                      <a:pt x="173" y="32"/>
                    </a:cubicBezTo>
                    <a:cubicBezTo>
                      <a:pt x="177" y="30"/>
                      <a:pt x="179" y="27"/>
                      <a:pt x="183" y="24"/>
                    </a:cubicBezTo>
                    <a:cubicBezTo>
                      <a:pt x="185" y="23"/>
                      <a:pt x="188" y="22"/>
                      <a:pt x="191" y="21"/>
                    </a:cubicBezTo>
                    <a:cubicBezTo>
                      <a:pt x="207" y="15"/>
                      <a:pt x="223" y="10"/>
                      <a:pt x="239" y="5"/>
                    </a:cubicBezTo>
                    <a:cubicBezTo>
                      <a:pt x="246" y="3"/>
                      <a:pt x="252" y="0"/>
                      <a:pt x="259" y="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3" name="Freeform 16"/>
              <p:cNvSpPr>
                <a:spLocks/>
              </p:cNvSpPr>
              <p:nvPr/>
            </p:nvSpPr>
            <p:spPr bwMode="auto">
              <a:xfrm>
                <a:off x="3840488" y="2891520"/>
                <a:ext cx="1096747" cy="456531"/>
              </a:xfrm>
              <a:custGeom>
                <a:avLst/>
                <a:gdLst>
                  <a:gd name="T0" fmla="*/ 0 w 253"/>
                  <a:gd name="T1" fmla="*/ 77 h 99"/>
                  <a:gd name="T2" fmla="*/ 58 w 253"/>
                  <a:gd name="T3" fmla="*/ 62 h 99"/>
                  <a:gd name="T4" fmla="*/ 88 w 253"/>
                  <a:gd name="T5" fmla="*/ 51 h 99"/>
                  <a:gd name="T6" fmla="*/ 115 w 253"/>
                  <a:gd name="T7" fmla="*/ 41 h 99"/>
                  <a:gd name="T8" fmla="*/ 130 w 253"/>
                  <a:gd name="T9" fmla="*/ 35 h 99"/>
                  <a:gd name="T10" fmla="*/ 142 w 253"/>
                  <a:gd name="T11" fmla="*/ 28 h 99"/>
                  <a:gd name="T12" fmla="*/ 162 w 253"/>
                  <a:gd name="T13" fmla="*/ 22 h 99"/>
                  <a:gd name="T14" fmla="*/ 210 w 253"/>
                  <a:gd name="T15" fmla="*/ 8 h 99"/>
                  <a:gd name="T16" fmla="*/ 253 w 253"/>
                  <a:gd name="T17" fmla="*/ 1 h 99"/>
                  <a:gd name="T18" fmla="*/ 147 w 253"/>
                  <a:gd name="T19" fmla="*/ 69 h 99"/>
                  <a:gd name="T20" fmla="*/ 126 w 253"/>
                  <a:gd name="T21" fmla="*/ 87 h 99"/>
                  <a:gd name="T22" fmla="*/ 115 w 253"/>
                  <a:gd name="T23" fmla="*/ 94 h 99"/>
                  <a:gd name="T24" fmla="*/ 97 w 253"/>
                  <a:gd name="T25" fmla="*/ 97 h 99"/>
                  <a:gd name="T26" fmla="*/ 20 w 253"/>
                  <a:gd name="T27" fmla="*/ 99 h 99"/>
                  <a:gd name="connsiteX0" fmla="*/ 0 w 10000"/>
                  <a:gd name="connsiteY0" fmla="*/ 7693 h 10403"/>
                  <a:gd name="connsiteX1" fmla="*/ 2292 w 10000"/>
                  <a:gd name="connsiteY1" fmla="*/ 6178 h 10403"/>
                  <a:gd name="connsiteX2" fmla="*/ 3478 w 10000"/>
                  <a:gd name="connsiteY2" fmla="*/ 5067 h 10403"/>
                  <a:gd name="connsiteX3" fmla="*/ 4545 w 10000"/>
                  <a:gd name="connsiteY3" fmla="*/ 4056 h 10403"/>
                  <a:gd name="connsiteX4" fmla="*/ 5138 w 10000"/>
                  <a:gd name="connsiteY4" fmla="*/ 3450 h 10403"/>
                  <a:gd name="connsiteX5" fmla="*/ 5613 w 10000"/>
                  <a:gd name="connsiteY5" fmla="*/ 2743 h 10403"/>
                  <a:gd name="connsiteX6" fmla="*/ 6403 w 10000"/>
                  <a:gd name="connsiteY6" fmla="*/ 2137 h 10403"/>
                  <a:gd name="connsiteX7" fmla="*/ 8300 w 10000"/>
                  <a:gd name="connsiteY7" fmla="*/ 723 h 10403"/>
                  <a:gd name="connsiteX8" fmla="*/ 10000 w 10000"/>
                  <a:gd name="connsiteY8" fmla="*/ 16 h 10403"/>
                  <a:gd name="connsiteX9" fmla="*/ 5810 w 10000"/>
                  <a:gd name="connsiteY9" fmla="*/ 6885 h 10403"/>
                  <a:gd name="connsiteX10" fmla="*/ 4980 w 10000"/>
                  <a:gd name="connsiteY10" fmla="*/ 8703 h 10403"/>
                  <a:gd name="connsiteX11" fmla="*/ 4545 w 10000"/>
                  <a:gd name="connsiteY11" fmla="*/ 9410 h 10403"/>
                  <a:gd name="connsiteX12" fmla="*/ 3834 w 10000"/>
                  <a:gd name="connsiteY12" fmla="*/ 9713 h 10403"/>
                  <a:gd name="connsiteX13" fmla="*/ 726 w 10000"/>
                  <a:gd name="connsiteY13" fmla="*/ 10403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403">
                    <a:moveTo>
                      <a:pt x="0" y="7693"/>
                    </a:moveTo>
                    <a:cubicBezTo>
                      <a:pt x="791" y="7289"/>
                      <a:pt x="1542" y="6784"/>
                      <a:pt x="2292" y="6178"/>
                    </a:cubicBezTo>
                    <a:cubicBezTo>
                      <a:pt x="2688" y="5774"/>
                      <a:pt x="3083" y="5471"/>
                      <a:pt x="3478" y="5067"/>
                    </a:cubicBezTo>
                    <a:cubicBezTo>
                      <a:pt x="3834" y="4763"/>
                      <a:pt x="4190" y="4359"/>
                      <a:pt x="4545" y="4056"/>
                    </a:cubicBezTo>
                    <a:cubicBezTo>
                      <a:pt x="4783" y="3854"/>
                      <a:pt x="4980" y="3652"/>
                      <a:pt x="5138" y="3450"/>
                    </a:cubicBezTo>
                    <a:cubicBezTo>
                      <a:pt x="5296" y="3248"/>
                      <a:pt x="5455" y="2945"/>
                      <a:pt x="5613" y="2743"/>
                    </a:cubicBezTo>
                    <a:cubicBezTo>
                      <a:pt x="5889" y="2440"/>
                      <a:pt x="6126" y="2339"/>
                      <a:pt x="6403" y="2137"/>
                    </a:cubicBezTo>
                    <a:cubicBezTo>
                      <a:pt x="7036" y="1632"/>
                      <a:pt x="7668" y="1228"/>
                      <a:pt x="8300" y="723"/>
                    </a:cubicBezTo>
                    <a:cubicBezTo>
                      <a:pt x="8854" y="319"/>
                      <a:pt x="9447" y="-85"/>
                      <a:pt x="10000" y="16"/>
                    </a:cubicBezTo>
                    <a:cubicBezTo>
                      <a:pt x="8458" y="1632"/>
                      <a:pt x="7036" y="3955"/>
                      <a:pt x="5810" y="6885"/>
                    </a:cubicBezTo>
                    <a:cubicBezTo>
                      <a:pt x="5534" y="7491"/>
                      <a:pt x="5257" y="8198"/>
                      <a:pt x="4980" y="8703"/>
                    </a:cubicBezTo>
                    <a:cubicBezTo>
                      <a:pt x="4862" y="9006"/>
                      <a:pt x="4704" y="9309"/>
                      <a:pt x="4545" y="9410"/>
                    </a:cubicBezTo>
                    <a:cubicBezTo>
                      <a:pt x="4308" y="9612"/>
                      <a:pt x="4071" y="9612"/>
                      <a:pt x="3834" y="9713"/>
                    </a:cubicBezTo>
                    <a:cubicBezTo>
                      <a:pt x="2806" y="9814"/>
                      <a:pt x="1753" y="10302"/>
                      <a:pt x="726" y="10403"/>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4" name="Freeform 17"/>
              <p:cNvSpPr>
                <a:spLocks/>
              </p:cNvSpPr>
              <p:nvPr/>
            </p:nvSpPr>
            <p:spPr bwMode="auto">
              <a:xfrm>
                <a:off x="4928034" y="2707751"/>
                <a:ext cx="728711" cy="185665"/>
              </a:xfrm>
              <a:custGeom>
                <a:avLst/>
                <a:gdLst>
                  <a:gd name="T0" fmla="*/ 0 w 168"/>
                  <a:gd name="T1" fmla="*/ 42 h 42"/>
                  <a:gd name="T2" fmla="*/ 58 w 168"/>
                  <a:gd name="T3" fmla="*/ 23 h 42"/>
                  <a:gd name="T4" fmla="*/ 70 w 168"/>
                  <a:gd name="T5" fmla="*/ 17 h 42"/>
                  <a:gd name="T6" fmla="*/ 135 w 168"/>
                  <a:gd name="T7" fmla="*/ 0 h 42"/>
                  <a:gd name="T8" fmla="*/ 140 w 168"/>
                  <a:gd name="T9" fmla="*/ 0 h 42"/>
                  <a:gd name="T10" fmla="*/ 144 w 168"/>
                  <a:gd name="T11" fmla="*/ 1 h 42"/>
                  <a:gd name="T12" fmla="*/ 151 w 168"/>
                  <a:gd name="T13" fmla="*/ 0 h 42"/>
                  <a:gd name="T14" fmla="*/ 161 w 168"/>
                  <a:gd name="T15" fmla="*/ 6 h 42"/>
                  <a:gd name="T16" fmla="*/ 168 w 168"/>
                  <a:gd name="T17" fmla="*/ 13 h 42"/>
                  <a:gd name="T18" fmla="*/ 159 w 168"/>
                  <a:gd name="T19" fmla="*/ 18 h 42"/>
                  <a:gd name="T20" fmla="*/ 153 w 168"/>
                  <a:gd name="T21" fmla="*/ 10 h 42"/>
                  <a:gd name="T22" fmla="*/ 157 w 168"/>
                  <a:gd name="T23"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42">
                    <a:moveTo>
                      <a:pt x="0" y="42"/>
                    </a:moveTo>
                    <a:cubicBezTo>
                      <a:pt x="17" y="38"/>
                      <a:pt x="42" y="30"/>
                      <a:pt x="58" y="23"/>
                    </a:cubicBezTo>
                    <a:cubicBezTo>
                      <a:pt x="62" y="21"/>
                      <a:pt x="66" y="19"/>
                      <a:pt x="70" y="17"/>
                    </a:cubicBezTo>
                    <a:cubicBezTo>
                      <a:pt x="90" y="8"/>
                      <a:pt x="113" y="4"/>
                      <a:pt x="135" y="0"/>
                    </a:cubicBezTo>
                    <a:cubicBezTo>
                      <a:pt x="137" y="0"/>
                      <a:pt x="139" y="0"/>
                      <a:pt x="140" y="0"/>
                    </a:cubicBezTo>
                    <a:cubicBezTo>
                      <a:pt x="142" y="0"/>
                      <a:pt x="143" y="1"/>
                      <a:pt x="144" y="1"/>
                    </a:cubicBezTo>
                    <a:cubicBezTo>
                      <a:pt x="146" y="1"/>
                      <a:pt x="149" y="0"/>
                      <a:pt x="151" y="0"/>
                    </a:cubicBezTo>
                    <a:cubicBezTo>
                      <a:pt x="155" y="0"/>
                      <a:pt x="158" y="3"/>
                      <a:pt x="161" y="6"/>
                    </a:cubicBezTo>
                    <a:cubicBezTo>
                      <a:pt x="163" y="8"/>
                      <a:pt x="166" y="10"/>
                      <a:pt x="168" y="13"/>
                    </a:cubicBezTo>
                    <a:cubicBezTo>
                      <a:pt x="166" y="14"/>
                      <a:pt x="161" y="17"/>
                      <a:pt x="159" y="18"/>
                    </a:cubicBezTo>
                    <a:cubicBezTo>
                      <a:pt x="157" y="19"/>
                      <a:pt x="154" y="11"/>
                      <a:pt x="153" y="10"/>
                    </a:cubicBezTo>
                    <a:cubicBezTo>
                      <a:pt x="151" y="7"/>
                      <a:pt x="156" y="6"/>
                      <a:pt x="157" y="4"/>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5" name="Freeform 18"/>
              <p:cNvSpPr>
                <a:spLocks/>
              </p:cNvSpPr>
              <p:nvPr/>
            </p:nvSpPr>
            <p:spPr bwMode="auto">
              <a:xfrm>
                <a:off x="4944596" y="2769639"/>
                <a:ext cx="872245" cy="331947"/>
              </a:xfrm>
              <a:custGeom>
                <a:avLst/>
                <a:gdLst>
                  <a:gd name="T0" fmla="*/ 0 w 201"/>
                  <a:gd name="T1" fmla="*/ 28 h 75"/>
                  <a:gd name="T2" fmla="*/ 51 w 201"/>
                  <a:gd name="T3" fmla="*/ 24 h 75"/>
                  <a:gd name="T4" fmla="*/ 69 w 201"/>
                  <a:gd name="T5" fmla="*/ 22 h 75"/>
                  <a:gd name="T6" fmla="*/ 87 w 201"/>
                  <a:gd name="T7" fmla="*/ 23 h 75"/>
                  <a:gd name="T8" fmla="*/ 121 w 201"/>
                  <a:gd name="T9" fmla="*/ 22 h 75"/>
                  <a:gd name="T10" fmla="*/ 158 w 201"/>
                  <a:gd name="T11" fmla="*/ 25 h 75"/>
                  <a:gd name="T12" fmla="*/ 156 w 201"/>
                  <a:gd name="T13" fmla="*/ 19 h 75"/>
                  <a:gd name="T14" fmla="*/ 155 w 201"/>
                  <a:gd name="T15" fmla="*/ 17 h 75"/>
                  <a:gd name="T16" fmla="*/ 156 w 201"/>
                  <a:gd name="T17" fmla="*/ 14 h 75"/>
                  <a:gd name="T18" fmla="*/ 164 w 201"/>
                  <a:gd name="T19" fmla="*/ 9 h 75"/>
                  <a:gd name="T20" fmla="*/ 169 w 201"/>
                  <a:gd name="T21" fmla="*/ 0 h 75"/>
                  <a:gd name="T22" fmla="*/ 197 w 201"/>
                  <a:gd name="T23" fmla="*/ 2 h 75"/>
                  <a:gd name="T24" fmla="*/ 201 w 201"/>
                  <a:gd name="T25" fmla="*/ 4 h 75"/>
                  <a:gd name="T26" fmla="*/ 201 w 201"/>
                  <a:gd name="T27" fmla="*/ 8 h 75"/>
                  <a:gd name="T28" fmla="*/ 199 w 201"/>
                  <a:gd name="T29" fmla="*/ 26 h 75"/>
                  <a:gd name="T30" fmla="*/ 176 w 201"/>
                  <a:gd name="T31" fmla="*/ 28 h 75"/>
                  <a:gd name="T32" fmla="*/ 158 w 201"/>
                  <a:gd name="T33" fmla="*/ 27 h 75"/>
                  <a:gd name="T34" fmla="*/ 144 w 201"/>
                  <a:gd name="T35" fmla="*/ 30 h 75"/>
                  <a:gd name="T36" fmla="*/ 124 w 201"/>
                  <a:gd name="T37" fmla="*/ 36 h 75"/>
                  <a:gd name="T38" fmla="*/ 106 w 201"/>
                  <a:gd name="T39" fmla="*/ 45 h 75"/>
                  <a:gd name="T40" fmla="*/ 91 w 201"/>
                  <a:gd name="T41" fmla="*/ 49 h 75"/>
                  <a:gd name="T42" fmla="*/ 41 w 201"/>
                  <a:gd name="T43" fmla="*/ 63 h 75"/>
                  <a:gd name="T44" fmla="*/ 28 w 201"/>
                  <a:gd name="T45" fmla="*/ 69 h 75"/>
                  <a:gd name="T46" fmla="*/ 16 w 201"/>
                  <a:gd name="T4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75">
                    <a:moveTo>
                      <a:pt x="0" y="28"/>
                    </a:moveTo>
                    <a:cubicBezTo>
                      <a:pt x="17" y="28"/>
                      <a:pt x="35" y="27"/>
                      <a:pt x="51" y="24"/>
                    </a:cubicBezTo>
                    <a:cubicBezTo>
                      <a:pt x="57" y="23"/>
                      <a:pt x="63" y="22"/>
                      <a:pt x="69" y="22"/>
                    </a:cubicBezTo>
                    <a:cubicBezTo>
                      <a:pt x="75" y="22"/>
                      <a:pt x="81" y="23"/>
                      <a:pt x="87" y="23"/>
                    </a:cubicBezTo>
                    <a:cubicBezTo>
                      <a:pt x="98" y="23"/>
                      <a:pt x="110" y="20"/>
                      <a:pt x="121" y="22"/>
                    </a:cubicBezTo>
                    <a:cubicBezTo>
                      <a:pt x="134" y="23"/>
                      <a:pt x="146" y="28"/>
                      <a:pt x="158" y="25"/>
                    </a:cubicBezTo>
                    <a:cubicBezTo>
                      <a:pt x="159" y="23"/>
                      <a:pt x="158" y="20"/>
                      <a:pt x="156" y="19"/>
                    </a:cubicBezTo>
                    <a:cubicBezTo>
                      <a:pt x="155" y="18"/>
                      <a:pt x="155" y="18"/>
                      <a:pt x="155" y="17"/>
                    </a:cubicBezTo>
                    <a:cubicBezTo>
                      <a:pt x="154" y="16"/>
                      <a:pt x="155" y="15"/>
                      <a:pt x="156" y="14"/>
                    </a:cubicBezTo>
                    <a:cubicBezTo>
                      <a:pt x="159" y="12"/>
                      <a:pt x="162" y="11"/>
                      <a:pt x="164" y="9"/>
                    </a:cubicBezTo>
                    <a:cubicBezTo>
                      <a:pt x="167" y="6"/>
                      <a:pt x="169" y="3"/>
                      <a:pt x="169" y="0"/>
                    </a:cubicBezTo>
                    <a:cubicBezTo>
                      <a:pt x="178" y="0"/>
                      <a:pt x="188" y="1"/>
                      <a:pt x="197" y="2"/>
                    </a:cubicBezTo>
                    <a:cubicBezTo>
                      <a:pt x="198" y="3"/>
                      <a:pt x="200" y="3"/>
                      <a:pt x="201" y="4"/>
                    </a:cubicBezTo>
                    <a:cubicBezTo>
                      <a:pt x="201" y="5"/>
                      <a:pt x="201" y="7"/>
                      <a:pt x="201" y="8"/>
                    </a:cubicBezTo>
                    <a:cubicBezTo>
                      <a:pt x="200" y="14"/>
                      <a:pt x="199" y="20"/>
                      <a:pt x="199" y="26"/>
                    </a:cubicBezTo>
                    <a:cubicBezTo>
                      <a:pt x="191" y="28"/>
                      <a:pt x="184" y="29"/>
                      <a:pt x="176" y="28"/>
                    </a:cubicBezTo>
                    <a:cubicBezTo>
                      <a:pt x="170" y="28"/>
                      <a:pt x="164" y="27"/>
                      <a:pt x="158" y="27"/>
                    </a:cubicBezTo>
                    <a:cubicBezTo>
                      <a:pt x="154" y="27"/>
                      <a:pt x="149" y="29"/>
                      <a:pt x="144" y="30"/>
                    </a:cubicBezTo>
                    <a:cubicBezTo>
                      <a:pt x="137" y="31"/>
                      <a:pt x="130" y="33"/>
                      <a:pt x="124" y="36"/>
                    </a:cubicBezTo>
                    <a:cubicBezTo>
                      <a:pt x="118" y="38"/>
                      <a:pt x="112" y="43"/>
                      <a:pt x="106" y="45"/>
                    </a:cubicBezTo>
                    <a:cubicBezTo>
                      <a:pt x="101" y="47"/>
                      <a:pt x="96" y="48"/>
                      <a:pt x="91" y="49"/>
                    </a:cubicBezTo>
                    <a:cubicBezTo>
                      <a:pt x="74" y="53"/>
                      <a:pt x="57" y="57"/>
                      <a:pt x="41" y="63"/>
                    </a:cubicBezTo>
                    <a:cubicBezTo>
                      <a:pt x="36" y="64"/>
                      <a:pt x="32" y="66"/>
                      <a:pt x="28" y="69"/>
                    </a:cubicBezTo>
                    <a:cubicBezTo>
                      <a:pt x="24" y="71"/>
                      <a:pt x="20" y="75"/>
                      <a:pt x="16" y="73"/>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6" name="Freeform 19"/>
              <p:cNvSpPr>
                <a:spLocks/>
              </p:cNvSpPr>
              <p:nvPr/>
            </p:nvSpPr>
            <p:spPr bwMode="auto">
              <a:xfrm>
                <a:off x="5678828" y="2769639"/>
                <a:ext cx="38644" cy="114400"/>
              </a:xfrm>
              <a:custGeom>
                <a:avLst/>
                <a:gdLst>
                  <a:gd name="T0" fmla="*/ 8 w 9"/>
                  <a:gd name="T1" fmla="*/ 0 h 26"/>
                  <a:gd name="T2" fmla="*/ 7 w 9"/>
                  <a:gd name="T3" fmla="*/ 17 h 26"/>
                  <a:gd name="T4" fmla="*/ 0 w 9"/>
                  <a:gd name="T5" fmla="*/ 26 h 26"/>
                </a:gdLst>
                <a:ahLst/>
                <a:cxnLst>
                  <a:cxn ang="0">
                    <a:pos x="T0" y="T1"/>
                  </a:cxn>
                  <a:cxn ang="0">
                    <a:pos x="T2" y="T3"/>
                  </a:cxn>
                  <a:cxn ang="0">
                    <a:pos x="T4" y="T5"/>
                  </a:cxn>
                </a:cxnLst>
                <a:rect l="0" t="0" r="r" b="b"/>
                <a:pathLst>
                  <a:path w="9" h="26">
                    <a:moveTo>
                      <a:pt x="8" y="0"/>
                    </a:moveTo>
                    <a:cubicBezTo>
                      <a:pt x="8" y="4"/>
                      <a:pt x="9" y="13"/>
                      <a:pt x="7" y="17"/>
                    </a:cubicBezTo>
                    <a:cubicBezTo>
                      <a:pt x="5" y="19"/>
                      <a:pt x="1" y="24"/>
                      <a:pt x="0" y="2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7" name="Freeform 20"/>
              <p:cNvSpPr>
                <a:spLocks/>
              </p:cNvSpPr>
              <p:nvPr/>
            </p:nvSpPr>
            <p:spPr bwMode="auto">
              <a:xfrm>
                <a:off x="5813161" y="2362676"/>
                <a:ext cx="892487" cy="525114"/>
              </a:xfrm>
              <a:custGeom>
                <a:avLst/>
                <a:gdLst>
                  <a:gd name="T0" fmla="*/ 0 w 206"/>
                  <a:gd name="T1" fmla="*/ 116 h 119"/>
                  <a:gd name="T2" fmla="*/ 16 w 206"/>
                  <a:gd name="T3" fmla="*/ 115 h 119"/>
                  <a:gd name="T4" fmla="*/ 31 w 206"/>
                  <a:gd name="T5" fmla="*/ 107 h 119"/>
                  <a:gd name="T6" fmla="*/ 44 w 206"/>
                  <a:gd name="T7" fmla="*/ 107 h 119"/>
                  <a:gd name="T8" fmla="*/ 52 w 206"/>
                  <a:gd name="T9" fmla="*/ 107 h 119"/>
                  <a:gd name="T10" fmla="*/ 54 w 206"/>
                  <a:gd name="T11" fmla="*/ 104 h 119"/>
                  <a:gd name="T12" fmla="*/ 75 w 206"/>
                  <a:gd name="T13" fmla="*/ 96 h 119"/>
                  <a:gd name="T14" fmla="*/ 82 w 206"/>
                  <a:gd name="T15" fmla="*/ 97 h 119"/>
                  <a:gd name="T16" fmla="*/ 88 w 206"/>
                  <a:gd name="T17" fmla="*/ 95 h 119"/>
                  <a:gd name="T18" fmla="*/ 89 w 206"/>
                  <a:gd name="T19" fmla="*/ 89 h 119"/>
                  <a:gd name="T20" fmla="*/ 89 w 206"/>
                  <a:gd name="T21" fmla="*/ 73 h 119"/>
                  <a:gd name="T22" fmla="*/ 90 w 206"/>
                  <a:gd name="T23" fmla="*/ 70 h 119"/>
                  <a:gd name="T24" fmla="*/ 99 w 206"/>
                  <a:gd name="T25" fmla="*/ 69 h 119"/>
                  <a:gd name="T26" fmla="*/ 114 w 206"/>
                  <a:gd name="T27" fmla="*/ 55 h 119"/>
                  <a:gd name="T28" fmla="*/ 111 w 206"/>
                  <a:gd name="T29" fmla="*/ 47 h 119"/>
                  <a:gd name="T30" fmla="*/ 108 w 206"/>
                  <a:gd name="T31" fmla="*/ 45 h 119"/>
                  <a:gd name="T32" fmla="*/ 111 w 206"/>
                  <a:gd name="T33" fmla="*/ 35 h 119"/>
                  <a:gd name="T34" fmla="*/ 121 w 206"/>
                  <a:gd name="T35" fmla="*/ 30 h 119"/>
                  <a:gd name="T36" fmla="*/ 131 w 206"/>
                  <a:gd name="T37" fmla="*/ 17 h 119"/>
                  <a:gd name="T38" fmla="*/ 145 w 206"/>
                  <a:gd name="T39" fmla="*/ 11 h 119"/>
                  <a:gd name="T40" fmla="*/ 164 w 206"/>
                  <a:gd name="T41" fmla="*/ 5 h 119"/>
                  <a:gd name="T42" fmla="*/ 189 w 206"/>
                  <a:gd name="T43" fmla="*/ 0 h 119"/>
                  <a:gd name="T44" fmla="*/ 206 w 206"/>
                  <a:gd name="T45" fmla="*/ 5 h 119"/>
                  <a:gd name="T46" fmla="*/ 183 w 206"/>
                  <a:gd name="T4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9">
                    <a:moveTo>
                      <a:pt x="0" y="116"/>
                    </a:moveTo>
                    <a:cubicBezTo>
                      <a:pt x="5" y="119"/>
                      <a:pt x="11" y="117"/>
                      <a:pt x="16" y="115"/>
                    </a:cubicBezTo>
                    <a:cubicBezTo>
                      <a:pt x="21" y="112"/>
                      <a:pt x="25" y="109"/>
                      <a:pt x="31" y="107"/>
                    </a:cubicBezTo>
                    <a:cubicBezTo>
                      <a:pt x="35" y="106"/>
                      <a:pt x="40" y="106"/>
                      <a:pt x="44" y="107"/>
                    </a:cubicBezTo>
                    <a:cubicBezTo>
                      <a:pt x="47" y="107"/>
                      <a:pt x="50" y="108"/>
                      <a:pt x="52" y="107"/>
                    </a:cubicBezTo>
                    <a:cubicBezTo>
                      <a:pt x="53" y="106"/>
                      <a:pt x="54" y="105"/>
                      <a:pt x="54" y="104"/>
                    </a:cubicBezTo>
                    <a:cubicBezTo>
                      <a:pt x="59" y="97"/>
                      <a:pt x="68" y="94"/>
                      <a:pt x="75" y="96"/>
                    </a:cubicBezTo>
                    <a:cubicBezTo>
                      <a:pt x="77" y="96"/>
                      <a:pt x="80" y="97"/>
                      <a:pt x="82" y="97"/>
                    </a:cubicBezTo>
                    <a:cubicBezTo>
                      <a:pt x="84" y="98"/>
                      <a:pt x="87" y="97"/>
                      <a:pt x="88" y="95"/>
                    </a:cubicBezTo>
                    <a:cubicBezTo>
                      <a:pt x="89" y="93"/>
                      <a:pt x="89" y="91"/>
                      <a:pt x="89" y="89"/>
                    </a:cubicBezTo>
                    <a:cubicBezTo>
                      <a:pt x="88" y="84"/>
                      <a:pt x="88" y="78"/>
                      <a:pt x="89" y="73"/>
                    </a:cubicBezTo>
                    <a:cubicBezTo>
                      <a:pt x="89" y="72"/>
                      <a:pt x="89" y="71"/>
                      <a:pt x="90" y="70"/>
                    </a:cubicBezTo>
                    <a:cubicBezTo>
                      <a:pt x="92" y="67"/>
                      <a:pt x="96" y="68"/>
                      <a:pt x="99" y="69"/>
                    </a:cubicBezTo>
                    <a:cubicBezTo>
                      <a:pt x="106" y="69"/>
                      <a:pt x="114" y="62"/>
                      <a:pt x="114" y="55"/>
                    </a:cubicBezTo>
                    <a:cubicBezTo>
                      <a:pt x="114" y="52"/>
                      <a:pt x="113" y="49"/>
                      <a:pt x="111" y="47"/>
                    </a:cubicBezTo>
                    <a:cubicBezTo>
                      <a:pt x="110" y="46"/>
                      <a:pt x="109" y="46"/>
                      <a:pt x="108" y="45"/>
                    </a:cubicBezTo>
                    <a:cubicBezTo>
                      <a:pt x="105" y="42"/>
                      <a:pt x="108" y="37"/>
                      <a:pt x="111" y="35"/>
                    </a:cubicBezTo>
                    <a:cubicBezTo>
                      <a:pt x="114" y="33"/>
                      <a:pt x="118" y="32"/>
                      <a:pt x="121" y="30"/>
                    </a:cubicBezTo>
                    <a:cubicBezTo>
                      <a:pt x="125" y="27"/>
                      <a:pt x="127" y="21"/>
                      <a:pt x="131" y="17"/>
                    </a:cubicBezTo>
                    <a:cubicBezTo>
                      <a:pt x="135" y="14"/>
                      <a:pt x="140" y="12"/>
                      <a:pt x="145" y="11"/>
                    </a:cubicBezTo>
                    <a:cubicBezTo>
                      <a:pt x="151" y="9"/>
                      <a:pt x="158" y="7"/>
                      <a:pt x="164" y="5"/>
                    </a:cubicBezTo>
                    <a:cubicBezTo>
                      <a:pt x="172" y="3"/>
                      <a:pt x="180" y="0"/>
                      <a:pt x="189" y="0"/>
                    </a:cubicBezTo>
                    <a:cubicBezTo>
                      <a:pt x="195" y="0"/>
                      <a:pt x="202" y="1"/>
                      <a:pt x="206" y="5"/>
                    </a:cubicBezTo>
                    <a:cubicBezTo>
                      <a:pt x="199" y="9"/>
                      <a:pt x="188" y="5"/>
                      <a:pt x="183"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8" name="Freeform 21"/>
              <p:cNvSpPr>
                <a:spLocks/>
              </p:cNvSpPr>
              <p:nvPr/>
            </p:nvSpPr>
            <p:spPr bwMode="auto">
              <a:xfrm>
                <a:off x="6462744" y="2375803"/>
                <a:ext cx="82808" cy="61888"/>
              </a:xfrm>
              <a:custGeom>
                <a:avLst/>
                <a:gdLst>
                  <a:gd name="T0" fmla="*/ 19 w 19"/>
                  <a:gd name="T1" fmla="*/ 0 h 14"/>
                  <a:gd name="T2" fmla="*/ 16 w 19"/>
                  <a:gd name="T3" fmla="*/ 3 h 14"/>
                  <a:gd name="T4" fmla="*/ 15 w 19"/>
                  <a:gd name="T5" fmla="*/ 9 h 14"/>
                  <a:gd name="T6" fmla="*/ 8 w 19"/>
                  <a:gd name="T7" fmla="*/ 13 h 14"/>
                  <a:gd name="T8" fmla="*/ 2 w 19"/>
                  <a:gd name="T9" fmla="*/ 14 h 14"/>
                  <a:gd name="T10" fmla="*/ 0 w 19"/>
                  <a:gd name="T11" fmla="*/ 14 h 14"/>
                  <a:gd name="T12" fmla="*/ 0 w 19"/>
                  <a:gd name="T13" fmla="*/ 12 h 14"/>
                  <a:gd name="T14" fmla="*/ 0 w 19"/>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19" y="0"/>
                    </a:moveTo>
                    <a:cubicBezTo>
                      <a:pt x="17" y="0"/>
                      <a:pt x="16" y="2"/>
                      <a:pt x="16" y="3"/>
                    </a:cubicBezTo>
                    <a:cubicBezTo>
                      <a:pt x="16" y="5"/>
                      <a:pt x="16" y="7"/>
                      <a:pt x="15" y="9"/>
                    </a:cubicBezTo>
                    <a:cubicBezTo>
                      <a:pt x="14" y="11"/>
                      <a:pt x="11" y="12"/>
                      <a:pt x="8" y="13"/>
                    </a:cubicBezTo>
                    <a:cubicBezTo>
                      <a:pt x="6" y="13"/>
                      <a:pt x="4" y="14"/>
                      <a:pt x="2" y="14"/>
                    </a:cubicBezTo>
                    <a:cubicBezTo>
                      <a:pt x="1" y="14"/>
                      <a:pt x="0" y="14"/>
                      <a:pt x="0" y="14"/>
                    </a:cubicBezTo>
                    <a:cubicBezTo>
                      <a:pt x="0" y="13"/>
                      <a:pt x="0" y="13"/>
                      <a:pt x="0" y="12"/>
                    </a:cubicBezTo>
                    <a:cubicBezTo>
                      <a:pt x="0" y="10"/>
                      <a:pt x="0" y="8"/>
                      <a:pt x="0" y="6"/>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9" name="Freeform 22"/>
              <p:cNvSpPr>
                <a:spLocks/>
              </p:cNvSpPr>
              <p:nvPr/>
            </p:nvSpPr>
            <p:spPr bwMode="auto">
              <a:xfrm>
                <a:off x="6280567" y="2392682"/>
                <a:ext cx="412200" cy="315068"/>
              </a:xfrm>
              <a:custGeom>
                <a:avLst/>
                <a:gdLst>
                  <a:gd name="T0" fmla="*/ 39 w 95"/>
                  <a:gd name="T1" fmla="*/ 12 h 71"/>
                  <a:gd name="T2" fmla="*/ 29 w 95"/>
                  <a:gd name="T3" fmla="*/ 18 h 71"/>
                  <a:gd name="T4" fmla="*/ 23 w 95"/>
                  <a:gd name="T5" fmla="*/ 19 h 71"/>
                  <a:gd name="T6" fmla="*/ 17 w 95"/>
                  <a:gd name="T7" fmla="*/ 29 h 71"/>
                  <a:gd name="T8" fmla="*/ 15 w 95"/>
                  <a:gd name="T9" fmla="*/ 41 h 71"/>
                  <a:gd name="T10" fmla="*/ 12 w 95"/>
                  <a:gd name="T11" fmla="*/ 49 h 71"/>
                  <a:gd name="T12" fmla="*/ 11 w 95"/>
                  <a:gd name="T13" fmla="*/ 54 h 71"/>
                  <a:gd name="T14" fmla="*/ 7 w 95"/>
                  <a:gd name="T15" fmla="*/ 57 h 71"/>
                  <a:gd name="T16" fmla="*/ 0 w 95"/>
                  <a:gd name="T17" fmla="*/ 71 h 71"/>
                  <a:gd name="T18" fmla="*/ 5 w 95"/>
                  <a:gd name="T19" fmla="*/ 67 h 71"/>
                  <a:gd name="T20" fmla="*/ 13 w 95"/>
                  <a:gd name="T21" fmla="*/ 66 h 71"/>
                  <a:gd name="T22" fmla="*/ 16 w 95"/>
                  <a:gd name="T23" fmla="*/ 63 h 71"/>
                  <a:gd name="T24" fmla="*/ 20 w 95"/>
                  <a:gd name="T25" fmla="*/ 61 h 71"/>
                  <a:gd name="T26" fmla="*/ 43 w 95"/>
                  <a:gd name="T27" fmla="*/ 52 h 71"/>
                  <a:gd name="T28" fmla="*/ 53 w 95"/>
                  <a:gd name="T29" fmla="*/ 42 h 71"/>
                  <a:gd name="T30" fmla="*/ 55 w 95"/>
                  <a:gd name="T31" fmla="*/ 35 h 71"/>
                  <a:gd name="T32" fmla="*/ 80 w 95"/>
                  <a:gd name="T33" fmla="*/ 5 h 71"/>
                  <a:gd name="T34" fmla="*/ 95 w 95"/>
                  <a:gd name="T3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71">
                    <a:moveTo>
                      <a:pt x="39" y="12"/>
                    </a:moveTo>
                    <a:cubicBezTo>
                      <a:pt x="36" y="15"/>
                      <a:pt x="33" y="17"/>
                      <a:pt x="29" y="18"/>
                    </a:cubicBezTo>
                    <a:cubicBezTo>
                      <a:pt x="27" y="19"/>
                      <a:pt x="25" y="19"/>
                      <a:pt x="23" y="19"/>
                    </a:cubicBezTo>
                    <a:cubicBezTo>
                      <a:pt x="20" y="21"/>
                      <a:pt x="18" y="25"/>
                      <a:pt x="17" y="29"/>
                    </a:cubicBezTo>
                    <a:cubicBezTo>
                      <a:pt x="17" y="33"/>
                      <a:pt x="17" y="37"/>
                      <a:pt x="15" y="41"/>
                    </a:cubicBezTo>
                    <a:cubicBezTo>
                      <a:pt x="14" y="44"/>
                      <a:pt x="13" y="46"/>
                      <a:pt x="12" y="49"/>
                    </a:cubicBezTo>
                    <a:cubicBezTo>
                      <a:pt x="12" y="51"/>
                      <a:pt x="11" y="52"/>
                      <a:pt x="11" y="54"/>
                    </a:cubicBezTo>
                    <a:cubicBezTo>
                      <a:pt x="10" y="55"/>
                      <a:pt x="9" y="56"/>
                      <a:pt x="7" y="57"/>
                    </a:cubicBezTo>
                    <a:cubicBezTo>
                      <a:pt x="3" y="60"/>
                      <a:pt x="0" y="65"/>
                      <a:pt x="0" y="71"/>
                    </a:cubicBezTo>
                    <a:cubicBezTo>
                      <a:pt x="0" y="68"/>
                      <a:pt x="3" y="67"/>
                      <a:pt x="5" y="67"/>
                    </a:cubicBezTo>
                    <a:cubicBezTo>
                      <a:pt x="8" y="67"/>
                      <a:pt x="11" y="67"/>
                      <a:pt x="13" y="66"/>
                    </a:cubicBezTo>
                    <a:cubicBezTo>
                      <a:pt x="14" y="65"/>
                      <a:pt x="15" y="64"/>
                      <a:pt x="16" y="63"/>
                    </a:cubicBezTo>
                    <a:cubicBezTo>
                      <a:pt x="17" y="62"/>
                      <a:pt x="19" y="61"/>
                      <a:pt x="20" y="61"/>
                    </a:cubicBezTo>
                    <a:cubicBezTo>
                      <a:pt x="28" y="60"/>
                      <a:pt x="36" y="57"/>
                      <a:pt x="43" y="52"/>
                    </a:cubicBezTo>
                    <a:cubicBezTo>
                      <a:pt x="47" y="50"/>
                      <a:pt x="51" y="47"/>
                      <a:pt x="53" y="42"/>
                    </a:cubicBezTo>
                    <a:cubicBezTo>
                      <a:pt x="54" y="40"/>
                      <a:pt x="54" y="37"/>
                      <a:pt x="55" y="35"/>
                    </a:cubicBezTo>
                    <a:cubicBezTo>
                      <a:pt x="57" y="21"/>
                      <a:pt x="67" y="9"/>
                      <a:pt x="80" y="5"/>
                    </a:cubicBezTo>
                    <a:cubicBezTo>
                      <a:pt x="85" y="3"/>
                      <a:pt x="91" y="2"/>
                      <a:pt x="95"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0" name="Freeform 23"/>
              <p:cNvSpPr>
                <a:spLocks/>
              </p:cNvSpPr>
              <p:nvPr/>
            </p:nvSpPr>
            <p:spPr bwMode="auto">
              <a:xfrm>
                <a:off x="5861006" y="2672118"/>
                <a:ext cx="480287" cy="283186"/>
              </a:xfrm>
              <a:custGeom>
                <a:avLst/>
                <a:gdLst>
                  <a:gd name="T0" fmla="*/ 79 w 111"/>
                  <a:gd name="T1" fmla="*/ 0 h 64"/>
                  <a:gd name="T2" fmla="*/ 81 w 111"/>
                  <a:gd name="T3" fmla="*/ 13 h 64"/>
                  <a:gd name="T4" fmla="*/ 85 w 111"/>
                  <a:gd name="T5" fmla="*/ 18 h 64"/>
                  <a:gd name="T6" fmla="*/ 94 w 111"/>
                  <a:gd name="T7" fmla="*/ 18 h 64"/>
                  <a:gd name="T8" fmla="*/ 105 w 111"/>
                  <a:gd name="T9" fmla="*/ 20 h 64"/>
                  <a:gd name="T10" fmla="*/ 110 w 111"/>
                  <a:gd name="T11" fmla="*/ 30 h 64"/>
                  <a:gd name="T12" fmla="*/ 104 w 111"/>
                  <a:gd name="T13" fmla="*/ 37 h 64"/>
                  <a:gd name="T14" fmla="*/ 100 w 111"/>
                  <a:gd name="T15" fmla="*/ 39 h 64"/>
                  <a:gd name="T16" fmla="*/ 91 w 111"/>
                  <a:gd name="T17" fmla="*/ 37 h 64"/>
                  <a:gd name="T18" fmla="*/ 83 w 111"/>
                  <a:gd name="T19" fmla="*/ 38 h 64"/>
                  <a:gd name="T20" fmla="*/ 80 w 111"/>
                  <a:gd name="T21" fmla="*/ 41 h 64"/>
                  <a:gd name="T22" fmla="*/ 71 w 111"/>
                  <a:gd name="T23" fmla="*/ 45 h 64"/>
                  <a:gd name="T24" fmla="*/ 53 w 111"/>
                  <a:gd name="T25" fmla="*/ 46 h 64"/>
                  <a:gd name="T26" fmla="*/ 44 w 111"/>
                  <a:gd name="T27" fmla="*/ 47 h 64"/>
                  <a:gd name="T28" fmla="*/ 39 w 111"/>
                  <a:gd name="T29" fmla="*/ 42 h 64"/>
                  <a:gd name="T30" fmla="*/ 43 w 111"/>
                  <a:gd name="T31" fmla="*/ 51 h 64"/>
                  <a:gd name="T32" fmla="*/ 40 w 111"/>
                  <a:gd name="T33" fmla="*/ 54 h 64"/>
                  <a:gd name="T34" fmla="*/ 32 w 111"/>
                  <a:gd name="T35" fmla="*/ 56 h 64"/>
                  <a:gd name="T36" fmla="*/ 24 w 111"/>
                  <a:gd name="T37" fmla="*/ 56 h 64"/>
                  <a:gd name="T38" fmla="*/ 21 w 111"/>
                  <a:gd name="T39" fmla="*/ 62 h 64"/>
                  <a:gd name="T40" fmla="*/ 13 w 111"/>
                  <a:gd name="T41" fmla="*/ 63 h 64"/>
                  <a:gd name="T42" fmla="*/ 7 w 111"/>
                  <a:gd name="T43" fmla="*/ 59 h 64"/>
                  <a:gd name="T44" fmla="*/ 0 w 111"/>
                  <a:gd name="T45"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64">
                    <a:moveTo>
                      <a:pt x="79" y="0"/>
                    </a:moveTo>
                    <a:cubicBezTo>
                      <a:pt x="78" y="4"/>
                      <a:pt x="79" y="9"/>
                      <a:pt x="81" y="13"/>
                    </a:cubicBezTo>
                    <a:cubicBezTo>
                      <a:pt x="82" y="15"/>
                      <a:pt x="83" y="17"/>
                      <a:pt x="85" y="18"/>
                    </a:cubicBezTo>
                    <a:cubicBezTo>
                      <a:pt x="88" y="19"/>
                      <a:pt x="91" y="19"/>
                      <a:pt x="94" y="18"/>
                    </a:cubicBezTo>
                    <a:cubicBezTo>
                      <a:pt x="97" y="18"/>
                      <a:pt x="102" y="18"/>
                      <a:pt x="105" y="20"/>
                    </a:cubicBezTo>
                    <a:cubicBezTo>
                      <a:pt x="108" y="22"/>
                      <a:pt x="111" y="26"/>
                      <a:pt x="110" y="30"/>
                    </a:cubicBezTo>
                    <a:cubicBezTo>
                      <a:pt x="109" y="33"/>
                      <a:pt x="107" y="35"/>
                      <a:pt x="104" y="37"/>
                    </a:cubicBezTo>
                    <a:cubicBezTo>
                      <a:pt x="103" y="38"/>
                      <a:pt x="101" y="38"/>
                      <a:pt x="100" y="39"/>
                    </a:cubicBezTo>
                    <a:cubicBezTo>
                      <a:pt x="97" y="39"/>
                      <a:pt x="94" y="38"/>
                      <a:pt x="91" y="37"/>
                    </a:cubicBezTo>
                    <a:cubicBezTo>
                      <a:pt x="88" y="36"/>
                      <a:pt x="85" y="36"/>
                      <a:pt x="83" y="38"/>
                    </a:cubicBezTo>
                    <a:cubicBezTo>
                      <a:pt x="82" y="39"/>
                      <a:pt x="81" y="40"/>
                      <a:pt x="80" y="41"/>
                    </a:cubicBezTo>
                    <a:cubicBezTo>
                      <a:pt x="78" y="44"/>
                      <a:pt x="74" y="45"/>
                      <a:pt x="71" y="45"/>
                    </a:cubicBezTo>
                    <a:cubicBezTo>
                      <a:pt x="65" y="46"/>
                      <a:pt x="59" y="45"/>
                      <a:pt x="53" y="46"/>
                    </a:cubicBezTo>
                    <a:cubicBezTo>
                      <a:pt x="50" y="47"/>
                      <a:pt x="47" y="48"/>
                      <a:pt x="44" y="47"/>
                    </a:cubicBezTo>
                    <a:cubicBezTo>
                      <a:pt x="42" y="47"/>
                      <a:pt x="39" y="45"/>
                      <a:pt x="39" y="42"/>
                    </a:cubicBezTo>
                    <a:cubicBezTo>
                      <a:pt x="37" y="45"/>
                      <a:pt x="43" y="48"/>
                      <a:pt x="43" y="51"/>
                    </a:cubicBezTo>
                    <a:cubicBezTo>
                      <a:pt x="43" y="53"/>
                      <a:pt x="41" y="54"/>
                      <a:pt x="40" y="54"/>
                    </a:cubicBezTo>
                    <a:cubicBezTo>
                      <a:pt x="38" y="56"/>
                      <a:pt x="35" y="56"/>
                      <a:pt x="32" y="56"/>
                    </a:cubicBezTo>
                    <a:cubicBezTo>
                      <a:pt x="29" y="56"/>
                      <a:pt x="26" y="55"/>
                      <a:pt x="24" y="56"/>
                    </a:cubicBezTo>
                    <a:cubicBezTo>
                      <a:pt x="21" y="56"/>
                      <a:pt x="19" y="60"/>
                      <a:pt x="21" y="62"/>
                    </a:cubicBezTo>
                    <a:cubicBezTo>
                      <a:pt x="19" y="64"/>
                      <a:pt x="16" y="64"/>
                      <a:pt x="13" y="63"/>
                    </a:cubicBezTo>
                    <a:cubicBezTo>
                      <a:pt x="11" y="62"/>
                      <a:pt x="9" y="60"/>
                      <a:pt x="7" y="59"/>
                    </a:cubicBezTo>
                    <a:cubicBezTo>
                      <a:pt x="4" y="56"/>
                      <a:pt x="1" y="53"/>
                      <a:pt x="0" y="49"/>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1" name="Freeform 24"/>
              <p:cNvSpPr>
                <a:spLocks/>
              </p:cNvSpPr>
              <p:nvPr/>
            </p:nvSpPr>
            <p:spPr bwMode="auto">
              <a:xfrm>
                <a:off x="5746649" y="2842896"/>
                <a:ext cx="277606" cy="522088"/>
              </a:xfrm>
              <a:custGeom>
                <a:avLst/>
                <a:gdLst>
                  <a:gd name="T0" fmla="*/ 45 w 65"/>
                  <a:gd name="T1" fmla="*/ 0 h 119"/>
                  <a:gd name="T2" fmla="*/ 50 w 65"/>
                  <a:gd name="T3" fmla="*/ 5 h 119"/>
                  <a:gd name="T4" fmla="*/ 49 w 65"/>
                  <a:gd name="T5" fmla="*/ 12 h 119"/>
                  <a:gd name="T6" fmla="*/ 46 w 65"/>
                  <a:gd name="T7" fmla="*/ 18 h 119"/>
                  <a:gd name="T8" fmla="*/ 40 w 65"/>
                  <a:gd name="T9" fmla="*/ 20 h 119"/>
                  <a:gd name="T10" fmla="*/ 36 w 65"/>
                  <a:gd name="T11" fmla="*/ 18 h 119"/>
                  <a:gd name="T12" fmla="*/ 25 w 65"/>
                  <a:gd name="T13" fmla="*/ 17 h 119"/>
                  <a:gd name="T14" fmla="*/ 20 w 65"/>
                  <a:gd name="T15" fmla="*/ 20 h 119"/>
                  <a:gd name="T16" fmla="*/ 17 w 65"/>
                  <a:gd name="T17" fmla="*/ 28 h 119"/>
                  <a:gd name="T18" fmla="*/ 24 w 65"/>
                  <a:gd name="T19" fmla="*/ 59 h 119"/>
                  <a:gd name="T20" fmla="*/ 22 w 65"/>
                  <a:gd name="T21" fmla="*/ 68 h 119"/>
                  <a:gd name="T22" fmla="*/ 19 w 65"/>
                  <a:gd name="T23" fmla="*/ 70 h 119"/>
                  <a:gd name="T24" fmla="*/ 19 w 65"/>
                  <a:gd name="T25" fmla="*/ 73 h 119"/>
                  <a:gd name="T26" fmla="*/ 12 w 65"/>
                  <a:gd name="T27" fmla="*/ 79 h 119"/>
                  <a:gd name="T28" fmla="*/ 1 w 65"/>
                  <a:gd name="T29" fmla="*/ 96 h 119"/>
                  <a:gd name="T30" fmla="*/ 3 w 65"/>
                  <a:gd name="T31" fmla="*/ 105 h 119"/>
                  <a:gd name="T32" fmla="*/ 11 w 65"/>
                  <a:gd name="T33" fmla="*/ 116 h 119"/>
                  <a:gd name="T34" fmla="*/ 23 w 65"/>
                  <a:gd name="T35" fmla="*/ 116 h 119"/>
                  <a:gd name="T36" fmla="*/ 26 w 65"/>
                  <a:gd name="T37" fmla="*/ 113 h 119"/>
                  <a:gd name="T38" fmla="*/ 31 w 65"/>
                  <a:gd name="T39" fmla="*/ 108 h 119"/>
                  <a:gd name="T40" fmla="*/ 46 w 65"/>
                  <a:gd name="T41" fmla="*/ 96 h 119"/>
                  <a:gd name="T42" fmla="*/ 48 w 65"/>
                  <a:gd name="T43" fmla="*/ 93 h 119"/>
                  <a:gd name="T44" fmla="*/ 50 w 65"/>
                  <a:gd name="T45" fmla="*/ 83 h 119"/>
                  <a:gd name="T46" fmla="*/ 58 w 65"/>
                  <a:gd name="T47" fmla="*/ 80 h 119"/>
                  <a:gd name="T48" fmla="*/ 65 w 65"/>
                  <a:gd name="T49" fmla="*/ 76 h 119"/>
                  <a:gd name="T50" fmla="*/ 64 w 65"/>
                  <a:gd name="T51" fmla="*/ 72 h 119"/>
                  <a:gd name="T52" fmla="*/ 61 w 65"/>
                  <a:gd name="T53" fmla="*/ 57 h 119"/>
                  <a:gd name="T54" fmla="*/ 55 w 65"/>
                  <a:gd name="T55" fmla="*/ 43 h 119"/>
                  <a:gd name="T56" fmla="*/ 51 w 65"/>
                  <a:gd name="T57" fmla="*/ 40 h 119"/>
                  <a:gd name="T58" fmla="*/ 49 w 65"/>
                  <a:gd name="T59" fmla="*/ 36 h 119"/>
                  <a:gd name="T60" fmla="*/ 44 w 65"/>
                  <a:gd name="T61" fmla="*/ 19 h 119"/>
                  <a:gd name="connsiteX0" fmla="*/ 6783 w 9860"/>
                  <a:gd name="connsiteY0" fmla="*/ 0 h 9907"/>
                  <a:gd name="connsiteX1" fmla="*/ 7552 w 9860"/>
                  <a:gd name="connsiteY1" fmla="*/ 420 h 9907"/>
                  <a:gd name="connsiteX2" fmla="*/ 7398 w 9860"/>
                  <a:gd name="connsiteY2" fmla="*/ 1008 h 9907"/>
                  <a:gd name="connsiteX3" fmla="*/ 6937 w 9860"/>
                  <a:gd name="connsiteY3" fmla="*/ 1513 h 9907"/>
                  <a:gd name="connsiteX4" fmla="*/ 6014 w 9860"/>
                  <a:gd name="connsiteY4" fmla="*/ 1681 h 9907"/>
                  <a:gd name="connsiteX5" fmla="*/ 5398 w 9860"/>
                  <a:gd name="connsiteY5" fmla="*/ 1513 h 9907"/>
                  <a:gd name="connsiteX6" fmla="*/ 3706 w 9860"/>
                  <a:gd name="connsiteY6" fmla="*/ 1429 h 9907"/>
                  <a:gd name="connsiteX7" fmla="*/ 2937 w 9860"/>
                  <a:gd name="connsiteY7" fmla="*/ 1681 h 9907"/>
                  <a:gd name="connsiteX8" fmla="*/ 2475 w 9860"/>
                  <a:gd name="connsiteY8" fmla="*/ 2353 h 9907"/>
                  <a:gd name="connsiteX9" fmla="*/ 3552 w 9860"/>
                  <a:gd name="connsiteY9" fmla="*/ 4958 h 9907"/>
                  <a:gd name="connsiteX10" fmla="*/ 3245 w 9860"/>
                  <a:gd name="connsiteY10" fmla="*/ 5714 h 9907"/>
                  <a:gd name="connsiteX11" fmla="*/ 2783 w 9860"/>
                  <a:gd name="connsiteY11" fmla="*/ 5882 h 9907"/>
                  <a:gd name="connsiteX12" fmla="*/ 2783 w 9860"/>
                  <a:gd name="connsiteY12" fmla="*/ 6134 h 9907"/>
                  <a:gd name="connsiteX13" fmla="*/ 2129 w 9860"/>
                  <a:gd name="connsiteY13" fmla="*/ 6820 h 9907"/>
                  <a:gd name="connsiteX14" fmla="*/ 14 w 9860"/>
                  <a:gd name="connsiteY14" fmla="*/ 8067 h 9907"/>
                  <a:gd name="connsiteX15" fmla="*/ 322 w 9860"/>
                  <a:gd name="connsiteY15" fmla="*/ 8824 h 9907"/>
                  <a:gd name="connsiteX16" fmla="*/ 1552 w 9860"/>
                  <a:gd name="connsiteY16" fmla="*/ 9748 h 9907"/>
                  <a:gd name="connsiteX17" fmla="*/ 3398 w 9860"/>
                  <a:gd name="connsiteY17" fmla="*/ 9748 h 9907"/>
                  <a:gd name="connsiteX18" fmla="*/ 3860 w 9860"/>
                  <a:gd name="connsiteY18" fmla="*/ 9496 h 9907"/>
                  <a:gd name="connsiteX19" fmla="*/ 4629 w 9860"/>
                  <a:gd name="connsiteY19" fmla="*/ 9076 h 9907"/>
                  <a:gd name="connsiteX20" fmla="*/ 6937 w 9860"/>
                  <a:gd name="connsiteY20" fmla="*/ 8067 h 9907"/>
                  <a:gd name="connsiteX21" fmla="*/ 7245 w 9860"/>
                  <a:gd name="connsiteY21" fmla="*/ 7815 h 9907"/>
                  <a:gd name="connsiteX22" fmla="*/ 7552 w 9860"/>
                  <a:gd name="connsiteY22" fmla="*/ 6975 h 9907"/>
                  <a:gd name="connsiteX23" fmla="*/ 8783 w 9860"/>
                  <a:gd name="connsiteY23" fmla="*/ 6723 h 9907"/>
                  <a:gd name="connsiteX24" fmla="*/ 9860 w 9860"/>
                  <a:gd name="connsiteY24" fmla="*/ 6387 h 9907"/>
                  <a:gd name="connsiteX25" fmla="*/ 9706 w 9860"/>
                  <a:gd name="connsiteY25" fmla="*/ 6050 h 9907"/>
                  <a:gd name="connsiteX26" fmla="*/ 9245 w 9860"/>
                  <a:gd name="connsiteY26" fmla="*/ 4790 h 9907"/>
                  <a:gd name="connsiteX27" fmla="*/ 8322 w 9860"/>
                  <a:gd name="connsiteY27" fmla="*/ 3613 h 9907"/>
                  <a:gd name="connsiteX28" fmla="*/ 7706 w 9860"/>
                  <a:gd name="connsiteY28" fmla="*/ 3361 h 9907"/>
                  <a:gd name="connsiteX29" fmla="*/ 7398 w 9860"/>
                  <a:gd name="connsiteY29" fmla="*/ 3025 h 9907"/>
                  <a:gd name="connsiteX30" fmla="*/ 6629 w 9860"/>
                  <a:gd name="connsiteY30" fmla="*/ 1597 h 9907"/>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6879" y="0"/>
                    </a:moveTo>
                    <a:cubicBezTo>
                      <a:pt x="7348" y="85"/>
                      <a:pt x="7503" y="254"/>
                      <a:pt x="7659" y="424"/>
                    </a:cubicBezTo>
                    <a:cubicBezTo>
                      <a:pt x="7659" y="678"/>
                      <a:pt x="7659" y="848"/>
                      <a:pt x="7503" y="1017"/>
                    </a:cubicBezTo>
                    <a:cubicBezTo>
                      <a:pt x="7348" y="1187"/>
                      <a:pt x="7192" y="1442"/>
                      <a:pt x="7035" y="1527"/>
                    </a:cubicBezTo>
                    <a:cubicBezTo>
                      <a:pt x="6723" y="1697"/>
                      <a:pt x="6412" y="1782"/>
                      <a:pt x="6099" y="1697"/>
                    </a:cubicBezTo>
                    <a:cubicBezTo>
                      <a:pt x="5787" y="1697"/>
                      <a:pt x="5787" y="1527"/>
                      <a:pt x="5475" y="1527"/>
                    </a:cubicBezTo>
                    <a:cubicBezTo>
                      <a:pt x="5007" y="1273"/>
                      <a:pt x="4383" y="1358"/>
                      <a:pt x="3759" y="1442"/>
                    </a:cubicBezTo>
                    <a:cubicBezTo>
                      <a:pt x="3446" y="1527"/>
                      <a:pt x="3135" y="1612"/>
                      <a:pt x="2979" y="1697"/>
                    </a:cubicBezTo>
                    <a:cubicBezTo>
                      <a:pt x="2666" y="1866"/>
                      <a:pt x="2510" y="2121"/>
                      <a:pt x="2510" y="2375"/>
                    </a:cubicBezTo>
                    <a:cubicBezTo>
                      <a:pt x="2355" y="3308"/>
                      <a:pt x="3291" y="4072"/>
                      <a:pt x="3602" y="5005"/>
                    </a:cubicBezTo>
                    <a:cubicBezTo>
                      <a:pt x="3759" y="5259"/>
                      <a:pt x="3759" y="5598"/>
                      <a:pt x="3291" y="5768"/>
                    </a:cubicBezTo>
                    <a:cubicBezTo>
                      <a:pt x="3135" y="5768"/>
                      <a:pt x="2979" y="5852"/>
                      <a:pt x="2823" y="5937"/>
                    </a:cubicBezTo>
                    <a:lnTo>
                      <a:pt x="2823" y="6192"/>
                    </a:lnTo>
                    <a:cubicBezTo>
                      <a:pt x="2666" y="6447"/>
                      <a:pt x="2628" y="6799"/>
                      <a:pt x="2159" y="6884"/>
                    </a:cubicBezTo>
                    <a:cubicBezTo>
                      <a:pt x="1067" y="7138"/>
                      <a:pt x="-142" y="7549"/>
                      <a:pt x="14" y="8143"/>
                    </a:cubicBezTo>
                    <a:cubicBezTo>
                      <a:pt x="14" y="8397"/>
                      <a:pt x="170" y="8651"/>
                      <a:pt x="327" y="8907"/>
                    </a:cubicBezTo>
                    <a:cubicBezTo>
                      <a:pt x="638" y="9246"/>
                      <a:pt x="950" y="9585"/>
                      <a:pt x="1574" y="9840"/>
                    </a:cubicBezTo>
                    <a:cubicBezTo>
                      <a:pt x="2043" y="10009"/>
                      <a:pt x="2979" y="10094"/>
                      <a:pt x="3446" y="9840"/>
                    </a:cubicBezTo>
                    <a:lnTo>
                      <a:pt x="3915" y="9585"/>
                    </a:lnTo>
                    <a:cubicBezTo>
                      <a:pt x="4071" y="9416"/>
                      <a:pt x="4383" y="9331"/>
                      <a:pt x="4695" y="9161"/>
                    </a:cubicBezTo>
                    <a:cubicBezTo>
                      <a:pt x="5846" y="9064"/>
                      <a:pt x="6484" y="8604"/>
                      <a:pt x="7378" y="8325"/>
                    </a:cubicBezTo>
                    <a:cubicBezTo>
                      <a:pt x="7535" y="8240"/>
                      <a:pt x="7348" y="7973"/>
                      <a:pt x="7348" y="7888"/>
                    </a:cubicBezTo>
                    <a:cubicBezTo>
                      <a:pt x="7659" y="7634"/>
                      <a:pt x="7348" y="7295"/>
                      <a:pt x="7659" y="7040"/>
                    </a:cubicBezTo>
                    <a:cubicBezTo>
                      <a:pt x="7815" y="6871"/>
                      <a:pt x="8440" y="6786"/>
                      <a:pt x="8908" y="6786"/>
                    </a:cubicBezTo>
                    <a:cubicBezTo>
                      <a:pt x="9376" y="6786"/>
                      <a:pt x="10000" y="6701"/>
                      <a:pt x="10000" y="6447"/>
                    </a:cubicBezTo>
                    <a:cubicBezTo>
                      <a:pt x="10000" y="6362"/>
                      <a:pt x="9844" y="6192"/>
                      <a:pt x="9844" y="6107"/>
                    </a:cubicBezTo>
                    <a:cubicBezTo>
                      <a:pt x="9531" y="5683"/>
                      <a:pt x="9531" y="5259"/>
                      <a:pt x="9376" y="4835"/>
                    </a:cubicBezTo>
                    <a:cubicBezTo>
                      <a:pt x="9220" y="4411"/>
                      <a:pt x="9064" y="3987"/>
                      <a:pt x="8440" y="3647"/>
                    </a:cubicBezTo>
                    <a:cubicBezTo>
                      <a:pt x="8128" y="3562"/>
                      <a:pt x="7972" y="3477"/>
                      <a:pt x="7815" y="3393"/>
                    </a:cubicBezTo>
                    <a:cubicBezTo>
                      <a:pt x="7659" y="3308"/>
                      <a:pt x="7503" y="3138"/>
                      <a:pt x="7503" y="3053"/>
                    </a:cubicBezTo>
                    <a:cubicBezTo>
                      <a:pt x="7348" y="2714"/>
                      <a:pt x="6879" y="1951"/>
                      <a:pt x="6723" y="1612"/>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2" name="Freeform 25"/>
              <p:cNvSpPr>
                <a:spLocks/>
              </p:cNvSpPr>
              <p:nvPr/>
            </p:nvSpPr>
            <p:spPr bwMode="auto">
              <a:xfrm>
                <a:off x="5840204" y="3149131"/>
                <a:ext cx="117772" cy="71265"/>
              </a:xfrm>
              <a:custGeom>
                <a:avLst/>
                <a:gdLst>
                  <a:gd name="T0" fmla="*/ 27 w 27"/>
                  <a:gd name="T1" fmla="*/ 15 h 16"/>
                  <a:gd name="T2" fmla="*/ 27 w 27"/>
                  <a:gd name="T3" fmla="*/ 16 h 16"/>
                  <a:gd name="T4" fmla="*/ 15 w 27"/>
                  <a:gd name="T5" fmla="*/ 8 h 16"/>
                  <a:gd name="T6" fmla="*/ 12 w 27"/>
                  <a:gd name="T7" fmla="*/ 5 h 16"/>
                  <a:gd name="T8" fmla="*/ 5 w 27"/>
                  <a:gd name="T9" fmla="*/ 3 h 16"/>
                  <a:gd name="T10" fmla="*/ 0 w 27"/>
                  <a:gd name="T11" fmla="*/ 0 h 16"/>
                </a:gdLst>
                <a:ahLst/>
                <a:cxnLst>
                  <a:cxn ang="0">
                    <a:pos x="T0" y="T1"/>
                  </a:cxn>
                  <a:cxn ang="0">
                    <a:pos x="T2" y="T3"/>
                  </a:cxn>
                  <a:cxn ang="0">
                    <a:pos x="T4" y="T5"/>
                  </a:cxn>
                  <a:cxn ang="0">
                    <a:pos x="T6" y="T7"/>
                  </a:cxn>
                  <a:cxn ang="0">
                    <a:pos x="T8" y="T9"/>
                  </a:cxn>
                  <a:cxn ang="0">
                    <a:pos x="T10" y="T11"/>
                  </a:cxn>
                </a:cxnLst>
                <a:rect l="0" t="0" r="r" b="b"/>
                <a:pathLst>
                  <a:path w="27" h="16">
                    <a:moveTo>
                      <a:pt x="27" y="15"/>
                    </a:moveTo>
                    <a:cubicBezTo>
                      <a:pt x="27" y="15"/>
                      <a:pt x="27" y="16"/>
                      <a:pt x="27" y="16"/>
                    </a:cubicBezTo>
                    <a:cubicBezTo>
                      <a:pt x="22" y="15"/>
                      <a:pt x="18" y="12"/>
                      <a:pt x="15" y="8"/>
                    </a:cubicBezTo>
                    <a:cubicBezTo>
                      <a:pt x="14" y="7"/>
                      <a:pt x="13" y="6"/>
                      <a:pt x="12" y="5"/>
                    </a:cubicBezTo>
                    <a:cubicBezTo>
                      <a:pt x="10" y="4"/>
                      <a:pt x="8" y="4"/>
                      <a:pt x="5" y="3"/>
                    </a:cubicBezTo>
                    <a:cubicBezTo>
                      <a:pt x="3" y="3"/>
                      <a:pt x="1" y="2"/>
                      <a:pt x="0"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3" name="Freeform 26"/>
              <p:cNvSpPr>
                <a:spLocks/>
              </p:cNvSpPr>
              <p:nvPr/>
            </p:nvSpPr>
            <p:spPr bwMode="auto">
              <a:xfrm>
                <a:off x="5964056" y="2897167"/>
                <a:ext cx="386438" cy="136905"/>
              </a:xfrm>
              <a:custGeom>
                <a:avLst/>
                <a:gdLst>
                  <a:gd name="T0" fmla="*/ 0 w 89"/>
                  <a:gd name="T1" fmla="*/ 26 h 31"/>
                  <a:gd name="T2" fmla="*/ 52 w 89"/>
                  <a:gd name="T3" fmla="*/ 26 h 31"/>
                  <a:gd name="T4" fmla="*/ 71 w 89"/>
                  <a:gd name="T5" fmla="*/ 31 h 31"/>
                  <a:gd name="T6" fmla="*/ 65 w 89"/>
                  <a:gd name="T7" fmla="*/ 25 h 31"/>
                  <a:gd name="T8" fmla="*/ 66 w 89"/>
                  <a:gd name="T9" fmla="*/ 18 h 31"/>
                  <a:gd name="T10" fmla="*/ 69 w 89"/>
                  <a:gd name="T11" fmla="*/ 16 h 31"/>
                  <a:gd name="T12" fmla="*/ 71 w 89"/>
                  <a:gd name="T13" fmla="*/ 8 h 31"/>
                  <a:gd name="T14" fmla="*/ 78 w 89"/>
                  <a:gd name="T15" fmla="*/ 0 h 31"/>
                  <a:gd name="T16" fmla="*/ 83 w 89"/>
                  <a:gd name="T17" fmla="*/ 1 h 31"/>
                  <a:gd name="T18" fmla="*/ 89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0" y="26"/>
                    </a:moveTo>
                    <a:cubicBezTo>
                      <a:pt x="17" y="27"/>
                      <a:pt x="35" y="27"/>
                      <a:pt x="52" y="26"/>
                    </a:cubicBezTo>
                    <a:cubicBezTo>
                      <a:pt x="59" y="26"/>
                      <a:pt x="67" y="26"/>
                      <a:pt x="71" y="31"/>
                    </a:cubicBezTo>
                    <a:cubicBezTo>
                      <a:pt x="69" y="29"/>
                      <a:pt x="67" y="28"/>
                      <a:pt x="65" y="25"/>
                    </a:cubicBezTo>
                    <a:cubicBezTo>
                      <a:pt x="64" y="23"/>
                      <a:pt x="64" y="19"/>
                      <a:pt x="66" y="18"/>
                    </a:cubicBezTo>
                    <a:cubicBezTo>
                      <a:pt x="67" y="17"/>
                      <a:pt x="68" y="16"/>
                      <a:pt x="69" y="16"/>
                    </a:cubicBezTo>
                    <a:cubicBezTo>
                      <a:pt x="71" y="14"/>
                      <a:pt x="71" y="10"/>
                      <a:pt x="71" y="8"/>
                    </a:cubicBezTo>
                    <a:cubicBezTo>
                      <a:pt x="71" y="4"/>
                      <a:pt x="74" y="0"/>
                      <a:pt x="78" y="0"/>
                    </a:cubicBezTo>
                    <a:cubicBezTo>
                      <a:pt x="80" y="0"/>
                      <a:pt x="81" y="1"/>
                      <a:pt x="83" y="1"/>
                    </a:cubicBezTo>
                    <a:cubicBezTo>
                      <a:pt x="85" y="2"/>
                      <a:pt x="88" y="2"/>
                      <a:pt x="89" y="0"/>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4" name="Freeform 27"/>
              <p:cNvSpPr>
                <a:spLocks/>
              </p:cNvSpPr>
              <p:nvPr/>
            </p:nvSpPr>
            <p:spPr bwMode="auto">
              <a:xfrm>
                <a:off x="487680" y="3024694"/>
                <a:ext cx="1464945" cy="146282"/>
              </a:xfrm>
              <a:custGeom>
                <a:avLst/>
                <a:gdLst>
                  <a:gd name="T0" fmla="*/ 0 w 333"/>
                  <a:gd name="T1" fmla="*/ 1 h 33"/>
                  <a:gd name="T2" fmla="*/ 168 w 333"/>
                  <a:gd name="T3" fmla="*/ 8 h 33"/>
                  <a:gd name="T4" fmla="*/ 333 w 333"/>
                  <a:gd name="T5" fmla="*/ 33 h 33"/>
                </a:gdLst>
                <a:ahLst/>
                <a:cxnLst>
                  <a:cxn ang="0">
                    <a:pos x="T0" y="T1"/>
                  </a:cxn>
                  <a:cxn ang="0">
                    <a:pos x="T2" y="T3"/>
                  </a:cxn>
                  <a:cxn ang="0">
                    <a:pos x="T4" y="T5"/>
                  </a:cxn>
                </a:cxnLst>
                <a:rect l="0" t="0" r="r" b="b"/>
                <a:pathLst>
                  <a:path w="333" h="33">
                    <a:moveTo>
                      <a:pt x="0" y="1"/>
                    </a:moveTo>
                    <a:cubicBezTo>
                      <a:pt x="11" y="0"/>
                      <a:pt x="168" y="8"/>
                      <a:pt x="168" y="8"/>
                    </a:cubicBezTo>
                    <a:cubicBezTo>
                      <a:pt x="168" y="8"/>
                      <a:pt x="290" y="25"/>
                      <a:pt x="333" y="33"/>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5" name="Freeform 28"/>
              <p:cNvSpPr>
                <a:spLocks/>
              </p:cNvSpPr>
              <p:nvPr/>
            </p:nvSpPr>
            <p:spPr bwMode="auto">
              <a:xfrm>
                <a:off x="487679" y="3525428"/>
                <a:ext cx="1545195" cy="75016"/>
              </a:xfrm>
              <a:custGeom>
                <a:avLst/>
                <a:gdLst>
                  <a:gd name="T0" fmla="*/ 0 w 348"/>
                  <a:gd name="T1" fmla="*/ 17 h 17"/>
                  <a:gd name="T2" fmla="*/ 248 w 348"/>
                  <a:gd name="T3" fmla="*/ 3 h 17"/>
                  <a:gd name="T4" fmla="*/ 348 w 348"/>
                  <a:gd name="T5" fmla="*/ 11 h 17"/>
                </a:gdLst>
                <a:ahLst/>
                <a:cxnLst>
                  <a:cxn ang="0">
                    <a:pos x="T0" y="T1"/>
                  </a:cxn>
                  <a:cxn ang="0">
                    <a:pos x="T2" y="T3"/>
                  </a:cxn>
                  <a:cxn ang="0">
                    <a:pos x="T4" y="T5"/>
                  </a:cxn>
                </a:cxnLst>
                <a:rect l="0" t="0" r="r" b="b"/>
                <a:pathLst>
                  <a:path w="348" h="17">
                    <a:moveTo>
                      <a:pt x="0" y="17"/>
                    </a:moveTo>
                    <a:cubicBezTo>
                      <a:pt x="71" y="16"/>
                      <a:pt x="178" y="8"/>
                      <a:pt x="248" y="3"/>
                    </a:cubicBezTo>
                    <a:cubicBezTo>
                      <a:pt x="294" y="0"/>
                      <a:pt x="303" y="1"/>
                      <a:pt x="348" y="1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6" name="Freeform 29"/>
              <p:cNvSpPr>
                <a:spLocks/>
              </p:cNvSpPr>
              <p:nvPr/>
            </p:nvSpPr>
            <p:spPr bwMode="auto">
              <a:xfrm>
                <a:off x="487680" y="3613572"/>
                <a:ext cx="1600077" cy="80643"/>
              </a:xfrm>
              <a:custGeom>
                <a:avLst/>
                <a:gdLst>
                  <a:gd name="T0" fmla="*/ 0 w 351"/>
                  <a:gd name="T1" fmla="*/ 18 h 18"/>
                  <a:gd name="T2" fmla="*/ 172 w 351"/>
                  <a:gd name="T3" fmla="*/ 13 h 18"/>
                  <a:gd name="T4" fmla="*/ 351 w 351"/>
                  <a:gd name="T5" fmla="*/ 0 h 18"/>
                </a:gdLst>
                <a:ahLst/>
                <a:cxnLst>
                  <a:cxn ang="0">
                    <a:pos x="T0" y="T1"/>
                  </a:cxn>
                  <a:cxn ang="0">
                    <a:pos x="T2" y="T3"/>
                  </a:cxn>
                  <a:cxn ang="0">
                    <a:pos x="T4" y="T5"/>
                  </a:cxn>
                </a:cxnLst>
                <a:rect l="0" t="0" r="r" b="b"/>
                <a:pathLst>
                  <a:path w="351" h="18">
                    <a:moveTo>
                      <a:pt x="0" y="18"/>
                    </a:moveTo>
                    <a:cubicBezTo>
                      <a:pt x="58" y="17"/>
                      <a:pt x="114" y="15"/>
                      <a:pt x="172" y="13"/>
                    </a:cubicBezTo>
                    <a:cubicBezTo>
                      <a:pt x="232" y="11"/>
                      <a:pt x="292" y="9"/>
                      <a:pt x="351"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7" name="Freeform 30"/>
              <p:cNvSpPr>
                <a:spLocks/>
              </p:cNvSpPr>
              <p:nvPr/>
            </p:nvSpPr>
            <p:spPr bwMode="auto">
              <a:xfrm>
                <a:off x="3281073" y="3968024"/>
                <a:ext cx="1340354" cy="983045"/>
              </a:xfrm>
              <a:custGeom>
                <a:avLst/>
                <a:gdLst>
                  <a:gd name="T0" fmla="*/ 0 w 314"/>
                  <a:gd name="T1" fmla="*/ 0 h 218"/>
                  <a:gd name="T2" fmla="*/ 35 w 314"/>
                  <a:gd name="T3" fmla="*/ 0 h 218"/>
                  <a:gd name="T4" fmla="*/ 122 w 314"/>
                  <a:gd name="T5" fmla="*/ 66 h 218"/>
                  <a:gd name="T6" fmla="*/ 150 w 314"/>
                  <a:gd name="T7" fmla="*/ 65 h 218"/>
                  <a:gd name="T8" fmla="*/ 194 w 314"/>
                  <a:gd name="T9" fmla="*/ 85 h 218"/>
                  <a:gd name="T10" fmla="*/ 314 w 314"/>
                  <a:gd name="T11" fmla="*/ 218 h 218"/>
                  <a:gd name="connsiteX0" fmla="*/ 0 w 9843"/>
                  <a:gd name="connsiteY0" fmla="*/ 0 h 10198"/>
                  <a:gd name="connsiteX1" fmla="*/ 1115 w 9843"/>
                  <a:gd name="connsiteY1" fmla="*/ 0 h 10198"/>
                  <a:gd name="connsiteX2" fmla="*/ 3885 w 9843"/>
                  <a:gd name="connsiteY2" fmla="*/ 3028 h 10198"/>
                  <a:gd name="connsiteX3" fmla="*/ 4777 w 9843"/>
                  <a:gd name="connsiteY3" fmla="*/ 2982 h 10198"/>
                  <a:gd name="connsiteX4" fmla="*/ 6178 w 9843"/>
                  <a:gd name="connsiteY4" fmla="*/ 3899 h 10198"/>
                  <a:gd name="connsiteX5" fmla="*/ 9843 w 9843"/>
                  <a:gd name="connsiteY5" fmla="*/ 10198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3" h="10198">
                    <a:moveTo>
                      <a:pt x="0" y="0"/>
                    </a:moveTo>
                    <a:lnTo>
                      <a:pt x="1115" y="0"/>
                    </a:lnTo>
                    <a:cubicBezTo>
                      <a:pt x="1115" y="0"/>
                      <a:pt x="3535" y="1743"/>
                      <a:pt x="3885" y="3028"/>
                    </a:cubicBezTo>
                    <a:lnTo>
                      <a:pt x="4777" y="2982"/>
                    </a:lnTo>
                    <a:lnTo>
                      <a:pt x="6178" y="3899"/>
                    </a:lnTo>
                    <a:cubicBezTo>
                      <a:pt x="10000" y="10000"/>
                      <a:pt x="9843" y="10198"/>
                      <a:pt x="9843" y="10198"/>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8" name="Freeform 31"/>
              <p:cNvSpPr>
                <a:spLocks/>
              </p:cNvSpPr>
              <p:nvPr/>
            </p:nvSpPr>
            <p:spPr bwMode="auto">
              <a:xfrm>
                <a:off x="3678552" y="4118058"/>
                <a:ext cx="927967" cy="812846"/>
              </a:xfrm>
              <a:custGeom>
                <a:avLst/>
                <a:gdLst>
                  <a:gd name="T0" fmla="*/ 0 w 204"/>
                  <a:gd name="T1" fmla="*/ 0 h 165"/>
                  <a:gd name="T2" fmla="*/ 8 w 204"/>
                  <a:gd name="T3" fmla="*/ 22 h 165"/>
                  <a:gd name="T4" fmla="*/ 15 w 204"/>
                  <a:gd name="T5" fmla="*/ 86 h 165"/>
                  <a:gd name="T6" fmla="*/ 17 w 204"/>
                  <a:gd name="T7" fmla="*/ 70 h 165"/>
                  <a:gd name="T8" fmla="*/ 204 w 204"/>
                  <a:gd name="T9" fmla="*/ 165 h 165"/>
                  <a:gd name="connsiteX0" fmla="*/ 0 w 10484"/>
                  <a:gd name="connsiteY0" fmla="*/ 0 h 11142"/>
                  <a:gd name="connsiteX1" fmla="*/ 392 w 10484"/>
                  <a:gd name="connsiteY1" fmla="*/ 1333 h 11142"/>
                  <a:gd name="connsiteX2" fmla="*/ 735 w 10484"/>
                  <a:gd name="connsiteY2" fmla="*/ 5212 h 11142"/>
                  <a:gd name="connsiteX3" fmla="*/ 833 w 10484"/>
                  <a:gd name="connsiteY3" fmla="*/ 4242 h 11142"/>
                  <a:gd name="connsiteX4" fmla="*/ 10484 w 10484"/>
                  <a:gd name="connsiteY4" fmla="*/ 11142 h 1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4" h="11142">
                    <a:moveTo>
                      <a:pt x="0" y="0"/>
                    </a:moveTo>
                    <a:lnTo>
                      <a:pt x="392" y="1333"/>
                    </a:lnTo>
                    <a:cubicBezTo>
                      <a:pt x="392" y="1333"/>
                      <a:pt x="196" y="3576"/>
                      <a:pt x="735" y="5212"/>
                    </a:cubicBezTo>
                    <a:cubicBezTo>
                      <a:pt x="735" y="5212"/>
                      <a:pt x="343" y="4182"/>
                      <a:pt x="833" y="4242"/>
                    </a:cubicBezTo>
                    <a:cubicBezTo>
                      <a:pt x="1373" y="4364"/>
                      <a:pt x="6023" y="6839"/>
                      <a:pt x="10484" y="11142"/>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9" name="Freeform 32"/>
              <p:cNvSpPr>
                <a:spLocks/>
              </p:cNvSpPr>
              <p:nvPr/>
            </p:nvSpPr>
            <p:spPr bwMode="auto">
              <a:xfrm>
                <a:off x="3557100" y="3397900"/>
                <a:ext cx="268666" cy="862687"/>
              </a:xfrm>
              <a:custGeom>
                <a:avLst/>
                <a:gdLst>
                  <a:gd name="T0" fmla="*/ 0 w 62"/>
                  <a:gd name="T1" fmla="*/ 0 h 195"/>
                  <a:gd name="T2" fmla="*/ 62 w 62"/>
                  <a:gd name="T3" fmla="*/ 195 h 195"/>
                </a:gdLst>
                <a:ahLst/>
                <a:cxnLst>
                  <a:cxn ang="0">
                    <a:pos x="T0" y="T1"/>
                  </a:cxn>
                  <a:cxn ang="0">
                    <a:pos x="T2" y="T3"/>
                  </a:cxn>
                </a:cxnLst>
                <a:rect l="0" t="0" r="r" b="b"/>
                <a:pathLst>
                  <a:path w="62" h="195">
                    <a:moveTo>
                      <a:pt x="0" y="0"/>
                    </a:moveTo>
                    <a:cubicBezTo>
                      <a:pt x="0" y="0"/>
                      <a:pt x="50" y="151"/>
                      <a:pt x="62" y="19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0" name="Freeform 33"/>
              <p:cNvSpPr>
                <a:spLocks/>
              </p:cNvSpPr>
              <p:nvPr/>
            </p:nvSpPr>
            <p:spPr bwMode="auto">
              <a:xfrm>
                <a:off x="3314196" y="3401651"/>
                <a:ext cx="230022" cy="562622"/>
              </a:xfrm>
              <a:custGeom>
                <a:avLst/>
                <a:gdLst>
                  <a:gd name="T0" fmla="*/ 0 w 53"/>
                  <a:gd name="T1" fmla="*/ 127 h 127"/>
                  <a:gd name="T2" fmla="*/ 15 w 53"/>
                  <a:gd name="T3" fmla="*/ 110 h 127"/>
                  <a:gd name="T4" fmla="*/ 53 w 53"/>
                  <a:gd name="T5" fmla="*/ 0 h 127"/>
                </a:gdLst>
                <a:ahLst/>
                <a:cxnLst>
                  <a:cxn ang="0">
                    <a:pos x="T0" y="T1"/>
                  </a:cxn>
                  <a:cxn ang="0">
                    <a:pos x="T2" y="T3"/>
                  </a:cxn>
                  <a:cxn ang="0">
                    <a:pos x="T4" y="T5"/>
                  </a:cxn>
                </a:cxnLst>
                <a:rect l="0" t="0" r="r" b="b"/>
                <a:pathLst>
                  <a:path w="53" h="127">
                    <a:moveTo>
                      <a:pt x="0" y="127"/>
                    </a:moveTo>
                    <a:cubicBezTo>
                      <a:pt x="15" y="110"/>
                      <a:pt x="15" y="110"/>
                      <a:pt x="15" y="110"/>
                    </a:cubicBezTo>
                    <a:cubicBezTo>
                      <a:pt x="15" y="110"/>
                      <a:pt x="50" y="41"/>
                      <a:pt x="53"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1" name="Line 34"/>
              <p:cNvSpPr>
                <a:spLocks noChangeShapeType="1"/>
              </p:cNvSpPr>
              <p:nvPr/>
            </p:nvSpPr>
            <p:spPr bwMode="auto">
              <a:xfrm flipV="1">
                <a:off x="3509256" y="3431658"/>
                <a:ext cx="0" cy="125652"/>
              </a:xfrm>
              <a:prstGeom prst="line">
                <a:avLst/>
              </a:prstGeom>
              <a:noFill/>
              <a:ln w="15875" cap="rnd">
                <a:solidFill>
                  <a:srgbClr val="A5A5A5"/>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2" name="Freeform 35"/>
              <p:cNvSpPr>
                <a:spLocks/>
              </p:cNvSpPr>
              <p:nvPr/>
            </p:nvSpPr>
            <p:spPr bwMode="auto">
              <a:xfrm>
                <a:off x="3441169" y="3431658"/>
                <a:ext cx="1197880" cy="1504841"/>
              </a:xfrm>
              <a:custGeom>
                <a:avLst/>
                <a:gdLst>
                  <a:gd name="T0" fmla="*/ 16 w 280"/>
                  <a:gd name="T1" fmla="*/ 0 h 329"/>
                  <a:gd name="T2" fmla="*/ 50 w 280"/>
                  <a:gd name="T3" fmla="*/ 27 h 329"/>
                  <a:gd name="T4" fmla="*/ 87 w 280"/>
                  <a:gd name="T5" fmla="*/ 72 h 329"/>
                  <a:gd name="T6" fmla="*/ 110 w 280"/>
                  <a:gd name="T7" fmla="*/ 92 h 329"/>
                  <a:gd name="T8" fmla="*/ 188 w 280"/>
                  <a:gd name="T9" fmla="*/ 154 h 329"/>
                  <a:gd name="T10" fmla="*/ 280 w 280"/>
                  <a:gd name="T11" fmla="*/ 329 h 329"/>
                  <a:gd name="T12" fmla="*/ 170 w 280"/>
                  <a:gd name="T13" fmla="*/ 200 h 329"/>
                  <a:gd name="T14" fmla="*/ 60 w 280"/>
                  <a:gd name="T15" fmla="*/ 142 h 329"/>
                  <a:gd name="T16" fmla="*/ 0 w 280"/>
                  <a:gd name="T17" fmla="*/ 123 h 329"/>
                  <a:gd name="connsiteX0" fmla="*/ 571 w 9863"/>
                  <a:gd name="connsiteY0" fmla="*/ 0 h 10327"/>
                  <a:gd name="connsiteX1" fmla="*/ 1786 w 9863"/>
                  <a:gd name="connsiteY1" fmla="*/ 821 h 10327"/>
                  <a:gd name="connsiteX2" fmla="*/ 3107 w 9863"/>
                  <a:gd name="connsiteY2" fmla="*/ 2188 h 10327"/>
                  <a:gd name="connsiteX3" fmla="*/ 3929 w 9863"/>
                  <a:gd name="connsiteY3" fmla="*/ 2796 h 10327"/>
                  <a:gd name="connsiteX4" fmla="*/ 6714 w 9863"/>
                  <a:gd name="connsiteY4" fmla="*/ 4681 h 10327"/>
                  <a:gd name="connsiteX5" fmla="*/ 9863 w 9863"/>
                  <a:gd name="connsiteY5" fmla="*/ 10327 h 10327"/>
                  <a:gd name="connsiteX6" fmla="*/ 6071 w 9863"/>
                  <a:gd name="connsiteY6" fmla="*/ 6079 h 10327"/>
                  <a:gd name="connsiteX7" fmla="*/ 2143 w 9863"/>
                  <a:gd name="connsiteY7" fmla="*/ 4316 h 10327"/>
                  <a:gd name="connsiteX8" fmla="*/ 0 w 9863"/>
                  <a:gd name="connsiteY8" fmla="*/ 3739 h 1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3" h="10327">
                    <a:moveTo>
                      <a:pt x="571" y="0"/>
                    </a:moveTo>
                    <a:cubicBezTo>
                      <a:pt x="571" y="0"/>
                      <a:pt x="1036" y="517"/>
                      <a:pt x="1786" y="821"/>
                    </a:cubicBezTo>
                    <a:cubicBezTo>
                      <a:pt x="1929" y="912"/>
                      <a:pt x="3107" y="2188"/>
                      <a:pt x="3107" y="2188"/>
                    </a:cubicBezTo>
                    <a:lnTo>
                      <a:pt x="3929" y="2796"/>
                    </a:lnTo>
                    <a:cubicBezTo>
                      <a:pt x="3929" y="2796"/>
                      <a:pt x="5725" y="3426"/>
                      <a:pt x="6714" y="4681"/>
                    </a:cubicBezTo>
                    <a:cubicBezTo>
                      <a:pt x="7703" y="5936"/>
                      <a:pt x="9327" y="8655"/>
                      <a:pt x="9863" y="10327"/>
                    </a:cubicBezTo>
                    <a:cubicBezTo>
                      <a:pt x="5934" y="6406"/>
                      <a:pt x="7358" y="7081"/>
                      <a:pt x="6071" y="6079"/>
                    </a:cubicBezTo>
                    <a:cubicBezTo>
                      <a:pt x="4784" y="5077"/>
                      <a:pt x="2143" y="4316"/>
                      <a:pt x="2143" y="4316"/>
                    </a:cubicBezTo>
                    <a:lnTo>
                      <a:pt x="0" y="3739"/>
                    </a:ln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3" name="Freeform 36"/>
              <p:cNvSpPr>
                <a:spLocks/>
              </p:cNvSpPr>
              <p:nvPr/>
            </p:nvSpPr>
            <p:spPr bwMode="auto">
              <a:xfrm>
                <a:off x="3614146" y="4931983"/>
                <a:ext cx="1240281" cy="1324038"/>
              </a:xfrm>
              <a:custGeom>
                <a:avLst/>
                <a:gdLst>
                  <a:gd name="T0" fmla="*/ 239 w 286"/>
                  <a:gd name="T1" fmla="*/ 8 h 299"/>
                  <a:gd name="T2" fmla="*/ 250 w 286"/>
                  <a:gd name="T3" fmla="*/ 0 h 299"/>
                  <a:gd name="T4" fmla="*/ 264 w 286"/>
                  <a:gd name="T5" fmla="*/ 3 h 299"/>
                  <a:gd name="T6" fmla="*/ 283 w 286"/>
                  <a:gd name="T7" fmla="*/ 11 h 299"/>
                  <a:gd name="T8" fmla="*/ 286 w 286"/>
                  <a:gd name="T9" fmla="*/ 67 h 299"/>
                  <a:gd name="T10" fmla="*/ 268 w 286"/>
                  <a:gd name="T11" fmla="*/ 121 h 299"/>
                  <a:gd name="T12" fmla="*/ 237 w 286"/>
                  <a:gd name="T13" fmla="*/ 164 h 299"/>
                  <a:gd name="T14" fmla="*/ 213 w 286"/>
                  <a:gd name="T15" fmla="*/ 171 h 299"/>
                  <a:gd name="T16" fmla="*/ 188 w 286"/>
                  <a:gd name="T17" fmla="*/ 171 h 299"/>
                  <a:gd name="T18" fmla="*/ 178 w 286"/>
                  <a:gd name="T19" fmla="*/ 155 h 299"/>
                  <a:gd name="T20" fmla="*/ 192 w 286"/>
                  <a:gd name="T21" fmla="*/ 201 h 299"/>
                  <a:gd name="T22" fmla="*/ 169 w 286"/>
                  <a:gd name="T23" fmla="*/ 246 h 299"/>
                  <a:gd name="T24" fmla="*/ 169 w 286"/>
                  <a:gd name="T25" fmla="*/ 253 h 299"/>
                  <a:gd name="T26" fmla="*/ 151 w 286"/>
                  <a:gd name="T27" fmla="*/ 273 h 299"/>
                  <a:gd name="T28" fmla="*/ 137 w 286"/>
                  <a:gd name="T29" fmla="*/ 277 h 299"/>
                  <a:gd name="T30" fmla="*/ 98 w 286"/>
                  <a:gd name="T31" fmla="*/ 272 h 299"/>
                  <a:gd name="T32" fmla="*/ 98 w 286"/>
                  <a:gd name="T33" fmla="*/ 272 h 299"/>
                  <a:gd name="T34" fmla="*/ 84 w 286"/>
                  <a:gd name="T35" fmla="*/ 257 h 299"/>
                  <a:gd name="T36" fmla="*/ 54 w 286"/>
                  <a:gd name="T37" fmla="*/ 271 h 299"/>
                  <a:gd name="T38" fmla="*/ 48 w 286"/>
                  <a:gd name="T39" fmla="*/ 270 h 299"/>
                  <a:gd name="T40" fmla="*/ 49 w 286"/>
                  <a:gd name="T41" fmla="*/ 263 h 299"/>
                  <a:gd name="T42" fmla="*/ 41 w 286"/>
                  <a:gd name="T43" fmla="*/ 259 h 299"/>
                  <a:gd name="T44" fmla="*/ 40 w 286"/>
                  <a:gd name="T45" fmla="*/ 247 h 299"/>
                  <a:gd name="T46" fmla="*/ 24 w 286"/>
                  <a:gd name="T47" fmla="*/ 244 h 299"/>
                  <a:gd name="T48" fmla="*/ 0 w 286"/>
                  <a:gd name="T49" fmla="*/ 244 h 299"/>
                  <a:gd name="T50" fmla="*/ 14 w 286"/>
                  <a:gd name="T51" fmla="*/ 248 h 299"/>
                  <a:gd name="T52" fmla="*/ 20 w 286"/>
                  <a:gd name="T53" fmla="*/ 258 h 299"/>
                  <a:gd name="T54" fmla="*/ 30 w 286"/>
                  <a:gd name="T55" fmla="*/ 269 h 299"/>
                  <a:gd name="T56" fmla="*/ 26 w 286"/>
                  <a:gd name="T57" fmla="*/ 272 h 299"/>
                  <a:gd name="T58" fmla="*/ 22 w 286"/>
                  <a:gd name="T59" fmla="*/ 277 h 299"/>
                  <a:gd name="T60" fmla="*/ 21 w 286"/>
                  <a:gd name="T61" fmla="*/ 294 h 299"/>
                  <a:gd name="T62" fmla="*/ 39 w 286"/>
                  <a:gd name="T63" fmla="*/ 299 h 299"/>
                  <a:gd name="T64" fmla="*/ 98 w 286"/>
                  <a:gd name="T65" fmla="*/ 286 h 299"/>
                  <a:gd name="T66" fmla="*/ 106 w 286"/>
                  <a:gd name="T67" fmla="*/ 27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6" h="299">
                    <a:moveTo>
                      <a:pt x="239" y="8"/>
                    </a:moveTo>
                    <a:cubicBezTo>
                      <a:pt x="250" y="0"/>
                      <a:pt x="250" y="0"/>
                      <a:pt x="250" y="0"/>
                    </a:cubicBezTo>
                    <a:cubicBezTo>
                      <a:pt x="264" y="3"/>
                      <a:pt x="264" y="3"/>
                      <a:pt x="264" y="3"/>
                    </a:cubicBezTo>
                    <a:cubicBezTo>
                      <a:pt x="283" y="11"/>
                      <a:pt x="283" y="11"/>
                      <a:pt x="283" y="11"/>
                    </a:cubicBezTo>
                    <a:cubicBezTo>
                      <a:pt x="286" y="67"/>
                      <a:pt x="286" y="67"/>
                      <a:pt x="286" y="67"/>
                    </a:cubicBezTo>
                    <a:cubicBezTo>
                      <a:pt x="268" y="121"/>
                      <a:pt x="268" y="121"/>
                      <a:pt x="268" y="121"/>
                    </a:cubicBezTo>
                    <a:cubicBezTo>
                      <a:pt x="237" y="164"/>
                      <a:pt x="237" y="164"/>
                      <a:pt x="237" y="164"/>
                    </a:cubicBezTo>
                    <a:cubicBezTo>
                      <a:pt x="213" y="171"/>
                      <a:pt x="213" y="171"/>
                      <a:pt x="213" y="171"/>
                    </a:cubicBezTo>
                    <a:cubicBezTo>
                      <a:pt x="188" y="171"/>
                      <a:pt x="188" y="171"/>
                      <a:pt x="188" y="171"/>
                    </a:cubicBezTo>
                    <a:cubicBezTo>
                      <a:pt x="178" y="155"/>
                      <a:pt x="178" y="155"/>
                      <a:pt x="178" y="155"/>
                    </a:cubicBezTo>
                    <a:cubicBezTo>
                      <a:pt x="192" y="201"/>
                      <a:pt x="192" y="201"/>
                      <a:pt x="192" y="201"/>
                    </a:cubicBezTo>
                    <a:cubicBezTo>
                      <a:pt x="169" y="246"/>
                      <a:pt x="169" y="246"/>
                      <a:pt x="169" y="246"/>
                    </a:cubicBezTo>
                    <a:cubicBezTo>
                      <a:pt x="169" y="253"/>
                      <a:pt x="169" y="253"/>
                      <a:pt x="169" y="253"/>
                    </a:cubicBezTo>
                    <a:cubicBezTo>
                      <a:pt x="151" y="273"/>
                      <a:pt x="151" y="273"/>
                      <a:pt x="151" y="273"/>
                    </a:cubicBezTo>
                    <a:cubicBezTo>
                      <a:pt x="137" y="277"/>
                      <a:pt x="137" y="277"/>
                      <a:pt x="137" y="277"/>
                    </a:cubicBezTo>
                    <a:cubicBezTo>
                      <a:pt x="98" y="272"/>
                      <a:pt x="98" y="272"/>
                      <a:pt x="98" y="272"/>
                    </a:cubicBezTo>
                    <a:cubicBezTo>
                      <a:pt x="98" y="272"/>
                      <a:pt x="98" y="272"/>
                      <a:pt x="98" y="272"/>
                    </a:cubicBezTo>
                    <a:cubicBezTo>
                      <a:pt x="94" y="266"/>
                      <a:pt x="95" y="255"/>
                      <a:pt x="84" y="257"/>
                    </a:cubicBezTo>
                    <a:cubicBezTo>
                      <a:pt x="74" y="259"/>
                      <a:pt x="65" y="270"/>
                      <a:pt x="54" y="271"/>
                    </a:cubicBezTo>
                    <a:cubicBezTo>
                      <a:pt x="52" y="271"/>
                      <a:pt x="49" y="272"/>
                      <a:pt x="48" y="270"/>
                    </a:cubicBezTo>
                    <a:cubicBezTo>
                      <a:pt x="46" y="267"/>
                      <a:pt x="50" y="266"/>
                      <a:pt x="49" y="263"/>
                    </a:cubicBezTo>
                    <a:cubicBezTo>
                      <a:pt x="49" y="257"/>
                      <a:pt x="45" y="263"/>
                      <a:pt x="41" y="259"/>
                    </a:cubicBezTo>
                    <a:cubicBezTo>
                      <a:pt x="38" y="256"/>
                      <a:pt x="42" y="250"/>
                      <a:pt x="40" y="247"/>
                    </a:cubicBezTo>
                    <a:cubicBezTo>
                      <a:pt x="37" y="242"/>
                      <a:pt x="28" y="244"/>
                      <a:pt x="24" y="244"/>
                    </a:cubicBezTo>
                    <a:cubicBezTo>
                      <a:pt x="19" y="244"/>
                      <a:pt x="1" y="240"/>
                      <a:pt x="0" y="244"/>
                    </a:cubicBezTo>
                    <a:cubicBezTo>
                      <a:pt x="7" y="245"/>
                      <a:pt x="12" y="237"/>
                      <a:pt x="14" y="248"/>
                    </a:cubicBezTo>
                    <a:cubicBezTo>
                      <a:pt x="15" y="255"/>
                      <a:pt x="13" y="254"/>
                      <a:pt x="20" y="258"/>
                    </a:cubicBezTo>
                    <a:cubicBezTo>
                      <a:pt x="22" y="260"/>
                      <a:pt x="30" y="266"/>
                      <a:pt x="30" y="269"/>
                    </a:cubicBezTo>
                    <a:cubicBezTo>
                      <a:pt x="29" y="271"/>
                      <a:pt x="27" y="271"/>
                      <a:pt x="26" y="272"/>
                    </a:cubicBezTo>
                    <a:cubicBezTo>
                      <a:pt x="22" y="275"/>
                      <a:pt x="22" y="273"/>
                      <a:pt x="22" y="277"/>
                    </a:cubicBezTo>
                    <a:cubicBezTo>
                      <a:pt x="21" y="281"/>
                      <a:pt x="21" y="294"/>
                      <a:pt x="21" y="294"/>
                    </a:cubicBezTo>
                    <a:cubicBezTo>
                      <a:pt x="39" y="299"/>
                      <a:pt x="39" y="299"/>
                      <a:pt x="39" y="299"/>
                    </a:cubicBezTo>
                    <a:cubicBezTo>
                      <a:pt x="98" y="286"/>
                      <a:pt x="98" y="286"/>
                      <a:pt x="98" y="286"/>
                    </a:cubicBezTo>
                    <a:cubicBezTo>
                      <a:pt x="98" y="286"/>
                      <a:pt x="104" y="278"/>
                      <a:pt x="106" y="273"/>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4" name="Freeform 37"/>
              <p:cNvSpPr>
                <a:spLocks/>
              </p:cNvSpPr>
              <p:nvPr/>
            </p:nvSpPr>
            <p:spPr bwMode="auto">
              <a:xfrm>
                <a:off x="4502953" y="4967616"/>
                <a:ext cx="316511" cy="699527"/>
              </a:xfrm>
              <a:custGeom>
                <a:avLst/>
                <a:gdLst>
                  <a:gd name="T0" fmla="*/ 85 w 172"/>
                  <a:gd name="T1" fmla="*/ 0 h 373"/>
                  <a:gd name="T2" fmla="*/ 116 w 172"/>
                  <a:gd name="T3" fmla="*/ 5 h 373"/>
                  <a:gd name="T4" fmla="*/ 165 w 172"/>
                  <a:gd name="T5" fmla="*/ 38 h 373"/>
                  <a:gd name="T6" fmla="*/ 172 w 172"/>
                  <a:gd name="T7" fmla="*/ 135 h 373"/>
                  <a:gd name="T8" fmla="*/ 132 w 172"/>
                  <a:gd name="T9" fmla="*/ 262 h 373"/>
                  <a:gd name="T10" fmla="*/ 59 w 172"/>
                  <a:gd name="T11" fmla="*/ 361 h 373"/>
                  <a:gd name="T12" fmla="*/ 17 w 172"/>
                  <a:gd name="T13" fmla="*/ 373 h 373"/>
                  <a:gd name="T14" fmla="*/ 0 w 172"/>
                  <a:gd name="T15" fmla="*/ 349 h 373"/>
                  <a:gd name="T16" fmla="*/ 50 w 172"/>
                  <a:gd name="T17" fmla="*/ 340 h 373"/>
                  <a:gd name="T18" fmla="*/ 113 w 172"/>
                  <a:gd name="T19" fmla="*/ 243 h 373"/>
                  <a:gd name="T20" fmla="*/ 151 w 172"/>
                  <a:gd name="T21" fmla="*/ 123 h 373"/>
                  <a:gd name="T22" fmla="*/ 144 w 172"/>
                  <a:gd name="T23" fmla="*/ 40 h 373"/>
                  <a:gd name="T24" fmla="*/ 85 w 172"/>
                  <a:gd name="T2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373">
                    <a:moveTo>
                      <a:pt x="85" y="0"/>
                    </a:moveTo>
                    <a:lnTo>
                      <a:pt x="116" y="5"/>
                    </a:lnTo>
                    <a:lnTo>
                      <a:pt x="165" y="38"/>
                    </a:lnTo>
                    <a:lnTo>
                      <a:pt x="172" y="135"/>
                    </a:lnTo>
                    <a:lnTo>
                      <a:pt x="132" y="262"/>
                    </a:lnTo>
                    <a:lnTo>
                      <a:pt x="59" y="361"/>
                    </a:lnTo>
                    <a:lnTo>
                      <a:pt x="17" y="373"/>
                    </a:lnTo>
                    <a:lnTo>
                      <a:pt x="0" y="349"/>
                    </a:lnTo>
                    <a:lnTo>
                      <a:pt x="50" y="340"/>
                    </a:lnTo>
                    <a:lnTo>
                      <a:pt x="113" y="243"/>
                    </a:lnTo>
                    <a:lnTo>
                      <a:pt x="151" y="123"/>
                    </a:lnTo>
                    <a:lnTo>
                      <a:pt x="144" y="40"/>
                    </a:lnTo>
                    <a:lnTo>
                      <a:pt x="85" y="0"/>
                    </a:ln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5" name="Freeform 38"/>
              <p:cNvSpPr>
                <a:spLocks/>
              </p:cNvSpPr>
              <p:nvPr/>
            </p:nvSpPr>
            <p:spPr bwMode="auto">
              <a:xfrm>
                <a:off x="5195169" y="2900917"/>
                <a:ext cx="513101" cy="954772"/>
              </a:xfrm>
              <a:custGeom>
                <a:avLst/>
                <a:gdLst>
                  <a:gd name="T0" fmla="*/ 102 w 102"/>
                  <a:gd name="T1" fmla="*/ 0 h 222"/>
                  <a:gd name="T2" fmla="*/ 91 w 102"/>
                  <a:gd name="T3" fmla="*/ 5 h 222"/>
                  <a:gd name="T4" fmla="*/ 57 w 102"/>
                  <a:gd name="T5" fmla="*/ 14 h 222"/>
                  <a:gd name="T6" fmla="*/ 4 w 102"/>
                  <a:gd name="T7" fmla="*/ 121 h 222"/>
                  <a:gd name="T8" fmla="*/ 0 w 102"/>
                  <a:gd name="T9" fmla="*/ 178 h 222"/>
                  <a:gd name="T10" fmla="*/ 27 w 102"/>
                  <a:gd name="T11" fmla="*/ 222 h 222"/>
                  <a:gd name="connsiteX0" fmla="*/ 11618 w 11618"/>
                  <a:gd name="connsiteY0" fmla="*/ 0 h 10000"/>
                  <a:gd name="connsiteX1" fmla="*/ 10540 w 11618"/>
                  <a:gd name="connsiteY1" fmla="*/ 225 h 10000"/>
                  <a:gd name="connsiteX2" fmla="*/ 7206 w 11618"/>
                  <a:gd name="connsiteY2" fmla="*/ 631 h 10000"/>
                  <a:gd name="connsiteX3" fmla="*/ 2010 w 11618"/>
                  <a:gd name="connsiteY3" fmla="*/ 5450 h 10000"/>
                  <a:gd name="connsiteX4" fmla="*/ 0 w 11618"/>
                  <a:gd name="connsiteY4" fmla="*/ 8091 h 10000"/>
                  <a:gd name="connsiteX5" fmla="*/ 4265 w 11618"/>
                  <a:gd name="connsiteY5" fmla="*/ 10000 h 10000"/>
                  <a:gd name="connsiteX0" fmla="*/ 11618 w 11618"/>
                  <a:gd name="connsiteY0" fmla="*/ 0 h 9796"/>
                  <a:gd name="connsiteX1" fmla="*/ 10540 w 11618"/>
                  <a:gd name="connsiteY1" fmla="*/ 225 h 9796"/>
                  <a:gd name="connsiteX2" fmla="*/ 7206 w 11618"/>
                  <a:gd name="connsiteY2" fmla="*/ 631 h 9796"/>
                  <a:gd name="connsiteX3" fmla="*/ 2010 w 11618"/>
                  <a:gd name="connsiteY3" fmla="*/ 5450 h 9796"/>
                  <a:gd name="connsiteX4" fmla="*/ 0 w 11618"/>
                  <a:gd name="connsiteY4" fmla="*/ 8091 h 9796"/>
                  <a:gd name="connsiteX5" fmla="*/ 1731 w 11618"/>
                  <a:gd name="connsiteY5" fmla="*/ 9782 h 9796"/>
                  <a:gd name="connsiteX0" fmla="*/ 10000 w 10000"/>
                  <a:gd name="connsiteY0" fmla="*/ 0 h 9918"/>
                  <a:gd name="connsiteX1" fmla="*/ 9072 w 10000"/>
                  <a:gd name="connsiteY1" fmla="*/ 230 h 9918"/>
                  <a:gd name="connsiteX2" fmla="*/ 6202 w 10000"/>
                  <a:gd name="connsiteY2" fmla="*/ 644 h 9918"/>
                  <a:gd name="connsiteX3" fmla="*/ 1730 w 10000"/>
                  <a:gd name="connsiteY3" fmla="*/ 5563 h 9918"/>
                  <a:gd name="connsiteX4" fmla="*/ 0 w 10000"/>
                  <a:gd name="connsiteY4" fmla="*/ 8259 h 9918"/>
                  <a:gd name="connsiteX5" fmla="*/ 1258 w 10000"/>
                  <a:gd name="connsiteY5" fmla="*/ 9887 h 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918">
                    <a:moveTo>
                      <a:pt x="10000" y="0"/>
                    </a:moveTo>
                    <a:cubicBezTo>
                      <a:pt x="9663" y="46"/>
                      <a:pt x="9325" y="138"/>
                      <a:pt x="9072" y="230"/>
                    </a:cubicBezTo>
                    <a:cubicBezTo>
                      <a:pt x="8143" y="413"/>
                      <a:pt x="6962" y="322"/>
                      <a:pt x="6202" y="644"/>
                    </a:cubicBezTo>
                    <a:cubicBezTo>
                      <a:pt x="1730" y="5563"/>
                      <a:pt x="2764" y="4295"/>
                      <a:pt x="1730" y="5563"/>
                    </a:cubicBezTo>
                    <a:cubicBezTo>
                      <a:pt x="696" y="6832"/>
                      <a:pt x="0" y="8259"/>
                      <a:pt x="0" y="8259"/>
                    </a:cubicBezTo>
                    <a:cubicBezTo>
                      <a:pt x="2278" y="10283"/>
                      <a:pt x="1258" y="9887"/>
                      <a:pt x="1258" y="9887"/>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6" name="Freeform 39"/>
              <p:cNvSpPr>
                <a:spLocks/>
              </p:cNvSpPr>
              <p:nvPr/>
            </p:nvSpPr>
            <p:spPr bwMode="auto">
              <a:xfrm>
                <a:off x="5470538" y="2942175"/>
                <a:ext cx="305182" cy="507179"/>
              </a:xfrm>
              <a:custGeom>
                <a:avLst/>
                <a:gdLst>
                  <a:gd name="T0" fmla="*/ 31 w 76"/>
                  <a:gd name="T1" fmla="*/ 0 h 129"/>
                  <a:gd name="T2" fmla="*/ 31 w 76"/>
                  <a:gd name="T3" fmla="*/ 6 h 129"/>
                  <a:gd name="T4" fmla="*/ 26 w 76"/>
                  <a:gd name="T5" fmla="*/ 10 h 129"/>
                  <a:gd name="T6" fmla="*/ 20 w 76"/>
                  <a:gd name="T7" fmla="*/ 21 h 129"/>
                  <a:gd name="T8" fmla="*/ 4 w 76"/>
                  <a:gd name="T9" fmla="*/ 69 h 129"/>
                  <a:gd name="T10" fmla="*/ 2 w 76"/>
                  <a:gd name="T11" fmla="*/ 78 h 129"/>
                  <a:gd name="T12" fmla="*/ 5 w 76"/>
                  <a:gd name="T13" fmla="*/ 107 h 129"/>
                  <a:gd name="T14" fmla="*/ 9 w 76"/>
                  <a:gd name="T15" fmla="*/ 118 h 129"/>
                  <a:gd name="T16" fmla="*/ 21 w 76"/>
                  <a:gd name="T17" fmla="*/ 128 h 129"/>
                  <a:gd name="T18" fmla="*/ 28 w 76"/>
                  <a:gd name="T19" fmla="*/ 122 h 129"/>
                  <a:gd name="T20" fmla="*/ 35 w 76"/>
                  <a:gd name="T21" fmla="*/ 122 h 129"/>
                  <a:gd name="T22" fmla="*/ 38 w 76"/>
                  <a:gd name="T23" fmla="*/ 114 h 129"/>
                  <a:gd name="T24" fmla="*/ 47 w 76"/>
                  <a:gd name="T25" fmla="*/ 113 h 129"/>
                  <a:gd name="T26" fmla="*/ 76 w 76"/>
                  <a:gd name="T27" fmla="*/ 104 h 129"/>
                  <a:gd name="connsiteX0" fmla="*/ 3922 w 9843"/>
                  <a:gd name="connsiteY0" fmla="*/ 0 h 9930"/>
                  <a:gd name="connsiteX1" fmla="*/ 3922 w 9843"/>
                  <a:gd name="connsiteY1" fmla="*/ 465 h 9930"/>
                  <a:gd name="connsiteX2" fmla="*/ 3264 w 9843"/>
                  <a:gd name="connsiteY2" fmla="*/ 775 h 9930"/>
                  <a:gd name="connsiteX3" fmla="*/ 2475 w 9843"/>
                  <a:gd name="connsiteY3" fmla="*/ 1628 h 9930"/>
                  <a:gd name="connsiteX4" fmla="*/ 369 w 9843"/>
                  <a:gd name="connsiteY4" fmla="*/ 5349 h 9930"/>
                  <a:gd name="connsiteX5" fmla="*/ 106 w 9843"/>
                  <a:gd name="connsiteY5" fmla="*/ 6047 h 9930"/>
                  <a:gd name="connsiteX6" fmla="*/ 501 w 9843"/>
                  <a:gd name="connsiteY6" fmla="*/ 8295 h 9930"/>
                  <a:gd name="connsiteX7" fmla="*/ 1027 w 9843"/>
                  <a:gd name="connsiteY7" fmla="*/ 9147 h 9930"/>
                  <a:gd name="connsiteX8" fmla="*/ 2606 w 9843"/>
                  <a:gd name="connsiteY8" fmla="*/ 9922 h 9930"/>
                  <a:gd name="connsiteX9" fmla="*/ 3527 w 9843"/>
                  <a:gd name="connsiteY9" fmla="*/ 9457 h 9930"/>
                  <a:gd name="connsiteX10" fmla="*/ 4448 w 9843"/>
                  <a:gd name="connsiteY10" fmla="*/ 9248 h 9930"/>
                  <a:gd name="connsiteX11" fmla="*/ 4843 w 9843"/>
                  <a:gd name="connsiteY11" fmla="*/ 8837 h 9930"/>
                  <a:gd name="connsiteX12" fmla="*/ 6027 w 9843"/>
                  <a:gd name="connsiteY12" fmla="*/ 8760 h 9930"/>
                  <a:gd name="connsiteX13" fmla="*/ 9843 w 9843"/>
                  <a:gd name="connsiteY13" fmla="*/ 8062 h 993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6123 w 10000"/>
                  <a:gd name="connsiteY12" fmla="*/ 8822 h 10000"/>
                  <a:gd name="connsiteX13" fmla="*/ 10000 w 10000"/>
                  <a:gd name="connsiteY13" fmla="*/ 8119 h 1000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8620 w 10000"/>
                  <a:gd name="connsiteY12" fmla="*/ 8486 h 10000"/>
                  <a:gd name="connsiteX13" fmla="*/ 10000 w 10000"/>
                  <a:gd name="connsiteY13" fmla="*/ 8119 h 10000"/>
                  <a:gd name="connsiteX0" fmla="*/ 3985 w 9927"/>
                  <a:gd name="connsiteY0" fmla="*/ 0 h 10000"/>
                  <a:gd name="connsiteX1" fmla="*/ 3985 w 9927"/>
                  <a:gd name="connsiteY1" fmla="*/ 468 h 10000"/>
                  <a:gd name="connsiteX2" fmla="*/ 3316 w 9927"/>
                  <a:gd name="connsiteY2" fmla="*/ 780 h 10000"/>
                  <a:gd name="connsiteX3" fmla="*/ 2514 w 9927"/>
                  <a:gd name="connsiteY3" fmla="*/ 1639 h 10000"/>
                  <a:gd name="connsiteX4" fmla="*/ 375 w 9927"/>
                  <a:gd name="connsiteY4" fmla="*/ 5387 h 10000"/>
                  <a:gd name="connsiteX5" fmla="*/ 108 w 9927"/>
                  <a:gd name="connsiteY5" fmla="*/ 6090 h 10000"/>
                  <a:gd name="connsiteX6" fmla="*/ 509 w 9927"/>
                  <a:gd name="connsiteY6" fmla="*/ 8353 h 10000"/>
                  <a:gd name="connsiteX7" fmla="*/ 1043 w 9927"/>
                  <a:gd name="connsiteY7" fmla="*/ 9211 h 10000"/>
                  <a:gd name="connsiteX8" fmla="*/ 2648 w 9927"/>
                  <a:gd name="connsiteY8" fmla="*/ 9992 h 10000"/>
                  <a:gd name="connsiteX9" fmla="*/ 3583 w 9927"/>
                  <a:gd name="connsiteY9" fmla="*/ 9524 h 10000"/>
                  <a:gd name="connsiteX10" fmla="*/ 6135 w 9927"/>
                  <a:gd name="connsiteY10" fmla="*/ 8934 h 10000"/>
                  <a:gd name="connsiteX11" fmla="*/ 4920 w 9927"/>
                  <a:gd name="connsiteY11" fmla="*/ 8899 h 10000"/>
                  <a:gd name="connsiteX12" fmla="*/ 8620 w 9927"/>
                  <a:gd name="connsiteY12" fmla="*/ 8486 h 10000"/>
                  <a:gd name="connsiteX13" fmla="*/ 9927 w 9927"/>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6106 w 10000"/>
                  <a:gd name="connsiteY10" fmla="*/ 8345 h 10000"/>
                  <a:gd name="connsiteX11" fmla="*/ 4956 w 10000"/>
                  <a:gd name="connsiteY11" fmla="*/ 8899 h 10000"/>
                  <a:gd name="connsiteX12" fmla="*/ 8683 w 10000"/>
                  <a:gd name="connsiteY12" fmla="*/ 8486 h 10000"/>
                  <a:gd name="connsiteX13" fmla="*/ 10000 w 10000"/>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4774 w 10000"/>
                  <a:gd name="connsiteY10" fmla="*/ 9060 h 10000"/>
                  <a:gd name="connsiteX11" fmla="*/ 4956 w 10000"/>
                  <a:gd name="connsiteY11" fmla="*/ 8899 h 10000"/>
                  <a:gd name="connsiteX12" fmla="*/ 8683 w 10000"/>
                  <a:gd name="connsiteY12" fmla="*/ 8486 h 10000"/>
                  <a:gd name="connsiteX13" fmla="*/ 10000 w 10000"/>
                  <a:gd name="connsiteY13" fmla="*/ 7025 h 10000"/>
                  <a:gd name="connsiteX0" fmla="*/ 4014 w 9482"/>
                  <a:gd name="connsiteY0" fmla="*/ 0 h 10000"/>
                  <a:gd name="connsiteX1" fmla="*/ 4014 w 9482"/>
                  <a:gd name="connsiteY1" fmla="*/ 468 h 10000"/>
                  <a:gd name="connsiteX2" fmla="*/ 3340 w 9482"/>
                  <a:gd name="connsiteY2" fmla="*/ 780 h 10000"/>
                  <a:gd name="connsiteX3" fmla="*/ 2532 w 9482"/>
                  <a:gd name="connsiteY3" fmla="*/ 1639 h 10000"/>
                  <a:gd name="connsiteX4" fmla="*/ 378 w 9482"/>
                  <a:gd name="connsiteY4" fmla="*/ 5387 h 10000"/>
                  <a:gd name="connsiteX5" fmla="*/ 109 w 9482"/>
                  <a:gd name="connsiteY5" fmla="*/ 6090 h 10000"/>
                  <a:gd name="connsiteX6" fmla="*/ 513 w 9482"/>
                  <a:gd name="connsiteY6" fmla="*/ 8353 h 10000"/>
                  <a:gd name="connsiteX7" fmla="*/ 1051 w 9482"/>
                  <a:gd name="connsiteY7" fmla="*/ 9211 h 10000"/>
                  <a:gd name="connsiteX8" fmla="*/ 2667 w 9482"/>
                  <a:gd name="connsiteY8" fmla="*/ 9992 h 10000"/>
                  <a:gd name="connsiteX9" fmla="*/ 3609 w 9482"/>
                  <a:gd name="connsiteY9" fmla="*/ 9524 h 10000"/>
                  <a:gd name="connsiteX10" fmla="*/ 4774 w 9482"/>
                  <a:gd name="connsiteY10" fmla="*/ 9060 h 10000"/>
                  <a:gd name="connsiteX11" fmla="*/ 4956 w 9482"/>
                  <a:gd name="connsiteY11" fmla="*/ 8899 h 10000"/>
                  <a:gd name="connsiteX12" fmla="*/ 8683 w 9482"/>
                  <a:gd name="connsiteY12" fmla="*/ 8486 h 10000"/>
                  <a:gd name="connsiteX13" fmla="*/ 9482 w 9482"/>
                  <a:gd name="connsiteY13"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82" h="10000">
                    <a:moveTo>
                      <a:pt x="4014" y="0"/>
                    </a:moveTo>
                    <a:cubicBezTo>
                      <a:pt x="4283" y="79"/>
                      <a:pt x="4149" y="312"/>
                      <a:pt x="4014" y="468"/>
                    </a:cubicBezTo>
                    <a:cubicBezTo>
                      <a:pt x="3878" y="547"/>
                      <a:pt x="3609" y="624"/>
                      <a:pt x="3340" y="780"/>
                    </a:cubicBezTo>
                    <a:cubicBezTo>
                      <a:pt x="2936" y="1015"/>
                      <a:pt x="2802" y="1327"/>
                      <a:pt x="2532" y="1639"/>
                    </a:cubicBezTo>
                    <a:cubicBezTo>
                      <a:pt x="1860" y="2888"/>
                      <a:pt x="1186" y="4138"/>
                      <a:pt x="378" y="5387"/>
                    </a:cubicBezTo>
                    <a:cubicBezTo>
                      <a:pt x="244" y="5620"/>
                      <a:pt x="109" y="5855"/>
                      <a:pt x="109" y="6090"/>
                    </a:cubicBezTo>
                    <a:cubicBezTo>
                      <a:pt x="-161" y="6870"/>
                      <a:pt x="109" y="7651"/>
                      <a:pt x="513" y="8353"/>
                    </a:cubicBezTo>
                    <a:cubicBezTo>
                      <a:pt x="647" y="8666"/>
                      <a:pt x="917" y="8978"/>
                      <a:pt x="1051" y="9211"/>
                    </a:cubicBezTo>
                    <a:cubicBezTo>
                      <a:pt x="1321" y="9602"/>
                      <a:pt x="1994" y="10070"/>
                      <a:pt x="2667" y="9992"/>
                    </a:cubicBezTo>
                    <a:cubicBezTo>
                      <a:pt x="3071" y="9914"/>
                      <a:pt x="3340" y="9680"/>
                      <a:pt x="3609" y="9524"/>
                    </a:cubicBezTo>
                    <a:cubicBezTo>
                      <a:pt x="3878" y="9446"/>
                      <a:pt x="4505" y="8827"/>
                      <a:pt x="4774" y="9060"/>
                    </a:cubicBezTo>
                    <a:cubicBezTo>
                      <a:pt x="4640" y="8827"/>
                      <a:pt x="4687" y="9055"/>
                      <a:pt x="4956" y="8899"/>
                    </a:cubicBezTo>
                    <a:cubicBezTo>
                      <a:pt x="5361" y="8822"/>
                      <a:pt x="8279" y="8486"/>
                      <a:pt x="8683" y="8486"/>
                    </a:cubicBezTo>
                    <a:cubicBezTo>
                      <a:pt x="10030" y="8407"/>
                      <a:pt x="8270" y="7994"/>
                      <a:pt x="9482" y="76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7" name="Freeform 40"/>
              <p:cNvSpPr>
                <a:spLocks/>
              </p:cNvSpPr>
              <p:nvPr/>
            </p:nvSpPr>
            <p:spPr bwMode="auto">
              <a:xfrm>
                <a:off x="4799301" y="3231910"/>
                <a:ext cx="2855565" cy="2904538"/>
              </a:xfrm>
              <a:custGeom>
                <a:avLst/>
                <a:gdLst>
                  <a:gd name="T0" fmla="*/ 265 w 651"/>
                  <a:gd name="T1" fmla="*/ 0 h 649"/>
                  <a:gd name="T2" fmla="*/ 259 w 651"/>
                  <a:gd name="T3" fmla="*/ 33 h 649"/>
                  <a:gd name="T4" fmla="*/ 254 w 651"/>
                  <a:gd name="T5" fmla="*/ 46 h 649"/>
                  <a:gd name="T6" fmla="*/ 246 w 651"/>
                  <a:gd name="T7" fmla="*/ 52 h 649"/>
                  <a:gd name="T8" fmla="*/ 186 w 651"/>
                  <a:gd name="T9" fmla="*/ 71 h 649"/>
                  <a:gd name="T10" fmla="*/ 177 w 651"/>
                  <a:gd name="T11" fmla="*/ 76 h 649"/>
                  <a:gd name="T12" fmla="*/ 137 w 651"/>
                  <a:gd name="T13" fmla="*/ 90 h 649"/>
                  <a:gd name="T14" fmla="*/ 128 w 651"/>
                  <a:gd name="T15" fmla="*/ 96 h 649"/>
                  <a:gd name="T16" fmla="*/ 123 w 651"/>
                  <a:gd name="T17" fmla="*/ 103 h 649"/>
                  <a:gd name="T18" fmla="*/ 107 w 651"/>
                  <a:gd name="T19" fmla="*/ 139 h 649"/>
                  <a:gd name="T20" fmla="*/ 98 w 651"/>
                  <a:gd name="T21" fmla="*/ 143 h 649"/>
                  <a:gd name="T22" fmla="*/ 31 w 651"/>
                  <a:gd name="T23" fmla="*/ 264 h 649"/>
                  <a:gd name="T24" fmla="*/ 127 w 651"/>
                  <a:gd name="T25" fmla="*/ 360 h 649"/>
                  <a:gd name="T26" fmla="*/ 234 w 651"/>
                  <a:gd name="T27" fmla="*/ 348 h 649"/>
                  <a:gd name="T28" fmla="*/ 245 w 651"/>
                  <a:gd name="T29" fmla="*/ 349 h 649"/>
                  <a:gd name="T30" fmla="*/ 262 w 651"/>
                  <a:gd name="T31" fmla="*/ 383 h 649"/>
                  <a:gd name="T32" fmla="*/ 334 w 651"/>
                  <a:gd name="T33" fmla="*/ 622 h 649"/>
                  <a:gd name="T34" fmla="*/ 363 w 651"/>
                  <a:gd name="T35" fmla="*/ 622 h 649"/>
                  <a:gd name="T36" fmla="*/ 356 w 651"/>
                  <a:gd name="T37" fmla="*/ 628 h 649"/>
                  <a:gd name="T38" fmla="*/ 401 w 651"/>
                  <a:gd name="T39" fmla="*/ 641 h 649"/>
                  <a:gd name="T40" fmla="*/ 469 w 651"/>
                  <a:gd name="T41" fmla="*/ 610 h 649"/>
                  <a:gd name="T42" fmla="*/ 471 w 651"/>
                  <a:gd name="T43" fmla="*/ 603 h 649"/>
                  <a:gd name="T44" fmla="*/ 463 w 651"/>
                  <a:gd name="T45" fmla="*/ 584 h 649"/>
                  <a:gd name="T46" fmla="*/ 465 w 651"/>
                  <a:gd name="T47" fmla="*/ 580 h 649"/>
                  <a:gd name="T48" fmla="*/ 541 w 651"/>
                  <a:gd name="T49" fmla="*/ 456 h 649"/>
                  <a:gd name="T50" fmla="*/ 572 w 651"/>
                  <a:gd name="T51" fmla="*/ 354 h 649"/>
                  <a:gd name="T52" fmla="*/ 651 w 651"/>
                  <a:gd name="T53" fmla="*/ 251 h 649"/>
                  <a:gd name="T54" fmla="*/ 548 w 651"/>
                  <a:gd name="T55" fmla="*/ 269 h 649"/>
                  <a:gd name="T56" fmla="*/ 549 w 651"/>
                  <a:gd name="T57" fmla="*/ 270 h 649"/>
                  <a:gd name="T58" fmla="*/ 547 w 651"/>
                  <a:gd name="T59" fmla="*/ 262 h 649"/>
                  <a:gd name="T60" fmla="*/ 544 w 651"/>
                  <a:gd name="T61" fmla="*/ 250 h 649"/>
                  <a:gd name="T62" fmla="*/ 515 w 651"/>
                  <a:gd name="T63" fmla="*/ 216 h 649"/>
                  <a:gd name="T64" fmla="*/ 515 w 651"/>
                  <a:gd name="T65" fmla="*/ 207 h 649"/>
                  <a:gd name="T66" fmla="*/ 518 w 651"/>
                  <a:gd name="T67" fmla="*/ 194 h 649"/>
                  <a:gd name="T68" fmla="*/ 507 w 651"/>
                  <a:gd name="T69" fmla="*/ 190 h 649"/>
                  <a:gd name="T70" fmla="*/ 475 w 651"/>
                  <a:gd name="T71" fmla="*/ 139 h 649"/>
                  <a:gd name="T72" fmla="*/ 469 w 651"/>
                  <a:gd name="T73" fmla="*/ 130 h 649"/>
                  <a:gd name="T74" fmla="*/ 463 w 651"/>
                  <a:gd name="T75" fmla="*/ 129 h 649"/>
                  <a:gd name="T76" fmla="*/ 447 w 651"/>
                  <a:gd name="T77" fmla="*/ 115 h 649"/>
                  <a:gd name="T78" fmla="*/ 441 w 651"/>
                  <a:gd name="T79" fmla="*/ 99 h 649"/>
                  <a:gd name="T80" fmla="*/ 366 w 651"/>
                  <a:gd name="T81" fmla="*/ 83 h 649"/>
                  <a:gd name="T82" fmla="*/ 315 w 651"/>
                  <a:gd name="T83" fmla="*/ 57 h 649"/>
                  <a:gd name="T84" fmla="*/ 284 w 651"/>
                  <a:gd name="T85" fmla="*/ 47 h 649"/>
                  <a:gd name="T86" fmla="*/ 265 w 651"/>
                  <a:gd name="T87"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1" h="649">
                    <a:moveTo>
                      <a:pt x="265" y="0"/>
                    </a:moveTo>
                    <a:cubicBezTo>
                      <a:pt x="263" y="11"/>
                      <a:pt x="262" y="22"/>
                      <a:pt x="259" y="33"/>
                    </a:cubicBezTo>
                    <a:cubicBezTo>
                      <a:pt x="258" y="38"/>
                      <a:pt x="257" y="42"/>
                      <a:pt x="254" y="46"/>
                    </a:cubicBezTo>
                    <a:cubicBezTo>
                      <a:pt x="252" y="48"/>
                      <a:pt x="249" y="50"/>
                      <a:pt x="246" y="52"/>
                    </a:cubicBezTo>
                    <a:cubicBezTo>
                      <a:pt x="227" y="62"/>
                      <a:pt x="207" y="69"/>
                      <a:pt x="186" y="71"/>
                    </a:cubicBezTo>
                    <a:cubicBezTo>
                      <a:pt x="182" y="71"/>
                      <a:pt x="178" y="72"/>
                      <a:pt x="177" y="76"/>
                    </a:cubicBezTo>
                    <a:cubicBezTo>
                      <a:pt x="162" y="76"/>
                      <a:pt x="149" y="83"/>
                      <a:pt x="137" y="90"/>
                    </a:cubicBezTo>
                    <a:cubicBezTo>
                      <a:pt x="134" y="92"/>
                      <a:pt x="131" y="93"/>
                      <a:pt x="128" y="96"/>
                    </a:cubicBezTo>
                    <a:cubicBezTo>
                      <a:pt x="126" y="98"/>
                      <a:pt x="124" y="101"/>
                      <a:pt x="123" y="103"/>
                    </a:cubicBezTo>
                    <a:cubicBezTo>
                      <a:pt x="116" y="115"/>
                      <a:pt x="109" y="126"/>
                      <a:pt x="107" y="139"/>
                    </a:cubicBezTo>
                    <a:cubicBezTo>
                      <a:pt x="104" y="139"/>
                      <a:pt x="100" y="141"/>
                      <a:pt x="98" y="143"/>
                    </a:cubicBezTo>
                    <a:cubicBezTo>
                      <a:pt x="98" y="143"/>
                      <a:pt x="0" y="160"/>
                      <a:pt x="31" y="264"/>
                    </a:cubicBezTo>
                    <a:cubicBezTo>
                      <a:pt x="62" y="367"/>
                      <a:pt x="127" y="360"/>
                      <a:pt x="127" y="360"/>
                    </a:cubicBezTo>
                    <a:cubicBezTo>
                      <a:pt x="127" y="360"/>
                      <a:pt x="207" y="353"/>
                      <a:pt x="234" y="348"/>
                    </a:cubicBezTo>
                    <a:cubicBezTo>
                      <a:pt x="237" y="347"/>
                      <a:pt x="241" y="347"/>
                      <a:pt x="245" y="349"/>
                    </a:cubicBezTo>
                    <a:cubicBezTo>
                      <a:pt x="254" y="354"/>
                      <a:pt x="261" y="360"/>
                      <a:pt x="262" y="383"/>
                    </a:cubicBezTo>
                    <a:cubicBezTo>
                      <a:pt x="262" y="411"/>
                      <a:pt x="269" y="576"/>
                      <a:pt x="334" y="622"/>
                    </a:cubicBezTo>
                    <a:cubicBezTo>
                      <a:pt x="345" y="631"/>
                      <a:pt x="363" y="622"/>
                      <a:pt x="363" y="622"/>
                    </a:cubicBezTo>
                    <a:cubicBezTo>
                      <a:pt x="356" y="628"/>
                      <a:pt x="356" y="628"/>
                      <a:pt x="356" y="628"/>
                    </a:cubicBezTo>
                    <a:cubicBezTo>
                      <a:pt x="356" y="628"/>
                      <a:pt x="363" y="649"/>
                      <a:pt x="401" y="641"/>
                    </a:cubicBezTo>
                    <a:cubicBezTo>
                      <a:pt x="431" y="634"/>
                      <a:pt x="459" y="616"/>
                      <a:pt x="469" y="610"/>
                    </a:cubicBezTo>
                    <a:cubicBezTo>
                      <a:pt x="471" y="608"/>
                      <a:pt x="472" y="605"/>
                      <a:pt x="471" y="603"/>
                    </a:cubicBezTo>
                    <a:cubicBezTo>
                      <a:pt x="463" y="584"/>
                      <a:pt x="463" y="584"/>
                      <a:pt x="463" y="584"/>
                    </a:cubicBezTo>
                    <a:cubicBezTo>
                      <a:pt x="463" y="582"/>
                      <a:pt x="463" y="581"/>
                      <a:pt x="465" y="580"/>
                    </a:cubicBezTo>
                    <a:cubicBezTo>
                      <a:pt x="480" y="575"/>
                      <a:pt x="540" y="548"/>
                      <a:pt x="541" y="456"/>
                    </a:cubicBezTo>
                    <a:cubicBezTo>
                      <a:pt x="541" y="380"/>
                      <a:pt x="532" y="398"/>
                      <a:pt x="572" y="354"/>
                    </a:cubicBezTo>
                    <a:cubicBezTo>
                      <a:pt x="612" y="310"/>
                      <a:pt x="620" y="310"/>
                      <a:pt x="651" y="251"/>
                    </a:cubicBezTo>
                    <a:cubicBezTo>
                      <a:pt x="548" y="269"/>
                      <a:pt x="548" y="269"/>
                      <a:pt x="548" y="269"/>
                    </a:cubicBezTo>
                    <a:cubicBezTo>
                      <a:pt x="549" y="270"/>
                      <a:pt x="549" y="270"/>
                      <a:pt x="549" y="270"/>
                    </a:cubicBezTo>
                    <a:cubicBezTo>
                      <a:pt x="547" y="262"/>
                      <a:pt x="547" y="262"/>
                      <a:pt x="547" y="262"/>
                    </a:cubicBezTo>
                    <a:cubicBezTo>
                      <a:pt x="544" y="250"/>
                      <a:pt x="544" y="250"/>
                      <a:pt x="544" y="250"/>
                    </a:cubicBezTo>
                    <a:cubicBezTo>
                      <a:pt x="515" y="216"/>
                      <a:pt x="515" y="216"/>
                      <a:pt x="515" y="216"/>
                    </a:cubicBezTo>
                    <a:cubicBezTo>
                      <a:pt x="515" y="207"/>
                      <a:pt x="515" y="207"/>
                      <a:pt x="515" y="207"/>
                    </a:cubicBezTo>
                    <a:cubicBezTo>
                      <a:pt x="518" y="194"/>
                      <a:pt x="518" y="194"/>
                      <a:pt x="518" y="194"/>
                    </a:cubicBezTo>
                    <a:cubicBezTo>
                      <a:pt x="507" y="190"/>
                      <a:pt x="507" y="190"/>
                      <a:pt x="507" y="190"/>
                    </a:cubicBezTo>
                    <a:cubicBezTo>
                      <a:pt x="475" y="139"/>
                      <a:pt x="475" y="139"/>
                      <a:pt x="475" y="139"/>
                    </a:cubicBezTo>
                    <a:cubicBezTo>
                      <a:pt x="469" y="130"/>
                      <a:pt x="469" y="130"/>
                      <a:pt x="469" y="130"/>
                    </a:cubicBezTo>
                    <a:cubicBezTo>
                      <a:pt x="463" y="129"/>
                      <a:pt x="463" y="129"/>
                      <a:pt x="463" y="129"/>
                    </a:cubicBezTo>
                    <a:cubicBezTo>
                      <a:pt x="447" y="115"/>
                      <a:pt x="447" y="115"/>
                      <a:pt x="447" y="115"/>
                    </a:cubicBezTo>
                    <a:cubicBezTo>
                      <a:pt x="441" y="99"/>
                      <a:pt x="441" y="99"/>
                      <a:pt x="441" y="99"/>
                    </a:cubicBezTo>
                    <a:cubicBezTo>
                      <a:pt x="441" y="99"/>
                      <a:pt x="431" y="85"/>
                      <a:pt x="366" y="83"/>
                    </a:cubicBezTo>
                    <a:cubicBezTo>
                      <a:pt x="349" y="82"/>
                      <a:pt x="315" y="57"/>
                      <a:pt x="315" y="57"/>
                    </a:cubicBezTo>
                    <a:cubicBezTo>
                      <a:pt x="315" y="57"/>
                      <a:pt x="292" y="56"/>
                      <a:pt x="284" y="47"/>
                    </a:cubicBezTo>
                    <a:cubicBezTo>
                      <a:pt x="277" y="37"/>
                      <a:pt x="265" y="0"/>
                      <a:pt x="265" y="0"/>
                    </a:cubicBez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8" name="Freeform 41"/>
              <p:cNvSpPr>
                <a:spLocks/>
              </p:cNvSpPr>
              <p:nvPr/>
            </p:nvSpPr>
            <p:spPr bwMode="auto">
              <a:xfrm>
                <a:off x="7593641" y="4083735"/>
                <a:ext cx="1436154" cy="597552"/>
              </a:xfrm>
              <a:custGeom>
                <a:avLst/>
                <a:gdLst>
                  <a:gd name="T0" fmla="*/ 0 w 298"/>
                  <a:gd name="T1" fmla="*/ 38 h 106"/>
                  <a:gd name="T2" fmla="*/ 116 w 298"/>
                  <a:gd name="T3" fmla="*/ 0 h 106"/>
                  <a:gd name="T4" fmla="*/ 128 w 298"/>
                  <a:gd name="T5" fmla="*/ 71 h 106"/>
                  <a:gd name="T6" fmla="*/ 167 w 298"/>
                  <a:gd name="T7" fmla="*/ 92 h 106"/>
                  <a:gd name="T8" fmla="*/ 168 w 298"/>
                  <a:gd name="T9" fmla="*/ 104 h 106"/>
                  <a:gd name="T10" fmla="*/ 190 w 298"/>
                  <a:gd name="T11" fmla="*/ 100 h 106"/>
                  <a:gd name="T12" fmla="*/ 163 w 298"/>
                  <a:gd name="T13" fmla="*/ 45 h 106"/>
                  <a:gd name="T14" fmla="*/ 226 w 298"/>
                  <a:gd name="T15" fmla="*/ 81 h 106"/>
                  <a:gd name="T16" fmla="*/ 298 w 298"/>
                  <a:gd name="T17" fmla="*/ 94 h 106"/>
                  <a:gd name="connsiteX0" fmla="*/ 0 w 10774"/>
                  <a:gd name="connsiteY0" fmla="*/ 3358 h 10122"/>
                  <a:gd name="connsiteX1" fmla="*/ 4667 w 10774"/>
                  <a:gd name="connsiteY1" fmla="*/ 281 h 10122"/>
                  <a:gd name="connsiteX2" fmla="*/ 5069 w 10774"/>
                  <a:gd name="connsiteY2" fmla="*/ 6979 h 10122"/>
                  <a:gd name="connsiteX3" fmla="*/ 6378 w 10774"/>
                  <a:gd name="connsiteY3" fmla="*/ 8960 h 10122"/>
                  <a:gd name="connsiteX4" fmla="*/ 6412 w 10774"/>
                  <a:gd name="connsiteY4" fmla="*/ 10092 h 10122"/>
                  <a:gd name="connsiteX5" fmla="*/ 7150 w 10774"/>
                  <a:gd name="connsiteY5" fmla="*/ 9715 h 10122"/>
                  <a:gd name="connsiteX6" fmla="*/ 6244 w 10774"/>
                  <a:gd name="connsiteY6" fmla="*/ 4526 h 10122"/>
                  <a:gd name="connsiteX7" fmla="*/ 8358 w 10774"/>
                  <a:gd name="connsiteY7" fmla="*/ 7923 h 10122"/>
                  <a:gd name="connsiteX8" fmla="*/ 10774 w 10774"/>
                  <a:gd name="connsiteY8" fmla="*/ 9149 h 10122"/>
                  <a:gd name="connsiteX0" fmla="*/ 0 w 10774"/>
                  <a:gd name="connsiteY0" fmla="*/ 5801 h 12565"/>
                  <a:gd name="connsiteX1" fmla="*/ 4347 w 10774"/>
                  <a:gd name="connsiteY1" fmla="*/ 83 h 12565"/>
                  <a:gd name="connsiteX2" fmla="*/ 5069 w 10774"/>
                  <a:gd name="connsiteY2" fmla="*/ 9422 h 12565"/>
                  <a:gd name="connsiteX3" fmla="*/ 6378 w 10774"/>
                  <a:gd name="connsiteY3" fmla="*/ 11403 h 12565"/>
                  <a:gd name="connsiteX4" fmla="*/ 6412 w 10774"/>
                  <a:gd name="connsiteY4" fmla="*/ 12535 h 12565"/>
                  <a:gd name="connsiteX5" fmla="*/ 7150 w 10774"/>
                  <a:gd name="connsiteY5" fmla="*/ 12158 h 12565"/>
                  <a:gd name="connsiteX6" fmla="*/ 6244 w 10774"/>
                  <a:gd name="connsiteY6" fmla="*/ 6969 h 12565"/>
                  <a:gd name="connsiteX7" fmla="*/ 8358 w 10774"/>
                  <a:gd name="connsiteY7" fmla="*/ 10366 h 12565"/>
                  <a:gd name="connsiteX8" fmla="*/ 10774 w 10774"/>
                  <a:gd name="connsiteY8" fmla="*/ 11592 h 12565"/>
                  <a:gd name="connsiteX0" fmla="*/ 0 w 10774"/>
                  <a:gd name="connsiteY0" fmla="*/ 5889 h 12653"/>
                  <a:gd name="connsiteX1" fmla="*/ 4347 w 10774"/>
                  <a:gd name="connsiteY1" fmla="*/ 171 h 12653"/>
                  <a:gd name="connsiteX2" fmla="*/ 5069 w 10774"/>
                  <a:gd name="connsiteY2" fmla="*/ 9510 h 12653"/>
                  <a:gd name="connsiteX3" fmla="*/ 6378 w 10774"/>
                  <a:gd name="connsiteY3" fmla="*/ 11491 h 12653"/>
                  <a:gd name="connsiteX4" fmla="*/ 6412 w 10774"/>
                  <a:gd name="connsiteY4" fmla="*/ 12623 h 12653"/>
                  <a:gd name="connsiteX5" fmla="*/ 7150 w 10774"/>
                  <a:gd name="connsiteY5" fmla="*/ 12246 h 12653"/>
                  <a:gd name="connsiteX6" fmla="*/ 6244 w 10774"/>
                  <a:gd name="connsiteY6" fmla="*/ 7057 h 12653"/>
                  <a:gd name="connsiteX7" fmla="*/ 8358 w 10774"/>
                  <a:gd name="connsiteY7" fmla="*/ 10454 h 12653"/>
                  <a:gd name="connsiteX8" fmla="*/ 10774 w 10774"/>
                  <a:gd name="connsiteY8" fmla="*/ 11680 h 12653"/>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6244 w 10774"/>
                  <a:gd name="connsiteY6" fmla="*/ 7057 h 12745"/>
                  <a:gd name="connsiteX7" fmla="*/ 8358 w 10774"/>
                  <a:gd name="connsiteY7" fmla="*/ 10454 h 12745"/>
                  <a:gd name="connsiteX8" fmla="*/ 10774 w 10774"/>
                  <a:gd name="connsiteY8" fmla="*/ 11680 h 12745"/>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5912 w 10774"/>
                  <a:gd name="connsiteY6" fmla="*/ 5736 h 12745"/>
                  <a:gd name="connsiteX7" fmla="*/ 8358 w 10774"/>
                  <a:gd name="connsiteY7" fmla="*/ 10454 h 12745"/>
                  <a:gd name="connsiteX8" fmla="*/ 10774 w 10774"/>
                  <a:gd name="connsiteY8" fmla="*/ 11680 h 1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4" h="12745">
                    <a:moveTo>
                      <a:pt x="0" y="5889"/>
                    </a:moveTo>
                    <a:cubicBezTo>
                      <a:pt x="3893" y="2304"/>
                      <a:pt x="4141" y="-771"/>
                      <a:pt x="4347" y="171"/>
                    </a:cubicBezTo>
                    <a:cubicBezTo>
                      <a:pt x="4553" y="1113"/>
                      <a:pt x="4365" y="6397"/>
                      <a:pt x="5069" y="9510"/>
                    </a:cubicBezTo>
                    <a:cubicBezTo>
                      <a:pt x="5740" y="12529"/>
                      <a:pt x="5848" y="12115"/>
                      <a:pt x="6083" y="10983"/>
                    </a:cubicBezTo>
                    <a:cubicBezTo>
                      <a:pt x="6094" y="11360"/>
                      <a:pt x="6234" y="12413"/>
                      <a:pt x="6412" y="12623"/>
                    </a:cubicBezTo>
                    <a:cubicBezTo>
                      <a:pt x="6590" y="12834"/>
                      <a:pt x="7116" y="12812"/>
                      <a:pt x="7150" y="12246"/>
                    </a:cubicBezTo>
                    <a:cubicBezTo>
                      <a:pt x="7150" y="11680"/>
                      <a:pt x="6516" y="6963"/>
                      <a:pt x="5912" y="5736"/>
                    </a:cubicBezTo>
                    <a:lnTo>
                      <a:pt x="8358" y="10454"/>
                    </a:lnTo>
                    <a:lnTo>
                      <a:pt x="10774" y="11680"/>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9" name="Line 42"/>
              <p:cNvSpPr>
                <a:spLocks noChangeShapeType="1"/>
              </p:cNvSpPr>
              <p:nvPr/>
            </p:nvSpPr>
            <p:spPr bwMode="auto">
              <a:xfrm>
                <a:off x="8496777" y="4591868"/>
                <a:ext cx="19450" cy="76040"/>
              </a:xfrm>
              <a:custGeom>
                <a:avLst/>
                <a:gdLst>
                  <a:gd name="connsiteX0" fmla="*/ 0 w 10000"/>
                  <a:gd name="connsiteY0" fmla="*/ 0 h 10000"/>
                  <a:gd name="connsiteX1" fmla="*/ 10000 w 10000"/>
                  <a:gd name="connsiteY1" fmla="*/ 10000 h 10000"/>
                  <a:gd name="connsiteX0" fmla="*/ 96542 w 96622"/>
                  <a:gd name="connsiteY0" fmla="*/ 0 h 9141"/>
                  <a:gd name="connsiteX1" fmla="*/ 79 w 96622"/>
                  <a:gd name="connsiteY1" fmla="*/ 9141 h 9141"/>
                </a:gdLst>
                <a:ahLst/>
                <a:cxnLst>
                  <a:cxn ang="0">
                    <a:pos x="connsiteX0" y="connsiteY0"/>
                  </a:cxn>
                  <a:cxn ang="0">
                    <a:pos x="connsiteX1" y="connsiteY1"/>
                  </a:cxn>
                </a:cxnLst>
                <a:rect l="l" t="t" r="r" b="b"/>
                <a:pathLst>
                  <a:path w="96622" h="9141">
                    <a:moveTo>
                      <a:pt x="96542" y="0"/>
                    </a:moveTo>
                    <a:cubicBezTo>
                      <a:pt x="99875" y="3333"/>
                      <a:pt x="-3254" y="5808"/>
                      <a:pt x="79" y="9141"/>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0" name="Freeform 43"/>
              <p:cNvSpPr>
                <a:spLocks/>
              </p:cNvSpPr>
              <p:nvPr/>
            </p:nvSpPr>
            <p:spPr bwMode="auto">
              <a:xfrm>
                <a:off x="8201093" y="4149939"/>
                <a:ext cx="256407" cy="247554"/>
              </a:xfrm>
              <a:custGeom>
                <a:avLst/>
                <a:gdLst>
                  <a:gd name="T0" fmla="*/ 48 w 49"/>
                  <a:gd name="T1" fmla="*/ 60 h 67"/>
                  <a:gd name="T2" fmla="*/ 41 w 49"/>
                  <a:gd name="T3" fmla="*/ 62 h 67"/>
                  <a:gd name="T4" fmla="*/ 39 w 49"/>
                  <a:gd name="T5" fmla="*/ 65 h 67"/>
                  <a:gd name="T6" fmla="*/ 32 w 49"/>
                  <a:gd name="T7" fmla="*/ 67 h 67"/>
                  <a:gd name="T8" fmla="*/ 21 w 49"/>
                  <a:gd name="T9" fmla="*/ 66 h 67"/>
                  <a:gd name="T10" fmla="*/ 13 w 49"/>
                  <a:gd name="T11" fmla="*/ 60 h 67"/>
                  <a:gd name="T12" fmla="*/ 9 w 49"/>
                  <a:gd name="T13" fmla="*/ 50 h 67"/>
                  <a:gd name="T14" fmla="*/ 6 w 49"/>
                  <a:gd name="T15" fmla="*/ 46 h 67"/>
                  <a:gd name="T16" fmla="*/ 5 w 49"/>
                  <a:gd name="T17" fmla="*/ 39 h 67"/>
                  <a:gd name="T18" fmla="*/ 4 w 49"/>
                  <a:gd name="T19" fmla="*/ 31 h 67"/>
                  <a:gd name="T20" fmla="*/ 3 w 49"/>
                  <a:gd name="T21" fmla="*/ 26 h 67"/>
                  <a:gd name="T22" fmla="*/ 1 w 49"/>
                  <a:gd name="T23" fmla="*/ 25 h 67"/>
                  <a:gd name="T24" fmla="*/ 0 w 49"/>
                  <a:gd name="T25" fmla="*/ 22 h 67"/>
                  <a:gd name="T26" fmla="*/ 0 w 49"/>
                  <a:gd name="T27" fmla="*/ 13 h 67"/>
                  <a:gd name="T28" fmla="*/ 4 w 49"/>
                  <a:gd name="T29" fmla="*/ 5 h 67"/>
                  <a:gd name="T30" fmla="*/ 9 w 49"/>
                  <a:gd name="T31" fmla="*/ 3 h 67"/>
                  <a:gd name="T32" fmla="*/ 22 w 49"/>
                  <a:gd name="T33" fmla="*/ 2 h 67"/>
                  <a:gd name="T34" fmla="*/ 30 w 49"/>
                  <a:gd name="T35" fmla="*/ 1 h 67"/>
                  <a:gd name="T36" fmla="*/ 37 w 49"/>
                  <a:gd name="T37" fmla="*/ 2 h 67"/>
                  <a:gd name="T38" fmla="*/ 43 w 49"/>
                  <a:gd name="T39" fmla="*/ 1 h 67"/>
                  <a:gd name="T40" fmla="*/ 47 w 49"/>
                  <a:gd name="T41" fmla="*/ 2 h 67"/>
                  <a:gd name="T42" fmla="*/ 47 w 49"/>
                  <a:gd name="T43" fmla="*/ 7 h 67"/>
                  <a:gd name="T44" fmla="*/ 47 w 49"/>
                  <a:gd name="T45" fmla="*/ 20 h 67"/>
                  <a:gd name="T46" fmla="*/ 46 w 49"/>
                  <a:gd name="T47" fmla="*/ 34 h 67"/>
                  <a:gd name="T48" fmla="*/ 48 w 49"/>
                  <a:gd name="T49" fmla="*/ 59 h 67"/>
                  <a:gd name="T50" fmla="*/ 48 w 49"/>
                  <a:gd name="T5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67">
                    <a:moveTo>
                      <a:pt x="48" y="60"/>
                    </a:moveTo>
                    <a:cubicBezTo>
                      <a:pt x="45" y="60"/>
                      <a:pt x="43" y="60"/>
                      <a:pt x="41" y="62"/>
                    </a:cubicBezTo>
                    <a:cubicBezTo>
                      <a:pt x="40" y="63"/>
                      <a:pt x="40" y="64"/>
                      <a:pt x="39" y="65"/>
                    </a:cubicBezTo>
                    <a:cubicBezTo>
                      <a:pt x="37" y="67"/>
                      <a:pt x="35" y="67"/>
                      <a:pt x="32" y="67"/>
                    </a:cubicBezTo>
                    <a:cubicBezTo>
                      <a:pt x="28" y="67"/>
                      <a:pt x="25" y="67"/>
                      <a:pt x="21" y="66"/>
                    </a:cubicBezTo>
                    <a:cubicBezTo>
                      <a:pt x="18" y="65"/>
                      <a:pt x="15" y="63"/>
                      <a:pt x="13" y="60"/>
                    </a:cubicBezTo>
                    <a:cubicBezTo>
                      <a:pt x="11" y="57"/>
                      <a:pt x="11" y="53"/>
                      <a:pt x="9" y="50"/>
                    </a:cubicBezTo>
                    <a:cubicBezTo>
                      <a:pt x="8" y="49"/>
                      <a:pt x="7" y="48"/>
                      <a:pt x="6" y="46"/>
                    </a:cubicBezTo>
                    <a:cubicBezTo>
                      <a:pt x="5" y="44"/>
                      <a:pt x="5" y="42"/>
                      <a:pt x="5" y="39"/>
                    </a:cubicBezTo>
                    <a:cubicBezTo>
                      <a:pt x="5" y="37"/>
                      <a:pt x="4" y="34"/>
                      <a:pt x="4" y="31"/>
                    </a:cubicBezTo>
                    <a:cubicBezTo>
                      <a:pt x="4" y="29"/>
                      <a:pt x="4" y="28"/>
                      <a:pt x="3" y="26"/>
                    </a:cubicBezTo>
                    <a:cubicBezTo>
                      <a:pt x="2" y="26"/>
                      <a:pt x="1" y="25"/>
                      <a:pt x="1" y="25"/>
                    </a:cubicBezTo>
                    <a:cubicBezTo>
                      <a:pt x="0" y="24"/>
                      <a:pt x="0" y="23"/>
                      <a:pt x="0" y="22"/>
                    </a:cubicBezTo>
                    <a:cubicBezTo>
                      <a:pt x="0" y="19"/>
                      <a:pt x="0" y="16"/>
                      <a:pt x="0" y="13"/>
                    </a:cubicBezTo>
                    <a:cubicBezTo>
                      <a:pt x="0" y="10"/>
                      <a:pt x="2" y="7"/>
                      <a:pt x="4" y="5"/>
                    </a:cubicBezTo>
                    <a:cubicBezTo>
                      <a:pt x="5" y="4"/>
                      <a:pt x="7" y="4"/>
                      <a:pt x="9" y="3"/>
                    </a:cubicBezTo>
                    <a:cubicBezTo>
                      <a:pt x="14" y="3"/>
                      <a:pt x="18" y="2"/>
                      <a:pt x="22" y="2"/>
                    </a:cubicBezTo>
                    <a:cubicBezTo>
                      <a:pt x="25" y="1"/>
                      <a:pt x="27" y="1"/>
                      <a:pt x="30" y="1"/>
                    </a:cubicBezTo>
                    <a:cubicBezTo>
                      <a:pt x="32" y="2"/>
                      <a:pt x="35" y="3"/>
                      <a:pt x="37" y="2"/>
                    </a:cubicBezTo>
                    <a:cubicBezTo>
                      <a:pt x="39" y="2"/>
                      <a:pt x="41" y="1"/>
                      <a:pt x="43" y="1"/>
                    </a:cubicBezTo>
                    <a:cubicBezTo>
                      <a:pt x="44" y="0"/>
                      <a:pt x="47" y="0"/>
                      <a:pt x="47" y="2"/>
                    </a:cubicBezTo>
                    <a:cubicBezTo>
                      <a:pt x="48" y="3"/>
                      <a:pt x="48" y="5"/>
                      <a:pt x="47" y="7"/>
                    </a:cubicBezTo>
                    <a:cubicBezTo>
                      <a:pt x="46" y="11"/>
                      <a:pt x="48" y="16"/>
                      <a:pt x="47" y="20"/>
                    </a:cubicBezTo>
                    <a:cubicBezTo>
                      <a:pt x="47" y="25"/>
                      <a:pt x="46" y="29"/>
                      <a:pt x="46" y="34"/>
                    </a:cubicBezTo>
                    <a:cubicBezTo>
                      <a:pt x="46" y="42"/>
                      <a:pt x="49" y="51"/>
                      <a:pt x="48" y="59"/>
                    </a:cubicBezTo>
                    <a:cubicBezTo>
                      <a:pt x="48" y="60"/>
                      <a:pt x="48" y="60"/>
                      <a:pt x="48" y="60"/>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1" name="Freeform 44"/>
              <p:cNvSpPr>
                <a:spLocks/>
              </p:cNvSpPr>
              <p:nvPr/>
            </p:nvSpPr>
            <p:spPr bwMode="auto">
              <a:xfrm>
                <a:off x="8232174" y="4140552"/>
                <a:ext cx="176391" cy="208313"/>
              </a:xfrm>
              <a:custGeom>
                <a:avLst/>
                <a:gdLst>
                  <a:gd name="T0" fmla="*/ 0 w 45"/>
                  <a:gd name="T1" fmla="*/ 0 h 46"/>
                  <a:gd name="T2" fmla="*/ 10 w 45"/>
                  <a:gd name="T3" fmla="*/ 10 h 46"/>
                  <a:gd name="T4" fmla="*/ 17 w 45"/>
                  <a:gd name="T5" fmla="*/ 15 h 46"/>
                  <a:gd name="T6" fmla="*/ 23 w 45"/>
                  <a:gd name="T7" fmla="*/ 19 h 46"/>
                  <a:gd name="T8" fmla="*/ 27 w 45"/>
                  <a:gd name="T9" fmla="*/ 24 h 46"/>
                  <a:gd name="T10" fmla="*/ 28 w 45"/>
                  <a:gd name="T11" fmla="*/ 29 h 46"/>
                  <a:gd name="T12" fmla="*/ 45 w 45"/>
                  <a:gd name="T13" fmla="*/ 46 h 46"/>
                  <a:gd name="connsiteX0" fmla="*/ 0 w 7680"/>
                  <a:gd name="connsiteY0" fmla="*/ 0 h 7414"/>
                  <a:gd name="connsiteX1" fmla="*/ 2222 w 7680"/>
                  <a:gd name="connsiteY1" fmla="*/ 2174 h 7414"/>
                  <a:gd name="connsiteX2" fmla="*/ 3778 w 7680"/>
                  <a:gd name="connsiteY2" fmla="*/ 3261 h 7414"/>
                  <a:gd name="connsiteX3" fmla="*/ 5111 w 7680"/>
                  <a:gd name="connsiteY3" fmla="*/ 4130 h 7414"/>
                  <a:gd name="connsiteX4" fmla="*/ 6000 w 7680"/>
                  <a:gd name="connsiteY4" fmla="*/ 5217 h 7414"/>
                  <a:gd name="connsiteX5" fmla="*/ 6222 w 7680"/>
                  <a:gd name="connsiteY5" fmla="*/ 6304 h 7414"/>
                  <a:gd name="connsiteX6" fmla="*/ 7680 w 7680"/>
                  <a:gd name="connsiteY6" fmla="*/ 7414 h 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0" h="7414">
                    <a:moveTo>
                      <a:pt x="0" y="0"/>
                    </a:moveTo>
                    <a:cubicBezTo>
                      <a:pt x="667" y="652"/>
                      <a:pt x="1556" y="1304"/>
                      <a:pt x="2222" y="2174"/>
                    </a:cubicBezTo>
                    <a:cubicBezTo>
                      <a:pt x="2667" y="2609"/>
                      <a:pt x="3111" y="3043"/>
                      <a:pt x="3778" y="3261"/>
                    </a:cubicBezTo>
                    <a:cubicBezTo>
                      <a:pt x="4222" y="3478"/>
                      <a:pt x="4667" y="3696"/>
                      <a:pt x="5111" y="4130"/>
                    </a:cubicBezTo>
                    <a:cubicBezTo>
                      <a:pt x="5556" y="4348"/>
                      <a:pt x="6000" y="4783"/>
                      <a:pt x="6000" y="5217"/>
                    </a:cubicBezTo>
                    <a:cubicBezTo>
                      <a:pt x="6222" y="5652"/>
                      <a:pt x="6000" y="5870"/>
                      <a:pt x="6222" y="6304"/>
                    </a:cubicBezTo>
                    <a:cubicBezTo>
                      <a:pt x="6444" y="7826"/>
                      <a:pt x="7458" y="5892"/>
                      <a:pt x="7680" y="741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2" name="Freeform 45"/>
              <p:cNvSpPr>
                <a:spLocks/>
              </p:cNvSpPr>
              <p:nvPr/>
            </p:nvSpPr>
            <p:spPr bwMode="auto">
              <a:xfrm>
                <a:off x="8200270" y="4088535"/>
                <a:ext cx="167791" cy="287606"/>
              </a:xfrm>
              <a:custGeom>
                <a:avLst/>
                <a:gdLst>
                  <a:gd name="T0" fmla="*/ 0 w 35"/>
                  <a:gd name="T1" fmla="*/ 0 h 29"/>
                  <a:gd name="T2" fmla="*/ 12 w 35"/>
                  <a:gd name="T3" fmla="*/ 12 h 29"/>
                  <a:gd name="T4" fmla="*/ 18 w 35"/>
                  <a:gd name="T5" fmla="*/ 18 h 29"/>
                  <a:gd name="T6" fmla="*/ 23 w 35"/>
                  <a:gd name="T7" fmla="*/ 24 h 29"/>
                  <a:gd name="T8" fmla="*/ 35 w 35"/>
                  <a:gd name="T9" fmla="*/ 29 h 29"/>
                </a:gdLst>
                <a:ahLst/>
                <a:cxnLst>
                  <a:cxn ang="0">
                    <a:pos x="T0" y="T1"/>
                  </a:cxn>
                  <a:cxn ang="0">
                    <a:pos x="T2" y="T3"/>
                  </a:cxn>
                  <a:cxn ang="0">
                    <a:pos x="T4" y="T5"/>
                  </a:cxn>
                  <a:cxn ang="0">
                    <a:pos x="T6" y="T7"/>
                  </a:cxn>
                  <a:cxn ang="0">
                    <a:pos x="T8" y="T9"/>
                  </a:cxn>
                </a:cxnLst>
                <a:rect l="0" t="0" r="r" b="b"/>
                <a:pathLst>
                  <a:path w="35" h="29">
                    <a:moveTo>
                      <a:pt x="0" y="0"/>
                    </a:moveTo>
                    <a:cubicBezTo>
                      <a:pt x="4" y="4"/>
                      <a:pt x="8" y="8"/>
                      <a:pt x="12" y="12"/>
                    </a:cubicBezTo>
                    <a:cubicBezTo>
                      <a:pt x="14" y="14"/>
                      <a:pt x="16" y="16"/>
                      <a:pt x="18" y="18"/>
                    </a:cubicBezTo>
                    <a:cubicBezTo>
                      <a:pt x="20" y="20"/>
                      <a:pt x="21" y="22"/>
                      <a:pt x="23" y="24"/>
                    </a:cubicBezTo>
                    <a:cubicBezTo>
                      <a:pt x="26" y="27"/>
                      <a:pt x="31" y="28"/>
                      <a:pt x="35" y="2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3" name="Freeform 46"/>
              <p:cNvSpPr>
                <a:spLocks/>
              </p:cNvSpPr>
              <p:nvPr/>
            </p:nvSpPr>
            <p:spPr bwMode="auto">
              <a:xfrm>
                <a:off x="8319486" y="4166817"/>
                <a:ext cx="117772" cy="146282"/>
              </a:xfrm>
              <a:custGeom>
                <a:avLst/>
                <a:gdLst>
                  <a:gd name="T0" fmla="*/ 16 w 27"/>
                  <a:gd name="T1" fmla="*/ 32 h 33"/>
                  <a:gd name="T2" fmla="*/ 15 w 27"/>
                  <a:gd name="T3" fmla="*/ 33 h 33"/>
                  <a:gd name="T4" fmla="*/ 27 w 27"/>
                  <a:gd name="T5" fmla="*/ 20 h 33"/>
                  <a:gd name="T6" fmla="*/ 9 w 27"/>
                  <a:gd name="T7" fmla="*/ 8 h 33"/>
                  <a:gd name="T8" fmla="*/ 4 w 27"/>
                  <a:gd name="T9" fmla="*/ 5 h 33"/>
                  <a:gd name="T10" fmla="*/ 0 w 27"/>
                  <a:gd name="T11" fmla="*/ 0 h 33"/>
                </a:gdLst>
                <a:ahLst/>
                <a:cxnLst>
                  <a:cxn ang="0">
                    <a:pos x="T0" y="T1"/>
                  </a:cxn>
                  <a:cxn ang="0">
                    <a:pos x="T2" y="T3"/>
                  </a:cxn>
                  <a:cxn ang="0">
                    <a:pos x="T4" y="T5"/>
                  </a:cxn>
                  <a:cxn ang="0">
                    <a:pos x="T6" y="T7"/>
                  </a:cxn>
                  <a:cxn ang="0">
                    <a:pos x="T8" y="T9"/>
                  </a:cxn>
                  <a:cxn ang="0">
                    <a:pos x="T10" y="T11"/>
                  </a:cxn>
                </a:cxnLst>
                <a:rect l="0" t="0" r="r" b="b"/>
                <a:pathLst>
                  <a:path w="27" h="33">
                    <a:moveTo>
                      <a:pt x="16" y="32"/>
                    </a:moveTo>
                    <a:cubicBezTo>
                      <a:pt x="16" y="32"/>
                      <a:pt x="15" y="32"/>
                      <a:pt x="15" y="33"/>
                    </a:cubicBezTo>
                    <a:cubicBezTo>
                      <a:pt x="20" y="29"/>
                      <a:pt x="24" y="25"/>
                      <a:pt x="27" y="20"/>
                    </a:cubicBezTo>
                    <a:cubicBezTo>
                      <a:pt x="22" y="15"/>
                      <a:pt x="16" y="11"/>
                      <a:pt x="9" y="8"/>
                    </a:cubicBezTo>
                    <a:cubicBezTo>
                      <a:pt x="7" y="7"/>
                      <a:pt x="5" y="6"/>
                      <a:pt x="4" y="5"/>
                    </a:cubicBezTo>
                    <a:cubicBezTo>
                      <a:pt x="2" y="4"/>
                      <a:pt x="0" y="2"/>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4" name="Freeform 47"/>
              <p:cNvSpPr>
                <a:spLocks/>
              </p:cNvSpPr>
              <p:nvPr/>
            </p:nvSpPr>
            <p:spPr bwMode="auto">
              <a:xfrm>
                <a:off x="8201815" y="4107718"/>
                <a:ext cx="99474" cy="282245"/>
              </a:xfrm>
              <a:custGeom>
                <a:avLst/>
                <a:gdLst>
                  <a:gd name="T0" fmla="*/ 10 w 10"/>
                  <a:gd name="T1" fmla="*/ 23 h 23"/>
                  <a:gd name="T2" fmla="*/ 9 w 10"/>
                  <a:gd name="T3" fmla="*/ 20 h 23"/>
                  <a:gd name="T4" fmla="*/ 6 w 10"/>
                  <a:gd name="T5" fmla="*/ 16 h 23"/>
                  <a:gd name="T6" fmla="*/ 4 w 10"/>
                  <a:gd name="T7" fmla="*/ 11 h 23"/>
                  <a:gd name="T8" fmla="*/ 4 w 10"/>
                  <a:gd name="T9" fmla="*/ 9 h 23"/>
                  <a:gd name="T10" fmla="*/ 0 w 10"/>
                  <a:gd name="T11" fmla="*/ 0 h 23"/>
                  <a:gd name="connsiteX0" fmla="*/ 23503 w 23503"/>
                  <a:gd name="connsiteY0" fmla="*/ 27870 h 27870"/>
                  <a:gd name="connsiteX1" fmla="*/ 22503 w 23503"/>
                  <a:gd name="connsiteY1" fmla="*/ 26566 h 27870"/>
                  <a:gd name="connsiteX2" fmla="*/ 19503 w 23503"/>
                  <a:gd name="connsiteY2" fmla="*/ 24827 h 27870"/>
                  <a:gd name="connsiteX3" fmla="*/ 17503 w 23503"/>
                  <a:gd name="connsiteY3" fmla="*/ 22653 h 27870"/>
                  <a:gd name="connsiteX4" fmla="*/ 17503 w 23503"/>
                  <a:gd name="connsiteY4" fmla="*/ 21783 h 27870"/>
                  <a:gd name="connsiteX5" fmla="*/ 0 w 23503"/>
                  <a:gd name="connsiteY5" fmla="*/ 0 h 2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3" h="27870">
                    <a:moveTo>
                      <a:pt x="23503" y="27870"/>
                    </a:moveTo>
                    <a:cubicBezTo>
                      <a:pt x="23503" y="27435"/>
                      <a:pt x="22503" y="27000"/>
                      <a:pt x="22503" y="26566"/>
                    </a:cubicBezTo>
                    <a:cubicBezTo>
                      <a:pt x="21503" y="26131"/>
                      <a:pt x="20503" y="25261"/>
                      <a:pt x="19503" y="24827"/>
                    </a:cubicBezTo>
                    <a:cubicBezTo>
                      <a:pt x="18503" y="24392"/>
                      <a:pt x="17503" y="23522"/>
                      <a:pt x="17503" y="22653"/>
                    </a:cubicBezTo>
                    <a:lnTo>
                      <a:pt x="17503" y="21783"/>
                    </a:lnTo>
                    <a:cubicBezTo>
                      <a:pt x="16503" y="20044"/>
                      <a:pt x="0" y="1304"/>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5" name="Freeform 48"/>
              <p:cNvSpPr>
                <a:spLocks/>
              </p:cNvSpPr>
              <p:nvPr/>
            </p:nvSpPr>
            <p:spPr bwMode="auto">
              <a:xfrm>
                <a:off x="8356798" y="4309043"/>
                <a:ext cx="55205" cy="67515"/>
              </a:xfrm>
              <a:custGeom>
                <a:avLst/>
                <a:gdLst>
                  <a:gd name="T0" fmla="*/ 12 w 13"/>
                  <a:gd name="T1" fmla="*/ 0 h 15"/>
                  <a:gd name="T2" fmla="*/ 12 w 13"/>
                  <a:gd name="T3" fmla="*/ 8 h 15"/>
                  <a:gd name="T4" fmla="*/ 10 w 13"/>
                  <a:gd name="T5" fmla="*/ 13 h 15"/>
                  <a:gd name="T6" fmla="*/ 2 w 13"/>
                  <a:gd name="T7" fmla="*/ 14 h 15"/>
                  <a:gd name="T8" fmla="*/ 0 w 13"/>
                  <a:gd name="T9" fmla="*/ 15 h 15"/>
                </a:gdLst>
                <a:ahLst/>
                <a:cxnLst>
                  <a:cxn ang="0">
                    <a:pos x="T0" y="T1"/>
                  </a:cxn>
                  <a:cxn ang="0">
                    <a:pos x="T2" y="T3"/>
                  </a:cxn>
                  <a:cxn ang="0">
                    <a:pos x="T4" y="T5"/>
                  </a:cxn>
                  <a:cxn ang="0">
                    <a:pos x="T6" y="T7"/>
                  </a:cxn>
                  <a:cxn ang="0">
                    <a:pos x="T8" y="T9"/>
                  </a:cxn>
                </a:cxnLst>
                <a:rect l="0" t="0" r="r" b="b"/>
                <a:pathLst>
                  <a:path w="13" h="15">
                    <a:moveTo>
                      <a:pt x="12" y="0"/>
                    </a:moveTo>
                    <a:cubicBezTo>
                      <a:pt x="12" y="3"/>
                      <a:pt x="13" y="6"/>
                      <a:pt x="12" y="8"/>
                    </a:cubicBezTo>
                    <a:cubicBezTo>
                      <a:pt x="11" y="10"/>
                      <a:pt x="10" y="11"/>
                      <a:pt x="10" y="13"/>
                    </a:cubicBezTo>
                    <a:cubicBezTo>
                      <a:pt x="8" y="13"/>
                      <a:pt x="5" y="13"/>
                      <a:pt x="2" y="14"/>
                    </a:cubicBezTo>
                    <a:cubicBezTo>
                      <a:pt x="1" y="14"/>
                      <a:pt x="1" y="15"/>
                      <a:pt x="0" y="15"/>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6" name="Freeform 49"/>
              <p:cNvSpPr>
                <a:spLocks/>
              </p:cNvSpPr>
              <p:nvPr/>
            </p:nvSpPr>
            <p:spPr bwMode="auto">
              <a:xfrm>
                <a:off x="8232997" y="3853624"/>
                <a:ext cx="217141" cy="309442"/>
              </a:xfrm>
              <a:custGeom>
                <a:avLst/>
                <a:gdLst>
                  <a:gd name="T0" fmla="*/ 8 w 50"/>
                  <a:gd name="T1" fmla="*/ 70 h 70"/>
                  <a:gd name="T2" fmla="*/ 5 w 50"/>
                  <a:gd name="T3" fmla="*/ 67 h 70"/>
                  <a:gd name="T4" fmla="*/ 5 w 50"/>
                  <a:gd name="T5" fmla="*/ 63 h 70"/>
                  <a:gd name="T6" fmla="*/ 2 w 50"/>
                  <a:gd name="T7" fmla="*/ 58 h 70"/>
                  <a:gd name="T8" fmla="*/ 3 w 50"/>
                  <a:gd name="T9" fmla="*/ 43 h 70"/>
                  <a:gd name="T10" fmla="*/ 4 w 50"/>
                  <a:gd name="T11" fmla="*/ 39 h 70"/>
                  <a:gd name="T12" fmla="*/ 6 w 50"/>
                  <a:gd name="T13" fmla="*/ 37 h 70"/>
                  <a:gd name="T14" fmla="*/ 14 w 50"/>
                  <a:gd name="T15" fmla="*/ 24 h 70"/>
                  <a:gd name="T16" fmla="*/ 14 w 50"/>
                  <a:gd name="T17" fmla="*/ 22 h 70"/>
                  <a:gd name="T18" fmla="*/ 20 w 50"/>
                  <a:gd name="T19" fmla="*/ 15 h 70"/>
                  <a:gd name="T20" fmla="*/ 16 w 50"/>
                  <a:gd name="T21" fmla="*/ 11 h 70"/>
                  <a:gd name="T22" fmla="*/ 18 w 50"/>
                  <a:gd name="T23" fmla="*/ 6 h 70"/>
                  <a:gd name="T24" fmla="*/ 20 w 50"/>
                  <a:gd name="T25" fmla="*/ 3 h 70"/>
                  <a:gd name="T26" fmla="*/ 29 w 50"/>
                  <a:gd name="T27" fmla="*/ 1 h 70"/>
                  <a:gd name="T28" fmla="*/ 33 w 50"/>
                  <a:gd name="T29" fmla="*/ 2 h 70"/>
                  <a:gd name="T30" fmla="*/ 34 w 50"/>
                  <a:gd name="T31" fmla="*/ 5 h 70"/>
                  <a:gd name="T32" fmla="*/ 34 w 50"/>
                  <a:gd name="T33" fmla="*/ 7 h 70"/>
                  <a:gd name="T34" fmla="*/ 35 w 50"/>
                  <a:gd name="T35" fmla="*/ 9 h 70"/>
                  <a:gd name="T36" fmla="*/ 41 w 50"/>
                  <a:gd name="T37" fmla="*/ 20 h 70"/>
                  <a:gd name="T38" fmla="*/ 44 w 50"/>
                  <a:gd name="T39" fmla="*/ 38 h 70"/>
                  <a:gd name="T40" fmla="*/ 37 w 50"/>
                  <a:gd name="T41" fmla="*/ 50 h 70"/>
                  <a:gd name="T42" fmla="*/ 42 w 50"/>
                  <a:gd name="T43" fmla="*/ 60 h 70"/>
                  <a:gd name="T44" fmla="*/ 50 w 50"/>
                  <a:gd name="T4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0">
                    <a:moveTo>
                      <a:pt x="8" y="70"/>
                    </a:moveTo>
                    <a:cubicBezTo>
                      <a:pt x="7" y="70"/>
                      <a:pt x="6" y="68"/>
                      <a:pt x="5" y="67"/>
                    </a:cubicBezTo>
                    <a:cubicBezTo>
                      <a:pt x="5" y="65"/>
                      <a:pt x="5" y="64"/>
                      <a:pt x="5" y="63"/>
                    </a:cubicBezTo>
                    <a:cubicBezTo>
                      <a:pt x="4" y="61"/>
                      <a:pt x="3" y="59"/>
                      <a:pt x="2" y="58"/>
                    </a:cubicBezTo>
                    <a:cubicBezTo>
                      <a:pt x="0" y="53"/>
                      <a:pt x="3" y="48"/>
                      <a:pt x="3" y="43"/>
                    </a:cubicBezTo>
                    <a:cubicBezTo>
                      <a:pt x="3" y="42"/>
                      <a:pt x="3" y="40"/>
                      <a:pt x="4" y="39"/>
                    </a:cubicBezTo>
                    <a:cubicBezTo>
                      <a:pt x="4" y="38"/>
                      <a:pt x="5" y="38"/>
                      <a:pt x="6" y="37"/>
                    </a:cubicBezTo>
                    <a:cubicBezTo>
                      <a:pt x="10" y="34"/>
                      <a:pt x="14" y="29"/>
                      <a:pt x="14" y="24"/>
                    </a:cubicBezTo>
                    <a:cubicBezTo>
                      <a:pt x="14" y="23"/>
                      <a:pt x="14" y="22"/>
                      <a:pt x="14" y="22"/>
                    </a:cubicBezTo>
                    <a:cubicBezTo>
                      <a:pt x="15" y="19"/>
                      <a:pt x="20" y="18"/>
                      <a:pt x="20" y="15"/>
                    </a:cubicBezTo>
                    <a:cubicBezTo>
                      <a:pt x="19" y="13"/>
                      <a:pt x="16" y="13"/>
                      <a:pt x="16" y="11"/>
                    </a:cubicBezTo>
                    <a:cubicBezTo>
                      <a:pt x="15" y="9"/>
                      <a:pt x="17" y="7"/>
                      <a:pt x="18" y="6"/>
                    </a:cubicBezTo>
                    <a:cubicBezTo>
                      <a:pt x="19" y="5"/>
                      <a:pt x="19" y="4"/>
                      <a:pt x="20" y="3"/>
                    </a:cubicBezTo>
                    <a:cubicBezTo>
                      <a:pt x="22" y="0"/>
                      <a:pt x="26" y="1"/>
                      <a:pt x="29" y="1"/>
                    </a:cubicBezTo>
                    <a:cubicBezTo>
                      <a:pt x="30" y="1"/>
                      <a:pt x="32" y="1"/>
                      <a:pt x="33" y="2"/>
                    </a:cubicBezTo>
                    <a:cubicBezTo>
                      <a:pt x="34" y="3"/>
                      <a:pt x="35" y="4"/>
                      <a:pt x="34" y="5"/>
                    </a:cubicBezTo>
                    <a:cubicBezTo>
                      <a:pt x="34" y="6"/>
                      <a:pt x="34" y="6"/>
                      <a:pt x="34" y="7"/>
                    </a:cubicBezTo>
                    <a:cubicBezTo>
                      <a:pt x="34" y="7"/>
                      <a:pt x="34" y="8"/>
                      <a:pt x="35" y="9"/>
                    </a:cubicBezTo>
                    <a:cubicBezTo>
                      <a:pt x="37" y="13"/>
                      <a:pt x="39" y="17"/>
                      <a:pt x="41" y="20"/>
                    </a:cubicBezTo>
                    <a:cubicBezTo>
                      <a:pt x="43" y="26"/>
                      <a:pt x="46" y="32"/>
                      <a:pt x="44" y="38"/>
                    </a:cubicBezTo>
                    <a:cubicBezTo>
                      <a:pt x="42" y="42"/>
                      <a:pt x="38" y="45"/>
                      <a:pt x="37" y="50"/>
                    </a:cubicBezTo>
                    <a:cubicBezTo>
                      <a:pt x="37" y="54"/>
                      <a:pt x="39" y="57"/>
                      <a:pt x="42" y="60"/>
                    </a:cubicBezTo>
                    <a:cubicBezTo>
                      <a:pt x="44" y="63"/>
                      <a:pt x="48" y="65"/>
                      <a:pt x="50" y="6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7" name="Freeform 50"/>
              <p:cNvSpPr>
                <a:spLocks/>
              </p:cNvSpPr>
              <p:nvPr/>
            </p:nvSpPr>
            <p:spPr bwMode="auto">
              <a:xfrm>
                <a:off x="8328687" y="3883631"/>
                <a:ext cx="55205" cy="270059"/>
              </a:xfrm>
              <a:custGeom>
                <a:avLst/>
                <a:gdLst>
                  <a:gd name="T0" fmla="*/ 13 w 13"/>
                  <a:gd name="T1" fmla="*/ 0 h 61"/>
                  <a:gd name="T2" fmla="*/ 0 w 13"/>
                  <a:gd name="T3" fmla="*/ 19 h 61"/>
                  <a:gd name="T4" fmla="*/ 0 w 13"/>
                  <a:gd name="T5" fmla="*/ 21 h 61"/>
                  <a:gd name="T6" fmla="*/ 1 w 13"/>
                  <a:gd name="T7" fmla="*/ 23 h 61"/>
                  <a:gd name="T8" fmla="*/ 7 w 13"/>
                  <a:gd name="T9" fmla="*/ 33 h 61"/>
                  <a:gd name="T10" fmla="*/ 8 w 13"/>
                  <a:gd name="T11" fmla="*/ 38 h 61"/>
                  <a:gd name="T12" fmla="*/ 5 w 13"/>
                  <a:gd name="T13" fmla="*/ 42 h 61"/>
                  <a:gd name="T14" fmla="*/ 6 w 13"/>
                  <a:gd name="T15" fmla="*/ 50 h 61"/>
                  <a:gd name="T16" fmla="*/ 7 w 13"/>
                  <a:gd name="T17" fmla="*/ 56 h 61"/>
                  <a:gd name="T18" fmla="*/ 4 w 1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1">
                    <a:moveTo>
                      <a:pt x="13" y="0"/>
                    </a:moveTo>
                    <a:cubicBezTo>
                      <a:pt x="10" y="5"/>
                      <a:pt x="3" y="13"/>
                      <a:pt x="0" y="19"/>
                    </a:cubicBezTo>
                    <a:cubicBezTo>
                      <a:pt x="0" y="19"/>
                      <a:pt x="0" y="20"/>
                      <a:pt x="0" y="21"/>
                    </a:cubicBezTo>
                    <a:cubicBezTo>
                      <a:pt x="0" y="22"/>
                      <a:pt x="1" y="22"/>
                      <a:pt x="1" y="23"/>
                    </a:cubicBezTo>
                    <a:cubicBezTo>
                      <a:pt x="4" y="26"/>
                      <a:pt x="6" y="29"/>
                      <a:pt x="7" y="33"/>
                    </a:cubicBezTo>
                    <a:cubicBezTo>
                      <a:pt x="8" y="35"/>
                      <a:pt x="9" y="37"/>
                      <a:pt x="8" y="38"/>
                    </a:cubicBezTo>
                    <a:cubicBezTo>
                      <a:pt x="7" y="40"/>
                      <a:pt x="6" y="40"/>
                      <a:pt x="5" y="42"/>
                    </a:cubicBezTo>
                    <a:cubicBezTo>
                      <a:pt x="3" y="44"/>
                      <a:pt x="5" y="47"/>
                      <a:pt x="6" y="50"/>
                    </a:cubicBezTo>
                    <a:cubicBezTo>
                      <a:pt x="7" y="52"/>
                      <a:pt x="7" y="54"/>
                      <a:pt x="7" y="56"/>
                    </a:cubicBezTo>
                    <a:cubicBezTo>
                      <a:pt x="7" y="58"/>
                      <a:pt x="6" y="61"/>
                      <a:pt x="4" y="6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8" name="Freeform 51"/>
              <p:cNvSpPr>
                <a:spLocks/>
              </p:cNvSpPr>
              <p:nvPr/>
            </p:nvSpPr>
            <p:spPr bwMode="auto">
              <a:xfrm>
                <a:off x="8363650" y="3941768"/>
                <a:ext cx="46004" cy="91895"/>
              </a:xfrm>
              <a:custGeom>
                <a:avLst/>
                <a:gdLst>
                  <a:gd name="T0" fmla="*/ 11 w 11"/>
                  <a:gd name="T1" fmla="*/ 0 h 21"/>
                  <a:gd name="T2" fmla="*/ 10 w 11"/>
                  <a:gd name="T3" fmla="*/ 5 h 21"/>
                  <a:gd name="T4" fmla="*/ 8 w 11"/>
                  <a:gd name="T5" fmla="*/ 11 h 21"/>
                  <a:gd name="T6" fmla="*/ 5 w 11"/>
                  <a:gd name="T7" fmla="*/ 15 h 21"/>
                  <a:gd name="T8" fmla="*/ 3 w 11"/>
                  <a:gd name="T9" fmla="*/ 17 h 21"/>
                  <a:gd name="T10" fmla="*/ 0 w 11"/>
                  <a:gd name="T11" fmla="*/ 21 h 21"/>
                </a:gdLst>
                <a:ahLst/>
                <a:cxnLst>
                  <a:cxn ang="0">
                    <a:pos x="T0" y="T1"/>
                  </a:cxn>
                  <a:cxn ang="0">
                    <a:pos x="T2" y="T3"/>
                  </a:cxn>
                  <a:cxn ang="0">
                    <a:pos x="T4" y="T5"/>
                  </a:cxn>
                  <a:cxn ang="0">
                    <a:pos x="T6" y="T7"/>
                  </a:cxn>
                  <a:cxn ang="0">
                    <a:pos x="T8" y="T9"/>
                  </a:cxn>
                  <a:cxn ang="0">
                    <a:pos x="T10" y="T11"/>
                  </a:cxn>
                </a:cxnLst>
                <a:rect l="0" t="0" r="r" b="b"/>
                <a:pathLst>
                  <a:path w="11" h="21">
                    <a:moveTo>
                      <a:pt x="11" y="0"/>
                    </a:moveTo>
                    <a:cubicBezTo>
                      <a:pt x="11" y="1"/>
                      <a:pt x="10" y="4"/>
                      <a:pt x="10" y="5"/>
                    </a:cubicBezTo>
                    <a:cubicBezTo>
                      <a:pt x="9" y="7"/>
                      <a:pt x="8" y="9"/>
                      <a:pt x="8" y="11"/>
                    </a:cubicBezTo>
                    <a:cubicBezTo>
                      <a:pt x="7" y="12"/>
                      <a:pt x="7" y="14"/>
                      <a:pt x="5" y="15"/>
                    </a:cubicBezTo>
                    <a:cubicBezTo>
                      <a:pt x="5" y="16"/>
                      <a:pt x="3" y="16"/>
                      <a:pt x="3" y="17"/>
                    </a:cubicBezTo>
                    <a:cubicBezTo>
                      <a:pt x="2" y="18"/>
                      <a:pt x="0" y="20"/>
                      <a:pt x="0" y="2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9" name="Freeform 52"/>
              <p:cNvSpPr>
                <a:spLocks/>
              </p:cNvSpPr>
              <p:nvPr/>
            </p:nvSpPr>
            <p:spPr bwMode="auto">
              <a:xfrm>
                <a:off x="8345248" y="4052418"/>
                <a:ext cx="60726" cy="22505"/>
              </a:xfrm>
              <a:custGeom>
                <a:avLst/>
                <a:gdLst>
                  <a:gd name="T0" fmla="*/ 0 w 14"/>
                  <a:gd name="T1" fmla="*/ 5 h 5"/>
                  <a:gd name="T2" fmla="*/ 7 w 14"/>
                  <a:gd name="T3" fmla="*/ 2 h 5"/>
                  <a:gd name="T4" fmla="*/ 14 w 14"/>
                  <a:gd name="T5" fmla="*/ 0 h 5"/>
                </a:gdLst>
                <a:ahLst/>
                <a:cxnLst>
                  <a:cxn ang="0">
                    <a:pos x="T0" y="T1"/>
                  </a:cxn>
                  <a:cxn ang="0">
                    <a:pos x="T2" y="T3"/>
                  </a:cxn>
                  <a:cxn ang="0">
                    <a:pos x="T4" y="T5"/>
                  </a:cxn>
                </a:cxnLst>
                <a:rect l="0" t="0" r="r" b="b"/>
                <a:pathLst>
                  <a:path w="14" h="5">
                    <a:moveTo>
                      <a:pt x="0" y="5"/>
                    </a:moveTo>
                    <a:cubicBezTo>
                      <a:pt x="2" y="4"/>
                      <a:pt x="5" y="2"/>
                      <a:pt x="7" y="2"/>
                    </a:cubicBezTo>
                    <a:cubicBezTo>
                      <a:pt x="9" y="2"/>
                      <a:pt x="13" y="2"/>
                      <a:pt x="14"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0" name="Freeform 53"/>
              <p:cNvSpPr>
                <a:spLocks/>
              </p:cNvSpPr>
              <p:nvPr/>
            </p:nvSpPr>
            <p:spPr bwMode="auto">
              <a:xfrm>
                <a:off x="8389492" y="3458652"/>
                <a:ext cx="2022192" cy="1349553"/>
              </a:xfrm>
              <a:custGeom>
                <a:avLst/>
                <a:gdLst>
                  <a:gd name="T0" fmla="*/ 0 w 462"/>
                  <a:gd name="T1" fmla="*/ 183 h 273"/>
                  <a:gd name="T2" fmla="*/ 123 w 462"/>
                  <a:gd name="T3" fmla="*/ 219 h 273"/>
                  <a:gd name="T4" fmla="*/ 155 w 462"/>
                  <a:gd name="T5" fmla="*/ 258 h 273"/>
                  <a:gd name="T6" fmla="*/ 181 w 462"/>
                  <a:gd name="T7" fmla="*/ 273 h 273"/>
                  <a:gd name="T8" fmla="*/ 269 w 462"/>
                  <a:gd name="T9" fmla="*/ 147 h 273"/>
                  <a:gd name="T10" fmla="*/ 308 w 462"/>
                  <a:gd name="T11" fmla="*/ 123 h 273"/>
                  <a:gd name="T12" fmla="*/ 325 w 462"/>
                  <a:gd name="T13" fmla="*/ 122 h 273"/>
                  <a:gd name="T14" fmla="*/ 396 w 462"/>
                  <a:gd name="T15" fmla="*/ 90 h 273"/>
                  <a:gd name="T16" fmla="*/ 448 w 462"/>
                  <a:gd name="T17" fmla="*/ 51 h 273"/>
                  <a:gd name="T18" fmla="*/ 462 w 462"/>
                  <a:gd name="T19" fmla="*/ 46 h 273"/>
                  <a:gd name="T20" fmla="*/ 448 w 462"/>
                  <a:gd name="T21" fmla="*/ 3 h 273"/>
                  <a:gd name="T22" fmla="*/ 384 w 462"/>
                  <a:gd name="T23" fmla="*/ 48 h 273"/>
                  <a:gd name="T24" fmla="*/ 377 w 462"/>
                  <a:gd name="T25" fmla="*/ 47 h 273"/>
                  <a:gd name="T26" fmla="*/ 366 w 462"/>
                  <a:gd name="T27" fmla="*/ 35 h 273"/>
                  <a:gd name="T28" fmla="*/ 368 w 462"/>
                  <a:gd name="T29" fmla="*/ 0 h 273"/>
                  <a:gd name="T30" fmla="*/ 350 w 462"/>
                  <a:gd name="T31" fmla="*/ 35 h 273"/>
                  <a:gd name="T32" fmla="*/ 297 w 462"/>
                  <a:gd name="T33" fmla="*/ 102 h 273"/>
                  <a:gd name="T34" fmla="*/ 287 w 462"/>
                  <a:gd name="T35" fmla="*/ 109 h 273"/>
                  <a:gd name="T36" fmla="*/ 262 w 462"/>
                  <a:gd name="T37" fmla="*/ 118 h 273"/>
                  <a:gd name="T38" fmla="*/ 257 w 462"/>
                  <a:gd name="T39" fmla="*/ 114 h 273"/>
                  <a:gd name="T40" fmla="*/ 263 w 462"/>
                  <a:gd name="T41" fmla="*/ 121 h 273"/>
                  <a:gd name="T42" fmla="*/ 266 w 462"/>
                  <a:gd name="T43" fmla="*/ 131 h 273"/>
                  <a:gd name="T44" fmla="*/ 274 w 462"/>
                  <a:gd name="T45" fmla="*/ 140 h 273"/>
                  <a:gd name="T46" fmla="*/ 271 w 462"/>
                  <a:gd name="T47" fmla="*/ 145 h 273"/>
                  <a:gd name="T48" fmla="*/ 281 w 462"/>
                  <a:gd name="T49" fmla="*/ 156 h 273"/>
                  <a:gd name="T50" fmla="*/ 307 w 462"/>
                  <a:gd name="T51" fmla="*/ 136 h 273"/>
                  <a:gd name="T52" fmla="*/ 323 w 462"/>
                  <a:gd name="T53" fmla="*/ 138 h 273"/>
                  <a:gd name="T54" fmla="*/ 350 w 462"/>
                  <a:gd name="T55" fmla="*/ 125 h 273"/>
                  <a:gd name="T56" fmla="*/ 402 w 462"/>
                  <a:gd name="T57" fmla="*/ 103 h 273"/>
                  <a:gd name="T58" fmla="*/ 422 w 462"/>
                  <a:gd name="T59" fmla="*/ 91 h 273"/>
                  <a:gd name="T60" fmla="*/ 443 w 462"/>
                  <a:gd name="T61" fmla="*/ 86 h 273"/>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897 w 10321"/>
                  <a:gd name="connsiteY15" fmla="*/ 1834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7544 w 10321"/>
                  <a:gd name="connsiteY16" fmla="*/ 1932 h 10552"/>
                  <a:gd name="connsiteX17" fmla="*/ 6750 w 10321"/>
                  <a:gd name="connsiteY17" fmla="*/ 4288 h 10552"/>
                  <a:gd name="connsiteX18" fmla="*/ 6533 w 10321"/>
                  <a:gd name="connsiteY18" fmla="*/ 4545 h 10552"/>
                  <a:gd name="connsiteX19" fmla="*/ 5992 w 10321"/>
                  <a:gd name="connsiteY19" fmla="*/ 4874 h 10552"/>
                  <a:gd name="connsiteX20" fmla="*/ 5884 w 10321"/>
                  <a:gd name="connsiteY20" fmla="*/ 4728 h 10552"/>
                  <a:gd name="connsiteX21" fmla="*/ 6014 w 10321"/>
                  <a:gd name="connsiteY21" fmla="*/ 4984 h 10552"/>
                  <a:gd name="connsiteX22" fmla="*/ 6079 w 10321"/>
                  <a:gd name="connsiteY22" fmla="*/ 5351 h 10552"/>
                  <a:gd name="connsiteX23" fmla="*/ 6252 w 10321"/>
                  <a:gd name="connsiteY23" fmla="*/ 5680 h 10552"/>
                  <a:gd name="connsiteX24" fmla="*/ 6187 w 10321"/>
                  <a:gd name="connsiteY24" fmla="*/ 5863 h 10552"/>
                  <a:gd name="connsiteX25" fmla="*/ 6403 w 10321"/>
                  <a:gd name="connsiteY25" fmla="*/ 6266 h 10552"/>
                  <a:gd name="connsiteX26" fmla="*/ 6966 w 10321"/>
                  <a:gd name="connsiteY26" fmla="*/ 5534 h 10552"/>
                  <a:gd name="connsiteX27" fmla="*/ 7312 w 10321"/>
                  <a:gd name="connsiteY27" fmla="*/ 5607 h 10552"/>
                  <a:gd name="connsiteX28" fmla="*/ 7897 w 10321"/>
                  <a:gd name="connsiteY28" fmla="*/ 5131 h 10552"/>
                  <a:gd name="connsiteX29" fmla="*/ 9022 w 10321"/>
                  <a:gd name="connsiteY29" fmla="*/ 4325 h 10552"/>
                  <a:gd name="connsiteX30" fmla="*/ 9455 w 10321"/>
                  <a:gd name="connsiteY30" fmla="*/ 3885 h 10552"/>
                  <a:gd name="connsiteX31" fmla="*/ 9910 w 10321"/>
                  <a:gd name="connsiteY31" fmla="*/ 3702 h 10552"/>
                  <a:gd name="connsiteX0" fmla="*/ 0 w 10139"/>
                  <a:gd name="connsiteY0" fmla="*/ 6742 h 10552"/>
                  <a:gd name="connsiteX1" fmla="*/ 2983 w 10139"/>
                  <a:gd name="connsiteY1" fmla="*/ 8574 h 10552"/>
                  <a:gd name="connsiteX2" fmla="*/ 3676 w 10139"/>
                  <a:gd name="connsiteY2" fmla="*/ 10003 h 10552"/>
                  <a:gd name="connsiteX3" fmla="*/ 4239 w 10139"/>
                  <a:gd name="connsiteY3" fmla="*/ 10552 h 10552"/>
                  <a:gd name="connsiteX4" fmla="*/ 6144 w 10139"/>
                  <a:gd name="connsiteY4" fmla="*/ 5937 h 10552"/>
                  <a:gd name="connsiteX5" fmla="*/ 6988 w 10139"/>
                  <a:gd name="connsiteY5" fmla="*/ 5057 h 10552"/>
                  <a:gd name="connsiteX6" fmla="*/ 7356 w 10139"/>
                  <a:gd name="connsiteY6" fmla="*/ 5021 h 10552"/>
                  <a:gd name="connsiteX7" fmla="*/ 8892 w 10139"/>
                  <a:gd name="connsiteY7" fmla="*/ 3849 h 10552"/>
                  <a:gd name="connsiteX8" fmla="*/ 10018 w 10139"/>
                  <a:gd name="connsiteY8" fmla="*/ 2420 h 10552"/>
                  <a:gd name="connsiteX9" fmla="*/ 10083 w 10139"/>
                  <a:gd name="connsiteY9" fmla="*/ 1803 h 10552"/>
                  <a:gd name="connsiteX10" fmla="*/ 10018 w 10139"/>
                  <a:gd name="connsiteY10" fmla="*/ 662 h 10552"/>
                  <a:gd name="connsiteX11" fmla="*/ 8633 w 10139"/>
                  <a:gd name="connsiteY11" fmla="*/ 2310 h 10552"/>
                  <a:gd name="connsiteX12" fmla="*/ 8481 w 10139"/>
                  <a:gd name="connsiteY12" fmla="*/ 2274 h 10552"/>
                  <a:gd name="connsiteX13" fmla="*/ 8243 w 10139"/>
                  <a:gd name="connsiteY13" fmla="*/ 1834 h 10552"/>
                  <a:gd name="connsiteX14" fmla="*/ 7716 w 10139"/>
                  <a:gd name="connsiteY14" fmla="*/ 0 h 10552"/>
                  <a:gd name="connsiteX15" fmla="*/ 7695 w 10139"/>
                  <a:gd name="connsiteY15" fmla="*/ 1755 h 10552"/>
                  <a:gd name="connsiteX16" fmla="*/ 7544 w 10139"/>
                  <a:gd name="connsiteY16" fmla="*/ 1932 h 10552"/>
                  <a:gd name="connsiteX17" fmla="*/ 6750 w 10139"/>
                  <a:gd name="connsiteY17" fmla="*/ 4288 h 10552"/>
                  <a:gd name="connsiteX18" fmla="*/ 6533 w 10139"/>
                  <a:gd name="connsiteY18" fmla="*/ 4545 h 10552"/>
                  <a:gd name="connsiteX19" fmla="*/ 5992 w 10139"/>
                  <a:gd name="connsiteY19" fmla="*/ 4874 h 10552"/>
                  <a:gd name="connsiteX20" fmla="*/ 5884 w 10139"/>
                  <a:gd name="connsiteY20" fmla="*/ 4728 h 10552"/>
                  <a:gd name="connsiteX21" fmla="*/ 6014 w 10139"/>
                  <a:gd name="connsiteY21" fmla="*/ 4984 h 10552"/>
                  <a:gd name="connsiteX22" fmla="*/ 6079 w 10139"/>
                  <a:gd name="connsiteY22" fmla="*/ 5351 h 10552"/>
                  <a:gd name="connsiteX23" fmla="*/ 6252 w 10139"/>
                  <a:gd name="connsiteY23" fmla="*/ 5680 h 10552"/>
                  <a:gd name="connsiteX24" fmla="*/ 6187 w 10139"/>
                  <a:gd name="connsiteY24" fmla="*/ 5863 h 10552"/>
                  <a:gd name="connsiteX25" fmla="*/ 6403 w 10139"/>
                  <a:gd name="connsiteY25" fmla="*/ 6266 h 10552"/>
                  <a:gd name="connsiteX26" fmla="*/ 6966 w 10139"/>
                  <a:gd name="connsiteY26" fmla="*/ 5534 h 10552"/>
                  <a:gd name="connsiteX27" fmla="*/ 7312 w 10139"/>
                  <a:gd name="connsiteY27" fmla="*/ 5607 h 10552"/>
                  <a:gd name="connsiteX28" fmla="*/ 7897 w 10139"/>
                  <a:gd name="connsiteY28" fmla="*/ 5131 h 10552"/>
                  <a:gd name="connsiteX29" fmla="*/ 9022 w 10139"/>
                  <a:gd name="connsiteY29" fmla="*/ 4325 h 10552"/>
                  <a:gd name="connsiteX30" fmla="*/ 9455 w 10139"/>
                  <a:gd name="connsiteY30" fmla="*/ 3885 h 10552"/>
                  <a:gd name="connsiteX31" fmla="*/ 9910 w 10139"/>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892 w 10156"/>
                  <a:gd name="connsiteY7" fmla="*/ 3849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372 w 10156"/>
                  <a:gd name="connsiteY30" fmla="*/ 3747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8963 w 10156"/>
                  <a:gd name="connsiteY29" fmla="*/ 4167 h 10552"/>
                  <a:gd name="connsiteX30" fmla="*/ 9372 w 10156"/>
                  <a:gd name="connsiteY30" fmla="*/ 3747 h 10552"/>
                  <a:gd name="connsiteX31" fmla="*/ 9528 w 10156"/>
                  <a:gd name="connsiteY31" fmla="*/ 3608 h 10552"/>
                  <a:gd name="connsiteX32" fmla="*/ 9910 w 10156"/>
                  <a:gd name="connsiteY32" fmla="*/ 3702 h 10552"/>
                  <a:gd name="connsiteX0" fmla="*/ 0 w 10091"/>
                  <a:gd name="connsiteY0" fmla="*/ 7364 h 11174"/>
                  <a:gd name="connsiteX1" fmla="*/ 2983 w 10091"/>
                  <a:gd name="connsiteY1" fmla="*/ 9196 h 11174"/>
                  <a:gd name="connsiteX2" fmla="*/ 3676 w 10091"/>
                  <a:gd name="connsiteY2" fmla="*/ 10625 h 11174"/>
                  <a:gd name="connsiteX3" fmla="*/ 4239 w 10091"/>
                  <a:gd name="connsiteY3" fmla="*/ 11174 h 11174"/>
                  <a:gd name="connsiteX4" fmla="*/ 6144 w 10091"/>
                  <a:gd name="connsiteY4" fmla="*/ 6559 h 11174"/>
                  <a:gd name="connsiteX5" fmla="*/ 6988 w 10091"/>
                  <a:gd name="connsiteY5" fmla="*/ 5679 h 11174"/>
                  <a:gd name="connsiteX6" fmla="*/ 7356 w 10091"/>
                  <a:gd name="connsiteY6" fmla="*/ 5643 h 11174"/>
                  <a:gd name="connsiteX7" fmla="*/ 8773 w 10091"/>
                  <a:gd name="connsiteY7" fmla="*/ 4156 h 11174"/>
                  <a:gd name="connsiteX8" fmla="*/ 9804 w 10091"/>
                  <a:gd name="connsiteY8" fmla="*/ 2589 h 11174"/>
                  <a:gd name="connsiteX9" fmla="*/ 10083 w 10091"/>
                  <a:gd name="connsiteY9" fmla="*/ 2425 h 11174"/>
                  <a:gd name="connsiteX10" fmla="*/ 9566 w 10091"/>
                  <a:gd name="connsiteY10" fmla="*/ 2 h 11174"/>
                  <a:gd name="connsiteX11" fmla="*/ 8633 w 10091"/>
                  <a:gd name="connsiteY11" fmla="*/ 2932 h 11174"/>
                  <a:gd name="connsiteX12" fmla="*/ 8481 w 10091"/>
                  <a:gd name="connsiteY12" fmla="*/ 2896 h 11174"/>
                  <a:gd name="connsiteX13" fmla="*/ 8243 w 10091"/>
                  <a:gd name="connsiteY13" fmla="*/ 2456 h 11174"/>
                  <a:gd name="connsiteX14" fmla="*/ 7716 w 10091"/>
                  <a:gd name="connsiteY14" fmla="*/ 622 h 11174"/>
                  <a:gd name="connsiteX15" fmla="*/ 7695 w 10091"/>
                  <a:gd name="connsiteY15" fmla="*/ 2377 h 11174"/>
                  <a:gd name="connsiteX16" fmla="*/ 7544 w 10091"/>
                  <a:gd name="connsiteY16" fmla="*/ 2554 h 11174"/>
                  <a:gd name="connsiteX17" fmla="*/ 6750 w 10091"/>
                  <a:gd name="connsiteY17" fmla="*/ 4910 h 11174"/>
                  <a:gd name="connsiteX18" fmla="*/ 6533 w 10091"/>
                  <a:gd name="connsiteY18" fmla="*/ 5167 h 11174"/>
                  <a:gd name="connsiteX19" fmla="*/ 5992 w 10091"/>
                  <a:gd name="connsiteY19" fmla="*/ 5496 h 11174"/>
                  <a:gd name="connsiteX20" fmla="*/ 5884 w 10091"/>
                  <a:gd name="connsiteY20" fmla="*/ 5350 h 11174"/>
                  <a:gd name="connsiteX21" fmla="*/ 6014 w 10091"/>
                  <a:gd name="connsiteY21" fmla="*/ 5606 h 11174"/>
                  <a:gd name="connsiteX22" fmla="*/ 6079 w 10091"/>
                  <a:gd name="connsiteY22" fmla="*/ 5973 h 11174"/>
                  <a:gd name="connsiteX23" fmla="*/ 6252 w 10091"/>
                  <a:gd name="connsiteY23" fmla="*/ 6302 h 11174"/>
                  <a:gd name="connsiteX24" fmla="*/ 6187 w 10091"/>
                  <a:gd name="connsiteY24" fmla="*/ 6485 h 11174"/>
                  <a:gd name="connsiteX25" fmla="*/ 6403 w 10091"/>
                  <a:gd name="connsiteY25" fmla="*/ 6888 h 11174"/>
                  <a:gd name="connsiteX26" fmla="*/ 6966 w 10091"/>
                  <a:gd name="connsiteY26" fmla="*/ 6156 h 11174"/>
                  <a:gd name="connsiteX27" fmla="*/ 7312 w 10091"/>
                  <a:gd name="connsiteY27" fmla="*/ 6229 h 11174"/>
                  <a:gd name="connsiteX28" fmla="*/ 7897 w 10091"/>
                  <a:gd name="connsiteY28" fmla="*/ 5753 h 11174"/>
                  <a:gd name="connsiteX29" fmla="*/ 8963 w 10091"/>
                  <a:gd name="connsiteY29" fmla="*/ 4789 h 11174"/>
                  <a:gd name="connsiteX30" fmla="*/ 9372 w 10091"/>
                  <a:gd name="connsiteY30" fmla="*/ 4369 h 11174"/>
                  <a:gd name="connsiteX31" fmla="*/ 9528 w 10091"/>
                  <a:gd name="connsiteY31" fmla="*/ 4230 h 11174"/>
                  <a:gd name="connsiteX32" fmla="*/ 9910 w 10091"/>
                  <a:gd name="connsiteY32" fmla="*/ 4324 h 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91" h="11174">
                    <a:moveTo>
                      <a:pt x="0" y="7364"/>
                    </a:moveTo>
                    <a:cubicBezTo>
                      <a:pt x="2555" y="8762"/>
                      <a:pt x="2370" y="8653"/>
                      <a:pt x="2983" y="9196"/>
                    </a:cubicBezTo>
                    <a:cubicBezTo>
                      <a:pt x="3596" y="9740"/>
                      <a:pt x="3676" y="10625"/>
                      <a:pt x="3676" y="10625"/>
                    </a:cubicBezTo>
                    <a:lnTo>
                      <a:pt x="4239" y="11174"/>
                    </a:lnTo>
                    <a:cubicBezTo>
                      <a:pt x="4239" y="11174"/>
                      <a:pt x="5667" y="10698"/>
                      <a:pt x="6144" y="6559"/>
                    </a:cubicBezTo>
                    <a:lnTo>
                      <a:pt x="6988" y="5679"/>
                    </a:lnTo>
                    <a:cubicBezTo>
                      <a:pt x="7111" y="5667"/>
                      <a:pt x="7059" y="5897"/>
                      <a:pt x="7356" y="5643"/>
                    </a:cubicBezTo>
                    <a:cubicBezTo>
                      <a:pt x="7653" y="5389"/>
                      <a:pt x="8365" y="4665"/>
                      <a:pt x="8773" y="4156"/>
                    </a:cubicBezTo>
                    <a:cubicBezTo>
                      <a:pt x="9181" y="3647"/>
                      <a:pt x="9586" y="2877"/>
                      <a:pt x="9804" y="2589"/>
                    </a:cubicBezTo>
                    <a:cubicBezTo>
                      <a:pt x="10022" y="2301"/>
                      <a:pt x="10123" y="2856"/>
                      <a:pt x="10083" y="2425"/>
                    </a:cubicBezTo>
                    <a:cubicBezTo>
                      <a:pt x="10043" y="1994"/>
                      <a:pt x="9808" y="-82"/>
                      <a:pt x="9566" y="2"/>
                    </a:cubicBezTo>
                    <a:cubicBezTo>
                      <a:pt x="9324" y="86"/>
                      <a:pt x="8814" y="2450"/>
                      <a:pt x="8633" y="2932"/>
                    </a:cubicBezTo>
                    <a:cubicBezTo>
                      <a:pt x="8452" y="3414"/>
                      <a:pt x="8532" y="2908"/>
                      <a:pt x="8481" y="2896"/>
                    </a:cubicBezTo>
                    <a:cubicBezTo>
                      <a:pt x="8402" y="2749"/>
                      <a:pt x="8371" y="2835"/>
                      <a:pt x="8243" y="2456"/>
                    </a:cubicBezTo>
                    <a:cubicBezTo>
                      <a:pt x="8115" y="2077"/>
                      <a:pt x="7807" y="635"/>
                      <a:pt x="7716" y="622"/>
                    </a:cubicBezTo>
                    <a:cubicBezTo>
                      <a:pt x="7625" y="609"/>
                      <a:pt x="7724" y="2055"/>
                      <a:pt x="7695" y="2377"/>
                    </a:cubicBezTo>
                    <a:cubicBezTo>
                      <a:pt x="7666" y="2699"/>
                      <a:pt x="7702" y="2132"/>
                      <a:pt x="7544" y="2554"/>
                    </a:cubicBezTo>
                    <a:cubicBezTo>
                      <a:pt x="7387" y="2976"/>
                      <a:pt x="6918" y="4475"/>
                      <a:pt x="6750" y="4910"/>
                    </a:cubicBezTo>
                    <a:cubicBezTo>
                      <a:pt x="6582" y="5345"/>
                      <a:pt x="6605" y="5081"/>
                      <a:pt x="6533" y="5167"/>
                    </a:cubicBezTo>
                    <a:lnTo>
                      <a:pt x="5992" y="5496"/>
                    </a:lnTo>
                    <a:lnTo>
                      <a:pt x="5884" y="5350"/>
                    </a:lnTo>
                    <a:lnTo>
                      <a:pt x="6014" y="5606"/>
                    </a:lnTo>
                    <a:cubicBezTo>
                      <a:pt x="6036" y="5728"/>
                      <a:pt x="6057" y="5851"/>
                      <a:pt x="6079" y="5973"/>
                    </a:cubicBezTo>
                    <a:lnTo>
                      <a:pt x="6252" y="6302"/>
                    </a:lnTo>
                    <a:cubicBezTo>
                      <a:pt x="6230" y="6363"/>
                      <a:pt x="6209" y="6424"/>
                      <a:pt x="6187" y="6485"/>
                    </a:cubicBezTo>
                    <a:lnTo>
                      <a:pt x="6403" y="6888"/>
                    </a:lnTo>
                    <a:lnTo>
                      <a:pt x="6966" y="6156"/>
                    </a:lnTo>
                    <a:lnTo>
                      <a:pt x="7312" y="6229"/>
                    </a:lnTo>
                    <a:cubicBezTo>
                      <a:pt x="7312" y="6229"/>
                      <a:pt x="7637" y="6119"/>
                      <a:pt x="7897" y="5753"/>
                    </a:cubicBezTo>
                    <a:cubicBezTo>
                      <a:pt x="8156" y="5350"/>
                      <a:pt x="8162" y="4972"/>
                      <a:pt x="8963" y="4789"/>
                    </a:cubicBezTo>
                    <a:cubicBezTo>
                      <a:pt x="9288" y="4752"/>
                      <a:pt x="9372" y="4369"/>
                      <a:pt x="9372" y="4369"/>
                    </a:cubicBezTo>
                    <a:cubicBezTo>
                      <a:pt x="9408" y="4336"/>
                      <a:pt x="9492" y="4263"/>
                      <a:pt x="9528" y="4230"/>
                    </a:cubicBezTo>
                    <a:lnTo>
                      <a:pt x="9910" y="4324"/>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1" name="Freeform 54"/>
              <p:cNvSpPr>
                <a:spLocks/>
              </p:cNvSpPr>
              <p:nvPr/>
            </p:nvSpPr>
            <p:spPr bwMode="auto">
              <a:xfrm>
                <a:off x="9462625" y="3420211"/>
                <a:ext cx="1055875" cy="753234"/>
              </a:xfrm>
              <a:custGeom>
                <a:avLst/>
                <a:gdLst>
                  <a:gd name="T0" fmla="*/ 190 w 212"/>
                  <a:gd name="T1" fmla="*/ 15 h 135"/>
                  <a:gd name="T2" fmla="*/ 201 w 212"/>
                  <a:gd name="T3" fmla="*/ 17 h 135"/>
                  <a:gd name="T4" fmla="*/ 208 w 212"/>
                  <a:gd name="T5" fmla="*/ 24 h 135"/>
                  <a:gd name="T6" fmla="*/ 212 w 212"/>
                  <a:gd name="T7" fmla="*/ 28 h 135"/>
                  <a:gd name="T8" fmla="*/ 212 w 212"/>
                  <a:gd name="T9" fmla="*/ 31 h 135"/>
                  <a:gd name="T10" fmla="*/ 210 w 212"/>
                  <a:gd name="T11" fmla="*/ 42 h 135"/>
                  <a:gd name="T12" fmla="*/ 175 w 212"/>
                  <a:gd name="T13" fmla="*/ 33 h 135"/>
                  <a:gd name="T14" fmla="*/ 166 w 212"/>
                  <a:gd name="T15" fmla="*/ 28 h 135"/>
                  <a:gd name="T16" fmla="*/ 156 w 212"/>
                  <a:gd name="T17" fmla="*/ 20 h 135"/>
                  <a:gd name="T18" fmla="*/ 155 w 212"/>
                  <a:gd name="T19" fmla="*/ 19 h 135"/>
                  <a:gd name="T20" fmla="*/ 157 w 212"/>
                  <a:gd name="T21" fmla="*/ 14 h 135"/>
                  <a:gd name="T22" fmla="*/ 171 w 212"/>
                  <a:gd name="T23" fmla="*/ 9 h 135"/>
                  <a:gd name="T24" fmla="*/ 174 w 212"/>
                  <a:gd name="T25" fmla="*/ 6 h 135"/>
                  <a:gd name="T26" fmla="*/ 176 w 212"/>
                  <a:gd name="T27" fmla="*/ 8 h 135"/>
                  <a:gd name="T28" fmla="*/ 183 w 212"/>
                  <a:gd name="T29" fmla="*/ 14 h 135"/>
                  <a:gd name="T30" fmla="*/ 185 w 212"/>
                  <a:gd name="T31" fmla="*/ 3 h 135"/>
                  <a:gd name="T32" fmla="*/ 196 w 212"/>
                  <a:gd name="T33" fmla="*/ 3 h 135"/>
                  <a:gd name="T34" fmla="*/ 198 w 212"/>
                  <a:gd name="T35" fmla="*/ 5 h 135"/>
                  <a:gd name="T36" fmla="*/ 197 w 212"/>
                  <a:gd name="T37" fmla="*/ 11 h 135"/>
                  <a:gd name="T38" fmla="*/ 188 w 212"/>
                  <a:gd name="T39" fmla="*/ 16 h 135"/>
                  <a:gd name="T40" fmla="*/ 181 w 212"/>
                  <a:gd name="T41" fmla="*/ 14 h 135"/>
                  <a:gd name="T42" fmla="*/ 179 w 212"/>
                  <a:gd name="T43" fmla="*/ 15 h 135"/>
                  <a:gd name="T44" fmla="*/ 137 w 212"/>
                  <a:gd name="T45" fmla="*/ 64 h 135"/>
                  <a:gd name="T46" fmla="*/ 106 w 212"/>
                  <a:gd name="T47" fmla="*/ 85 h 135"/>
                  <a:gd name="T48" fmla="*/ 102 w 212"/>
                  <a:gd name="T49" fmla="*/ 90 h 135"/>
                  <a:gd name="T50" fmla="*/ 98 w 212"/>
                  <a:gd name="T51" fmla="*/ 93 h 135"/>
                  <a:gd name="T52" fmla="*/ 58 w 212"/>
                  <a:gd name="T53" fmla="*/ 100 h 135"/>
                  <a:gd name="T54" fmla="*/ 50 w 212"/>
                  <a:gd name="T55" fmla="*/ 103 h 135"/>
                  <a:gd name="T56" fmla="*/ 51 w 212"/>
                  <a:gd name="T57" fmla="*/ 108 h 135"/>
                  <a:gd name="T58" fmla="*/ 48 w 212"/>
                  <a:gd name="T59" fmla="*/ 126 h 135"/>
                  <a:gd name="T60" fmla="*/ 30 w 212"/>
                  <a:gd name="T61" fmla="*/ 134 h 135"/>
                  <a:gd name="T62" fmla="*/ 10 w 212"/>
                  <a:gd name="T63" fmla="*/ 133 h 135"/>
                  <a:gd name="T64" fmla="*/ 0 w 212"/>
                  <a:gd name="T65" fmla="*/ 130 h 135"/>
                  <a:gd name="connsiteX0" fmla="*/ 10023 w 11061"/>
                  <a:gd name="connsiteY0" fmla="*/ 1030 h 9875"/>
                  <a:gd name="connsiteX1" fmla="*/ 10542 w 11061"/>
                  <a:gd name="connsiteY1" fmla="*/ 1178 h 9875"/>
                  <a:gd name="connsiteX2" fmla="*/ 10872 w 11061"/>
                  <a:gd name="connsiteY2" fmla="*/ 1697 h 9875"/>
                  <a:gd name="connsiteX3" fmla="*/ 11061 w 11061"/>
                  <a:gd name="connsiteY3" fmla="*/ 1993 h 9875"/>
                  <a:gd name="connsiteX4" fmla="*/ 11061 w 11061"/>
                  <a:gd name="connsiteY4" fmla="*/ 2215 h 9875"/>
                  <a:gd name="connsiteX5" fmla="*/ 10967 w 11061"/>
                  <a:gd name="connsiteY5" fmla="*/ 3030 h 9875"/>
                  <a:gd name="connsiteX6" fmla="*/ 9316 w 11061"/>
                  <a:gd name="connsiteY6" fmla="*/ 2363 h 9875"/>
                  <a:gd name="connsiteX7" fmla="*/ 8891 w 11061"/>
                  <a:gd name="connsiteY7" fmla="*/ 1993 h 9875"/>
                  <a:gd name="connsiteX8" fmla="*/ 8419 w 11061"/>
                  <a:gd name="connsiteY8" fmla="*/ 1400 h 9875"/>
                  <a:gd name="connsiteX9" fmla="*/ 8372 w 11061"/>
                  <a:gd name="connsiteY9" fmla="*/ 1326 h 9875"/>
                  <a:gd name="connsiteX10" fmla="*/ 8467 w 11061"/>
                  <a:gd name="connsiteY10" fmla="*/ 956 h 9875"/>
                  <a:gd name="connsiteX11" fmla="*/ 9127 w 11061"/>
                  <a:gd name="connsiteY11" fmla="*/ 586 h 9875"/>
                  <a:gd name="connsiteX12" fmla="*/ 9269 w 11061"/>
                  <a:gd name="connsiteY12" fmla="*/ 363 h 9875"/>
                  <a:gd name="connsiteX13" fmla="*/ 9363 w 11061"/>
                  <a:gd name="connsiteY13" fmla="*/ 512 h 9875"/>
                  <a:gd name="connsiteX14" fmla="*/ 9693 w 11061"/>
                  <a:gd name="connsiteY14" fmla="*/ 956 h 9875"/>
                  <a:gd name="connsiteX15" fmla="*/ 9787 w 11061"/>
                  <a:gd name="connsiteY15" fmla="*/ 141 h 9875"/>
                  <a:gd name="connsiteX16" fmla="*/ 10306 w 11061"/>
                  <a:gd name="connsiteY16" fmla="*/ 141 h 9875"/>
                  <a:gd name="connsiteX17" fmla="*/ 10401 w 11061"/>
                  <a:gd name="connsiteY17" fmla="*/ 289 h 9875"/>
                  <a:gd name="connsiteX18" fmla="*/ 10353 w 11061"/>
                  <a:gd name="connsiteY18" fmla="*/ 734 h 9875"/>
                  <a:gd name="connsiteX19" fmla="*/ 9929 w 11061"/>
                  <a:gd name="connsiteY19" fmla="*/ 1104 h 9875"/>
                  <a:gd name="connsiteX20" fmla="*/ 9599 w 11061"/>
                  <a:gd name="connsiteY20" fmla="*/ 956 h 9875"/>
                  <a:gd name="connsiteX21" fmla="*/ 9504 w 11061"/>
                  <a:gd name="connsiteY21" fmla="*/ 1030 h 9875"/>
                  <a:gd name="connsiteX22" fmla="*/ 7523 w 11061"/>
                  <a:gd name="connsiteY22" fmla="*/ 4660 h 9875"/>
                  <a:gd name="connsiteX23" fmla="*/ 6061 w 11061"/>
                  <a:gd name="connsiteY23" fmla="*/ 6215 h 9875"/>
                  <a:gd name="connsiteX24" fmla="*/ 5872 w 11061"/>
                  <a:gd name="connsiteY24" fmla="*/ 6586 h 9875"/>
                  <a:gd name="connsiteX25" fmla="*/ 5684 w 11061"/>
                  <a:gd name="connsiteY25" fmla="*/ 6808 h 9875"/>
                  <a:gd name="connsiteX26" fmla="*/ 3797 w 11061"/>
                  <a:gd name="connsiteY26" fmla="*/ 7326 h 9875"/>
                  <a:gd name="connsiteX27" fmla="*/ 3419 w 11061"/>
                  <a:gd name="connsiteY27" fmla="*/ 7549 h 9875"/>
                  <a:gd name="connsiteX28" fmla="*/ 3467 w 11061"/>
                  <a:gd name="connsiteY28" fmla="*/ 7919 h 9875"/>
                  <a:gd name="connsiteX29" fmla="*/ 3325 w 11061"/>
                  <a:gd name="connsiteY29" fmla="*/ 9252 h 9875"/>
                  <a:gd name="connsiteX30" fmla="*/ 2476 w 11061"/>
                  <a:gd name="connsiteY30" fmla="*/ 9845 h 9875"/>
                  <a:gd name="connsiteX31" fmla="*/ 1533 w 11061"/>
                  <a:gd name="connsiteY31" fmla="*/ 9771 h 9875"/>
                  <a:gd name="connsiteX32" fmla="*/ 0 w 11061"/>
                  <a:gd name="connsiteY32" fmla="*/ 9349 h 9875"/>
                  <a:gd name="connsiteX0" fmla="*/ 9507 w 10445"/>
                  <a:gd name="connsiteY0" fmla="*/ 1043 h 10001"/>
                  <a:gd name="connsiteX1" fmla="*/ 9976 w 10445"/>
                  <a:gd name="connsiteY1" fmla="*/ 1193 h 10001"/>
                  <a:gd name="connsiteX2" fmla="*/ 10274 w 10445"/>
                  <a:gd name="connsiteY2" fmla="*/ 1718 h 10001"/>
                  <a:gd name="connsiteX3" fmla="*/ 10445 w 10445"/>
                  <a:gd name="connsiteY3" fmla="*/ 2018 h 10001"/>
                  <a:gd name="connsiteX4" fmla="*/ 10445 w 10445"/>
                  <a:gd name="connsiteY4" fmla="*/ 2243 h 10001"/>
                  <a:gd name="connsiteX5" fmla="*/ 10360 w 10445"/>
                  <a:gd name="connsiteY5" fmla="*/ 3068 h 10001"/>
                  <a:gd name="connsiteX6" fmla="*/ 8867 w 10445"/>
                  <a:gd name="connsiteY6" fmla="*/ 2393 h 10001"/>
                  <a:gd name="connsiteX7" fmla="*/ 8483 w 10445"/>
                  <a:gd name="connsiteY7" fmla="*/ 2018 h 10001"/>
                  <a:gd name="connsiteX8" fmla="*/ 8056 w 10445"/>
                  <a:gd name="connsiteY8" fmla="*/ 1418 h 10001"/>
                  <a:gd name="connsiteX9" fmla="*/ 8014 w 10445"/>
                  <a:gd name="connsiteY9" fmla="*/ 1343 h 10001"/>
                  <a:gd name="connsiteX10" fmla="*/ 8100 w 10445"/>
                  <a:gd name="connsiteY10" fmla="*/ 968 h 10001"/>
                  <a:gd name="connsiteX11" fmla="*/ 8697 w 10445"/>
                  <a:gd name="connsiteY11" fmla="*/ 593 h 10001"/>
                  <a:gd name="connsiteX12" fmla="*/ 8825 w 10445"/>
                  <a:gd name="connsiteY12" fmla="*/ 368 h 10001"/>
                  <a:gd name="connsiteX13" fmla="*/ 8910 w 10445"/>
                  <a:gd name="connsiteY13" fmla="*/ 518 h 10001"/>
                  <a:gd name="connsiteX14" fmla="*/ 9208 w 10445"/>
                  <a:gd name="connsiteY14" fmla="*/ 968 h 10001"/>
                  <a:gd name="connsiteX15" fmla="*/ 9293 w 10445"/>
                  <a:gd name="connsiteY15" fmla="*/ 143 h 10001"/>
                  <a:gd name="connsiteX16" fmla="*/ 9762 w 10445"/>
                  <a:gd name="connsiteY16" fmla="*/ 143 h 10001"/>
                  <a:gd name="connsiteX17" fmla="*/ 9848 w 10445"/>
                  <a:gd name="connsiteY17" fmla="*/ 293 h 10001"/>
                  <a:gd name="connsiteX18" fmla="*/ 9805 w 10445"/>
                  <a:gd name="connsiteY18" fmla="*/ 743 h 10001"/>
                  <a:gd name="connsiteX19" fmla="*/ 9422 w 10445"/>
                  <a:gd name="connsiteY19" fmla="*/ 1118 h 10001"/>
                  <a:gd name="connsiteX20" fmla="*/ 9123 w 10445"/>
                  <a:gd name="connsiteY20" fmla="*/ 968 h 10001"/>
                  <a:gd name="connsiteX21" fmla="*/ 9037 w 10445"/>
                  <a:gd name="connsiteY21" fmla="*/ 1043 h 10001"/>
                  <a:gd name="connsiteX22" fmla="*/ 7246 w 10445"/>
                  <a:gd name="connsiteY22" fmla="*/ 4719 h 10001"/>
                  <a:gd name="connsiteX23" fmla="*/ 5925 w 10445"/>
                  <a:gd name="connsiteY23" fmla="*/ 6294 h 10001"/>
                  <a:gd name="connsiteX24" fmla="*/ 5754 w 10445"/>
                  <a:gd name="connsiteY24" fmla="*/ 6669 h 10001"/>
                  <a:gd name="connsiteX25" fmla="*/ 5584 w 10445"/>
                  <a:gd name="connsiteY25" fmla="*/ 6894 h 10001"/>
                  <a:gd name="connsiteX26" fmla="*/ 3878 w 10445"/>
                  <a:gd name="connsiteY26" fmla="*/ 7419 h 10001"/>
                  <a:gd name="connsiteX27" fmla="*/ 3536 w 10445"/>
                  <a:gd name="connsiteY27" fmla="*/ 7645 h 10001"/>
                  <a:gd name="connsiteX28" fmla="*/ 3579 w 10445"/>
                  <a:gd name="connsiteY28" fmla="*/ 8019 h 10001"/>
                  <a:gd name="connsiteX29" fmla="*/ 3451 w 10445"/>
                  <a:gd name="connsiteY29" fmla="*/ 9369 h 10001"/>
                  <a:gd name="connsiteX30" fmla="*/ 2683 w 10445"/>
                  <a:gd name="connsiteY30" fmla="*/ 9970 h 10001"/>
                  <a:gd name="connsiteX31" fmla="*/ 1831 w 10445"/>
                  <a:gd name="connsiteY31" fmla="*/ 9895 h 10001"/>
                  <a:gd name="connsiteX32" fmla="*/ 0 w 10445"/>
                  <a:gd name="connsiteY32" fmla="*/ 8820 h 10001"/>
                  <a:gd name="connsiteX0" fmla="*/ 9554 w 10492"/>
                  <a:gd name="connsiteY0" fmla="*/ 1043 h 10001"/>
                  <a:gd name="connsiteX1" fmla="*/ 10023 w 10492"/>
                  <a:gd name="connsiteY1" fmla="*/ 1193 h 10001"/>
                  <a:gd name="connsiteX2" fmla="*/ 10321 w 10492"/>
                  <a:gd name="connsiteY2" fmla="*/ 1718 h 10001"/>
                  <a:gd name="connsiteX3" fmla="*/ 10492 w 10492"/>
                  <a:gd name="connsiteY3" fmla="*/ 2018 h 10001"/>
                  <a:gd name="connsiteX4" fmla="*/ 10492 w 10492"/>
                  <a:gd name="connsiteY4" fmla="*/ 2243 h 10001"/>
                  <a:gd name="connsiteX5" fmla="*/ 10407 w 10492"/>
                  <a:gd name="connsiteY5" fmla="*/ 3068 h 10001"/>
                  <a:gd name="connsiteX6" fmla="*/ 8914 w 10492"/>
                  <a:gd name="connsiteY6" fmla="*/ 2393 h 10001"/>
                  <a:gd name="connsiteX7" fmla="*/ 8530 w 10492"/>
                  <a:gd name="connsiteY7" fmla="*/ 2018 h 10001"/>
                  <a:gd name="connsiteX8" fmla="*/ 8103 w 10492"/>
                  <a:gd name="connsiteY8" fmla="*/ 1418 h 10001"/>
                  <a:gd name="connsiteX9" fmla="*/ 8061 w 10492"/>
                  <a:gd name="connsiteY9" fmla="*/ 1343 h 10001"/>
                  <a:gd name="connsiteX10" fmla="*/ 8147 w 10492"/>
                  <a:gd name="connsiteY10" fmla="*/ 968 h 10001"/>
                  <a:gd name="connsiteX11" fmla="*/ 8744 w 10492"/>
                  <a:gd name="connsiteY11" fmla="*/ 593 h 10001"/>
                  <a:gd name="connsiteX12" fmla="*/ 8872 w 10492"/>
                  <a:gd name="connsiteY12" fmla="*/ 368 h 10001"/>
                  <a:gd name="connsiteX13" fmla="*/ 8957 w 10492"/>
                  <a:gd name="connsiteY13" fmla="*/ 518 h 10001"/>
                  <a:gd name="connsiteX14" fmla="*/ 9255 w 10492"/>
                  <a:gd name="connsiteY14" fmla="*/ 968 h 10001"/>
                  <a:gd name="connsiteX15" fmla="*/ 9340 w 10492"/>
                  <a:gd name="connsiteY15" fmla="*/ 143 h 10001"/>
                  <a:gd name="connsiteX16" fmla="*/ 9809 w 10492"/>
                  <a:gd name="connsiteY16" fmla="*/ 143 h 10001"/>
                  <a:gd name="connsiteX17" fmla="*/ 9895 w 10492"/>
                  <a:gd name="connsiteY17" fmla="*/ 293 h 10001"/>
                  <a:gd name="connsiteX18" fmla="*/ 9852 w 10492"/>
                  <a:gd name="connsiteY18" fmla="*/ 743 h 10001"/>
                  <a:gd name="connsiteX19" fmla="*/ 9469 w 10492"/>
                  <a:gd name="connsiteY19" fmla="*/ 1118 h 10001"/>
                  <a:gd name="connsiteX20" fmla="*/ 9170 w 10492"/>
                  <a:gd name="connsiteY20" fmla="*/ 968 h 10001"/>
                  <a:gd name="connsiteX21" fmla="*/ 9084 w 10492"/>
                  <a:gd name="connsiteY21" fmla="*/ 1043 h 10001"/>
                  <a:gd name="connsiteX22" fmla="*/ 7293 w 10492"/>
                  <a:gd name="connsiteY22" fmla="*/ 4719 h 10001"/>
                  <a:gd name="connsiteX23" fmla="*/ 5972 w 10492"/>
                  <a:gd name="connsiteY23" fmla="*/ 6294 h 10001"/>
                  <a:gd name="connsiteX24" fmla="*/ 5801 w 10492"/>
                  <a:gd name="connsiteY24" fmla="*/ 6669 h 10001"/>
                  <a:gd name="connsiteX25" fmla="*/ 5631 w 10492"/>
                  <a:gd name="connsiteY25" fmla="*/ 6894 h 10001"/>
                  <a:gd name="connsiteX26" fmla="*/ 3925 w 10492"/>
                  <a:gd name="connsiteY26" fmla="*/ 7419 h 10001"/>
                  <a:gd name="connsiteX27" fmla="*/ 3583 w 10492"/>
                  <a:gd name="connsiteY27" fmla="*/ 7645 h 10001"/>
                  <a:gd name="connsiteX28" fmla="*/ 3626 w 10492"/>
                  <a:gd name="connsiteY28" fmla="*/ 8019 h 10001"/>
                  <a:gd name="connsiteX29" fmla="*/ 3498 w 10492"/>
                  <a:gd name="connsiteY29" fmla="*/ 9369 h 10001"/>
                  <a:gd name="connsiteX30" fmla="*/ 2730 w 10492"/>
                  <a:gd name="connsiteY30" fmla="*/ 9970 h 10001"/>
                  <a:gd name="connsiteX31" fmla="*/ 1878 w 10492"/>
                  <a:gd name="connsiteY31" fmla="*/ 9895 h 10001"/>
                  <a:gd name="connsiteX32" fmla="*/ 0 w 10492"/>
                  <a:gd name="connsiteY32" fmla="*/ 8173 h 10001"/>
                  <a:gd name="connsiteX0" fmla="*/ 9648 w 10586"/>
                  <a:gd name="connsiteY0" fmla="*/ 1043 h 10001"/>
                  <a:gd name="connsiteX1" fmla="*/ 10117 w 10586"/>
                  <a:gd name="connsiteY1" fmla="*/ 1193 h 10001"/>
                  <a:gd name="connsiteX2" fmla="*/ 10415 w 10586"/>
                  <a:gd name="connsiteY2" fmla="*/ 1718 h 10001"/>
                  <a:gd name="connsiteX3" fmla="*/ 10586 w 10586"/>
                  <a:gd name="connsiteY3" fmla="*/ 2018 h 10001"/>
                  <a:gd name="connsiteX4" fmla="*/ 10586 w 10586"/>
                  <a:gd name="connsiteY4" fmla="*/ 2243 h 10001"/>
                  <a:gd name="connsiteX5" fmla="*/ 10501 w 10586"/>
                  <a:gd name="connsiteY5" fmla="*/ 3068 h 10001"/>
                  <a:gd name="connsiteX6" fmla="*/ 9008 w 10586"/>
                  <a:gd name="connsiteY6" fmla="*/ 2393 h 10001"/>
                  <a:gd name="connsiteX7" fmla="*/ 8624 w 10586"/>
                  <a:gd name="connsiteY7" fmla="*/ 2018 h 10001"/>
                  <a:gd name="connsiteX8" fmla="*/ 8197 w 10586"/>
                  <a:gd name="connsiteY8" fmla="*/ 1418 h 10001"/>
                  <a:gd name="connsiteX9" fmla="*/ 8155 w 10586"/>
                  <a:gd name="connsiteY9" fmla="*/ 1343 h 10001"/>
                  <a:gd name="connsiteX10" fmla="*/ 8241 w 10586"/>
                  <a:gd name="connsiteY10" fmla="*/ 968 h 10001"/>
                  <a:gd name="connsiteX11" fmla="*/ 8838 w 10586"/>
                  <a:gd name="connsiteY11" fmla="*/ 593 h 10001"/>
                  <a:gd name="connsiteX12" fmla="*/ 8966 w 10586"/>
                  <a:gd name="connsiteY12" fmla="*/ 368 h 10001"/>
                  <a:gd name="connsiteX13" fmla="*/ 9051 w 10586"/>
                  <a:gd name="connsiteY13" fmla="*/ 518 h 10001"/>
                  <a:gd name="connsiteX14" fmla="*/ 9349 w 10586"/>
                  <a:gd name="connsiteY14" fmla="*/ 968 h 10001"/>
                  <a:gd name="connsiteX15" fmla="*/ 9434 w 10586"/>
                  <a:gd name="connsiteY15" fmla="*/ 143 h 10001"/>
                  <a:gd name="connsiteX16" fmla="*/ 9903 w 10586"/>
                  <a:gd name="connsiteY16" fmla="*/ 143 h 10001"/>
                  <a:gd name="connsiteX17" fmla="*/ 9989 w 10586"/>
                  <a:gd name="connsiteY17" fmla="*/ 293 h 10001"/>
                  <a:gd name="connsiteX18" fmla="*/ 9946 w 10586"/>
                  <a:gd name="connsiteY18" fmla="*/ 743 h 10001"/>
                  <a:gd name="connsiteX19" fmla="*/ 9563 w 10586"/>
                  <a:gd name="connsiteY19" fmla="*/ 1118 h 10001"/>
                  <a:gd name="connsiteX20" fmla="*/ 9264 w 10586"/>
                  <a:gd name="connsiteY20" fmla="*/ 968 h 10001"/>
                  <a:gd name="connsiteX21" fmla="*/ 9178 w 10586"/>
                  <a:gd name="connsiteY21" fmla="*/ 1043 h 10001"/>
                  <a:gd name="connsiteX22" fmla="*/ 7387 w 10586"/>
                  <a:gd name="connsiteY22" fmla="*/ 4719 h 10001"/>
                  <a:gd name="connsiteX23" fmla="*/ 6066 w 10586"/>
                  <a:gd name="connsiteY23" fmla="*/ 6294 h 10001"/>
                  <a:gd name="connsiteX24" fmla="*/ 5895 w 10586"/>
                  <a:gd name="connsiteY24" fmla="*/ 6669 h 10001"/>
                  <a:gd name="connsiteX25" fmla="*/ 5725 w 10586"/>
                  <a:gd name="connsiteY25" fmla="*/ 6894 h 10001"/>
                  <a:gd name="connsiteX26" fmla="*/ 4019 w 10586"/>
                  <a:gd name="connsiteY26" fmla="*/ 7419 h 10001"/>
                  <a:gd name="connsiteX27" fmla="*/ 3677 w 10586"/>
                  <a:gd name="connsiteY27" fmla="*/ 7645 h 10001"/>
                  <a:gd name="connsiteX28" fmla="*/ 3720 w 10586"/>
                  <a:gd name="connsiteY28" fmla="*/ 8019 h 10001"/>
                  <a:gd name="connsiteX29" fmla="*/ 3592 w 10586"/>
                  <a:gd name="connsiteY29" fmla="*/ 9369 h 10001"/>
                  <a:gd name="connsiteX30" fmla="*/ 2824 w 10586"/>
                  <a:gd name="connsiteY30" fmla="*/ 9970 h 10001"/>
                  <a:gd name="connsiteX31" fmla="*/ 1972 w 10586"/>
                  <a:gd name="connsiteY31" fmla="*/ 9895 h 10001"/>
                  <a:gd name="connsiteX32" fmla="*/ 0 w 10586"/>
                  <a:gd name="connsiteY32" fmla="*/ 8739 h 10001"/>
                  <a:gd name="connsiteX0" fmla="*/ 9437 w 10375"/>
                  <a:gd name="connsiteY0" fmla="*/ 1043 h 10001"/>
                  <a:gd name="connsiteX1" fmla="*/ 9906 w 10375"/>
                  <a:gd name="connsiteY1" fmla="*/ 1193 h 10001"/>
                  <a:gd name="connsiteX2" fmla="*/ 10204 w 10375"/>
                  <a:gd name="connsiteY2" fmla="*/ 1718 h 10001"/>
                  <a:gd name="connsiteX3" fmla="*/ 10375 w 10375"/>
                  <a:gd name="connsiteY3" fmla="*/ 2018 h 10001"/>
                  <a:gd name="connsiteX4" fmla="*/ 10375 w 10375"/>
                  <a:gd name="connsiteY4" fmla="*/ 2243 h 10001"/>
                  <a:gd name="connsiteX5" fmla="*/ 10290 w 10375"/>
                  <a:gd name="connsiteY5" fmla="*/ 3068 h 10001"/>
                  <a:gd name="connsiteX6" fmla="*/ 8797 w 10375"/>
                  <a:gd name="connsiteY6" fmla="*/ 2393 h 10001"/>
                  <a:gd name="connsiteX7" fmla="*/ 8413 w 10375"/>
                  <a:gd name="connsiteY7" fmla="*/ 2018 h 10001"/>
                  <a:gd name="connsiteX8" fmla="*/ 7986 w 10375"/>
                  <a:gd name="connsiteY8" fmla="*/ 1418 h 10001"/>
                  <a:gd name="connsiteX9" fmla="*/ 7944 w 10375"/>
                  <a:gd name="connsiteY9" fmla="*/ 1343 h 10001"/>
                  <a:gd name="connsiteX10" fmla="*/ 8030 w 10375"/>
                  <a:gd name="connsiteY10" fmla="*/ 968 h 10001"/>
                  <a:gd name="connsiteX11" fmla="*/ 8627 w 10375"/>
                  <a:gd name="connsiteY11" fmla="*/ 593 h 10001"/>
                  <a:gd name="connsiteX12" fmla="*/ 8755 w 10375"/>
                  <a:gd name="connsiteY12" fmla="*/ 368 h 10001"/>
                  <a:gd name="connsiteX13" fmla="*/ 8840 w 10375"/>
                  <a:gd name="connsiteY13" fmla="*/ 518 h 10001"/>
                  <a:gd name="connsiteX14" fmla="*/ 9138 w 10375"/>
                  <a:gd name="connsiteY14" fmla="*/ 968 h 10001"/>
                  <a:gd name="connsiteX15" fmla="*/ 9223 w 10375"/>
                  <a:gd name="connsiteY15" fmla="*/ 143 h 10001"/>
                  <a:gd name="connsiteX16" fmla="*/ 9692 w 10375"/>
                  <a:gd name="connsiteY16" fmla="*/ 143 h 10001"/>
                  <a:gd name="connsiteX17" fmla="*/ 9778 w 10375"/>
                  <a:gd name="connsiteY17" fmla="*/ 293 h 10001"/>
                  <a:gd name="connsiteX18" fmla="*/ 9735 w 10375"/>
                  <a:gd name="connsiteY18" fmla="*/ 743 h 10001"/>
                  <a:gd name="connsiteX19" fmla="*/ 9352 w 10375"/>
                  <a:gd name="connsiteY19" fmla="*/ 1118 h 10001"/>
                  <a:gd name="connsiteX20" fmla="*/ 9053 w 10375"/>
                  <a:gd name="connsiteY20" fmla="*/ 968 h 10001"/>
                  <a:gd name="connsiteX21" fmla="*/ 8967 w 10375"/>
                  <a:gd name="connsiteY21" fmla="*/ 1043 h 10001"/>
                  <a:gd name="connsiteX22" fmla="*/ 7176 w 10375"/>
                  <a:gd name="connsiteY22" fmla="*/ 4719 h 10001"/>
                  <a:gd name="connsiteX23" fmla="*/ 5855 w 10375"/>
                  <a:gd name="connsiteY23" fmla="*/ 6294 h 10001"/>
                  <a:gd name="connsiteX24" fmla="*/ 5684 w 10375"/>
                  <a:gd name="connsiteY24" fmla="*/ 6669 h 10001"/>
                  <a:gd name="connsiteX25" fmla="*/ 5514 w 10375"/>
                  <a:gd name="connsiteY25" fmla="*/ 6894 h 10001"/>
                  <a:gd name="connsiteX26" fmla="*/ 3808 w 10375"/>
                  <a:gd name="connsiteY26" fmla="*/ 7419 h 10001"/>
                  <a:gd name="connsiteX27" fmla="*/ 3466 w 10375"/>
                  <a:gd name="connsiteY27" fmla="*/ 7645 h 10001"/>
                  <a:gd name="connsiteX28" fmla="*/ 3509 w 10375"/>
                  <a:gd name="connsiteY28" fmla="*/ 8019 h 10001"/>
                  <a:gd name="connsiteX29" fmla="*/ 3381 w 10375"/>
                  <a:gd name="connsiteY29" fmla="*/ 9369 h 10001"/>
                  <a:gd name="connsiteX30" fmla="*/ 2613 w 10375"/>
                  <a:gd name="connsiteY30" fmla="*/ 9970 h 10001"/>
                  <a:gd name="connsiteX31" fmla="*/ 1761 w 10375"/>
                  <a:gd name="connsiteY31" fmla="*/ 9895 h 10001"/>
                  <a:gd name="connsiteX32" fmla="*/ 0 w 10375"/>
                  <a:gd name="connsiteY32" fmla="*/ 8132 h 10001"/>
                  <a:gd name="connsiteX0" fmla="*/ 9437 w 10375"/>
                  <a:gd name="connsiteY0" fmla="*/ 1043 h 10389"/>
                  <a:gd name="connsiteX1" fmla="*/ 9906 w 10375"/>
                  <a:gd name="connsiteY1" fmla="*/ 1193 h 10389"/>
                  <a:gd name="connsiteX2" fmla="*/ 10204 w 10375"/>
                  <a:gd name="connsiteY2" fmla="*/ 1718 h 10389"/>
                  <a:gd name="connsiteX3" fmla="*/ 10375 w 10375"/>
                  <a:gd name="connsiteY3" fmla="*/ 2018 h 10389"/>
                  <a:gd name="connsiteX4" fmla="*/ 10375 w 10375"/>
                  <a:gd name="connsiteY4" fmla="*/ 2243 h 10389"/>
                  <a:gd name="connsiteX5" fmla="*/ 10290 w 10375"/>
                  <a:gd name="connsiteY5" fmla="*/ 3068 h 10389"/>
                  <a:gd name="connsiteX6" fmla="*/ 8797 w 10375"/>
                  <a:gd name="connsiteY6" fmla="*/ 2393 h 10389"/>
                  <a:gd name="connsiteX7" fmla="*/ 8413 w 10375"/>
                  <a:gd name="connsiteY7" fmla="*/ 2018 h 10389"/>
                  <a:gd name="connsiteX8" fmla="*/ 7986 w 10375"/>
                  <a:gd name="connsiteY8" fmla="*/ 1418 h 10389"/>
                  <a:gd name="connsiteX9" fmla="*/ 7944 w 10375"/>
                  <a:gd name="connsiteY9" fmla="*/ 1343 h 10389"/>
                  <a:gd name="connsiteX10" fmla="*/ 8030 w 10375"/>
                  <a:gd name="connsiteY10" fmla="*/ 968 h 10389"/>
                  <a:gd name="connsiteX11" fmla="*/ 8627 w 10375"/>
                  <a:gd name="connsiteY11" fmla="*/ 593 h 10389"/>
                  <a:gd name="connsiteX12" fmla="*/ 8755 w 10375"/>
                  <a:gd name="connsiteY12" fmla="*/ 368 h 10389"/>
                  <a:gd name="connsiteX13" fmla="*/ 8840 w 10375"/>
                  <a:gd name="connsiteY13" fmla="*/ 518 h 10389"/>
                  <a:gd name="connsiteX14" fmla="*/ 9138 w 10375"/>
                  <a:gd name="connsiteY14" fmla="*/ 968 h 10389"/>
                  <a:gd name="connsiteX15" fmla="*/ 9223 w 10375"/>
                  <a:gd name="connsiteY15" fmla="*/ 143 h 10389"/>
                  <a:gd name="connsiteX16" fmla="*/ 9692 w 10375"/>
                  <a:gd name="connsiteY16" fmla="*/ 143 h 10389"/>
                  <a:gd name="connsiteX17" fmla="*/ 9778 w 10375"/>
                  <a:gd name="connsiteY17" fmla="*/ 293 h 10389"/>
                  <a:gd name="connsiteX18" fmla="*/ 9735 w 10375"/>
                  <a:gd name="connsiteY18" fmla="*/ 743 h 10389"/>
                  <a:gd name="connsiteX19" fmla="*/ 9352 w 10375"/>
                  <a:gd name="connsiteY19" fmla="*/ 1118 h 10389"/>
                  <a:gd name="connsiteX20" fmla="*/ 9053 w 10375"/>
                  <a:gd name="connsiteY20" fmla="*/ 968 h 10389"/>
                  <a:gd name="connsiteX21" fmla="*/ 8967 w 10375"/>
                  <a:gd name="connsiteY21" fmla="*/ 1043 h 10389"/>
                  <a:gd name="connsiteX22" fmla="*/ 7176 w 10375"/>
                  <a:gd name="connsiteY22" fmla="*/ 4719 h 10389"/>
                  <a:gd name="connsiteX23" fmla="*/ 5855 w 10375"/>
                  <a:gd name="connsiteY23" fmla="*/ 6294 h 10389"/>
                  <a:gd name="connsiteX24" fmla="*/ 5684 w 10375"/>
                  <a:gd name="connsiteY24" fmla="*/ 6669 h 10389"/>
                  <a:gd name="connsiteX25" fmla="*/ 5514 w 10375"/>
                  <a:gd name="connsiteY25" fmla="*/ 6894 h 10389"/>
                  <a:gd name="connsiteX26" fmla="*/ 3808 w 10375"/>
                  <a:gd name="connsiteY26" fmla="*/ 7419 h 10389"/>
                  <a:gd name="connsiteX27" fmla="*/ 3466 w 10375"/>
                  <a:gd name="connsiteY27" fmla="*/ 7645 h 10389"/>
                  <a:gd name="connsiteX28" fmla="*/ 3509 w 10375"/>
                  <a:gd name="connsiteY28" fmla="*/ 8019 h 10389"/>
                  <a:gd name="connsiteX29" fmla="*/ 3381 w 10375"/>
                  <a:gd name="connsiteY29" fmla="*/ 9369 h 10389"/>
                  <a:gd name="connsiteX30" fmla="*/ 2613 w 10375"/>
                  <a:gd name="connsiteY30" fmla="*/ 9970 h 10389"/>
                  <a:gd name="connsiteX31" fmla="*/ 1738 w 10375"/>
                  <a:gd name="connsiteY31" fmla="*/ 10380 h 10389"/>
                  <a:gd name="connsiteX32" fmla="*/ 0 w 10375"/>
                  <a:gd name="connsiteY32" fmla="*/ 8132 h 10389"/>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0 w 10375"/>
                  <a:gd name="connsiteY32" fmla="*/ 8132 h 10380"/>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402 w 10375"/>
                  <a:gd name="connsiteY32" fmla="*/ 9142 h 10380"/>
                  <a:gd name="connsiteX33" fmla="*/ 0 w 10375"/>
                  <a:gd name="connsiteY33" fmla="*/ 8132 h 10380"/>
                  <a:gd name="connsiteX0" fmla="*/ 9437 w 10375"/>
                  <a:gd name="connsiteY0" fmla="*/ 1779 h 11116"/>
                  <a:gd name="connsiteX1" fmla="*/ 9906 w 10375"/>
                  <a:gd name="connsiteY1" fmla="*/ 1929 h 11116"/>
                  <a:gd name="connsiteX2" fmla="*/ 10204 w 10375"/>
                  <a:gd name="connsiteY2" fmla="*/ 2454 h 11116"/>
                  <a:gd name="connsiteX3" fmla="*/ 10375 w 10375"/>
                  <a:gd name="connsiteY3" fmla="*/ 2754 h 11116"/>
                  <a:gd name="connsiteX4" fmla="*/ 10375 w 10375"/>
                  <a:gd name="connsiteY4" fmla="*/ 2979 h 11116"/>
                  <a:gd name="connsiteX5" fmla="*/ 10290 w 10375"/>
                  <a:gd name="connsiteY5" fmla="*/ 3804 h 11116"/>
                  <a:gd name="connsiteX6" fmla="*/ 8797 w 10375"/>
                  <a:gd name="connsiteY6" fmla="*/ 3129 h 11116"/>
                  <a:gd name="connsiteX7" fmla="*/ 8413 w 10375"/>
                  <a:gd name="connsiteY7" fmla="*/ 2754 h 11116"/>
                  <a:gd name="connsiteX8" fmla="*/ 7986 w 10375"/>
                  <a:gd name="connsiteY8" fmla="*/ 2154 h 11116"/>
                  <a:gd name="connsiteX9" fmla="*/ 7944 w 10375"/>
                  <a:gd name="connsiteY9" fmla="*/ 2079 h 11116"/>
                  <a:gd name="connsiteX10" fmla="*/ 8030 w 10375"/>
                  <a:gd name="connsiteY10" fmla="*/ 1704 h 11116"/>
                  <a:gd name="connsiteX11" fmla="*/ 8627 w 10375"/>
                  <a:gd name="connsiteY11" fmla="*/ 1329 h 11116"/>
                  <a:gd name="connsiteX12" fmla="*/ 8755 w 10375"/>
                  <a:gd name="connsiteY12" fmla="*/ 1104 h 11116"/>
                  <a:gd name="connsiteX13" fmla="*/ 8840 w 10375"/>
                  <a:gd name="connsiteY13" fmla="*/ 1254 h 11116"/>
                  <a:gd name="connsiteX14" fmla="*/ 9138 w 10375"/>
                  <a:gd name="connsiteY14" fmla="*/ 1704 h 11116"/>
                  <a:gd name="connsiteX15" fmla="*/ 9223 w 10375"/>
                  <a:gd name="connsiteY15" fmla="*/ 879 h 11116"/>
                  <a:gd name="connsiteX16" fmla="*/ 9692 w 10375"/>
                  <a:gd name="connsiteY16" fmla="*/ 879 h 11116"/>
                  <a:gd name="connsiteX17" fmla="*/ 9778 w 10375"/>
                  <a:gd name="connsiteY17" fmla="*/ 1029 h 11116"/>
                  <a:gd name="connsiteX18" fmla="*/ 9735 w 10375"/>
                  <a:gd name="connsiteY18" fmla="*/ 1479 h 11116"/>
                  <a:gd name="connsiteX19" fmla="*/ 9352 w 10375"/>
                  <a:gd name="connsiteY19" fmla="*/ 1854 h 11116"/>
                  <a:gd name="connsiteX20" fmla="*/ 9053 w 10375"/>
                  <a:gd name="connsiteY20" fmla="*/ 1704 h 11116"/>
                  <a:gd name="connsiteX21" fmla="*/ 7844 w 10375"/>
                  <a:gd name="connsiteY21" fmla="*/ 0 h 11116"/>
                  <a:gd name="connsiteX22" fmla="*/ 7176 w 10375"/>
                  <a:gd name="connsiteY22" fmla="*/ 5455 h 11116"/>
                  <a:gd name="connsiteX23" fmla="*/ 5855 w 10375"/>
                  <a:gd name="connsiteY23" fmla="*/ 7030 h 11116"/>
                  <a:gd name="connsiteX24" fmla="*/ 5684 w 10375"/>
                  <a:gd name="connsiteY24" fmla="*/ 7405 h 11116"/>
                  <a:gd name="connsiteX25" fmla="*/ 5514 w 10375"/>
                  <a:gd name="connsiteY25" fmla="*/ 7630 h 11116"/>
                  <a:gd name="connsiteX26" fmla="*/ 3808 w 10375"/>
                  <a:gd name="connsiteY26" fmla="*/ 8155 h 11116"/>
                  <a:gd name="connsiteX27" fmla="*/ 3466 w 10375"/>
                  <a:gd name="connsiteY27" fmla="*/ 8381 h 11116"/>
                  <a:gd name="connsiteX28" fmla="*/ 3509 w 10375"/>
                  <a:gd name="connsiteY28" fmla="*/ 8755 h 11116"/>
                  <a:gd name="connsiteX29" fmla="*/ 3381 w 10375"/>
                  <a:gd name="connsiteY29" fmla="*/ 10105 h 11116"/>
                  <a:gd name="connsiteX30" fmla="*/ 2613 w 10375"/>
                  <a:gd name="connsiteY30" fmla="*/ 10706 h 11116"/>
                  <a:gd name="connsiteX31" fmla="*/ 1738 w 10375"/>
                  <a:gd name="connsiteY31" fmla="*/ 11116 h 11116"/>
                  <a:gd name="connsiteX32" fmla="*/ 402 w 10375"/>
                  <a:gd name="connsiteY32" fmla="*/ 9878 h 11116"/>
                  <a:gd name="connsiteX33" fmla="*/ 0 w 10375"/>
                  <a:gd name="connsiteY33" fmla="*/ 8868 h 11116"/>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9053 w 10375"/>
                  <a:gd name="connsiteY20" fmla="*/ 3378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375" h="12790">
                    <a:moveTo>
                      <a:pt x="9460" y="3008"/>
                    </a:moveTo>
                    <a:cubicBezTo>
                      <a:pt x="9545" y="3008"/>
                      <a:pt x="9821" y="3603"/>
                      <a:pt x="9906" y="3603"/>
                    </a:cubicBezTo>
                    <a:cubicBezTo>
                      <a:pt x="9948" y="3828"/>
                      <a:pt x="10077" y="3979"/>
                      <a:pt x="10204" y="4128"/>
                    </a:cubicBezTo>
                    <a:cubicBezTo>
                      <a:pt x="10290" y="4203"/>
                      <a:pt x="10375" y="4353"/>
                      <a:pt x="10375" y="4428"/>
                    </a:cubicBezTo>
                    <a:lnTo>
                      <a:pt x="10375" y="4653"/>
                    </a:lnTo>
                    <a:cubicBezTo>
                      <a:pt x="10290" y="4954"/>
                      <a:pt x="10056" y="4572"/>
                      <a:pt x="10056" y="4871"/>
                    </a:cubicBezTo>
                    <a:cubicBezTo>
                      <a:pt x="9544" y="4647"/>
                      <a:pt x="9150" y="4463"/>
                      <a:pt x="8680" y="4237"/>
                    </a:cubicBezTo>
                    <a:cubicBezTo>
                      <a:pt x="8467" y="4162"/>
                      <a:pt x="8542" y="4728"/>
                      <a:pt x="8413" y="4428"/>
                    </a:cubicBezTo>
                    <a:cubicBezTo>
                      <a:pt x="8328" y="4203"/>
                      <a:pt x="8139" y="3867"/>
                      <a:pt x="8080" y="3707"/>
                    </a:cubicBezTo>
                    <a:cubicBezTo>
                      <a:pt x="8021" y="3547"/>
                      <a:pt x="8061" y="3545"/>
                      <a:pt x="8061" y="3470"/>
                    </a:cubicBezTo>
                    <a:cubicBezTo>
                      <a:pt x="7976" y="3395"/>
                      <a:pt x="7944" y="3453"/>
                      <a:pt x="8030" y="3378"/>
                    </a:cubicBezTo>
                    <a:cubicBezTo>
                      <a:pt x="8243" y="3228"/>
                      <a:pt x="8265" y="2893"/>
                      <a:pt x="8393" y="2518"/>
                    </a:cubicBezTo>
                    <a:cubicBezTo>
                      <a:pt x="8435" y="2443"/>
                      <a:pt x="8669" y="2854"/>
                      <a:pt x="8755" y="2778"/>
                    </a:cubicBezTo>
                    <a:cubicBezTo>
                      <a:pt x="8797" y="2778"/>
                      <a:pt x="8770" y="2490"/>
                      <a:pt x="8770" y="2564"/>
                    </a:cubicBezTo>
                    <a:cubicBezTo>
                      <a:pt x="8855" y="2714"/>
                      <a:pt x="8889" y="2743"/>
                      <a:pt x="8974" y="2893"/>
                    </a:cubicBezTo>
                    <a:cubicBezTo>
                      <a:pt x="8889" y="2668"/>
                      <a:pt x="8675" y="231"/>
                      <a:pt x="8802" y="6"/>
                    </a:cubicBezTo>
                    <a:cubicBezTo>
                      <a:pt x="8931" y="-144"/>
                      <a:pt x="9565" y="2328"/>
                      <a:pt x="9692" y="2553"/>
                    </a:cubicBezTo>
                    <a:cubicBezTo>
                      <a:pt x="9735" y="2553"/>
                      <a:pt x="9778" y="2628"/>
                      <a:pt x="9778" y="2703"/>
                    </a:cubicBezTo>
                    <a:cubicBezTo>
                      <a:pt x="9821" y="2854"/>
                      <a:pt x="9778" y="3003"/>
                      <a:pt x="9735" y="3153"/>
                    </a:cubicBezTo>
                    <a:cubicBezTo>
                      <a:pt x="9607" y="3303"/>
                      <a:pt x="9475" y="2921"/>
                      <a:pt x="9305" y="2921"/>
                    </a:cubicBezTo>
                    <a:cubicBezTo>
                      <a:pt x="9220" y="2846"/>
                      <a:pt x="8249" y="958"/>
                      <a:pt x="8164" y="1033"/>
                    </a:cubicBezTo>
                    <a:cubicBezTo>
                      <a:pt x="8122" y="1033"/>
                      <a:pt x="8333" y="906"/>
                      <a:pt x="8476" y="1634"/>
                    </a:cubicBezTo>
                    <a:cubicBezTo>
                      <a:pt x="7880" y="2909"/>
                      <a:pt x="7944" y="6229"/>
                      <a:pt x="7176" y="7129"/>
                    </a:cubicBezTo>
                    <a:cubicBezTo>
                      <a:pt x="6751" y="7579"/>
                      <a:pt x="6153" y="7878"/>
                      <a:pt x="5855" y="8704"/>
                    </a:cubicBezTo>
                    <a:cubicBezTo>
                      <a:pt x="5812" y="8854"/>
                      <a:pt x="5770" y="9004"/>
                      <a:pt x="5684" y="9079"/>
                    </a:cubicBezTo>
                    <a:cubicBezTo>
                      <a:pt x="5641" y="9154"/>
                      <a:pt x="5556" y="9229"/>
                      <a:pt x="5514" y="9304"/>
                    </a:cubicBezTo>
                    <a:cubicBezTo>
                      <a:pt x="5002" y="9754"/>
                      <a:pt x="4404" y="9904"/>
                      <a:pt x="3808" y="9829"/>
                    </a:cubicBezTo>
                    <a:cubicBezTo>
                      <a:pt x="3679" y="9754"/>
                      <a:pt x="3466" y="9829"/>
                      <a:pt x="3466" y="10055"/>
                    </a:cubicBezTo>
                    <a:cubicBezTo>
                      <a:pt x="3466" y="10204"/>
                      <a:pt x="3509" y="10279"/>
                      <a:pt x="3509" y="10429"/>
                    </a:cubicBezTo>
                    <a:cubicBezTo>
                      <a:pt x="3637" y="10879"/>
                      <a:pt x="3552" y="11404"/>
                      <a:pt x="3381" y="11779"/>
                    </a:cubicBezTo>
                    <a:cubicBezTo>
                      <a:pt x="3168" y="12155"/>
                      <a:pt x="2912" y="12380"/>
                      <a:pt x="2613" y="12380"/>
                    </a:cubicBezTo>
                    <a:cubicBezTo>
                      <a:pt x="2315" y="12455"/>
                      <a:pt x="1989" y="12703"/>
                      <a:pt x="1738" y="12790"/>
                    </a:cubicBezTo>
                    <a:cubicBezTo>
                      <a:pt x="1424" y="12632"/>
                      <a:pt x="692" y="11927"/>
                      <a:pt x="402" y="11552"/>
                    </a:cubicBezTo>
                    <a:cubicBezTo>
                      <a:pt x="112" y="11177"/>
                      <a:pt x="122" y="10690"/>
                      <a:pt x="0" y="1054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2" name="Freeform 55"/>
              <p:cNvSpPr>
                <a:spLocks/>
              </p:cNvSpPr>
              <p:nvPr/>
            </p:nvSpPr>
            <p:spPr bwMode="auto">
              <a:xfrm>
                <a:off x="10266245" y="3528746"/>
                <a:ext cx="165616" cy="13128"/>
              </a:xfrm>
              <a:custGeom>
                <a:avLst/>
                <a:gdLst>
                  <a:gd name="T0" fmla="*/ 0 w 38"/>
                  <a:gd name="T1" fmla="*/ 0 h 3"/>
                  <a:gd name="T2" fmla="*/ 38 w 38"/>
                  <a:gd name="T3" fmla="*/ 3 h 3"/>
                </a:gdLst>
                <a:ahLst/>
                <a:cxnLst>
                  <a:cxn ang="0">
                    <a:pos x="T0" y="T1"/>
                  </a:cxn>
                  <a:cxn ang="0">
                    <a:pos x="T2" y="T3"/>
                  </a:cxn>
                </a:cxnLst>
                <a:rect l="0" t="0" r="r" b="b"/>
                <a:pathLst>
                  <a:path w="38" h="3">
                    <a:moveTo>
                      <a:pt x="0" y="0"/>
                    </a:moveTo>
                    <a:cubicBezTo>
                      <a:pt x="9" y="1"/>
                      <a:pt x="29" y="2"/>
                      <a:pt x="38" y="3"/>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3" name="Freeform 56"/>
              <p:cNvSpPr>
                <a:spLocks/>
              </p:cNvSpPr>
              <p:nvPr/>
            </p:nvSpPr>
            <p:spPr bwMode="auto">
              <a:xfrm>
                <a:off x="10261308" y="3535028"/>
                <a:ext cx="433850" cy="935626"/>
              </a:xfrm>
              <a:custGeom>
                <a:avLst/>
                <a:gdLst>
                  <a:gd name="T0" fmla="*/ 2 w 85"/>
                  <a:gd name="T1" fmla="*/ 0 h 174"/>
                  <a:gd name="T2" fmla="*/ 6 w 85"/>
                  <a:gd name="T3" fmla="*/ 16 h 174"/>
                  <a:gd name="T4" fmla="*/ 8 w 85"/>
                  <a:gd name="T5" fmla="*/ 18 h 174"/>
                  <a:gd name="T6" fmla="*/ 8 w 85"/>
                  <a:gd name="T7" fmla="*/ 21 h 174"/>
                  <a:gd name="T8" fmla="*/ 7 w 85"/>
                  <a:gd name="T9" fmla="*/ 44 h 174"/>
                  <a:gd name="T10" fmla="*/ 8 w 85"/>
                  <a:gd name="T11" fmla="*/ 50 h 174"/>
                  <a:gd name="T12" fmla="*/ 12 w 85"/>
                  <a:gd name="T13" fmla="*/ 53 h 174"/>
                  <a:gd name="T14" fmla="*/ 12 w 85"/>
                  <a:gd name="T15" fmla="*/ 68 h 174"/>
                  <a:gd name="T16" fmla="*/ 17 w 85"/>
                  <a:gd name="T17" fmla="*/ 77 h 174"/>
                  <a:gd name="T18" fmla="*/ 19 w 85"/>
                  <a:gd name="T19" fmla="*/ 97 h 174"/>
                  <a:gd name="T20" fmla="*/ 23 w 85"/>
                  <a:gd name="T21" fmla="*/ 101 h 174"/>
                  <a:gd name="T22" fmla="*/ 25 w 85"/>
                  <a:gd name="T23" fmla="*/ 110 h 174"/>
                  <a:gd name="T24" fmla="*/ 33 w 85"/>
                  <a:gd name="T25" fmla="*/ 130 h 174"/>
                  <a:gd name="T26" fmla="*/ 34 w 85"/>
                  <a:gd name="T27" fmla="*/ 132 h 174"/>
                  <a:gd name="T28" fmla="*/ 39 w 85"/>
                  <a:gd name="T29" fmla="*/ 133 h 174"/>
                  <a:gd name="T30" fmla="*/ 47 w 85"/>
                  <a:gd name="T31" fmla="*/ 138 h 174"/>
                  <a:gd name="T32" fmla="*/ 49 w 85"/>
                  <a:gd name="T33" fmla="*/ 148 h 174"/>
                  <a:gd name="T34" fmla="*/ 50 w 85"/>
                  <a:gd name="T35" fmla="*/ 157 h 174"/>
                  <a:gd name="T36" fmla="*/ 64 w 85"/>
                  <a:gd name="T37" fmla="*/ 171 h 174"/>
                  <a:gd name="T38" fmla="*/ 85 w 85"/>
                  <a:gd name="T39" fmla="*/ 173 h 174"/>
                  <a:gd name="connsiteX0" fmla="*/ 52 w 9882"/>
                  <a:gd name="connsiteY0" fmla="*/ 0 h 10286"/>
                  <a:gd name="connsiteX1" fmla="*/ 588 w 9882"/>
                  <a:gd name="connsiteY1" fmla="*/ 1229 h 10286"/>
                  <a:gd name="connsiteX2" fmla="*/ 823 w 9882"/>
                  <a:gd name="connsiteY2" fmla="*/ 1343 h 10286"/>
                  <a:gd name="connsiteX3" fmla="*/ 823 w 9882"/>
                  <a:gd name="connsiteY3" fmla="*/ 1516 h 10286"/>
                  <a:gd name="connsiteX4" fmla="*/ 706 w 9882"/>
                  <a:gd name="connsiteY4" fmla="*/ 2838 h 10286"/>
                  <a:gd name="connsiteX5" fmla="*/ 823 w 9882"/>
                  <a:gd name="connsiteY5" fmla="*/ 3183 h 10286"/>
                  <a:gd name="connsiteX6" fmla="*/ 1294 w 9882"/>
                  <a:gd name="connsiteY6" fmla="*/ 3355 h 10286"/>
                  <a:gd name="connsiteX7" fmla="*/ 1294 w 9882"/>
                  <a:gd name="connsiteY7" fmla="*/ 4217 h 10286"/>
                  <a:gd name="connsiteX8" fmla="*/ 1882 w 9882"/>
                  <a:gd name="connsiteY8" fmla="*/ 4734 h 10286"/>
                  <a:gd name="connsiteX9" fmla="*/ 2117 w 9882"/>
                  <a:gd name="connsiteY9" fmla="*/ 5884 h 10286"/>
                  <a:gd name="connsiteX10" fmla="*/ 2588 w 9882"/>
                  <a:gd name="connsiteY10" fmla="*/ 6114 h 10286"/>
                  <a:gd name="connsiteX11" fmla="*/ 2823 w 9882"/>
                  <a:gd name="connsiteY11" fmla="*/ 6631 h 10286"/>
                  <a:gd name="connsiteX12" fmla="*/ 3764 w 9882"/>
                  <a:gd name="connsiteY12" fmla="*/ 7780 h 10286"/>
                  <a:gd name="connsiteX13" fmla="*/ 3882 w 9882"/>
                  <a:gd name="connsiteY13" fmla="*/ 7895 h 10286"/>
                  <a:gd name="connsiteX14" fmla="*/ 4470 w 9882"/>
                  <a:gd name="connsiteY14" fmla="*/ 7953 h 10286"/>
                  <a:gd name="connsiteX15" fmla="*/ 5411 w 9882"/>
                  <a:gd name="connsiteY15" fmla="*/ 8240 h 10286"/>
                  <a:gd name="connsiteX16" fmla="*/ 5647 w 9882"/>
                  <a:gd name="connsiteY16" fmla="*/ 8815 h 10286"/>
                  <a:gd name="connsiteX17" fmla="*/ 5764 w 9882"/>
                  <a:gd name="connsiteY17" fmla="*/ 9332 h 10286"/>
                  <a:gd name="connsiteX18" fmla="*/ 7411 w 9882"/>
                  <a:gd name="connsiteY18" fmla="*/ 10137 h 10286"/>
                  <a:gd name="connsiteX19" fmla="*/ 9882 w 9882"/>
                  <a:gd name="connsiteY19" fmla="*/ 10252 h 10286"/>
                  <a:gd name="connsiteX0" fmla="*/ 25 w 11020"/>
                  <a:gd name="connsiteY0" fmla="*/ 0 h 11801"/>
                  <a:gd name="connsiteX1" fmla="*/ 1615 w 11020"/>
                  <a:gd name="connsiteY1" fmla="*/ 2997 h 11801"/>
                  <a:gd name="connsiteX2" fmla="*/ 1853 w 11020"/>
                  <a:gd name="connsiteY2" fmla="*/ 3108 h 11801"/>
                  <a:gd name="connsiteX3" fmla="*/ 1853 w 11020"/>
                  <a:gd name="connsiteY3" fmla="*/ 3276 h 11801"/>
                  <a:gd name="connsiteX4" fmla="*/ 1734 w 11020"/>
                  <a:gd name="connsiteY4" fmla="*/ 4561 h 11801"/>
                  <a:gd name="connsiteX5" fmla="*/ 1853 w 11020"/>
                  <a:gd name="connsiteY5" fmla="*/ 4896 h 11801"/>
                  <a:gd name="connsiteX6" fmla="*/ 2329 w 11020"/>
                  <a:gd name="connsiteY6" fmla="*/ 5064 h 11801"/>
                  <a:gd name="connsiteX7" fmla="*/ 2329 w 11020"/>
                  <a:gd name="connsiteY7" fmla="*/ 5902 h 11801"/>
                  <a:gd name="connsiteX8" fmla="*/ 2924 w 11020"/>
                  <a:gd name="connsiteY8" fmla="*/ 6404 h 11801"/>
                  <a:gd name="connsiteX9" fmla="*/ 3162 w 11020"/>
                  <a:gd name="connsiteY9" fmla="*/ 7522 h 11801"/>
                  <a:gd name="connsiteX10" fmla="*/ 3639 w 11020"/>
                  <a:gd name="connsiteY10" fmla="*/ 7746 h 11801"/>
                  <a:gd name="connsiteX11" fmla="*/ 3877 w 11020"/>
                  <a:gd name="connsiteY11" fmla="*/ 8249 h 11801"/>
                  <a:gd name="connsiteX12" fmla="*/ 4829 w 11020"/>
                  <a:gd name="connsiteY12" fmla="*/ 9366 h 11801"/>
                  <a:gd name="connsiteX13" fmla="*/ 4948 w 11020"/>
                  <a:gd name="connsiteY13" fmla="*/ 9477 h 11801"/>
                  <a:gd name="connsiteX14" fmla="*/ 5543 w 11020"/>
                  <a:gd name="connsiteY14" fmla="*/ 9534 h 11801"/>
                  <a:gd name="connsiteX15" fmla="*/ 6496 w 11020"/>
                  <a:gd name="connsiteY15" fmla="*/ 9813 h 11801"/>
                  <a:gd name="connsiteX16" fmla="*/ 6734 w 11020"/>
                  <a:gd name="connsiteY16" fmla="*/ 10372 h 11801"/>
                  <a:gd name="connsiteX17" fmla="*/ 6853 w 11020"/>
                  <a:gd name="connsiteY17" fmla="*/ 10875 h 11801"/>
                  <a:gd name="connsiteX18" fmla="*/ 8519 w 11020"/>
                  <a:gd name="connsiteY18" fmla="*/ 11657 h 11801"/>
                  <a:gd name="connsiteX19" fmla="*/ 11020 w 11020"/>
                  <a:gd name="connsiteY19" fmla="*/ 11769 h 11801"/>
                  <a:gd name="connsiteX0" fmla="*/ 17 w 11929"/>
                  <a:gd name="connsiteY0" fmla="*/ 0 h 11801"/>
                  <a:gd name="connsiteX1" fmla="*/ 2524 w 11929"/>
                  <a:gd name="connsiteY1" fmla="*/ 2997 h 11801"/>
                  <a:gd name="connsiteX2" fmla="*/ 2762 w 11929"/>
                  <a:gd name="connsiteY2" fmla="*/ 3108 h 11801"/>
                  <a:gd name="connsiteX3" fmla="*/ 2762 w 11929"/>
                  <a:gd name="connsiteY3" fmla="*/ 3276 h 11801"/>
                  <a:gd name="connsiteX4" fmla="*/ 2643 w 11929"/>
                  <a:gd name="connsiteY4" fmla="*/ 4561 h 11801"/>
                  <a:gd name="connsiteX5" fmla="*/ 2762 w 11929"/>
                  <a:gd name="connsiteY5" fmla="*/ 4896 h 11801"/>
                  <a:gd name="connsiteX6" fmla="*/ 3238 w 11929"/>
                  <a:gd name="connsiteY6" fmla="*/ 5064 h 11801"/>
                  <a:gd name="connsiteX7" fmla="*/ 3238 w 11929"/>
                  <a:gd name="connsiteY7" fmla="*/ 5902 h 11801"/>
                  <a:gd name="connsiteX8" fmla="*/ 3833 w 11929"/>
                  <a:gd name="connsiteY8" fmla="*/ 6404 h 11801"/>
                  <a:gd name="connsiteX9" fmla="*/ 4071 w 11929"/>
                  <a:gd name="connsiteY9" fmla="*/ 7522 h 11801"/>
                  <a:gd name="connsiteX10" fmla="*/ 4548 w 11929"/>
                  <a:gd name="connsiteY10" fmla="*/ 7746 h 11801"/>
                  <a:gd name="connsiteX11" fmla="*/ 4786 w 11929"/>
                  <a:gd name="connsiteY11" fmla="*/ 8249 h 11801"/>
                  <a:gd name="connsiteX12" fmla="*/ 5738 w 11929"/>
                  <a:gd name="connsiteY12" fmla="*/ 9366 h 11801"/>
                  <a:gd name="connsiteX13" fmla="*/ 5857 w 11929"/>
                  <a:gd name="connsiteY13" fmla="*/ 9477 h 11801"/>
                  <a:gd name="connsiteX14" fmla="*/ 6452 w 11929"/>
                  <a:gd name="connsiteY14" fmla="*/ 9534 h 11801"/>
                  <a:gd name="connsiteX15" fmla="*/ 7405 w 11929"/>
                  <a:gd name="connsiteY15" fmla="*/ 9813 h 11801"/>
                  <a:gd name="connsiteX16" fmla="*/ 7643 w 11929"/>
                  <a:gd name="connsiteY16" fmla="*/ 10372 h 11801"/>
                  <a:gd name="connsiteX17" fmla="*/ 7762 w 11929"/>
                  <a:gd name="connsiteY17" fmla="*/ 10875 h 11801"/>
                  <a:gd name="connsiteX18" fmla="*/ 9428 w 11929"/>
                  <a:gd name="connsiteY18" fmla="*/ 11657 h 11801"/>
                  <a:gd name="connsiteX19" fmla="*/ 11929 w 11929"/>
                  <a:gd name="connsiteY19" fmla="*/ 11769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9" h="11801">
                    <a:moveTo>
                      <a:pt x="17" y="0"/>
                    </a:moveTo>
                    <a:cubicBezTo>
                      <a:pt x="-221" y="335"/>
                      <a:pt x="2067" y="2479"/>
                      <a:pt x="2524" y="2997"/>
                    </a:cubicBezTo>
                    <a:cubicBezTo>
                      <a:pt x="2982" y="3515"/>
                      <a:pt x="2643" y="3052"/>
                      <a:pt x="2762" y="3108"/>
                    </a:cubicBezTo>
                    <a:lnTo>
                      <a:pt x="2762" y="3276"/>
                    </a:lnTo>
                    <a:cubicBezTo>
                      <a:pt x="2762" y="3723"/>
                      <a:pt x="2762" y="4169"/>
                      <a:pt x="2643" y="4561"/>
                    </a:cubicBezTo>
                    <a:cubicBezTo>
                      <a:pt x="2643" y="4673"/>
                      <a:pt x="2643" y="4785"/>
                      <a:pt x="2762" y="4896"/>
                    </a:cubicBezTo>
                    <a:cubicBezTo>
                      <a:pt x="2881" y="4952"/>
                      <a:pt x="3119" y="5008"/>
                      <a:pt x="3238" y="5064"/>
                    </a:cubicBezTo>
                    <a:cubicBezTo>
                      <a:pt x="3476" y="5343"/>
                      <a:pt x="3119" y="5623"/>
                      <a:pt x="3238" y="5902"/>
                    </a:cubicBezTo>
                    <a:cubicBezTo>
                      <a:pt x="3357" y="6069"/>
                      <a:pt x="3714" y="6237"/>
                      <a:pt x="3833" y="6404"/>
                    </a:cubicBezTo>
                    <a:cubicBezTo>
                      <a:pt x="4191" y="6740"/>
                      <a:pt x="3714" y="7187"/>
                      <a:pt x="4071" y="7522"/>
                    </a:cubicBezTo>
                    <a:cubicBezTo>
                      <a:pt x="4191" y="7578"/>
                      <a:pt x="4428" y="7634"/>
                      <a:pt x="4548" y="7746"/>
                    </a:cubicBezTo>
                    <a:cubicBezTo>
                      <a:pt x="4786" y="7913"/>
                      <a:pt x="4786" y="8080"/>
                      <a:pt x="4786" y="8249"/>
                    </a:cubicBezTo>
                    <a:cubicBezTo>
                      <a:pt x="5024" y="8639"/>
                      <a:pt x="5381" y="9030"/>
                      <a:pt x="5738" y="9366"/>
                    </a:cubicBezTo>
                    <a:cubicBezTo>
                      <a:pt x="5738" y="9422"/>
                      <a:pt x="5738" y="9477"/>
                      <a:pt x="5857" y="9477"/>
                    </a:cubicBezTo>
                    <a:cubicBezTo>
                      <a:pt x="6095" y="9534"/>
                      <a:pt x="6334" y="9534"/>
                      <a:pt x="6452" y="9534"/>
                    </a:cubicBezTo>
                    <a:cubicBezTo>
                      <a:pt x="6929" y="9534"/>
                      <a:pt x="7167" y="9646"/>
                      <a:pt x="7405" y="9813"/>
                    </a:cubicBezTo>
                    <a:cubicBezTo>
                      <a:pt x="7524" y="9980"/>
                      <a:pt x="7524" y="10204"/>
                      <a:pt x="7643" y="10372"/>
                    </a:cubicBezTo>
                    <a:cubicBezTo>
                      <a:pt x="7643" y="10539"/>
                      <a:pt x="7643" y="10707"/>
                      <a:pt x="7762" y="10875"/>
                    </a:cubicBezTo>
                    <a:cubicBezTo>
                      <a:pt x="8001" y="11210"/>
                      <a:pt x="8715" y="11545"/>
                      <a:pt x="9428" y="11657"/>
                    </a:cubicBezTo>
                    <a:cubicBezTo>
                      <a:pt x="10262" y="11824"/>
                      <a:pt x="11095" y="11824"/>
                      <a:pt x="11929" y="1176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4" name="Freeform 57"/>
              <p:cNvSpPr>
                <a:spLocks/>
              </p:cNvSpPr>
              <p:nvPr/>
            </p:nvSpPr>
            <p:spPr bwMode="auto">
              <a:xfrm>
                <a:off x="9789790" y="4202450"/>
                <a:ext cx="888807" cy="234426"/>
              </a:xfrm>
              <a:custGeom>
                <a:avLst/>
                <a:gdLst>
                  <a:gd name="T0" fmla="*/ 0 w 205"/>
                  <a:gd name="T1" fmla="*/ 0 h 53"/>
                  <a:gd name="T2" fmla="*/ 19 w 205"/>
                  <a:gd name="T3" fmla="*/ 4 h 53"/>
                  <a:gd name="T4" fmla="*/ 39 w 205"/>
                  <a:gd name="T5" fmla="*/ 10 h 53"/>
                  <a:gd name="T6" fmla="*/ 53 w 205"/>
                  <a:gd name="T7" fmla="*/ 11 h 53"/>
                  <a:gd name="T8" fmla="*/ 75 w 205"/>
                  <a:gd name="T9" fmla="*/ 18 h 53"/>
                  <a:gd name="T10" fmla="*/ 127 w 205"/>
                  <a:gd name="T11" fmla="*/ 38 h 53"/>
                  <a:gd name="T12" fmla="*/ 170 w 205"/>
                  <a:gd name="T13" fmla="*/ 47 h 53"/>
                  <a:gd name="T14" fmla="*/ 178 w 205"/>
                  <a:gd name="T15" fmla="*/ 47 h 53"/>
                  <a:gd name="T16" fmla="*/ 205 w 205"/>
                  <a:gd name="T1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53">
                    <a:moveTo>
                      <a:pt x="0" y="0"/>
                    </a:moveTo>
                    <a:cubicBezTo>
                      <a:pt x="6" y="3"/>
                      <a:pt x="13" y="3"/>
                      <a:pt x="19" y="4"/>
                    </a:cubicBezTo>
                    <a:cubicBezTo>
                      <a:pt x="26" y="5"/>
                      <a:pt x="32" y="9"/>
                      <a:pt x="39" y="10"/>
                    </a:cubicBezTo>
                    <a:cubicBezTo>
                      <a:pt x="44" y="11"/>
                      <a:pt x="48" y="11"/>
                      <a:pt x="53" y="11"/>
                    </a:cubicBezTo>
                    <a:cubicBezTo>
                      <a:pt x="61" y="12"/>
                      <a:pt x="68" y="15"/>
                      <a:pt x="75" y="18"/>
                    </a:cubicBezTo>
                    <a:cubicBezTo>
                      <a:pt x="93" y="25"/>
                      <a:pt x="110" y="31"/>
                      <a:pt x="127" y="38"/>
                    </a:cubicBezTo>
                    <a:cubicBezTo>
                      <a:pt x="141" y="43"/>
                      <a:pt x="155" y="49"/>
                      <a:pt x="170" y="47"/>
                    </a:cubicBezTo>
                    <a:cubicBezTo>
                      <a:pt x="173" y="47"/>
                      <a:pt x="175" y="47"/>
                      <a:pt x="178" y="47"/>
                    </a:cubicBezTo>
                    <a:cubicBezTo>
                      <a:pt x="187" y="47"/>
                      <a:pt x="197" y="53"/>
                      <a:pt x="205" y="5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5" name="Freeform 58"/>
              <p:cNvSpPr>
                <a:spLocks/>
              </p:cNvSpPr>
              <p:nvPr/>
            </p:nvSpPr>
            <p:spPr bwMode="auto">
              <a:xfrm>
                <a:off x="9790068" y="4132064"/>
                <a:ext cx="33123" cy="256931"/>
              </a:xfrm>
              <a:custGeom>
                <a:avLst/>
                <a:gdLst>
                  <a:gd name="T0" fmla="*/ 5 w 8"/>
                  <a:gd name="T1" fmla="*/ 0 h 58"/>
                  <a:gd name="T2" fmla="*/ 8 w 8"/>
                  <a:gd name="T3" fmla="*/ 30 h 58"/>
                  <a:gd name="T4" fmla="*/ 0 w 8"/>
                  <a:gd name="T5" fmla="*/ 58 h 58"/>
                </a:gdLst>
                <a:ahLst/>
                <a:cxnLst>
                  <a:cxn ang="0">
                    <a:pos x="T0" y="T1"/>
                  </a:cxn>
                  <a:cxn ang="0">
                    <a:pos x="T2" y="T3"/>
                  </a:cxn>
                  <a:cxn ang="0">
                    <a:pos x="T4" y="T5"/>
                  </a:cxn>
                </a:cxnLst>
                <a:rect l="0" t="0" r="r" b="b"/>
                <a:pathLst>
                  <a:path w="8" h="58">
                    <a:moveTo>
                      <a:pt x="5" y="0"/>
                    </a:moveTo>
                    <a:cubicBezTo>
                      <a:pt x="4" y="10"/>
                      <a:pt x="8" y="20"/>
                      <a:pt x="8" y="30"/>
                    </a:cubicBezTo>
                    <a:cubicBezTo>
                      <a:pt x="8" y="40"/>
                      <a:pt x="5" y="50"/>
                      <a:pt x="0" y="5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6" name="Freeform 59"/>
              <p:cNvSpPr>
                <a:spLocks/>
              </p:cNvSpPr>
              <p:nvPr/>
            </p:nvSpPr>
            <p:spPr bwMode="auto">
              <a:xfrm>
                <a:off x="9207500" y="4290608"/>
                <a:ext cx="1346404" cy="1757241"/>
              </a:xfrm>
              <a:custGeom>
                <a:avLst/>
                <a:gdLst>
                  <a:gd name="T0" fmla="*/ 131 w 327"/>
                  <a:gd name="T1" fmla="*/ 0 h 377"/>
                  <a:gd name="T2" fmla="*/ 105 w 327"/>
                  <a:gd name="T3" fmla="*/ 7 h 377"/>
                  <a:gd name="T4" fmla="*/ 83 w 327"/>
                  <a:gd name="T5" fmla="*/ 17 h 377"/>
                  <a:gd name="T6" fmla="*/ 74 w 327"/>
                  <a:gd name="T7" fmla="*/ 22 h 377"/>
                  <a:gd name="T8" fmla="*/ 61 w 327"/>
                  <a:gd name="T9" fmla="*/ 40 h 377"/>
                  <a:gd name="T10" fmla="*/ 56 w 327"/>
                  <a:gd name="T11" fmla="*/ 44 h 377"/>
                  <a:gd name="T12" fmla="*/ 52 w 327"/>
                  <a:gd name="T13" fmla="*/ 55 h 377"/>
                  <a:gd name="T14" fmla="*/ 37 w 327"/>
                  <a:gd name="T15" fmla="*/ 64 h 377"/>
                  <a:gd name="T16" fmla="*/ 13 w 327"/>
                  <a:gd name="T17" fmla="*/ 82 h 377"/>
                  <a:gd name="T18" fmla="*/ 6 w 327"/>
                  <a:gd name="T19" fmla="*/ 85 h 377"/>
                  <a:gd name="T20" fmla="*/ 0 w 327"/>
                  <a:gd name="T21" fmla="*/ 103 h 377"/>
                  <a:gd name="T22" fmla="*/ 5 w 327"/>
                  <a:gd name="T23" fmla="*/ 105 h 377"/>
                  <a:gd name="T24" fmla="*/ 22 w 327"/>
                  <a:gd name="T25" fmla="*/ 117 h 377"/>
                  <a:gd name="T26" fmla="*/ 26 w 327"/>
                  <a:gd name="T27" fmla="*/ 139 h 377"/>
                  <a:gd name="T28" fmla="*/ 25 w 327"/>
                  <a:gd name="T29" fmla="*/ 152 h 377"/>
                  <a:gd name="T30" fmla="*/ 23 w 327"/>
                  <a:gd name="T31" fmla="*/ 154 h 377"/>
                  <a:gd name="T32" fmla="*/ 21 w 327"/>
                  <a:gd name="T33" fmla="*/ 151 h 377"/>
                  <a:gd name="T34" fmla="*/ 15 w 327"/>
                  <a:gd name="T35" fmla="*/ 151 h 377"/>
                  <a:gd name="T36" fmla="*/ 13 w 327"/>
                  <a:gd name="T37" fmla="*/ 157 h 377"/>
                  <a:gd name="T38" fmla="*/ 11 w 327"/>
                  <a:gd name="T39" fmla="*/ 160 h 377"/>
                  <a:gd name="T40" fmla="*/ 10 w 327"/>
                  <a:gd name="T41" fmla="*/ 164 h 377"/>
                  <a:gd name="T42" fmla="*/ 10 w 327"/>
                  <a:gd name="T43" fmla="*/ 177 h 377"/>
                  <a:gd name="T44" fmla="*/ 11 w 327"/>
                  <a:gd name="T45" fmla="*/ 185 h 377"/>
                  <a:gd name="T46" fmla="*/ 14 w 327"/>
                  <a:gd name="T47" fmla="*/ 192 h 377"/>
                  <a:gd name="T48" fmla="*/ 16 w 327"/>
                  <a:gd name="T49" fmla="*/ 213 h 377"/>
                  <a:gd name="T50" fmla="*/ 26 w 327"/>
                  <a:gd name="T51" fmla="*/ 245 h 377"/>
                  <a:gd name="T52" fmla="*/ 45 w 327"/>
                  <a:gd name="T53" fmla="*/ 309 h 377"/>
                  <a:gd name="T54" fmla="*/ 51 w 327"/>
                  <a:gd name="T55" fmla="*/ 321 h 377"/>
                  <a:gd name="T56" fmla="*/ 60 w 327"/>
                  <a:gd name="T57" fmla="*/ 332 h 377"/>
                  <a:gd name="T58" fmla="*/ 68 w 327"/>
                  <a:gd name="T59" fmla="*/ 344 h 377"/>
                  <a:gd name="T60" fmla="*/ 84 w 327"/>
                  <a:gd name="T61" fmla="*/ 356 h 377"/>
                  <a:gd name="T62" fmla="*/ 106 w 327"/>
                  <a:gd name="T63" fmla="*/ 361 h 377"/>
                  <a:gd name="T64" fmla="*/ 180 w 327"/>
                  <a:gd name="T65" fmla="*/ 350 h 377"/>
                  <a:gd name="T66" fmla="*/ 196 w 327"/>
                  <a:gd name="T67" fmla="*/ 346 h 377"/>
                  <a:gd name="T68" fmla="*/ 216 w 327"/>
                  <a:gd name="T69" fmla="*/ 346 h 377"/>
                  <a:gd name="T70" fmla="*/ 242 w 327"/>
                  <a:gd name="T71" fmla="*/ 348 h 377"/>
                  <a:gd name="T72" fmla="*/ 258 w 327"/>
                  <a:gd name="T73" fmla="*/ 350 h 377"/>
                  <a:gd name="T74" fmla="*/ 272 w 327"/>
                  <a:gd name="T75" fmla="*/ 361 h 377"/>
                  <a:gd name="T76" fmla="*/ 327 w 327"/>
                  <a:gd name="T77" fmla="*/ 377 h 377"/>
                  <a:gd name="connsiteX0" fmla="*/ 3268 w 10000"/>
                  <a:gd name="connsiteY0" fmla="*/ 0 h 10528"/>
                  <a:gd name="connsiteX1" fmla="*/ 3211 w 10000"/>
                  <a:gd name="connsiteY1" fmla="*/ 714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 name="connsiteX0" fmla="*/ 3268 w 10000"/>
                  <a:gd name="connsiteY0" fmla="*/ 0 h 10528"/>
                  <a:gd name="connsiteX1" fmla="*/ 3060 w 10000"/>
                  <a:gd name="connsiteY1" fmla="*/ 586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0" h="10528">
                    <a:moveTo>
                      <a:pt x="3268" y="0"/>
                    </a:moveTo>
                    <a:cubicBezTo>
                      <a:pt x="2993" y="0"/>
                      <a:pt x="3335" y="506"/>
                      <a:pt x="3060" y="586"/>
                    </a:cubicBezTo>
                    <a:cubicBezTo>
                      <a:pt x="2846" y="692"/>
                      <a:pt x="2752" y="899"/>
                      <a:pt x="2538" y="979"/>
                    </a:cubicBezTo>
                    <a:cubicBezTo>
                      <a:pt x="2446" y="1032"/>
                      <a:pt x="2355" y="1059"/>
                      <a:pt x="2263" y="1112"/>
                    </a:cubicBezTo>
                    <a:cubicBezTo>
                      <a:pt x="2080" y="1244"/>
                      <a:pt x="2018" y="1456"/>
                      <a:pt x="1865" y="1589"/>
                    </a:cubicBezTo>
                    <a:cubicBezTo>
                      <a:pt x="1804" y="1642"/>
                      <a:pt x="1743" y="1669"/>
                      <a:pt x="1713" y="1695"/>
                    </a:cubicBezTo>
                    <a:cubicBezTo>
                      <a:pt x="1651" y="1775"/>
                      <a:pt x="1651" y="1881"/>
                      <a:pt x="1590" y="1987"/>
                    </a:cubicBezTo>
                    <a:cubicBezTo>
                      <a:pt x="1498" y="2120"/>
                      <a:pt x="1284" y="2146"/>
                      <a:pt x="1131" y="2226"/>
                    </a:cubicBezTo>
                    <a:cubicBezTo>
                      <a:pt x="856" y="2332"/>
                      <a:pt x="673" y="2597"/>
                      <a:pt x="398" y="2703"/>
                    </a:cubicBezTo>
                    <a:cubicBezTo>
                      <a:pt x="306" y="2730"/>
                      <a:pt x="245" y="2730"/>
                      <a:pt x="183" y="2783"/>
                    </a:cubicBezTo>
                    <a:cubicBezTo>
                      <a:pt x="31" y="2915"/>
                      <a:pt x="122" y="3127"/>
                      <a:pt x="0" y="3260"/>
                    </a:cubicBezTo>
                    <a:cubicBezTo>
                      <a:pt x="31" y="3313"/>
                      <a:pt x="92" y="3313"/>
                      <a:pt x="153" y="3313"/>
                    </a:cubicBezTo>
                    <a:cubicBezTo>
                      <a:pt x="398" y="3313"/>
                      <a:pt x="581" y="3446"/>
                      <a:pt x="673" y="3631"/>
                    </a:cubicBezTo>
                    <a:cubicBezTo>
                      <a:pt x="765" y="3817"/>
                      <a:pt x="795" y="4029"/>
                      <a:pt x="795" y="4215"/>
                    </a:cubicBezTo>
                    <a:cubicBezTo>
                      <a:pt x="795" y="4321"/>
                      <a:pt x="795" y="4427"/>
                      <a:pt x="765" y="4560"/>
                    </a:cubicBezTo>
                    <a:cubicBezTo>
                      <a:pt x="765" y="4560"/>
                      <a:pt x="734" y="4613"/>
                      <a:pt x="703" y="4613"/>
                    </a:cubicBezTo>
                    <a:cubicBezTo>
                      <a:pt x="673" y="4613"/>
                      <a:pt x="673" y="4560"/>
                      <a:pt x="642" y="4533"/>
                    </a:cubicBezTo>
                    <a:cubicBezTo>
                      <a:pt x="612" y="4480"/>
                      <a:pt x="489" y="4480"/>
                      <a:pt x="459" y="4533"/>
                    </a:cubicBezTo>
                    <a:cubicBezTo>
                      <a:pt x="428" y="4586"/>
                      <a:pt x="428" y="4639"/>
                      <a:pt x="398" y="4692"/>
                    </a:cubicBezTo>
                    <a:cubicBezTo>
                      <a:pt x="398" y="4719"/>
                      <a:pt x="336" y="4746"/>
                      <a:pt x="336" y="4772"/>
                    </a:cubicBezTo>
                    <a:cubicBezTo>
                      <a:pt x="306" y="4799"/>
                      <a:pt x="306" y="4852"/>
                      <a:pt x="306" y="4878"/>
                    </a:cubicBezTo>
                    <a:lnTo>
                      <a:pt x="306" y="5223"/>
                    </a:lnTo>
                    <a:cubicBezTo>
                      <a:pt x="306" y="5276"/>
                      <a:pt x="306" y="5356"/>
                      <a:pt x="336" y="5435"/>
                    </a:cubicBezTo>
                    <a:cubicBezTo>
                      <a:pt x="367" y="5488"/>
                      <a:pt x="398" y="5568"/>
                      <a:pt x="428" y="5621"/>
                    </a:cubicBezTo>
                    <a:cubicBezTo>
                      <a:pt x="489" y="5807"/>
                      <a:pt x="489" y="5992"/>
                      <a:pt x="489" y="6178"/>
                    </a:cubicBezTo>
                    <a:cubicBezTo>
                      <a:pt x="520" y="6470"/>
                      <a:pt x="642" y="6761"/>
                      <a:pt x="795" y="7027"/>
                    </a:cubicBezTo>
                    <a:cubicBezTo>
                      <a:pt x="1070" y="7557"/>
                      <a:pt x="1162" y="8167"/>
                      <a:pt x="1376" y="8724"/>
                    </a:cubicBezTo>
                    <a:cubicBezTo>
                      <a:pt x="1407" y="8830"/>
                      <a:pt x="1468" y="8963"/>
                      <a:pt x="1560" y="9043"/>
                    </a:cubicBezTo>
                    <a:cubicBezTo>
                      <a:pt x="1651" y="9149"/>
                      <a:pt x="1774" y="9228"/>
                      <a:pt x="1835" y="9334"/>
                    </a:cubicBezTo>
                    <a:cubicBezTo>
                      <a:pt x="1896" y="9414"/>
                      <a:pt x="2049" y="9600"/>
                      <a:pt x="2080" y="9653"/>
                    </a:cubicBezTo>
                    <a:cubicBezTo>
                      <a:pt x="2202" y="9838"/>
                      <a:pt x="2324" y="9891"/>
                      <a:pt x="2569" y="9971"/>
                    </a:cubicBezTo>
                    <a:cubicBezTo>
                      <a:pt x="2844" y="10051"/>
                      <a:pt x="2966" y="10130"/>
                      <a:pt x="3242" y="10104"/>
                    </a:cubicBezTo>
                    <a:cubicBezTo>
                      <a:pt x="3945" y="9944"/>
                      <a:pt x="4771" y="9971"/>
                      <a:pt x="5505" y="9812"/>
                    </a:cubicBezTo>
                    <a:cubicBezTo>
                      <a:pt x="5657" y="9759"/>
                      <a:pt x="5810" y="9732"/>
                      <a:pt x="5994" y="9706"/>
                    </a:cubicBezTo>
                    <a:cubicBezTo>
                      <a:pt x="6177" y="9679"/>
                      <a:pt x="6391" y="9706"/>
                      <a:pt x="6606" y="9706"/>
                    </a:cubicBezTo>
                    <a:cubicBezTo>
                      <a:pt x="6881" y="9732"/>
                      <a:pt x="7125" y="9732"/>
                      <a:pt x="7401" y="9759"/>
                    </a:cubicBezTo>
                    <a:cubicBezTo>
                      <a:pt x="7523" y="9759"/>
                      <a:pt x="7768" y="9785"/>
                      <a:pt x="7890" y="9812"/>
                    </a:cubicBezTo>
                    <a:cubicBezTo>
                      <a:pt x="7982" y="9838"/>
                      <a:pt x="8226" y="10051"/>
                      <a:pt x="8318" y="10104"/>
                    </a:cubicBezTo>
                    <a:cubicBezTo>
                      <a:pt x="8960" y="10395"/>
                      <a:pt x="9297" y="10448"/>
                      <a:pt x="10000" y="1052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7" name="Freeform 60"/>
              <p:cNvSpPr>
                <a:spLocks/>
              </p:cNvSpPr>
              <p:nvPr/>
            </p:nvSpPr>
            <p:spPr bwMode="auto">
              <a:xfrm>
                <a:off x="10504581" y="5752867"/>
                <a:ext cx="198739" cy="279436"/>
              </a:xfrm>
              <a:custGeom>
                <a:avLst/>
                <a:gdLst>
                  <a:gd name="T0" fmla="*/ 3 w 46"/>
                  <a:gd name="T1" fmla="*/ 48 h 63"/>
                  <a:gd name="T2" fmla="*/ 5 w 46"/>
                  <a:gd name="T3" fmla="*/ 40 h 63"/>
                  <a:gd name="T4" fmla="*/ 12 w 46"/>
                  <a:gd name="T5" fmla="*/ 39 h 63"/>
                  <a:gd name="T6" fmla="*/ 13 w 46"/>
                  <a:gd name="T7" fmla="*/ 36 h 63"/>
                  <a:gd name="T8" fmla="*/ 19 w 46"/>
                  <a:gd name="T9" fmla="*/ 11 h 63"/>
                  <a:gd name="T10" fmla="*/ 21 w 46"/>
                  <a:gd name="T11" fmla="*/ 9 h 63"/>
                  <a:gd name="T12" fmla="*/ 24 w 46"/>
                  <a:gd name="T13" fmla="*/ 9 h 63"/>
                  <a:gd name="T14" fmla="*/ 29 w 46"/>
                  <a:gd name="T15" fmla="*/ 3 h 63"/>
                  <a:gd name="T16" fmla="*/ 35 w 46"/>
                  <a:gd name="T17" fmla="*/ 0 h 63"/>
                  <a:gd name="T18" fmla="*/ 43 w 46"/>
                  <a:gd name="T19" fmla="*/ 1 h 63"/>
                  <a:gd name="T20" fmla="*/ 45 w 46"/>
                  <a:gd name="T21" fmla="*/ 8 h 63"/>
                  <a:gd name="T22" fmla="*/ 42 w 46"/>
                  <a:gd name="T23" fmla="*/ 12 h 63"/>
                  <a:gd name="T24" fmla="*/ 41 w 46"/>
                  <a:gd name="T25" fmla="*/ 27 h 63"/>
                  <a:gd name="T26" fmla="*/ 36 w 46"/>
                  <a:gd name="T27" fmla="*/ 40 h 63"/>
                  <a:gd name="T28" fmla="*/ 29 w 46"/>
                  <a:gd name="T29" fmla="*/ 49 h 63"/>
                  <a:gd name="T30" fmla="*/ 26 w 46"/>
                  <a:gd name="T31" fmla="*/ 56 h 63"/>
                  <a:gd name="T32" fmla="*/ 11 w 46"/>
                  <a:gd name="T33" fmla="*/ 61 h 63"/>
                  <a:gd name="T34" fmla="*/ 1 w 46"/>
                  <a:gd name="T35" fmla="*/ 57 h 63"/>
                  <a:gd name="T36" fmla="*/ 3 w 46"/>
                  <a:gd name="T37" fmla="*/ 4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63">
                    <a:moveTo>
                      <a:pt x="3" y="48"/>
                    </a:moveTo>
                    <a:cubicBezTo>
                      <a:pt x="6" y="46"/>
                      <a:pt x="3" y="42"/>
                      <a:pt x="5" y="40"/>
                    </a:cubicBezTo>
                    <a:cubicBezTo>
                      <a:pt x="7" y="38"/>
                      <a:pt x="11" y="41"/>
                      <a:pt x="12" y="39"/>
                    </a:cubicBezTo>
                    <a:cubicBezTo>
                      <a:pt x="13" y="38"/>
                      <a:pt x="13" y="37"/>
                      <a:pt x="13" y="36"/>
                    </a:cubicBezTo>
                    <a:cubicBezTo>
                      <a:pt x="14" y="28"/>
                      <a:pt x="16" y="19"/>
                      <a:pt x="19" y="11"/>
                    </a:cubicBezTo>
                    <a:cubicBezTo>
                      <a:pt x="20" y="10"/>
                      <a:pt x="20" y="9"/>
                      <a:pt x="21" y="9"/>
                    </a:cubicBezTo>
                    <a:cubicBezTo>
                      <a:pt x="22" y="8"/>
                      <a:pt x="23" y="9"/>
                      <a:pt x="24" y="9"/>
                    </a:cubicBezTo>
                    <a:cubicBezTo>
                      <a:pt x="27" y="8"/>
                      <a:pt x="27" y="5"/>
                      <a:pt x="29" y="3"/>
                    </a:cubicBezTo>
                    <a:cubicBezTo>
                      <a:pt x="31" y="1"/>
                      <a:pt x="33" y="1"/>
                      <a:pt x="35" y="0"/>
                    </a:cubicBezTo>
                    <a:cubicBezTo>
                      <a:pt x="38" y="0"/>
                      <a:pt x="41" y="0"/>
                      <a:pt x="43" y="1"/>
                    </a:cubicBezTo>
                    <a:cubicBezTo>
                      <a:pt x="45" y="3"/>
                      <a:pt x="46" y="5"/>
                      <a:pt x="45" y="8"/>
                    </a:cubicBezTo>
                    <a:cubicBezTo>
                      <a:pt x="45" y="10"/>
                      <a:pt x="43" y="11"/>
                      <a:pt x="42" y="12"/>
                    </a:cubicBezTo>
                    <a:cubicBezTo>
                      <a:pt x="39" y="16"/>
                      <a:pt x="41" y="22"/>
                      <a:pt x="41" y="27"/>
                    </a:cubicBezTo>
                    <a:cubicBezTo>
                      <a:pt x="41" y="32"/>
                      <a:pt x="39" y="37"/>
                      <a:pt x="36" y="40"/>
                    </a:cubicBezTo>
                    <a:cubicBezTo>
                      <a:pt x="34" y="43"/>
                      <a:pt x="31" y="46"/>
                      <a:pt x="29" y="49"/>
                    </a:cubicBezTo>
                    <a:cubicBezTo>
                      <a:pt x="28" y="51"/>
                      <a:pt x="27" y="54"/>
                      <a:pt x="26" y="56"/>
                    </a:cubicBezTo>
                    <a:cubicBezTo>
                      <a:pt x="23" y="61"/>
                      <a:pt x="16" y="63"/>
                      <a:pt x="11" y="61"/>
                    </a:cubicBezTo>
                    <a:cubicBezTo>
                      <a:pt x="9" y="60"/>
                      <a:pt x="1" y="58"/>
                      <a:pt x="1" y="57"/>
                    </a:cubicBezTo>
                    <a:cubicBezTo>
                      <a:pt x="0" y="55"/>
                      <a:pt x="2" y="49"/>
                      <a:pt x="3" y="48"/>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8" name="Freeform 61"/>
              <p:cNvSpPr>
                <a:spLocks/>
              </p:cNvSpPr>
              <p:nvPr/>
            </p:nvSpPr>
            <p:spPr bwMode="auto">
              <a:xfrm>
                <a:off x="10688118" y="5485229"/>
                <a:ext cx="824401" cy="677022"/>
              </a:xfrm>
              <a:custGeom>
                <a:avLst/>
                <a:gdLst>
                  <a:gd name="T0" fmla="*/ 190 w 190"/>
                  <a:gd name="T1" fmla="*/ 0 h 153"/>
                  <a:gd name="T2" fmla="*/ 87 w 190"/>
                  <a:gd name="T3" fmla="*/ 96 h 153"/>
                  <a:gd name="T4" fmla="*/ 35 w 190"/>
                  <a:gd name="T5" fmla="*/ 123 h 153"/>
                  <a:gd name="T6" fmla="*/ 0 w 190"/>
                  <a:gd name="T7" fmla="*/ 124 h 153"/>
                  <a:gd name="T8" fmla="*/ 23 w 190"/>
                  <a:gd name="T9" fmla="*/ 135 h 153"/>
                  <a:gd name="T10" fmla="*/ 112 w 190"/>
                  <a:gd name="T11" fmla="*/ 150 h 153"/>
                  <a:gd name="T12" fmla="*/ 159 w 190"/>
                  <a:gd name="T13" fmla="*/ 153 h 153"/>
                  <a:gd name="T14" fmla="*/ 173 w 190"/>
                  <a:gd name="T15" fmla="*/ 146 h 153"/>
                  <a:gd name="T16" fmla="*/ 190 w 190"/>
                  <a:gd name="T17" fmla="*/ 8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3">
                    <a:moveTo>
                      <a:pt x="190" y="0"/>
                    </a:moveTo>
                    <a:cubicBezTo>
                      <a:pt x="87" y="96"/>
                      <a:pt x="87" y="96"/>
                      <a:pt x="87" y="96"/>
                    </a:cubicBezTo>
                    <a:cubicBezTo>
                      <a:pt x="35" y="123"/>
                      <a:pt x="35" y="123"/>
                      <a:pt x="35" y="123"/>
                    </a:cubicBezTo>
                    <a:cubicBezTo>
                      <a:pt x="23" y="122"/>
                      <a:pt x="12" y="123"/>
                      <a:pt x="0" y="124"/>
                    </a:cubicBezTo>
                    <a:cubicBezTo>
                      <a:pt x="23" y="135"/>
                      <a:pt x="23" y="135"/>
                      <a:pt x="23" y="135"/>
                    </a:cubicBezTo>
                    <a:cubicBezTo>
                      <a:pt x="112" y="150"/>
                      <a:pt x="112" y="150"/>
                      <a:pt x="112" y="150"/>
                    </a:cubicBezTo>
                    <a:cubicBezTo>
                      <a:pt x="159" y="153"/>
                      <a:pt x="159" y="153"/>
                      <a:pt x="159" y="153"/>
                    </a:cubicBezTo>
                    <a:cubicBezTo>
                      <a:pt x="173" y="146"/>
                      <a:pt x="173" y="146"/>
                      <a:pt x="173" y="146"/>
                    </a:cubicBezTo>
                    <a:cubicBezTo>
                      <a:pt x="190" y="84"/>
                      <a:pt x="190" y="84"/>
                      <a:pt x="190" y="8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9" name="Freeform 62"/>
              <p:cNvSpPr>
                <a:spLocks/>
              </p:cNvSpPr>
              <p:nvPr/>
            </p:nvSpPr>
            <p:spPr bwMode="auto">
              <a:xfrm>
                <a:off x="10663144" y="6042225"/>
                <a:ext cx="869296" cy="146282"/>
              </a:xfrm>
              <a:custGeom>
                <a:avLst/>
                <a:gdLst>
                  <a:gd name="T0" fmla="*/ 0 w 424"/>
                  <a:gd name="T1" fmla="*/ 0 h 78"/>
                  <a:gd name="T2" fmla="*/ 66 w 424"/>
                  <a:gd name="T3" fmla="*/ 36 h 78"/>
                  <a:gd name="T4" fmla="*/ 377 w 424"/>
                  <a:gd name="T5" fmla="*/ 78 h 78"/>
                  <a:gd name="T6" fmla="*/ 413 w 424"/>
                  <a:gd name="T7" fmla="*/ 71 h 78"/>
                  <a:gd name="T8" fmla="*/ 424 w 424"/>
                  <a:gd name="T9" fmla="*/ 38 h 78"/>
                </a:gdLst>
                <a:ahLst/>
                <a:cxnLst>
                  <a:cxn ang="0">
                    <a:pos x="T0" y="T1"/>
                  </a:cxn>
                  <a:cxn ang="0">
                    <a:pos x="T2" y="T3"/>
                  </a:cxn>
                  <a:cxn ang="0">
                    <a:pos x="T4" y="T5"/>
                  </a:cxn>
                  <a:cxn ang="0">
                    <a:pos x="T6" y="T7"/>
                  </a:cxn>
                  <a:cxn ang="0">
                    <a:pos x="T8" y="T9"/>
                  </a:cxn>
                </a:cxnLst>
                <a:rect l="0" t="0" r="r" b="b"/>
                <a:pathLst>
                  <a:path w="424" h="78">
                    <a:moveTo>
                      <a:pt x="0" y="0"/>
                    </a:moveTo>
                    <a:lnTo>
                      <a:pt x="66" y="36"/>
                    </a:lnTo>
                    <a:lnTo>
                      <a:pt x="377" y="78"/>
                    </a:lnTo>
                    <a:lnTo>
                      <a:pt x="413" y="71"/>
                    </a:lnTo>
                    <a:lnTo>
                      <a:pt x="424" y="38"/>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0" name="Freeform 63"/>
              <p:cNvSpPr>
                <a:spLocks/>
              </p:cNvSpPr>
              <p:nvPr/>
            </p:nvSpPr>
            <p:spPr bwMode="auto">
              <a:xfrm>
                <a:off x="10492619" y="3692909"/>
                <a:ext cx="697548" cy="2336187"/>
              </a:xfrm>
              <a:custGeom>
                <a:avLst/>
                <a:gdLst>
                  <a:gd name="T0" fmla="*/ 139 w 370"/>
                  <a:gd name="T1" fmla="*/ 1219 h 1219"/>
                  <a:gd name="T2" fmla="*/ 189 w 370"/>
                  <a:gd name="T3" fmla="*/ 1210 h 1219"/>
                  <a:gd name="T4" fmla="*/ 200 w 370"/>
                  <a:gd name="T5" fmla="*/ 1153 h 1219"/>
                  <a:gd name="T6" fmla="*/ 196 w 370"/>
                  <a:gd name="T7" fmla="*/ 1068 h 1219"/>
                  <a:gd name="T8" fmla="*/ 238 w 370"/>
                  <a:gd name="T9" fmla="*/ 1023 h 1219"/>
                  <a:gd name="T10" fmla="*/ 257 w 370"/>
                  <a:gd name="T11" fmla="*/ 917 h 1219"/>
                  <a:gd name="T12" fmla="*/ 285 w 370"/>
                  <a:gd name="T13" fmla="*/ 903 h 1219"/>
                  <a:gd name="T14" fmla="*/ 365 w 370"/>
                  <a:gd name="T15" fmla="*/ 795 h 1219"/>
                  <a:gd name="T16" fmla="*/ 370 w 370"/>
                  <a:gd name="T17" fmla="*/ 780 h 1219"/>
                  <a:gd name="T18" fmla="*/ 370 w 370"/>
                  <a:gd name="T19" fmla="*/ 769 h 1219"/>
                  <a:gd name="T20" fmla="*/ 146 w 370"/>
                  <a:gd name="T21" fmla="*/ 403 h 1219"/>
                  <a:gd name="T22" fmla="*/ 109 w 370"/>
                  <a:gd name="T23" fmla="*/ 389 h 1219"/>
                  <a:gd name="T24" fmla="*/ 92 w 370"/>
                  <a:gd name="T25" fmla="*/ 361 h 1219"/>
                  <a:gd name="T26" fmla="*/ 104 w 370"/>
                  <a:gd name="T27" fmla="*/ 306 h 1219"/>
                  <a:gd name="T28" fmla="*/ 97 w 370"/>
                  <a:gd name="T29" fmla="*/ 221 h 1219"/>
                  <a:gd name="T30" fmla="*/ 54 w 370"/>
                  <a:gd name="T31" fmla="*/ 144 h 1219"/>
                  <a:gd name="T32" fmla="*/ 57 w 370"/>
                  <a:gd name="T33" fmla="*/ 113 h 1219"/>
                  <a:gd name="T34" fmla="*/ 0 w 370"/>
                  <a:gd name="T35" fmla="*/ 0 h 1219"/>
                  <a:gd name="connsiteX0" fmla="*/ 4002 w 10245"/>
                  <a:gd name="connsiteY0" fmla="*/ 10219 h 10219"/>
                  <a:gd name="connsiteX1" fmla="*/ 5353 w 10245"/>
                  <a:gd name="connsiteY1" fmla="*/ 10145 h 10219"/>
                  <a:gd name="connsiteX2" fmla="*/ 5650 w 10245"/>
                  <a:gd name="connsiteY2" fmla="*/ 9678 h 10219"/>
                  <a:gd name="connsiteX3" fmla="*/ 5542 w 10245"/>
                  <a:gd name="connsiteY3" fmla="*/ 8980 h 10219"/>
                  <a:gd name="connsiteX4" fmla="*/ 6677 w 10245"/>
                  <a:gd name="connsiteY4" fmla="*/ 8611 h 10219"/>
                  <a:gd name="connsiteX5" fmla="*/ 7191 w 10245"/>
                  <a:gd name="connsiteY5" fmla="*/ 7742 h 10219"/>
                  <a:gd name="connsiteX6" fmla="*/ 7948 w 10245"/>
                  <a:gd name="connsiteY6" fmla="*/ 7627 h 10219"/>
                  <a:gd name="connsiteX7" fmla="*/ 10110 w 10245"/>
                  <a:gd name="connsiteY7" fmla="*/ 6741 h 10219"/>
                  <a:gd name="connsiteX8" fmla="*/ 10245 w 10245"/>
                  <a:gd name="connsiteY8" fmla="*/ 6618 h 10219"/>
                  <a:gd name="connsiteX9" fmla="*/ 10245 w 10245"/>
                  <a:gd name="connsiteY9" fmla="*/ 6527 h 10219"/>
                  <a:gd name="connsiteX10" fmla="*/ 4191 w 10245"/>
                  <a:gd name="connsiteY10" fmla="*/ 3525 h 10219"/>
                  <a:gd name="connsiteX11" fmla="*/ 3191 w 10245"/>
                  <a:gd name="connsiteY11" fmla="*/ 3410 h 10219"/>
                  <a:gd name="connsiteX12" fmla="*/ 2731 w 10245"/>
                  <a:gd name="connsiteY12" fmla="*/ 3180 h 10219"/>
                  <a:gd name="connsiteX13" fmla="*/ 3056 w 10245"/>
                  <a:gd name="connsiteY13" fmla="*/ 2729 h 10219"/>
                  <a:gd name="connsiteX14" fmla="*/ 2867 w 10245"/>
                  <a:gd name="connsiteY14" fmla="*/ 2032 h 10219"/>
                  <a:gd name="connsiteX15" fmla="*/ 1704 w 10245"/>
                  <a:gd name="connsiteY15" fmla="*/ 1400 h 10219"/>
                  <a:gd name="connsiteX16" fmla="*/ 1786 w 10245"/>
                  <a:gd name="connsiteY16" fmla="*/ 1146 h 10219"/>
                  <a:gd name="connsiteX17" fmla="*/ 0 w 10245"/>
                  <a:gd name="connsiteY17" fmla="*/ 0 h 1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45" h="10219">
                    <a:moveTo>
                      <a:pt x="4002" y="10219"/>
                    </a:moveTo>
                    <a:lnTo>
                      <a:pt x="5353" y="10145"/>
                    </a:lnTo>
                    <a:lnTo>
                      <a:pt x="5650" y="9678"/>
                    </a:lnTo>
                    <a:lnTo>
                      <a:pt x="5542" y="8980"/>
                    </a:lnTo>
                    <a:lnTo>
                      <a:pt x="6677" y="8611"/>
                    </a:lnTo>
                    <a:lnTo>
                      <a:pt x="7191" y="7742"/>
                    </a:lnTo>
                    <a:lnTo>
                      <a:pt x="7948" y="7627"/>
                    </a:lnTo>
                    <a:lnTo>
                      <a:pt x="10110" y="6741"/>
                    </a:lnTo>
                    <a:lnTo>
                      <a:pt x="10245" y="6618"/>
                    </a:lnTo>
                    <a:lnTo>
                      <a:pt x="10245" y="6527"/>
                    </a:lnTo>
                    <a:lnTo>
                      <a:pt x="4191" y="3525"/>
                    </a:lnTo>
                    <a:lnTo>
                      <a:pt x="3191" y="3410"/>
                    </a:lnTo>
                    <a:lnTo>
                      <a:pt x="2731" y="3180"/>
                    </a:lnTo>
                    <a:lnTo>
                      <a:pt x="3056" y="2729"/>
                    </a:lnTo>
                    <a:lnTo>
                      <a:pt x="2867" y="2032"/>
                    </a:lnTo>
                    <a:lnTo>
                      <a:pt x="1704" y="1400"/>
                    </a:lnTo>
                    <a:cubicBezTo>
                      <a:pt x="1731" y="1315"/>
                      <a:pt x="1759" y="1231"/>
                      <a:pt x="1786" y="1146"/>
                    </a:cubicBezTo>
                    <a:cubicBezTo>
                      <a:pt x="1272" y="837"/>
                      <a:pt x="514" y="309"/>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1" name="Freeform 64"/>
              <p:cNvSpPr>
                <a:spLocks/>
              </p:cNvSpPr>
              <p:nvPr/>
            </p:nvSpPr>
            <p:spPr bwMode="auto">
              <a:xfrm>
                <a:off x="10557145" y="4043040"/>
                <a:ext cx="1045222" cy="361954"/>
              </a:xfrm>
              <a:custGeom>
                <a:avLst/>
                <a:gdLst>
                  <a:gd name="T0" fmla="*/ 0 w 241"/>
                  <a:gd name="T1" fmla="*/ 82 h 82"/>
                  <a:gd name="T2" fmla="*/ 13 w 241"/>
                  <a:gd name="T3" fmla="*/ 69 h 82"/>
                  <a:gd name="T4" fmla="*/ 38 w 241"/>
                  <a:gd name="T5" fmla="*/ 61 h 82"/>
                  <a:gd name="T6" fmla="*/ 65 w 241"/>
                  <a:gd name="T7" fmla="*/ 63 h 82"/>
                  <a:gd name="T8" fmla="*/ 71 w 241"/>
                  <a:gd name="T9" fmla="*/ 61 h 82"/>
                  <a:gd name="T10" fmla="*/ 76 w 241"/>
                  <a:gd name="T11" fmla="*/ 58 h 82"/>
                  <a:gd name="T12" fmla="*/ 87 w 241"/>
                  <a:gd name="T13" fmla="*/ 55 h 82"/>
                  <a:gd name="T14" fmla="*/ 142 w 241"/>
                  <a:gd name="T15" fmla="*/ 47 h 82"/>
                  <a:gd name="T16" fmla="*/ 155 w 241"/>
                  <a:gd name="T17" fmla="*/ 47 h 82"/>
                  <a:gd name="T18" fmla="*/ 186 w 241"/>
                  <a:gd name="T19" fmla="*/ 29 h 82"/>
                  <a:gd name="T20" fmla="*/ 208 w 241"/>
                  <a:gd name="T21" fmla="*/ 10 h 82"/>
                  <a:gd name="T22" fmla="*/ 214 w 241"/>
                  <a:gd name="T23" fmla="*/ 6 h 82"/>
                  <a:gd name="T24" fmla="*/ 219 w 241"/>
                  <a:gd name="T25" fmla="*/ 6 h 82"/>
                  <a:gd name="T26" fmla="*/ 227 w 241"/>
                  <a:gd name="T27" fmla="*/ 2 h 82"/>
                  <a:gd name="T28" fmla="*/ 241 w 241"/>
                  <a:gd name="T29" fmla="*/ 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82">
                    <a:moveTo>
                      <a:pt x="0" y="82"/>
                    </a:moveTo>
                    <a:cubicBezTo>
                      <a:pt x="7" y="82"/>
                      <a:pt x="9" y="74"/>
                      <a:pt x="13" y="69"/>
                    </a:cubicBezTo>
                    <a:cubicBezTo>
                      <a:pt x="19" y="62"/>
                      <a:pt x="29" y="60"/>
                      <a:pt x="38" y="61"/>
                    </a:cubicBezTo>
                    <a:cubicBezTo>
                      <a:pt x="47" y="62"/>
                      <a:pt x="56" y="64"/>
                      <a:pt x="65" y="63"/>
                    </a:cubicBezTo>
                    <a:cubicBezTo>
                      <a:pt x="67" y="62"/>
                      <a:pt x="69" y="62"/>
                      <a:pt x="71" y="61"/>
                    </a:cubicBezTo>
                    <a:cubicBezTo>
                      <a:pt x="73" y="60"/>
                      <a:pt x="75" y="59"/>
                      <a:pt x="76" y="58"/>
                    </a:cubicBezTo>
                    <a:cubicBezTo>
                      <a:pt x="80" y="57"/>
                      <a:pt x="83" y="56"/>
                      <a:pt x="87" y="55"/>
                    </a:cubicBezTo>
                    <a:cubicBezTo>
                      <a:pt x="105" y="51"/>
                      <a:pt x="124" y="47"/>
                      <a:pt x="142" y="47"/>
                    </a:cubicBezTo>
                    <a:cubicBezTo>
                      <a:pt x="146" y="47"/>
                      <a:pt x="151" y="48"/>
                      <a:pt x="155" y="47"/>
                    </a:cubicBezTo>
                    <a:cubicBezTo>
                      <a:pt x="167" y="45"/>
                      <a:pt x="177" y="37"/>
                      <a:pt x="186" y="29"/>
                    </a:cubicBezTo>
                    <a:cubicBezTo>
                      <a:pt x="193" y="23"/>
                      <a:pt x="201" y="16"/>
                      <a:pt x="208" y="10"/>
                    </a:cubicBezTo>
                    <a:cubicBezTo>
                      <a:pt x="210" y="8"/>
                      <a:pt x="212" y="7"/>
                      <a:pt x="214" y="6"/>
                    </a:cubicBezTo>
                    <a:cubicBezTo>
                      <a:pt x="216" y="6"/>
                      <a:pt x="217" y="6"/>
                      <a:pt x="219" y="6"/>
                    </a:cubicBezTo>
                    <a:cubicBezTo>
                      <a:pt x="222" y="5"/>
                      <a:pt x="224" y="2"/>
                      <a:pt x="227" y="2"/>
                    </a:cubicBezTo>
                    <a:cubicBezTo>
                      <a:pt x="233" y="0"/>
                      <a:pt x="235" y="8"/>
                      <a:pt x="241" y="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2" name="Freeform 65"/>
              <p:cNvSpPr>
                <a:spLocks/>
              </p:cNvSpPr>
              <p:nvPr/>
            </p:nvSpPr>
            <p:spPr bwMode="auto">
              <a:xfrm>
                <a:off x="6020689" y="2321225"/>
                <a:ext cx="1145004" cy="1252674"/>
              </a:xfrm>
              <a:custGeom>
                <a:avLst/>
                <a:gdLst>
                  <a:gd name="T0" fmla="*/ 145 w 253"/>
                  <a:gd name="T1" fmla="*/ 11 h 295"/>
                  <a:gd name="T2" fmla="*/ 150 w 253"/>
                  <a:gd name="T3" fmla="*/ 3 h 295"/>
                  <a:gd name="T4" fmla="*/ 179 w 253"/>
                  <a:gd name="T5" fmla="*/ 9 h 295"/>
                  <a:gd name="T6" fmla="*/ 187 w 253"/>
                  <a:gd name="T7" fmla="*/ 17 h 295"/>
                  <a:gd name="T8" fmla="*/ 196 w 253"/>
                  <a:gd name="T9" fmla="*/ 28 h 295"/>
                  <a:gd name="T10" fmla="*/ 190 w 253"/>
                  <a:gd name="T11" fmla="*/ 34 h 295"/>
                  <a:gd name="T12" fmla="*/ 224 w 253"/>
                  <a:gd name="T13" fmla="*/ 46 h 295"/>
                  <a:gd name="T14" fmla="*/ 232 w 253"/>
                  <a:gd name="T15" fmla="*/ 45 h 295"/>
                  <a:gd name="T16" fmla="*/ 234 w 253"/>
                  <a:gd name="T17" fmla="*/ 52 h 295"/>
                  <a:gd name="T18" fmla="*/ 231 w 253"/>
                  <a:gd name="T19" fmla="*/ 68 h 295"/>
                  <a:gd name="T20" fmla="*/ 237 w 253"/>
                  <a:gd name="T21" fmla="*/ 77 h 295"/>
                  <a:gd name="T22" fmla="*/ 237 w 253"/>
                  <a:gd name="T23" fmla="*/ 90 h 295"/>
                  <a:gd name="T24" fmla="*/ 241 w 253"/>
                  <a:gd name="T25" fmla="*/ 95 h 295"/>
                  <a:gd name="T26" fmla="*/ 253 w 253"/>
                  <a:gd name="T27" fmla="*/ 122 h 295"/>
                  <a:gd name="T28" fmla="*/ 245 w 253"/>
                  <a:gd name="T29" fmla="*/ 130 h 295"/>
                  <a:gd name="T30" fmla="*/ 241 w 253"/>
                  <a:gd name="T31" fmla="*/ 129 h 295"/>
                  <a:gd name="T32" fmla="*/ 236 w 253"/>
                  <a:gd name="T33" fmla="*/ 135 h 295"/>
                  <a:gd name="T34" fmla="*/ 215 w 253"/>
                  <a:gd name="T35" fmla="*/ 138 h 295"/>
                  <a:gd name="T36" fmla="*/ 212 w 253"/>
                  <a:gd name="T37" fmla="*/ 134 h 295"/>
                  <a:gd name="T38" fmla="*/ 205 w 253"/>
                  <a:gd name="T39" fmla="*/ 132 h 295"/>
                  <a:gd name="T40" fmla="*/ 200 w 253"/>
                  <a:gd name="T41" fmla="*/ 128 h 295"/>
                  <a:gd name="T42" fmla="*/ 192 w 253"/>
                  <a:gd name="T43" fmla="*/ 128 h 295"/>
                  <a:gd name="T44" fmla="*/ 190 w 253"/>
                  <a:gd name="T45" fmla="*/ 136 h 295"/>
                  <a:gd name="T46" fmla="*/ 183 w 253"/>
                  <a:gd name="T47" fmla="*/ 139 h 295"/>
                  <a:gd name="T48" fmla="*/ 176 w 253"/>
                  <a:gd name="T49" fmla="*/ 136 h 295"/>
                  <a:gd name="T50" fmla="*/ 164 w 253"/>
                  <a:gd name="T51" fmla="*/ 138 h 295"/>
                  <a:gd name="T52" fmla="*/ 157 w 253"/>
                  <a:gd name="T53" fmla="*/ 140 h 295"/>
                  <a:gd name="T54" fmla="*/ 137 w 253"/>
                  <a:gd name="T55" fmla="*/ 147 h 295"/>
                  <a:gd name="T56" fmla="*/ 137 w 253"/>
                  <a:gd name="T57" fmla="*/ 152 h 295"/>
                  <a:gd name="T58" fmla="*/ 120 w 253"/>
                  <a:gd name="T59" fmla="*/ 165 h 295"/>
                  <a:gd name="T60" fmla="*/ 115 w 253"/>
                  <a:gd name="T61" fmla="*/ 166 h 295"/>
                  <a:gd name="T62" fmla="*/ 108 w 253"/>
                  <a:gd name="T63" fmla="*/ 169 h 295"/>
                  <a:gd name="T64" fmla="*/ 98 w 253"/>
                  <a:gd name="T65" fmla="*/ 186 h 295"/>
                  <a:gd name="T66" fmla="*/ 108 w 253"/>
                  <a:gd name="T67" fmla="*/ 185 h 295"/>
                  <a:gd name="T68" fmla="*/ 111 w 253"/>
                  <a:gd name="T69" fmla="*/ 204 h 295"/>
                  <a:gd name="T70" fmla="*/ 134 w 253"/>
                  <a:gd name="T71" fmla="*/ 224 h 295"/>
                  <a:gd name="T72" fmla="*/ 137 w 253"/>
                  <a:gd name="T73" fmla="*/ 235 h 295"/>
                  <a:gd name="T74" fmla="*/ 139 w 253"/>
                  <a:gd name="T75" fmla="*/ 295 h 295"/>
                  <a:gd name="T76" fmla="*/ 67 w 253"/>
                  <a:gd name="T77" fmla="*/ 274 h 295"/>
                  <a:gd name="T78" fmla="*/ 80 w 253"/>
                  <a:gd name="T79" fmla="*/ 259 h 295"/>
                  <a:gd name="T80" fmla="*/ 67 w 253"/>
                  <a:gd name="T81" fmla="*/ 246 h 295"/>
                  <a:gd name="T82" fmla="*/ 37 w 253"/>
                  <a:gd name="T83" fmla="*/ 219 h 295"/>
                  <a:gd name="T84" fmla="*/ 32 w 253"/>
                  <a:gd name="T85" fmla="*/ 212 h 295"/>
                  <a:gd name="T86" fmla="*/ 27 w 253"/>
                  <a:gd name="T87" fmla="*/ 209 h 295"/>
                  <a:gd name="T88" fmla="*/ 26 w 253"/>
                  <a:gd name="T89" fmla="*/ 202 h 295"/>
                  <a:gd name="T90" fmla="*/ 16 w 253"/>
                  <a:gd name="T91" fmla="*/ 197 h 295"/>
                  <a:gd name="T92" fmla="*/ 16 w 253"/>
                  <a:gd name="T93" fmla="*/ 207 h 295"/>
                  <a:gd name="T94" fmla="*/ 5 w 253"/>
                  <a:gd name="T95" fmla="*/ 207 h 295"/>
                  <a:gd name="T96" fmla="*/ 1 w 253"/>
                  <a:gd name="T97" fmla="*/ 218 h 295"/>
                  <a:gd name="connsiteX0" fmla="*/ 6171 w 10440"/>
                  <a:gd name="connsiteY0" fmla="*/ 317 h 9944"/>
                  <a:gd name="connsiteX1" fmla="*/ 6369 w 10440"/>
                  <a:gd name="connsiteY1" fmla="*/ 46 h 9944"/>
                  <a:gd name="connsiteX2" fmla="*/ 7515 w 10440"/>
                  <a:gd name="connsiteY2" fmla="*/ 249 h 9944"/>
                  <a:gd name="connsiteX3" fmla="*/ 7831 w 10440"/>
                  <a:gd name="connsiteY3" fmla="*/ 520 h 9944"/>
                  <a:gd name="connsiteX4" fmla="*/ 8187 w 10440"/>
                  <a:gd name="connsiteY4" fmla="*/ 893 h 9944"/>
                  <a:gd name="connsiteX5" fmla="*/ 7950 w 10440"/>
                  <a:gd name="connsiteY5" fmla="*/ 1097 h 9944"/>
                  <a:gd name="connsiteX6" fmla="*/ 9294 w 10440"/>
                  <a:gd name="connsiteY6" fmla="*/ 1503 h 9944"/>
                  <a:gd name="connsiteX7" fmla="*/ 9610 w 10440"/>
                  <a:gd name="connsiteY7" fmla="*/ 1469 h 9944"/>
                  <a:gd name="connsiteX8" fmla="*/ 9689 w 10440"/>
                  <a:gd name="connsiteY8" fmla="*/ 1707 h 9944"/>
                  <a:gd name="connsiteX9" fmla="*/ 9570 w 10440"/>
                  <a:gd name="connsiteY9" fmla="*/ 2249 h 9944"/>
                  <a:gd name="connsiteX10" fmla="*/ 9808 w 10440"/>
                  <a:gd name="connsiteY10" fmla="*/ 2554 h 9944"/>
                  <a:gd name="connsiteX11" fmla="*/ 9808 w 10440"/>
                  <a:gd name="connsiteY11" fmla="*/ 2995 h 9944"/>
                  <a:gd name="connsiteX12" fmla="*/ 9966 w 10440"/>
                  <a:gd name="connsiteY12" fmla="*/ 3164 h 9944"/>
                  <a:gd name="connsiteX13" fmla="*/ 10440 w 10440"/>
                  <a:gd name="connsiteY13" fmla="*/ 4080 h 9944"/>
                  <a:gd name="connsiteX14" fmla="*/ 10124 w 10440"/>
                  <a:gd name="connsiteY14" fmla="*/ 4351 h 9944"/>
                  <a:gd name="connsiteX15" fmla="*/ 9966 w 10440"/>
                  <a:gd name="connsiteY15" fmla="*/ 4317 h 9944"/>
                  <a:gd name="connsiteX16" fmla="*/ 9768 w 10440"/>
                  <a:gd name="connsiteY16" fmla="*/ 4520 h 9944"/>
                  <a:gd name="connsiteX17" fmla="*/ 8938 w 10440"/>
                  <a:gd name="connsiteY17" fmla="*/ 4622 h 9944"/>
                  <a:gd name="connsiteX18" fmla="*/ 8819 w 10440"/>
                  <a:gd name="connsiteY18" fmla="*/ 4486 h 9944"/>
                  <a:gd name="connsiteX19" fmla="*/ 8543 w 10440"/>
                  <a:gd name="connsiteY19" fmla="*/ 4419 h 9944"/>
                  <a:gd name="connsiteX20" fmla="*/ 8345 w 10440"/>
                  <a:gd name="connsiteY20" fmla="*/ 4283 h 9944"/>
                  <a:gd name="connsiteX21" fmla="*/ 8029 w 10440"/>
                  <a:gd name="connsiteY21" fmla="*/ 4283 h 9944"/>
                  <a:gd name="connsiteX22" fmla="*/ 7950 w 10440"/>
                  <a:gd name="connsiteY22" fmla="*/ 4554 h 9944"/>
                  <a:gd name="connsiteX23" fmla="*/ 7673 w 10440"/>
                  <a:gd name="connsiteY23" fmla="*/ 4656 h 9944"/>
                  <a:gd name="connsiteX24" fmla="*/ 7397 w 10440"/>
                  <a:gd name="connsiteY24" fmla="*/ 4554 h 9944"/>
                  <a:gd name="connsiteX25" fmla="*/ 6922 w 10440"/>
                  <a:gd name="connsiteY25" fmla="*/ 4622 h 9944"/>
                  <a:gd name="connsiteX26" fmla="*/ 6646 w 10440"/>
                  <a:gd name="connsiteY26" fmla="*/ 4690 h 9944"/>
                  <a:gd name="connsiteX27" fmla="*/ 5855 w 10440"/>
                  <a:gd name="connsiteY27" fmla="*/ 4927 h 9944"/>
                  <a:gd name="connsiteX28" fmla="*/ 5855 w 10440"/>
                  <a:gd name="connsiteY28" fmla="*/ 5097 h 9944"/>
                  <a:gd name="connsiteX29" fmla="*/ 5183 w 10440"/>
                  <a:gd name="connsiteY29" fmla="*/ 5537 h 9944"/>
                  <a:gd name="connsiteX30" fmla="*/ 4985 w 10440"/>
                  <a:gd name="connsiteY30" fmla="*/ 5571 h 9944"/>
                  <a:gd name="connsiteX31" fmla="*/ 4709 w 10440"/>
                  <a:gd name="connsiteY31" fmla="*/ 5673 h 9944"/>
                  <a:gd name="connsiteX32" fmla="*/ 4314 w 10440"/>
                  <a:gd name="connsiteY32" fmla="*/ 6249 h 9944"/>
                  <a:gd name="connsiteX33" fmla="*/ 4709 w 10440"/>
                  <a:gd name="connsiteY33" fmla="*/ 6215 h 9944"/>
                  <a:gd name="connsiteX34" fmla="*/ 4827 w 10440"/>
                  <a:gd name="connsiteY34" fmla="*/ 6859 h 9944"/>
                  <a:gd name="connsiteX35" fmla="*/ 5736 w 10440"/>
                  <a:gd name="connsiteY35" fmla="*/ 7537 h 9944"/>
                  <a:gd name="connsiteX36" fmla="*/ 5855 w 10440"/>
                  <a:gd name="connsiteY36" fmla="*/ 7910 h 9944"/>
                  <a:gd name="connsiteX37" fmla="*/ 5934 w 10440"/>
                  <a:gd name="connsiteY37" fmla="*/ 9944 h 9944"/>
                  <a:gd name="connsiteX38" fmla="*/ 3088 w 10440"/>
                  <a:gd name="connsiteY38" fmla="*/ 9232 h 9944"/>
                  <a:gd name="connsiteX39" fmla="*/ 3602 w 10440"/>
                  <a:gd name="connsiteY39" fmla="*/ 8724 h 9944"/>
                  <a:gd name="connsiteX40" fmla="*/ 3088 w 10440"/>
                  <a:gd name="connsiteY40" fmla="*/ 8283 h 9944"/>
                  <a:gd name="connsiteX41" fmla="*/ 1902 w 10440"/>
                  <a:gd name="connsiteY41" fmla="*/ 7368 h 9944"/>
                  <a:gd name="connsiteX42" fmla="*/ 1705 w 10440"/>
                  <a:gd name="connsiteY42" fmla="*/ 7130 h 9944"/>
                  <a:gd name="connsiteX43" fmla="*/ 1507 w 10440"/>
                  <a:gd name="connsiteY43" fmla="*/ 7029 h 9944"/>
                  <a:gd name="connsiteX44" fmla="*/ 1468 w 10440"/>
                  <a:gd name="connsiteY44" fmla="*/ 6791 h 9944"/>
                  <a:gd name="connsiteX45" fmla="*/ 1072 w 10440"/>
                  <a:gd name="connsiteY45" fmla="*/ 6622 h 9944"/>
                  <a:gd name="connsiteX46" fmla="*/ 1072 w 10440"/>
                  <a:gd name="connsiteY46" fmla="*/ 6961 h 9944"/>
                  <a:gd name="connsiteX47" fmla="*/ 638 w 10440"/>
                  <a:gd name="connsiteY47" fmla="*/ 6961 h 9944"/>
                  <a:gd name="connsiteX48" fmla="*/ 2 w 10440"/>
                  <a:gd name="connsiteY48" fmla="*/ 7042 h 9944"/>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1027 w 10000"/>
                  <a:gd name="connsiteY46" fmla="*/ 7000 h 10000"/>
                  <a:gd name="connsiteX47" fmla="*/ 528 w 10000"/>
                  <a:gd name="connsiteY47" fmla="*/ 6817 h 10000"/>
                  <a:gd name="connsiteX48" fmla="*/ 2 w 10000"/>
                  <a:gd name="connsiteY48" fmla="*/ 7082 h 10000"/>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902 w 10000"/>
                  <a:gd name="connsiteY46" fmla="*/ 6688 h 10000"/>
                  <a:gd name="connsiteX47" fmla="*/ 528 w 10000"/>
                  <a:gd name="connsiteY47" fmla="*/ 6817 h 10000"/>
                  <a:gd name="connsiteX48" fmla="*/ 2 w 10000"/>
                  <a:gd name="connsiteY48" fmla="*/ 7082 h 10000"/>
                  <a:gd name="connsiteX0" fmla="*/ 5911 w 10000"/>
                  <a:gd name="connsiteY0" fmla="*/ 319 h 9651"/>
                  <a:gd name="connsiteX1" fmla="*/ 6101 w 10000"/>
                  <a:gd name="connsiteY1" fmla="*/ 46 h 9651"/>
                  <a:gd name="connsiteX2" fmla="*/ 7198 w 10000"/>
                  <a:gd name="connsiteY2" fmla="*/ 250 h 9651"/>
                  <a:gd name="connsiteX3" fmla="*/ 7501 w 10000"/>
                  <a:gd name="connsiteY3" fmla="*/ 523 h 9651"/>
                  <a:gd name="connsiteX4" fmla="*/ 7842 w 10000"/>
                  <a:gd name="connsiteY4" fmla="*/ 898 h 9651"/>
                  <a:gd name="connsiteX5" fmla="*/ 7615 w 10000"/>
                  <a:gd name="connsiteY5" fmla="*/ 1103 h 9651"/>
                  <a:gd name="connsiteX6" fmla="*/ 8902 w 10000"/>
                  <a:gd name="connsiteY6" fmla="*/ 1511 h 9651"/>
                  <a:gd name="connsiteX7" fmla="*/ 9205 w 10000"/>
                  <a:gd name="connsiteY7" fmla="*/ 1477 h 9651"/>
                  <a:gd name="connsiteX8" fmla="*/ 9281 w 10000"/>
                  <a:gd name="connsiteY8" fmla="*/ 1717 h 9651"/>
                  <a:gd name="connsiteX9" fmla="*/ 9167 w 10000"/>
                  <a:gd name="connsiteY9" fmla="*/ 2262 h 9651"/>
                  <a:gd name="connsiteX10" fmla="*/ 9395 w 10000"/>
                  <a:gd name="connsiteY10" fmla="*/ 2568 h 9651"/>
                  <a:gd name="connsiteX11" fmla="*/ 9395 w 10000"/>
                  <a:gd name="connsiteY11" fmla="*/ 3012 h 9651"/>
                  <a:gd name="connsiteX12" fmla="*/ 9546 w 10000"/>
                  <a:gd name="connsiteY12" fmla="*/ 3182 h 9651"/>
                  <a:gd name="connsiteX13" fmla="*/ 10000 w 10000"/>
                  <a:gd name="connsiteY13" fmla="*/ 4103 h 9651"/>
                  <a:gd name="connsiteX14" fmla="*/ 9697 w 10000"/>
                  <a:gd name="connsiteY14" fmla="*/ 4376 h 9651"/>
                  <a:gd name="connsiteX15" fmla="*/ 9546 w 10000"/>
                  <a:gd name="connsiteY15" fmla="*/ 4341 h 9651"/>
                  <a:gd name="connsiteX16" fmla="*/ 9356 w 10000"/>
                  <a:gd name="connsiteY16" fmla="*/ 4545 h 9651"/>
                  <a:gd name="connsiteX17" fmla="*/ 8561 w 10000"/>
                  <a:gd name="connsiteY17" fmla="*/ 4648 h 9651"/>
                  <a:gd name="connsiteX18" fmla="*/ 8447 w 10000"/>
                  <a:gd name="connsiteY18" fmla="*/ 4511 h 9651"/>
                  <a:gd name="connsiteX19" fmla="*/ 8183 w 10000"/>
                  <a:gd name="connsiteY19" fmla="*/ 4444 h 9651"/>
                  <a:gd name="connsiteX20" fmla="*/ 7993 w 10000"/>
                  <a:gd name="connsiteY20" fmla="*/ 4307 h 9651"/>
                  <a:gd name="connsiteX21" fmla="*/ 7691 w 10000"/>
                  <a:gd name="connsiteY21" fmla="*/ 4307 h 9651"/>
                  <a:gd name="connsiteX22" fmla="*/ 7615 w 10000"/>
                  <a:gd name="connsiteY22" fmla="*/ 4580 h 9651"/>
                  <a:gd name="connsiteX23" fmla="*/ 7350 w 10000"/>
                  <a:gd name="connsiteY23" fmla="*/ 4682 h 9651"/>
                  <a:gd name="connsiteX24" fmla="*/ 7085 w 10000"/>
                  <a:gd name="connsiteY24" fmla="*/ 4580 h 9651"/>
                  <a:gd name="connsiteX25" fmla="*/ 6630 w 10000"/>
                  <a:gd name="connsiteY25" fmla="*/ 4648 h 9651"/>
                  <a:gd name="connsiteX26" fmla="*/ 6366 w 10000"/>
                  <a:gd name="connsiteY26" fmla="*/ 4716 h 9651"/>
                  <a:gd name="connsiteX27" fmla="*/ 5608 w 10000"/>
                  <a:gd name="connsiteY27" fmla="*/ 4955 h 9651"/>
                  <a:gd name="connsiteX28" fmla="*/ 5608 w 10000"/>
                  <a:gd name="connsiteY28" fmla="*/ 5126 h 9651"/>
                  <a:gd name="connsiteX29" fmla="*/ 4965 w 10000"/>
                  <a:gd name="connsiteY29" fmla="*/ 5568 h 9651"/>
                  <a:gd name="connsiteX30" fmla="*/ 4775 w 10000"/>
                  <a:gd name="connsiteY30" fmla="*/ 5602 h 9651"/>
                  <a:gd name="connsiteX31" fmla="*/ 4511 w 10000"/>
                  <a:gd name="connsiteY31" fmla="*/ 5705 h 9651"/>
                  <a:gd name="connsiteX32" fmla="*/ 4132 w 10000"/>
                  <a:gd name="connsiteY32" fmla="*/ 6284 h 9651"/>
                  <a:gd name="connsiteX33" fmla="*/ 4511 w 10000"/>
                  <a:gd name="connsiteY33" fmla="*/ 6250 h 9651"/>
                  <a:gd name="connsiteX34" fmla="*/ 4624 w 10000"/>
                  <a:gd name="connsiteY34" fmla="*/ 6898 h 9651"/>
                  <a:gd name="connsiteX35" fmla="*/ 5494 w 10000"/>
                  <a:gd name="connsiteY35" fmla="*/ 7579 h 9651"/>
                  <a:gd name="connsiteX36" fmla="*/ 5608 w 10000"/>
                  <a:gd name="connsiteY36" fmla="*/ 7955 h 9651"/>
                  <a:gd name="connsiteX37" fmla="*/ 5726 w 10000"/>
                  <a:gd name="connsiteY37" fmla="*/ 9651 h 9651"/>
                  <a:gd name="connsiteX38" fmla="*/ 2958 w 10000"/>
                  <a:gd name="connsiteY38" fmla="*/ 9284 h 9651"/>
                  <a:gd name="connsiteX39" fmla="*/ 3450 w 10000"/>
                  <a:gd name="connsiteY39" fmla="*/ 8773 h 9651"/>
                  <a:gd name="connsiteX40" fmla="*/ 2958 w 10000"/>
                  <a:gd name="connsiteY40" fmla="*/ 8330 h 9651"/>
                  <a:gd name="connsiteX41" fmla="*/ 1822 w 10000"/>
                  <a:gd name="connsiteY41" fmla="*/ 7409 h 9651"/>
                  <a:gd name="connsiteX42" fmla="*/ 1633 w 10000"/>
                  <a:gd name="connsiteY42" fmla="*/ 7170 h 9651"/>
                  <a:gd name="connsiteX43" fmla="*/ 1443 w 10000"/>
                  <a:gd name="connsiteY43" fmla="*/ 7069 h 9651"/>
                  <a:gd name="connsiteX44" fmla="*/ 1406 w 10000"/>
                  <a:gd name="connsiteY44" fmla="*/ 6829 h 9651"/>
                  <a:gd name="connsiteX45" fmla="*/ 1027 w 10000"/>
                  <a:gd name="connsiteY45" fmla="*/ 6659 h 9651"/>
                  <a:gd name="connsiteX46" fmla="*/ 902 w 10000"/>
                  <a:gd name="connsiteY46" fmla="*/ 6688 h 9651"/>
                  <a:gd name="connsiteX47" fmla="*/ 528 w 10000"/>
                  <a:gd name="connsiteY47" fmla="*/ 6817 h 9651"/>
                  <a:gd name="connsiteX48" fmla="*/ 2 w 10000"/>
                  <a:gd name="connsiteY48" fmla="*/ 7082 h 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00" h="9651">
                    <a:moveTo>
                      <a:pt x="5911" y="319"/>
                    </a:moveTo>
                    <a:cubicBezTo>
                      <a:pt x="5987" y="216"/>
                      <a:pt x="6062" y="148"/>
                      <a:pt x="6101" y="46"/>
                    </a:cubicBezTo>
                    <a:cubicBezTo>
                      <a:pt x="6479" y="-56"/>
                      <a:pt x="6933" y="12"/>
                      <a:pt x="7198" y="250"/>
                    </a:cubicBezTo>
                    <a:cubicBezTo>
                      <a:pt x="7312" y="319"/>
                      <a:pt x="7425" y="421"/>
                      <a:pt x="7501" y="523"/>
                    </a:cubicBezTo>
                    <a:cubicBezTo>
                      <a:pt x="7615" y="660"/>
                      <a:pt x="7728" y="762"/>
                      <a:pt x="7842" y="898"/>
                    </a:cubicBezTo>
                    <a:cubicBezTo>
                      <a:pt x="7728" y="898"/>
                      <a:pt x="7615" y="1001"/>
                      <a:pt x="7615" y="1103"/>
                    </a:cubicBezTo>
                    <a:cubicBezTo>
                      <a:pt x="8069" y="1171"/>
                      <a:pt x="8447" y="1648"/>
                      <a:pt x="8902" y="1511"/>
                    </a:cubicBezTo>
                    <a:cubicBezTo>
                      <a:pt x="8978" y="1477"/>
                      <a:pt x="9091" y="1444"/>
                      <a:pt x="9205" y="1477"/>
                    </a:cubicBezTo>
                    <a:cubicBezTo>
                      <a:pt x="9281" y="1546"/>
                      <a:pt x="9281" y="1614"/>
                      <a:pt x="9281" y="1717"/>
                    </a:cubicBezTo>
                    <a:cubicBezTo>
                      <a:pt x="9281" y="1887"/>
                      <a:pt x="9242" y="2092"/>
                      <a:pt x="9167" y="2262"/>
                    </a:cubicBezTo>
                    <a:cubicBezTo>
                      <a:pt x="9319" y="2227"/>
                      <a:pt x="9432" y="2433"/>
                      <a:pt x="9395" y="2568"/>
                    </a:cubicBezTo>
                    <a:cubicBezTo>
                      <a:pt x="9395" y="2739"/>
                      <a:pt x="9319" y="2875"/>
                      <a:pt x="9395" y="3012"/>
                    </a:cubicBezTo>
                    <a:cubicBezTo>
                      <a:pt x="9395" y="3080"/>
                      <a:pt x="9470" y="3148"/>
                      <a:pt x="9546" y="3182"/>
                    </a:cubicBezTo>
                    <a:cubicBezTo>
                      <a:pt x="9773" y="3421"/>
                      <a:pt x="9962" y="3762"/>
                      <a:pt x="10000" y="4103"/>
                    </a:cubicBezTo>
                    <a:cubicBezTo>
                      <a:pt x="9849" y="4035"/>
                      <a:pt x="9849" y="4341"/>
                      <a:pt x="9697" y="4376"/>
                    </a:cubicBezTo>
                    <a:cubicBezTo>
                      <a:pt x="9659" y="4376"/>
                      <a:pt x="9622" y="4341"/>
                      <a:pt x="9546" y="4341"/>
                    </a:cubicBezTo>
                    <a:cubicBezTo>
                      <a:pt x="9432" y="4341"/>
                      <a:pt x="9395" y="4477"/>
                      <a:pt x="9356" y="4545"/>
                    </a:cubicBezTo>
                    <a:cubicBezTo>
                      <a:pt x="9242" y="4852"/>
                      <a:pt x="8751" y="4886"/>
                      <a:pt x="8561" y="4648"/>
                    </a:cubicBezTo>
                    <a:cubicBezTo>
                      <a:pt x="8523" y="4580"/>
                      <a:pt x="8486" y="4545"/>
                      <a:pt x="8447" y="4511"/>
                    </a:cubicBezTo>
                    <a:cubicBezTo>
                      <a:pt x="8372" y="4444"/>
                      <a:pt x="8259" y="4477"/>
                      <a:pt x="8183" y="4444"/>
                    </a:cubicBezTo>
                    <a:cubicBezTo>
                      <a:pt x="8069" y="4444"/>
                      <a:pt x="7956" y="4376"/>
                      <a:pt x="7993" y="4307"/>
                    </a:cubicBezTo>
                    <a:cubicBezTo>
                      <a:pt x="7918" y="4239"/>
                      <a:pt x="7766" y="4239"/>
                      <a:pt x="7691" y="4307"/>
                    </a:cubicBezTo>
                    <a:cubicBezTo>
                      <a:pt x="7577" y="4376"/>
                      <a:pt x="7539" y="4511"/>
                      <a:pt x="7615" y="4580"/>
                    </a:cubicBezTo>
                    <a:cubicBezTo>
                      <a:pt x="7577" y="4682"/>
                      <a:pt x="7464" y="4716"/>
                      <a:pt x="7350" y="4682"/>
                    </a:cubicBezTo>
                    <a:cubicBezTo>
                      <a:pt x="7274" y="4682"/>
                      <a:pt x="7161" y="4614"/>
                      <a:pt x="7085" y="4580"/>
                    </a:cubicBezTo>
                    <a:cubicBezTo>
                      <a:pt x="6933" y="4545"/>
                      <a:pt x="6782" y="4580"/>
                      <a:pt x="6630" y="4648"/>
                    </a:cubicBezTo>
                    <a:cubicBezTo>
                      <a:pt x="6555" y="4682"/>
                      <a:pt x="6479" y="4682"/>
                      <a:pt x="6366" y="4716"/>
                    </a:cubicBezTo>
                    <a:cubicBezTo>
                      <a:pt x="6138" y="4785"/>
                      <a:pt x="5874" y="4886"/>
                      <a:pt x="5608" y="4955"/>
                    </a:cubicBezTo>
                    <a:lnTo>
                      <a:pt x="5608" y="5126"/>
                    </a:lnTo>
                    <a:cubicBezTo>
                      <a:pt x="5343" y="5057"/>
                      <a:pt x="5230" y="5500"/>
                      <a:pt x="4965" y="5568"/>
                    </a:cubicBezTo>
                    <a:cubicBezTo>
                      <a:pt x="4927" y="5602"/>
                      <a:pt x="4852" y="5602"/>
                      <a:pt x="4775" y="5602"/>
                    </a:cubicBezTo>
                    <a:cubicBezTo>
                      <a:pt x="4699" y="5637"/>
                      <a:pt x="4624" y="5671"/>
                      <a:pt x="4511" y="5705"/>
                    </a:cubicBezTo>
                    <a:cubicBezTo>
                      <a:pt x="4284" y="5808"/>
                      <a:pt x="4018" y="6046"/>
                      <a:pt x="4132" y="6284"/>
                    </a:cubicBezTo>
                    <a:cubicBezTo>
                      <a:pt x="4245" y="6250"/>
                      <a:pt x="4397" y="6250"/>
                      <a:pt x="4511" y="6250"/>
                    </a:cubicBezTo>
                    <a:cubicBezTo>
                      <a:pt x="4435" y="6455"/>
                      <a:pt x="4472" y="6728"/>
                      <a:pt x="4624" y="6898"/>
                    </a:cubicBezTo>
                    <a:cubicBezTo>
                      <a:pt x="4852" y="7170"/>
                      <a:pt x="5306" y="7273"/>
                      <a:pt x="5494" y="7579"/>
                    </a:cubicBezTo>
                    <a:cubicBezTo>
                      <a:pt x="5570" y="7682"/>
                      <a:pt x="5570" y="7819"/>
                      <a:pt x="5608" y="7955"/>
                    </a:cubicBezTo>
                    <a:cubicBezTo>
                      <a:pt x="5647" y="8636"/>
                      <a:pt x="5726" y="8969"/>
                      <a:pt x="5726" y="9651"/>
                    </a:cubicBezTo>
                    <a:lnTo>
                      <a:pt x="2958" y="9284"/>
                    </a:lnTo>
                    <a:cubicBezTo>
                      <a:pt x="3185" y="9148"/>
                      <a:pt x="3450" y="9011"/>
                      <a:pt x="3450" y="8773"/>
                    </a:cubicBezTo>
                    <a:cubicBezTo>
                      <a:pt x="3413" y="8568"/>
                      <a:pt x="3185" y="8432"/>
                      <a:pt x="2958" y="8330"/>
                    </a:cubicBezTo>
                    <a:cubicBezTo>
                      <a:pt x="2504" y="8091"/>
                      <a:pt x="2011" y="7852"/>
                      <a:pt x="1822" y="7409"/>
                    </a:cubicBezTo>
                    <a:cubicBezTo>
                      <a:pt x="1784" y="7307"/>
                      <a:pt x="1746" y="7204"/>
                      <a:pt x="1633" y="7170"/>
                    </a:cubicBezTo>
                    <a:cubicBezTo>
                      <a:pt x="1595" y="7137"/>
                      <a:pt x="1482" y="7103"/>
                      <a:pt x="1443" y="7069"/>
                    </a:cubicBezTo>
                    <a:cubicBezTo>
                      <a:pt x="1406" y="7000"/>
                      <a:pt x="1406" y="6932"/>
                      <a:pt x="1406" y="6829"/>
                    </a:cubicBezTo>
                    <a:cubicBezTo>
                      <a:pt x="1368" y="6693"/>
                      <a:pt x="1111" y="6683"/>
                      <a:pt x="1027" y="6659"/>
                    </a:cubicBezTo>
                    <a:cubicBezTo>
                      <a:pt x="943" y="6636"/>
                      <a:pt x="944" y="6678"/>
                      <a:pt x="902" y="6688"/>
                    </a:cubicBezTo>
                    <a:cubicBezTo>
                      <a:pt x="789" y="6620"/>
                      <a:pt x="641" y="6715"/>
                      <a:pt x="528" y="6817"/>
                    </a:cubicBezTo>
                    <a:cubicBezTo>
                      <a:pt x="377" y="6886"/>
                      <a:pt x="-36" y="6945"/>
                      <a:pt x="2" y="70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3" name="Freeform 66"/>
              <p:cNvSpPr>
                <a:spLocks/>
              </p:cNvSpPr>
              <p:nvPr/>
            </p:nvSpPr>
            <p:spPr bwMode="auto">
              <a:xfrm>
                <a:off x="6171996" y="3011566"/>
                <a:ext cx="18402" cy="181915"/>
              </a:xfrm>
              <a:custGeom>
                <a:avLst/>
                <a:gdLst>
                  <a:gd name="T0" fmla="*/ 0 w 4"/>
                  <a:gd name="T1" fmla="*/ 0 h 41"/>
                  <a:gd name="T2" fmla="*/ 2 w 4"/>
                  <a:gd name="T3" fmla="*/ 27 h 41"/>
                  <a:gd name="T4" fmla="*/ 3 w 4"/>
                  <a:gd name="T5" fmla="*/ 32 h 41"/>
                  <a:gd name="T6" fmla="*/ 0 w 4"/>
                  <a:gd name="T7" fmla="*/ 41 h 41"/>
                </a:gdLst>
                <a:ahLst/>
                <a:cxnLst>
                  <a:cxn ang="0">
                    <a:pos x="T0" y="T1"/>
                  </a:cxn>
                  <a:cxn ang="0">
                    <a:pos x="T2" y="T3"/>
                  </a:cxn>
                  <a:cxn ang="0">
                    <a:pos x="T4" y="T5"/>
                  </a:cxn>
                  <a:cxn ang="0">
                    <a:pos x="T6" y="T7"/>
                  </a:cxn>
                </a:cxnLst>
                <a:rect l="0" t="0" r="r" b="b"/>
                <a:pathLst>
                  <a:path w="4" h="41">
                    <a:moveTo>
                      <a:pt x="0" y="0"/>
                    </a:moveTo>
                    <a:cubicBezTo>
                      <a:pt x="1" y="9"/>
                      <a:pt x="1" y="18"/>
                      <a:pt x="2" y="27"/>
                    </a:cubicBezTo>
                    <a:cubicBezTo>
                      <a:pt x="2" y="29"/>
                      <a:pt x="2" y="31"/>
                      <a:pt x="3" y="32"/>
                    </a:cubicBezTo>
                    <a:cubicBezTo>
                      <a:pt x="4" y="34"/>
                      <a:pt x="2" y="40"/>
                      <a:pt x="0" y="41"/>
                    </a:cubicBezTo>
                  </a:path>
                </a:pathLst>
              </a:custGeom>
              <a:solidFill>
                <a:srgbClr val="ABABAB"/>
              </a:solidFill>
              <a:ln w="15875" cap="rnd">
                <a:solidFill>
                  <a:schemeClr val="accent2"/>
                </a:solidFill>
                <a:prstDash val="solid"/>
                <a:round/>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4" name="Freeform 67"/>
              <p:cNvSpPr>
                <a:spLocks/>
              </p:cNvSpPr>
              <p:nvPr/>
            </p:nvSpPr>
            <p:spPr bwMode="auto">
              <a:xfrm>
                <a:off x="6184877" y="3047199"/>
                <a:ext cx="143534" cy="142531"/>
              </a:xfrm>
              <a:custGeom>
                <a:avLst/>
                <a:gdLst>
                  <a:gd name="T0" fmla="*/ 0 w 33"/>
                  <a:gd name="T1" fmla="*/ 28 h 32"/>
                  <a:gd name="T2" fmla="*/ 6 w 33"/>
                  <a:gd name="T3" fmla="*/ 29 h 32"/>
                  <a:gd name="T4" fmla="*/ 10 w 33"/>
                  <a:gd name="T5" fmla="*/ 31 h 32"/>
                  <a:gd name="T6" fmla="*/ 18 w 33"/>
                  <a:gd name="T7" fmla="*/ 29 h 32"/>
                  <a:gd name="T8" fmla="*/ 25 w 33"/>
                  <a:gd name="T9" fmla="*/ 25 h 32"/>
                  <a:gd name="T10" fmla="*/ 28 w 33"/>
                  <a:gd name="T11" fmla="*/ 23 h 32"/>
                  <a:gd name="T12" fmla="*/ 29 w 33"/>
                  <a:gd name="T13" fmla="*/ 19 h 32"/>
                  <a:gd name="T14" fmla="*/ 32 w 33"/>
                  <a:gd name="T15" fmla="*/ 13 h 32"/>
                  <a:gd name="T16" fmla="*/ 28 w 33"/>
                  <a:gd name="T17" fmla="*/ 6 h 32"/>
                  <a:gd name="T18" fmla="*/ 21 w 33"/>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0" y="28"/>
                    </a:moveTo>
                    <a:cubicBezTo>
                      <a:pt x="2" y="28"/>
                      <a:pt x="4" y="28"/>
                      <a:pt x="6" y="29"/>
                    </a:cubicBezTo>
                    <a:cubicBezTo>
                      <a:pt x="7" y="30"/>
                      <a:pt x="8" y="31"/>
                      <a:pt x="10" y="31"/>
                    </a:cubicBezTo>
                    <a:cubicBezTo>
                      <a:pt x="13" y="32"/>
                      <a:pt x="15" y="31"/>
                      <a:pt x="18" y="29"/>
                    </a:cubicBezTo>
                    <a:cubicBezTo>
                      <a:pt x="20" y="28"/>
                      <a:pt x="23" y="27"/>
                      <a:pt x="25" y="25"/>
                    </a:cubicBezTo>
                    <a:cubicBezTo>
                      <a:pt x="26" y="25"/>
                      <a:pt x="27" y="24"/>
                      <a:pt x="28" y="23"/>
                    </a:cubicBezTo>
                    <a:cubicBezTo>
                      <a:pt x="29" y="22"/>
                      <a:pt x="28" y="20"/>
                      <a:pt x="29" y="19"/>
                    </a:cubicBezTo>
                    <a:cubicBezTo>
                      <a:pt x="29" y="17"/>
                      <a:pt x="32" y="15"/>
                      <a:pt x="32" y="13"/>
                    </a:cubicBezTo>
                    <a:cubicBezTo>
                      <a:pt x="33" y="10"/>
                      <a:pt x="30" y="7"/>
                      <a:pt x="28" y="6"/>
                    </a:cubicBezTo>
                    <a:cubicBezTo>
                      <a:pt x="26" y="4"/>
                      <a:pt x="23" y="2"/>
                      <a:pt x="21"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5" name="Freeform 68"/>
              <p:cNvSpPr>
                <a:spLocks/>
              </p:cNvSpPr>
              <p:nvPr/>
            </p:nvSpPr>
            <p:spPr bwMode="auto">
              <a:xfrm>
                <a:off x="6293448" y="2900917"/>
                <a:ext cx="134333" cy="165036"/>
              </a:xfrm>
              <a:custGeom>
                <a:avLst/>
                <a:gdLst>
                  <a:gd name="T0" fmla="*/ 9 w 31"/>
                  <a:gd name="T1" fmla="*/ 0 h 37"/>
                  <a:gd name="T2" fmla="*/ 11 w 31"/>
                  <a:gd name="T3" fmla="*/ 7 h 37"/>
                  <a:gd name="T4" fmla="*/ 18 w 31"/>
                  <a:gd name="T5" fmla="*/ 11 h 37"/>
                  <a:gd name="T6" fmla="*/ 31 w 31"/>
                  <a:gd name="T7" fmla="*/ 30 h 37"/>
                  <a:gd name="T8" fmla="*/ 16 w 31"/>
                  <a:gd name="T9" fmla="*/ 30 h 37"/>
                  <a:gd name="T10" fmla="*/ 12 w 31"/>
                  <a:gd name="T11" fmla="*/ 31 h 37"/>
                  <a:gd name="T12" fmla="*/ 7 w 31"/>
                  <a:gd name="T13" fmla="*/ 33 h 37"/>
                  <a:gd name="T14" fmla="*/ 0 w 31"/>
                  <a:gd name="T15" fmla="*/ 36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7">
                    <a:moveTo>
                      <a:pt x="9" y="0"/>
                    </a:moveTo>
                    <a:cubicBezTo>
                      <a:pt x="8" y="2"/>
                      <a:pt x="9" y="5"/>
                      <a:pt x="11" y="7"/>
                    </a:cubicBezTo>
                    <a:cubicBezTo>
                      <a:pt x="13" y="9"/>
                      <a:pt x="16" y="10"/>
                      <a:pt x="18" y="11"/>
                    </a:cubicBezTo>
                    <a:cubicBezTo>
                      <a:pt x="26" y="14"/>
                      <a:pt x="31" y="22"/>
                      <a:pt x="31" y="30"/>
                    </a:cubicBezTo>
                    <a:cubicBezTo>
                      <a:pt x="26" y="30"/>
                      <a:pt x="21" y="30"/>
                      <a:pt x="16" y="30"/>
                    </a:cubicBezTo>
                    <a:cubicBezTo>
                      <a:pt x="14" y="30"/>
                      <a:pt x="13" y="30"/>
                      <a:pt x="12" y="31"/>
                    </a:cubicBezTo>
                    <a:cubicBezTo>
                      <a:pt x="10" y="31"/>
                      <a:pt x="9" y="33"/>
                      <a:pt x="7" y="33"/>
                    </a:cubicBezTo>
                    <a:cubicBezTo>
                      <a:pt x="5" y="34"/>
                      <a:pt x="1" y="37"/>
                      <a:pt x="0" y="3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6" name="Freeform 69"/>
              <p:cNvSpPr>
                <a:spLocks/>
              </p:cNvSpPr>
              <p:nvPr/>
            </p:nvSpPr>
            <p:spPr bwMode="auto">
              <a:xfrm>
                <a:off x="6324731" y="3118465"/>
                <a:ext cx="207940" cy="84393"/>
              </a:xfrm>
              <a:custGeom>
                <a:avLst/>
                <a:gdLst>
                  <a:gd name="T0" fmla="*/ 0 w 48"/>
                  <a:gd name="T1" fmla="*/ 1 h 19"/>
                  <a:gd name="T2" fmla="*/ 6 w 48"/>
                  <a:gd name="T3" fmla="*/ 2 h 19"/>
                  <a:gd name="T4" fmla="*/ 6 w 48"/>
                  <a:gd name="T5" fmla="*/ 4 h 19"/>
                  <a:gd name="T6" fmla="*/ 13 w 48"/>
                  <a:gd name="T7" fmla="*/ 10 h 19"/>
                  <a:gd name="T8" fmla="*/ 22 w 48"/>
                  <a:gd name="T9" fmla="*/ 11 h 19"/>
                  <a:gd name="T10" fmla="*/ 26 w 48"/>
                  <a:gd name="T11" fmla="*/ 14 h 19"/>
                  <a:gd name="T12" fmla="*/ 48 w 48"/>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8" h="19">
                    <a:moveTo>
                      <a:pt x="0" y="1"/>
                    </a:moveTo>
                    <a:cubicBezTo>
                      <a:pt x="2" y="1"/>
                      <a:pt x="5" y="0"/>
                      <a:pt x="6" y="2"/>
                    </a:cubicBezTo>
                    <a:cubicBezTo>
                      <a:pt x="7" y="3"/>
                      <a:pt x="6" y="4"/>
                      <a:pt x="6" y="4"/>
                    </a:cubicBezTo>
                    <a:cubicBezTo>
                      <a:pt x="6" y="8"/>
                      <a:pt x="10" y="9"/>
                      <a:pt x="13" y="10"/>
                    </a:cubicBezTo>
                    <a:cubicBezTo>
                      <a:pt x="16" y="10"/>
                      <a:pt x="19" y="9"/>
                      <a:pt x="22" y="11"/>
                    </a:cubicBezTo>
                    <a:cubicBezTo>
                      <a:pt x="23" y="12"/>
                      <a:pt x="24" y="13"/>
                      <a:pt x="26" y="14"/>
                    </a:cubicBezTo>
                    <a:cubicBezTo>
                      <a:pt x="32" y="19"/>
                      <a:pt x="40" y="18"/>
                      <a:pt x="48" y="1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7" name="Freeform 70"/>
              <p:cNvSpPr>
                <a:spLocks/>
              </p:cNvSpPr>
              <p:nvPr/>
            </p:nvSpPr>
            <p:spPr bwMode="auto">
              <a:xfrm>
                <a:off x="6427781" y="3037822"/>
                <a:ext cx="312831" cy="178164"/>
              </a:xfrm>
              <a:custGeom>
                <a:avLst/>
                <a:gdLst>
                  <a:gd name="T0" fmla="*/ 1 w 72"/>
                  <a:gd name="T1" fmla="*/ 0 h 40"/>
                  <a:gd name="T2" fmla="*/ 2 w 72"/>
                  <a:gd name="T3" fmla="*/ 5 h 40"/>
                  <a:gd name="T4" fmla="*/ 7 w 72"/>
                  <a:gd name="T5" fmla="*/ 7 h 40"/>
                  <a:gd name="T6" fmla="*/ 16 w 72"/>
                  <a:gd name="T7" fmla="*/ 11 h 40"/>
                  <a:gd name="T8" fmla="*/ 23 w 72"/>
                  <a:gd name="T9" fmla="*/ 12 h 40"/>
                  <a:gd name="T10" fmla="*/ 61 w 72"/>
                  <a:gd name="T11" fmla="*/ 27 h 40"/>
                  <a:gd name="T12" fmla="*/ 72 w 7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2" h="40">
                    <a:moveTo>
                      <a:pt x="1" y="0"/>
                    </a:moveTo>
                    <a:cubicBezTo>
                      <a:pt x="0" y="2"/>
                      <a:pt x="1" y="4"/>
                      <a:pt x="2" y="5"/>
                    </a:cubicBezTo>
                    <a:cubicBezTo>
                      <a:pt x="4" y="6"/>
                      <a:pt x="6" y="6"/>
                      <a:pt x="7" y="7"/>
                    </a:cubicBezTo>
                    <a:cubicBezTo>
                      <a:pt x="11" y="7"/>
                      <a:pt x="13" y="9"/>
                      <a:pt x="16" y="11"/>
                    </a:cubicBezTo>
                    <a:cubicBezTo>
                      <a:pt x="17" y="13"/>
                      <a:pt x="20" y="13"/>
                      <a:pt x="23" y="12"/>
                    </a:cubicBezTo>
                    <a:cubicBezTo>
                      <a:pt x="37" y="9"/>
                      <a:pt x="53" y="15"/>
                      <a:pt x="61" y="27"/>
                    </a:cubicBezTo>
                    <a:cubicBezTo>
                      <a:pt x="64" y="32"/>
                      <a:pt x="67" y="38"/>
                      <a:pt x="72" y="4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8" name="Freeform 71"/>
              <p:cNvSpPr>
                <a:spLocks/>
              </p:cNvSpPr>
              <p:nvPr/>
            </p:nvSpPr>
            <p:spPr bwMode="auto">
              <a:xfrm>
                <a:off x="6354174" y="3047199"/>
                <a:ext cx="66246" cy="75016"/>
              </a:xfrm>
              <a:custGeom>
                <a:avLst/>
                <a:gdLst>
                  <a:gd name="T0" fmla="*/ 0 w 15"/>
                  <a:gd name="T1" fmla="*/ 17 h 17"/>
                  <a:gd name="T2" fmla="*/ 6 w 15"/>
                  <a:gd name="T3" fmla="*/ 16 h 17"/>
                  <a:gd name="T4" fmla="*/ 12 w 15"/>
                  <a:gd name="T5" fmla="*/ 8 h 17"/>
                  <a:gd name="T6" fmla="*/ 15 w 15"/>
                  <a:gd name="T7" fmla="*/ 0 h 17"/>
                </a:gdLst>
                <a:ahLst/>
                <a:cxnLst>
                  <a:cxn ang="0">
                    <a:pos x="T0" y="T1"/>
                  </a:cxn>
                  <a:cxn ang="0">
                    <a:pos x="T2" y="T3"/>
                  </a:cxn>
                  <a:cxn ang="0">
                    <a:pos x="T4" y="T5"/>
                  </a:cxn>
                  <a:cxn ang="0">
                    <a:pos x="T6" y="T7"/>
                  </a:cxn>
                </a:cxnLst>
                <a:rect l="0" t="0" r="r" b="b"/>
                <a:pathLst>
                  <a:path w="15" h="17">
                    <a:moveTo>
                      <a:pt x="0" y="17"/>
                    </a:moveTo>
                    <a:cubicBezTo>
                      <a:pt x="2" y="17"/>
                      <a:pt x="4" y="17"/>
                      <a:pt x="6" y="16"/>
                    </a:cubicBezTo>
                    <a:cubicBezTo>
                      <a:pt x="8" y="14"/>
                      <a:pt x="10" y="11"/>
                      <a:pt x="12" y="8"/>
                    </a:cubicBezTo>
                    <a:cubicBezTo>
                      <a:pt x="14" y="6"/>
                      <a:pt x="15" y="3"/>
                      <a:pt x="15" y="0"/>
                    </a:cubicBezTo>
                  </a:path>
                </a:pathLst>
              </a:custGeom>
              <a:noFill/>
              <a:ln w="15875" cap="flat">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9" name="Freeform 72"/>
              <p:cNvSpPr>
                <a:spLocks/>
              </p:cNvSpPr>
              <p:nvPr/>
            </p:nvSpPr>
            <p:spPr bwMode="auto">
              <a:xfrm>
                <a:off x="6341292" y="2822150"/>
                <a:ext cx="242904" cy="176288"/>
              </a:xfrm>
              <a:custGeom>
                <a:avLst/>
                <a:gdLst>
                  <a:gd name="T0" fmla="*/ 0 w 56"/>
                  <a:gd name="T1" fmla="*/ 16 h 40"/>
                  <a:gd name="T2" fmla="*/ 7 w 56"/>
                  <a:gd name="T3" fmla="*/ 8 h 40"/>
                  <a:gd name="T4" fmla="*/ 15 w 56"/>
                  <a:gd name="T5" fmla="*/ 0 h 40"/>
                  <a:gd name="T6" fmla="*/ 22 w 56"/>
                  <a:gd name="T7" fmla="*/ 4 h 40"/>
                  <a:gd name="T8" fmla="*/ 37 w 56"/>
                  <a:gd name="T9" fmla="*/ 3 h 40"/>
                  <a:gd name="T10" fmla="*/ 52 w 56"/>
                  <a:gd name="T11" fmla="*/ 7 h 40"/>
                  <a:gd name="T12" fmla="*/ 55 w 56"/>
                  <a:gd name="T13" fmla="*/ 9 h 40"/>
                  <a:gd name="T14" fmla="*/ 55 w 56"/>
                  <a:gd name="T15" fmla="*/ 11 h 40"/>
                  <a:gd name="T16" fmla="*/ 49 w 56"/>
                  <a:gd name="T17" fmla="*/ 30 h 40"/>
                  <a:gd name="T18" fmla="*/ 45 w 56"/>
                  <a:gd name="T19" fmla="*/ 33 h 40"/>
                  <a:gd name="T20" fmla="*/ 34 w 56"/>
                  <a:gd name="T21" fmla="*/ 34 h 40"/>
                  <a:gd name="T22" fmla="*/ 21 w 56"/>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40">
                    <a:moveTo>
                      <a:pt x="0" y="16"/>
                    </a:moveTo>
                    <a:cubicBezTo>
                      <a:pt x="4" y="15"/>
                      <a:pt x="6" y="11"/>
                      <a:pt x="7" y="8"/>
                    </a:cubicBezTo>
                    <a:cubicBezTo>
                      <a:pt x="9" y="4"/>
                      <a:pt x="11" y="0"/>
                      <a:pt x="15" y="0"/>
                    </a:cubicBezTo>
                    <a:cubicBezTo>
                      <a:pt x="17" y="0"/>
                      <a:pt x="20" y="2"/>
                      <a:pt x="22" y="4"/>
                    </a:cubicBezTo>
                    <a:cubicBezTo>
                      <a:pt x="27" y="6"/>
                      <a:pt x="32" y="4"/>
                      <a:pt x="37" y="3"/>
                    </a:cubicBezTo>
                    <a:cubicBezTo>
                      <a:pt x="43" y="3"/>
                      <a:pt x="48" y="4"/>
                      <a:pt x="52" y="7"/>
                    </a:cubicBezTo>
                    <a:cubicBezTo>
                      <a:pt x="53" y="7"/>
                      <a:pt x="54" y="8"/>
                      <a:pt x="55" y="9"/>
                    </a:cubicBezTo>
                    <a:cubicBezTo>
                      <a:pt x="55" y="9"/>
                      <a:pt x="55" y="10"/>
                      <a:pt x="55" y="11"/>
                    </a:cubicBezTo>
                    <a:cubicBezTo>
                      <a:pt x="56" y="18"/>
                      <a:pt x="53" y="25"/>
                      <a:pt x="49" y="30"/>
                    </a:cubicBezTo>
                    <a:cubicBezTo>
                      <a:pt x="48" y="31"/>
                      <a:pt x="47" y="32"/>
                      <a:pt x="45" y="33"/>
                    </a:cubicBezTo>
                    <a:cubicBezTo>
                      <a:pt x="42" y="35"/>
                      <a:pt x="38" y="33"/>
                      <a:pt x="34" y="34"/>
                    </a:cubicBezTo>
                    <a:cubicBezTo>
                      <a:pt x="29" y="34"/>
                      <a:pt x="25" y="37"/>
                      <a:pt x="21" y="4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0" name="Freeform 73"/>
              <p:cNvSpPr>
                <a:spLocks/>
              </p:cNvSpPr>
              <p:nvPr/>
            </p:nvSpPr>
            <p:spPr bwMode="auto">
              <a:xfrm>
                <a:off x="10349352" y="2854283"/>
                <a:ext cx="1210838" cy="540117"/>
              </a:xfrm>
              <a:custGeom>
                <a:avLst/>
                <a:gdLst>
                  <a:gd name="T0" fmla="*/ 658 w 658"/>
                  <a:gd name="T1" fmla="*/ 0 h 288"/>
                  <a:gd name="T2" fmla="*/ 505 w 658"/>
                  <a:gd name="T3" fmla="*/ 38 h 288"/>
                  <a:gd name="T4" fmla="*/ 354 w 658"/>
                  <a:gd name="T5" fmla="*/ 118 h 288"/>
                  <a:gd name="T6" fmla="*/ 227 w 658"/>
                  <a:gd name="T7" fmla="*/ 198 h 288"/>
                  <a:gd name="T8" fmla="*/ 0 w 658"/>
                  <a:gd name="T9" fmla="*/ 288 h 288"/>
                </a:gdLst>
                <a:ahLst/>
                <a:cxnLst>
                  <a:cxn ang="0">
                    <a:pos x="T0" y="T1"/>
                  </a:cxn>
                  <a:cxn ang="0">
                    <a:pos x="T2" y="T3"/>
                  </a:cxn>
                  <a:cxn ang="0">
                    <a:pos x="T4" y="T5"/>
                  </a:cxn>
                  <a:cxn ang="0">
                    <a:pos x="T6" y="T7"/>
                  </a:cxn>
                  <a:cxn ang="0">
                    <a:pos x="T8" y="T9"/>
                  </a:cxn>
                </a:cxnLst>
                <a:rect l="0" t="0" r="r" b="b"/>
                <a:pathLst>
                  <a:path w="658" h="288">
                    <a:moveTo>
                      <a:pt x="658" y="0"/>
                    </a:moveTo>
                    <a:lnTo>
                      <a:pt x="505" y="38"/>
                    </a:lnTo>
                    <a:lnTo>
                      <a:pt x="354" y="118"/>
                    </a:lnTo>
                    <a:lnTo>
                      <a:pt x="227" y="198"/>
                    </a:lnTo>
                    <a:lnTo>
                      <a:pt x="0" y="288"/>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1" name="Freeform 74"/>
              <p:cNvSpPr>
                <a:spLocks/>
              </p:cNvSpPr>
              <p:nvPr/>
            </p:nvSpPr>
            <p:spPr bwMode="auto">
              <a:xfrm>
                <a:off x="10202746" y="3220887"/>
                <a:ext cx="1348852" cy="288813"/>
              </a:xfrm>
              <a:custGeom>
                <a:avLst/>
                <a:gdLst>
                  <a:gd name="T0" fmla="*/ 733 w 733"/>
                  <a:gd name="T1" fmla="*/ 0 h 154"/>
                  <a:gd name="T2" fmla="*/ 118 w 733"/>
                  <a:gd name="T3" fmla="*/ 147 h 154"/>
                  <a:gd name="T4" fmla="*/ 0 w 733"/>
                  <a:gd name="T5" fmla="*/ 154 h 154"/>
                </a:gdLst>
                <a:ahLst/>
                <a:cxnLst>
                  <a:cxn ang="0">
                    <a:pos x="T0" y="T1"/>
                  </a:cxn>
                  <a:cxn ang="0">
                    <a:pos x="T2" y="T3"/>
                  </a:cxn>
                  <a:cxn ang="0">
                    <a:pos x="T4" y="T5"/>
                  </a:cxn>
                </a:cxnLst>
                <a:rect l="0" t="0" r="r" b="b"/>
                <a:pathLst>
                  <a:path w="733" h="154">
                    <a:moveTo>
                      <a:pt x="733" y="0"/>
                    </a:moveTo>
                    <a:lnTo>
                      <a:pt x="118" y="147"/>
                    </a:lnTo>
                    <a:lnTo>
                      <a:pt x="0" y="154"/>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2" name="Freeform 75"/>
              <p:cNvSpPr>
                <a:spLocks/>
              </p:cNvSpPr>
              <p:nvPr/>
            </p:nvSpPr>
            <p:spPr bwMode="auto">
              <a:xfrm>
                <a:off x="9458308" y="3724221"/>
                <a:ext cx="2144060" cy="446032"/>
              </a:xfrm>
              <a:custGeom>
                <a:avLst/>
                <a:gdLst>
                  <a:gd name="T0" fmla="*/ 1105 w 1105"/>
                  <a:gd name="T1" fmla="*/ 0 h 248"/>
                  <a:gd name="T2" fmla="*/ 620 w 1105"/>
                  <a:gd name="T3" fmla="*/ 106 h 248"/>
                  <a:gd name="T4" fmla="*/ 127 w 1105"/>
                  <a:gd name="T5" fmla="*/ 248 h 248"/>
                  <a:gd name="T6" fmla="*/ 0 w 1105"/>
                  <a:gd name="T7" fmla="*/ 203 h 248"/>
                  <a:gd name="connsiteX0" fmla="*/ 10181 w 10181"/>
                  <a:gd name="connsiteY0" fmla="*/ 0 h 10000"/>
                  <a:gd name="connsiteX1" fmla="*/ 5792 w 10181"/>
                  <a:gd name="connsiteY1" fmla="*/ 4274 h 10000"/>
                  <a:gd name="connsiteX2" fmla="*/ 1330 w 10181"/>
                  <a:gd name="connsiteY2" fmla="*/ 10000 h 10000"/>
                  <a:gd name="connsiteX3" fmla="*/ 0 w 10181"/>
                  <a:gd name="connsiteY3" fmla="*/ 6751 h 10000"/>
                  <a:gd name="connsiteX0" fmla="*/ 10181 w 10181"/>
                  <a:gd name="connsiteY0" fmla="*/ 0 h 9590"/>
                  <a:gd name="connsiteX1" fmla="*/ 5792 w 10181"/>
                  <a:gd name="connsiteY1" fmla="*/ 4274 h 9590"/>
                  <a:gd name="connsiteX2" fmla="*/ 1307 w 10181"/>
                  <a:gd name="connsiteY2" fmla="*/ 9590 h 9590"/>
                  <a:gd name="connsiteX3" fmla="*/ 0 w 10181"/>
                  <a:gd name="connsiteY3" fmla="*/ 6751 h 9590"/>
                </a:gdLst>
                <a:ahLst/>
                <a:cxnLst>
                  <a:cxn ang="0">
                    <a:pos x="connsiteX0" y="connsiteY0"/>
                  </a:cxn>
                  <a:cxn ang="0">
                    <a:pos x="connsiteX1" y="connsiteY1"/>
                  </a:cxn>
                  <a:cxn ang="0">
                    <a:pos x="connsiteX2" y="connsiteY2"/>
                  </a:cxn>
                  <a:cxn ang="0">
                    <a:pos x="connsiteX3" y="connsiteY3"/>
                  </a:cxn>
                </a:cxnLst>
                <a:rect l="l" t="t" r="r" b="b"/>
                <a:pathLst>
                  <a:path w="10181" h="9590">
                    <a:moveTo>
                      <a:pt x="10181" y="0"/>
                    </a:moveTo>
                    <a:lnTo>
                      <a:pt x="5792" y="4274"/>
                    </a:lnTo>
                    <a:lnTo>
                      <a:pt x="1307" y="9590"/>
                    </a:lnTo>
                    <a:cubicBezTo>
                      <a:pt x="924" y="8985"/>
                      <a:pt x="383" y="7356"/>
                      <a:pt x="0" y="675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3" name="Freeform 76"/>
              <p:cNvSpPr>
                <a:spLocks/>
              </p:cNvSpPr>
              <p:nvPr/>
            </p:nvSpPr>
            <p:spPr bwMode="auto">
              <a:xfrm>
                <a:off x="2795266" y="3720470"/>
                <a:ext cx="33123" cy="110649"/>
              </a:xfrm>
              <a:custGeom>
                <a:avLst/>
                <a:gdLst>
                  <a:gd name="T0" fmla="*/ 0 w 8"/>
                  <a:gd name="T1" fmla="*/ 0 h 25"/>
                  <a:gd name="T2" fmla="*/ 2 w 8"/>
                  <a:gd name="T3" fmla="*/ 4 h 25"/>
                  <a:gd name="T4" fmla="*/ 3 w 8"/>
                  <a:gd name="T5" fmla="*/ 5 h 25"/>
                  <a:gd name="T6" fmla="*/ 2 w 8"/>
                  <a:gd name="T7" fmla="*/ 8 h 25"/>
                  <a:gd name="T8" fmla="*/ 1 w 8"/>
                  <a:gd name="T9" fmla="*/ 13 h 25"/>
                  <a:gd name="T10" fmla="*/ 1 w 8"/>
                  <a:gd name="T11" fmla="*/ 16 h 25"/>
                  <a:gd name="T12" fmla="*/ 2 w 8"/>
                  <a:gd name="T13" fmla="*/ 17 h 25"/>
                  <a:gd name="T14" fmla="*/ 8 w 8"/>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5">
                    <a:moveTo>
                      <a:pt x="0" y="0"/>
                    </a:moveTo>
                    <a:cubicBezTo>
                      <a:pt x="1" y="1"/>
                      <a:pt x="1" y="2"/>
                      <a:pt x="2" y="4"/>
                    </a:cubicBezTo>
                    <a:cubicBezTo>
                      <a:pt x="2" y="4"/>
                      <a:pt x="3" y="5"/>
                      <a:pt x="3" y="5"/>
                    </a:cubicBezTo>
                    <a:cubicBezTo>
                      <a:pt x="3" y="6"/>
                      <a:pt x="3" y="7"/>
                      <a:pt x="2" y="8"/>
                    </a:cubicBezTo>
                    <a:cubicBezTo>
                      <a:pt x="2" y="10"/>
                      <a:pt x="1" y="12"/>
                      <a:pt x="1" y="13"/>
                    </a:cubicBezTo>
                    <a:cubicBezTo>
                      <a:pt x="1" y="14"/>
                      <a:pt x="0" y="15"/>
                      <a:pt x="1" y="16"/>
                    </a:cubicBezTo>
                    <a:cubicBezTo>
                      <a:pt x="1" y="16"/>
                      <a:pt x="1" y="17"/>
                      <a:pt x="2" y="17"/>
                    </a:cubicBezTo>
                    <a:cubicBezTo>
                      <a:pt x="4" y="20"/>
                      <a:pt x="6" y="22"/>
                      <a:pt x="8"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4" name="Freeform 77"/>
              <p:cNvSpPr>
                <a:spLocks/>
              </p:cNvSpPr>
              <p:nvPr/>
            </p:nvSpPr>
            <p:spPr bwMode="auto">
              <a:xfrm>
                <a:off x="470952" y="3613393"/>
                <a:ext cx="1611013" cy="1107788"/>
              </a:xfrm>
              <a:custGeom>
                <a:avLst/>
                <a:gdLst>
                  <a:gd name="T0" fmla="*/ 0 w 354"/>
                  <a:gd name="T1" fmla="*/ 253 h 253"/>
                  <a:gd name="T2" fmla="*/ 73 w 354"/>
                  <a:gd name="T3" fmla="*/ 117 h 253"/>
                  <a:gd name="T4" fmla="*/ 104 w 354"/>
                  <a:gd name="T5" fmla="*/ 121 h 253"/>
                  <a:gd name="T6" fmla="*/ 354 w 354"/>
                  <a:gd name="T7" fmla="*/ 0 h 253"/>
                  <a:gd name="connsiteX0" fmla="*/ 0 w 10000"/>
                  <a:gd name="connsiteY0" fmla="*/ 10000 h 10000"/>
                  <a:gd name="connsiteX1" fmla="*/ 2062 w 10000"/>
                  <a:gd name="connsiteY1" fmla="*/ 4625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109"/>
                  <a:gd name="connsiteY0" fmla="*/ 9809 h 9809"/>
                  <a:gd name="connsiteX1" fmla="*/ 2481 w 10109"/>
                  <a:gd name="connsiteY1" fmla="*/ 4476 h 9809"/>
                  <a:gd name="connsiteX2" fmla="*/ 3125 w 10109"/>
                  <a:gd name="connsiteY2" fmla="*/ 4549 h 9809"/>
                  <a:gd name="connsiteX3" fmla="*/ 10109 w 10109"/>
                  <a:gd name="connsiteY3" fmla="*/ 0 h 9809"/>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Lst>
                <a:ahLst/>
                <a:cxnLst>
                  <a:cxn ang="0">
                    <a:pos x="connsiteX0" y="connsiteY0"/>
                  </a:cxn>
                  <a:cxn ang="0">
                    <a:pos x="connsiteX1" y="connsiteY1"/>
                  </a:cxn>
                  <a:cxn ang="0">
                    <a:pos x="connsiteX2" y="connsiteY2"/>
                  </a:cxn>
                  <a:cxn ang="0">
                    <a:pos x="connsiteX3" y="connsiteY3"/>
                  </a:cxn>
                </a:cxnLst>
                <a:rect l="l" t="t" r="r" b="b"/>
                <a:pathLst>
                  <a:path w="10384" h="10087">
                    <a:moveTo>
                      <a:pt x="0" y="10087"/>
                    </a:moveTo>
                    <a:cubicBezTo>
                      <a:pt x="0" y="10087"/>
                      <a:pt x="1492" y="6289"/>
                      <a:pt x="2454" y="4650"/>
                    </a:cubicBezTo>
                    <a:cubicBezTo>
                      <a:pt x="2566" y="4246"/>
                      <a:pt x="2811" y="4886"/>
                      <a:pt x="3091" y="4725"/>
                    </a:cubicBezTo>
                    <a:cubicBezTo>
                      <a:pt x="5522" y="3150"/>
                      <a:pt x="7922" y="1271"/>
                      <a:pt x="10384"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5" name="Freeform 78"/>
              <p:cNvSpPr>
                <a:spLocks/>
              </p:cNvSpPr>
              <p:nvPr/>
            </p:nvSpPr>
            <p:spPr bwMode="auto">
              <a:xfrm>
                <a:off x="5691709" y="2675869"/>
                <a:ext cx="125132" cy="106898"/>
              </a:xfrm>
              <a:custGeom>
                <a:avLst/>
                <a:gdLst>
                  <a:gd name="T0" fmla="*/ 28 w 29"/>
                  <a:gd name="T1" fmla="*/ 24 h 24"/>
                  <a:gd name="T2" fmla="*/ 27 w 29"/>
                  <a:gd name="T3" fmla="*/ 19 h 24"/>
                  <a:gd name="T4" fmla="*/ 22 w 29"/>
                  <a:gd name="T5" fmla="*/ 18 h 24"/>
                  <a:gd name="T6" fmla="*/ 11 w 29"/>
                  <a:gd name="T7" fmla="*/ 17 h 24"/>
                  <a:gd name="T8" fmla="*/ 10 w 29"/>
                  <a:gd name="T9" fmla="*/ 16 h 24"/>
                  <a:gd name="T10" fmla="*/ 10 w 29"/>
                  <a:gd name="T11" fmla="*/ 15 h 24"/>
                  <a:gd name="T12" fmla="*/ 9 w 29"/>
                  <a:gd name="T13" fmla="*/ 12 h 24"/>
                  <a:gd name="T14" fmla="*/ 10 w 29"/>
                  <a:gd name="T15" fmla="*/ 7 h 24"/>
                  <a:gd name="T16" fmla="*/ 8 w 29"/>
                  <a:gd name="T17" fmla="*/ 5 h 24"/>
                  <a:gd name="T18" fmla="*/ 0 w 29"/>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4">
                    <a:moveTo>
                      <a:pt x="28" y="24"/>
                    </a:moveTo>
                    <a:cubicBezTo>
                      <a:pt x="29" y="22"/>
                      <a:pt x="28" y="20"/>
                      <a:pt x="27" y="19"/>
                    </a:cubicBezTo>
                    <a:cubicBezTo>
                      <a:pt x="26" y="18"/>
                      <a:pt x="24" y="18"/>
                      <a:pt x="22" y="18"/>
                    </a:cubicBezTo>
                    <a:cubicBezTo>
                      <a:pt x="19" y="17"/>
                      <a:pt x="15" y="17"/>
                      <a:pt x="11" y="17"/>
                    </a:cubicBezTo>
                    <a:cubicBezTo>
                      <a:pt x="11" y="17"/>
                      <a:pt x="10" y="17"/>
                      <a:pt x="10" y="16"/>
                    </a:cubicBezTo>
                    <a:cubicBezTo>
                      <a:pt x="10" y="16"/>
                      <a:pt x="10" y="16"/>
                      <a:pt x="10" y="15"/>
                    </a:cubicBezTo>
                    <a:cubicBezTo>
                      <a:pt x="9" y="14"/>
                      <a:pt x="9" y="13"/>
                      <a:pt x="9" y="12"/>
                    </a:cubicBezTo>
                    <a:cubicBezTo>
                      <a:pt x="10" y="10"/>
                      <a:pt x="11" y="8"/>
                      <a:pt x="10" y="7"/>
                    </a:cubicBezTo>
                    <a:cubicBezTo>
                      <a:pt x="10" y="6"/>
                      <a:pt x="9" y="5"/>
                      <a:pt x="8" y="5"/>
                    </a:cubicBezTo>
                    <a:cubicBezTo>
                      <a:pt x="5" y="3"/>
                      <a:pt x="3" y="2"/>
                      <a:pt x="0" y="0"/>
                    </a:cubicBezTo>
                  </a:path>
                </a:pathLst>
              </a:custGeom>
              <a:noFill/>
              <a:ln w="15875" cap="rnd">
                <a:solidFill>
                  <a:srgbClr val="EFE43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6" name="Freeform 79"/>
              <p:cNvSpPr>
                <a:spLocks/>
              </p:cNvSpPr>
              <p:nvPr/>
            </p:nvSpPr>
            <p:spPr bwMode="auto">
              <a:xfrm>
                <a:off x="3345478" y="3193624"/>
                <a:ext cx="2428241" cy="367449"/>
              </a:xfrm>
              <a:custGeom>
                <a:avLst/>
                <a:gdLst>
                  <a:gd name="T0" fmla="*/ 567 w 567"/>
                  <a:gd name="T1" fmla="*/ 23 h 89"/>
                  <a:gd name="T2" fmla="*/ 560 w 567"/>
                  <a:gd name="T3" fmla="*/ 10 h 89"/>
                  <a:gd name="T4" fmla="*/ 508 w 567"/>
                  <a:gd name="T5" fmla="*/ 3 h 89"/>
                  <a:gd name="T6" fmla="*/ 482 w 567"/>
                  <a:gd name="T7" fmla="*/ 5 h 89"/>
                  <a:gd name="T8" fmla="*/ 371 w 567"/>
                  <a:gd name="T9" fmla="*/ 9 h 89"/>
                  <a:gd name="T10" fmla="*/ 324 w 567"/>
                  <a:gd name="T11" fmla="*/ 21 h 89"/>
                  <a:gd name="T12" fmla="*/ 272 w 567"/>
                  <a:gd name="T13" fmla="*/ 41 h 89"/>
                  <a:gd name="T14" fmla="*/ 233 w 567"/>
                  <a:gd name="T15" fmla="*/ 54 h 89"/>
                  <a:gd name="T16" fmla="*/ 188 w 567"/>
                  <a:gd name="T17" fmla="*/ 66 h 89"/>
                  <a:gd name="T18" fmla="*/ 160 w 567"/>
                  <a:gd name="T19" fmla="*/ 69 h 89"/>
                  <a:gd name="T20" fmla="*/ 118 w 567"/>
                  <a:gd name="T21" fmla="*/ 77 h 89"/>
                  <a:gd name="T22" fmla="*/ 73 w 567"/>
                  <a:gd name="T23" fmla="*/ 77 h 89"/>
                  <a:gd name="T24" fmla="*/ 56 w 567"/>
                  <a:gd name="T25" fmla="*/ 84 h 89"/>
                  <a:gd name="T26" fmla="*/ 0 w 567"/>
                  <a:gd name="T27" fmla="*/ 85 h 89"/>
                  <a:gd name="connsiteX0" fmla="*/ 9877 w 9877"/>
                  <a:gd name="connsiteY0" fmla="*/ 787 h 9330"/>
                  <a:gd name="connsiteX1" fmla="*/ 8959 w 9877"/>
                  <a:gd name="connsiteY1" fmla="*/ 0 h 9330"/>
                  <a:gd name="connsiteX2" fmla="*/ 8501 w 9877"/>
                  <a:gd name="connsiteY2" fmla="*/ 225 h 9330"/>
                  <a:gd name="connsiteX3" fmla="*/ 6543 w 9877"/>
                  <a:gd name="connsiteY3" fmla="*/ 674 h 9330"/>
                  <a:gd name="connsiteX4" fmla="*/ 5714 w 9877"/>
                  <a:gd name="connsiteY4" fmla="*/ 2023 h 9330"/>
                  <a:gd name="connsiteX5" fmla="*/ 4797 w 9877"/>
                  <a:gd name="connsiteY5" fmla="*/ 4270 h 9330"/>
                  <a:gd name="connsiteX6" fmla="*/ 4109 w 9877"/>
                  <a:gd name="connsiteY6" fmla="*/ 5730 h 9330"/>
                  <a:gd name="connsiteX7" fmla="*/ 3316 w 9877"/>
                  <a:gd name="connsiteY7" fmla="*/ 7079 h 9330"/>
                  <a:gd name="connsiteX8" fmla="*/ 2822 w 9877"/>
                  <a:gd name="connsiteY8" fmla="*/ 7416 h 9330"/>
                  <a:gd name="connsiteX9" fmla="*/ 2081 w 9877"/>
                  <a:gd name="connsiteY9" fmla="*/ 8315 h 9330"/>
                  <a:gd name="connsiteX10" fmla="*/ 1287 w 9877"/>
                  <a:gd name="connsiteY10" fmla="*/ 8315 h 9330"/>
                  <a:gd name="connsiteX11" fmla="*/ 988 w 9877"/>
                  <a:gd name="connsiteY11" fmla="*/ 9101 h 9330"/>
                  <a:gd name="connsiteX12" fmla="*/ 0 w 9877"/>
                  <a:gd name="connsiteY12" fmla="*/ 9214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77" h="9330">
                    <a:moveTo>
                      <a:pt x="9877" y="787"/>
                    </a:moveTo>
                    <a:cubicBezTo>
                      <a:pt x="9577" y="674"/>
                      <a:pt x="9277" y="112"/>
                      <a:pt x="8959" y="0"/>
                    </a:cubicBezTo>
                    <a:cubicBezTo>
                      <a:pt x="8801" y="0"/>
                      <a:pt x="8642" y="112"/>
                      <a:pt x="8501" y="225"/>
                    </a:cubicBezTo>
                    <a:cubicBezTo>
                      <a:pt x="7848" y="450"/>
                      <a:pt x="7178" y="-337"/>
                      <a:pt x="6543" y="674"/>
                    </a:cubicBezTo>
                    <a:cubicBezTo>
                      <a:pt x="6261" y="1124"/>
                      <a:pt x="5996" y="1910"/>
                      <a:pt x="5714" y="2023"/>
                    </a:cubicBezTo>
                    <a:cubicBezTo>
                      <a:pt x="5397" y="2023"/>
                      <a:pt x="5097" y="3596"/>
                      <a:pt x="4797" y="4270"/>
                    </a:cubicBezTo>
                    <a:cubicBezTo>
                      <a:pt x="4568" y="4719"/>
                      <a:pt x="4339" y="5281"/>
                      <a:pt x="4109" y="5730"/>
                    </a:cubicBezTo>
                    <a:cubicBezTo>
                      <a:pt x="3862" y="6292"/>
                      <a:pt x="3580" y="6854"/>
                      <a:pt x="3316" y="7079"/>
                    </a:cubicBezTo>
                    <a:cubicBezTo>
                      <a:pt x="3157" y="7191"/>
                      <a:pt x="2981" y="7191"/>
                      <a:pt x="2822" y="7416"/>
                    </a:cubicBezTo>
                    <a:cubicBezTo>
                      <a:pt x="2575" y="7641"/>
                      <a:pt x="2328" y="8202"/>
                      <a:pt x="2081" y="8315"/>
                    </a:cubicBezTo>
                    <a:cubicBezTo>
                      <a:pt x="1817" y="8427"/>
                      <a:pt x="1534" y="7865"/>
                      <a:pt x="1287" y="8315"/>
                    </a:cubicBezTo>
                    <a:cubicBezTo>
                      <a:pt x="1182" y="8539"/>
                      <a:pt x="1093" y="8876"/>
                      <a:pt x="988" y="9101"/>
                    </a:cubicBezTo>
                    <a:cubicBezTo>
                      <a:pt x="670" y="9663"/>
                      <a:pt x="335" y="8989"/>
                      <a:pt x="0" y="9214"/>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7" name="Freeform 80"/>
              <p:cNvSpPr>
                <a:spLocks/>
              </p:cNvSpPr>
              <p:nvPr/>
            </p:nvSpPr>
            <p:spPr bwMode="auto">
              <a:xfrm>
                <a:off x="3514776" y="3135343"/>
                <a:ext cx="393799" cy="301941"/>
              </a:xfrm>
              <a:custGeom>
                <a:avLst/>
                <a:gdLst>
                  <a:gd name="T0" fmla="*/ 62 w 91"/>
                  <a:gd name="T1" fmla="*/ 1 h 68"/>
                  <a:gd name="T2" fmla="*/ 63 w 91"/>
                  <a:gd name="T3" fmla="*/ 0 h 68"/>
                  <a:gd name="T4" fmla="*/ 69 w 91"/>
                  <a:gd name="T5" fmla="*/ 2 h 68"/>
                  <a:gd name="T6" fmla="*/ 74 w 91"/>
                  <a:gd name="T7" fmla="*/ 3 h 68"/>
                  <a:gd name="T8" fmla="*/ 79 w 91"/>
                  <a:gd name="T9" fmla="*/ 8 h 68"/>
                  <a:gd name="T10" fmla="*/ 80 w 91"/>
                  <a:gd name="T11" fmla="*/ 10 h 68"/>
                  <a:gd name="T12" fmla="*/ 79 w 91"/>
                  <a:gd name="T13" fmla="*/ 13 h 68"/>
                  <a:gd name="T14" fmla="*/ 76 w 91"/>
                  <a:gd name="T15" fmla="*/ 33 h 68"/>
                  <a:gd name="T16" fmla="*/ 86 w 91"/>
                  <a:gd name="T17" fmla="*/ 44 h 68"/>
                  <a:gd name="T18" fmla="*/ 91 w 91"/>
                  <a:gd name="T19" fmla="*/ 47 h 68"/>
                  <a:gd name="T20" fmla="*/ 87 w 91"/>
                  <a:gd name="T21" fmla="*/ 50 h 68"/>
                  <a:gd name="T22" fmla="*/ 74 w 91"/>
                  <a:gd name="T23" fmla="*/ 54 h 68"/>
                  <a:gd name="T24" fmla="*/ 63 w 91"/>
                  <a:gd name="T25" fmla="*/ 58 h 68"/>
                  <a:gd name="T26" fmla="*/ 52 w 91"/>
                  <a:gd name="T27" fmla="*/ 64 h 68"/>
                  <a:gd name="T28" fmla="*/ 31 w 91"/>
                  <a:gd name="T29" fmla="*/ 68 h 68"/>
                  <a:gd name="T30" fmla="*/ 18 w 91"/>
                  <a:gd name="T31" fmla="*/ 62 h 68"/>
                  <a:gd name="T32" fmla="*/ 0 w 91"/>
                  <a:gd name="T3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68">
                    <a:moveTo>
                      <a:pt x="62" y="1"/>
                    </a:moveTo>
                    <a:cubicBezTo>
                      <a:pt x="62" y="1"/>
                      <a:pt x="63" y="0"/>
                      <a:pt x="63" y="0"/>
                    </a:cubicBezTo>
                    <a:cubicBezTo>
                      <a:pt x="65" y="1"/>
                      <a:pt x="67" y="1"/>
                      <a:pt x="69" y="2"/>
                    </a:cubicBezTo>
                    <a:cubicBezTo>
                      <a:pt x="71" y="2"/>
                      <a:pt x="73" y="2"/>
                      <a:pt x="74" y="3"/>
                    </a:cubicBezTo>
                    <a:cubicBezTo>
                      <a:pt x="76" y="4"/>
                      <a:pt x="78" y="6"/>
                      <a:pt x="79" y="8"/>
                    </a:cubicBezTo>
                    <a:cubicBezTo>
                      <a:pt x="79" y="9"/>
                      <a:pt x="79" y="9"/>
                      <a:pt x="80" y="10"/>
                    </a:cubicBezTo>
                    <a:cubicBezTo>
                      <a:pt x="80" y="11"/>
                      <a:pt x="79" y="12"/>
                      <a:pt x="79" y="13"/>
                    </a:cubicBezTo>
                    <a:cubicBezTo>
                      <a:pt x="75" y="19"/>
                      <a:pt x="74" y="26"/>
                      <a:pt x="76" y="33"/>
                    </a:cubicBezTo>
                    <a:cubicBezTo>
                      <a:pt x="77" y="38"/>
                      <a:pt x="81" y="43"/>
                      <a:pt x="86" y="44"/>
                    </a:cubicBezTo>
                    <a:cubicBezTo>
                      <a:pt x="88" y="44"/>
                      <a:pt x="91" y="45"/>
                      <a:pt x="91" y="47"/>
                    </a:cubicBezTo>
                    <a:cubicBezTo>
                      <a:pt x="91" y="48"/>
                      <a:pt x="89" y="49"/>
                      <a:pt x="87" y="50"/>
                    </a:cubicBezTo>
                    <a:cubicBezTo>
                      <a:pt x="83" y="51"/>
                      <a:pt x="78" y="53"/>
                      <a:pt x="74" y="54"/>
                    </a:cubicBezTo>
                    <a:cubicBezTo>
                      <a:pt x="70" y="55"/>
                      <a:pt x="67" y="57"/>
                      <a:pt x="63" y="58"/>
                    </a:cubicBezTo>
                    <a:cubicBezTo>
                      <a:pt x="59" y="60"/>
                      <a:pt x="56" y="62"/>
                      <a:pt x="52" y="64"/>
                    </a:cubicBezTo>
                    <a:cubicBezTo>
                      <a:pt x="45" y="67"/>
                      <a:pt x="38" y="68"/>
                      <a:pt x="31" y="68"/>
                    </a:cubicBezTo>
                    <a:cubicBezTo>
                      <a:pt x="24" y="68"/>
                      <a:pt x="24" y="66"/>
                      <a:pt x="18" y="62"/>
                    </a:cubicBezTo>
                    <a:cubicBezTo>
                      <a:pt x="14" y="59"/>
                      <a:pt x="3" y="56"/>
                      <a:pt x="0" y="5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8" name="Freeform 81"/>
              <p:cNvSpPr>
                <a:spLocks/>
              </p:cNvSpPr>
              <p:nvPr/>
            </p:nvSpPr>
            <p:spPr bwMode="auto">
              <a:xfrm>
                <a:off x="3266352" y="3140970"/>
                <a:ext cx="539173" cy="305691"/>
              </a:xfrm>
              <a:custGeom>
                <a:avLst/>
                <a:gdLst>
                  <a:gd name="T0" fmla="*/ 1 w 124"/>
                  <a:gd name="T1" fmla="*/ 49 h 69"/>
                  <a:gd name="T2" fmla="*/ 5 w 124"/>
                  <a:gd name="T3" fmla="*/ 55 h 69"/>
                  <a:gd name="T4" fmla="*/ 13 w 124"/>
                  <a:gd name="T5" fmla="*/ 56 h 69"/>
                  <a:gd name="T6" fmla="*/ 29 w 124"/>
                  <a:gd name="T7" fmla="*/ 69 h 69"/>
                  <a:gd name="T8" fmla="*/ 44 w 124"/>
                  <a:gd name="T9" fmla="*/ 64 h 69"/>
                  <a:gd name="T10" fmla="*/ 54 w 124"/>
                  <a:gd name="T11" fmla="*/ 60 h 69"/>
                  <a:gd name="T12" fmla="*/ 58 w 124"/>
                  <a:gd name="T13" fmla="*/ 49 h 69"/>
                  <a:gd name="T14" fmla="*/ 78 w 124"/>
                  <a:gd name="T15" fmla="*/ 42 h 69"/>
                  <a:gd name="T16" fmla="*/ 81 w 124"/>
                  <a:gd name="T17" fmla="*/ 35 h 69"/>
                  <a:gd name="T18" fmla="*/ 90 w 124"/>
                  <a:gd name="T19" fmla="*/ 26 h 69"/>
                  <a:gd name="T20" fmla="*/ 105 w 124"/>
                  <a:gd name="T21" fmla="*/ 16 h 69"/>
                  <a:gd name="T22" fmla="*/ 121 w 124"/>
                  <a:gd name="T23" fmla="*/ 4 h 69"/>
                  <a:gd name="T24" fmla="*/ 124 w 124"/>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69">
                    <a:moveTo>
                      <a:pt x="1" y="49"/>
                    </a:moveTo>
                    <a:cubicBezTo>
                      <a:pt x="0" y="52"/>
                      <a:pt x="2" y="54"/>
                      <a:pt x="5" y="55"/>
                    </a:cubicBezTo>
                    <a:cubicBezTo>
                      <a:pt x="7" y="56"/>
                      <a:pt x="10" y="56"/>
                      <a:pt x="13" y="56"/>
                    </a:cubicBezTo>
                    <a:cubicBezTo>
                      <a:pt x="20" y="57"/>
                      <a:pt x="27" y="62"/>
                      <a:pt x="29" y="69"/>
                    </a:cubicBezTo>
                    <a:cubicBezTo>
                      <a:pt x="34" y="67"/>
                      <a:pt x="39" y="65"/>
                      <a:pt x="44" y="64"/>
                    </a:cubicBezTo>
                    <a:cubicBezTo>
                      <a:pt x="48" y="63"/>
                      <a:pt x="52" y="63"/>
                      <a:pt x="54" y="60"/>
                    </a:cubicBezTo>
                    <a:cubicBezTo>
                      <a:pt x="56" y="57"/>
                      <a:pt x="56" y="52"/>
                      <a:pt x="58" y="49"/>
                    </a:cubicBezTo>
                    <a:cubicBezTo>
                      <a:pt x="63" y="44"/>
                      <a:pt x="74" y="48"/>
                      <a:pt x="78" y="42"/>
                    </a:cubicBezTo>
                    <a:cubicBezTo>
                      <a:pt x="79" y="40"/>
                      <a:pt x="80" y="37"/>
                      <a:pt x="81" y="35"/>
                    </a:cubicBezTo>
                    <a:cubicBezTo>
                      <a:pt x="83" y="31"/>
                      <a:pt x="86" y="29"/>
                      <a:pt x="90" y="26"/>
                    </a:cubicBezTo>
                    <a:cubicBezTo>
                      <a:pt x="95" y="23"/>
                      <a:pt x="100" y="19"/>
                      <a:pt x="105" y="16"/>
                    </a:cubicBezTo>
                    <a:cubicBezTo>
                      <a:pt x="111" y="13"/>
                      <a:pt x="117" y="10"/>
                      <a:pt x="121" y="4"/>
                    </a:cubicBezTo>
                    <a:cubicBezTo>
                      <a:pt x="122" y="3"/>
                      <a:pt x="122" y="1"/>
                      <a:pt x="124"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9" name="Freeform 82"/>
              <p:cNvSpPr>
                <a:spLocks/>
              </p:cNvSpPr>
              <p:nvPr/>
            </p:nvSpPr>
            <p:spPr bwMode="auto">
              <a:xfrm>
                <a:off x="3271872" y="3073455"/>
                <a:ext cx="524451" cy="279436"/>
              </a:xfrm>
              <a:custGeom>
                <a:avLst/>
                <a:gdLst>
                  <a:gd name="T0" fmla="*/ 0 w 121"/>
                  <a:gd name="T1" fmla="*/ 63 h 63"/>
                  <a:gd name="T2" fmla="*/ 13 w 121"/>
                  <a:gd name="T3" fmla="*/ 55 h 63"/>
                  <a:gd name="T4" fmla="*/ 16 w 121"/>
                  <a:gd name="T5" fmla="*/ 53 h 63"/>
                  <a:gd name="T6" fmla="*/ 15 w 121"/>
                  <a:gd name="T7" fmla="*/ 50 h 63"/>
                  <a:gd name="T8" fmla="*/ 15 w 121"/>
                  <a:gd name="T9" fmla="*/ 44 h 63"/>
                  <a:gd name="T10" fmla="*/ 15 w 121"/>
                  <a:gd name="T11" fmla="*/ 42 h 63"/>
                  <a:gd name="T12" fmla="*/ 17 w 121"/>
                  <a:gd name="T13" fmla="*/ 40 h 63"/>
                  <a:gd name="T14" fmla="*/ 27 w 121"/>
                  <a:gd name="T15" fmla="*/ 37 h 63"/>
                  <a:gd name="T16" fmla="*/ 30 w 121"/>
                  <a:gd name="T17" fmla="*/ 36 h 63"/>
                  <a:gd name="T18" fmla="*/ 31 w 121"/>
                  <a:gd name="T19" fmla="*/ 34 h 63"/>
                  <a:gd name="T20" fmla="*/ 42 w 121"/>
                  <a:gd name="T21" fmla="*/ 29 h 63"/>
                  <a:gd name="T22" fmla="*/ 46 w 121"/>
                  <a:gd name="T23" fmla="*/ 25 h 63"/>
                  <a:gd name="T24" fmla="*/ 57 w 121"/>
                  <a:gd name="T25" fmla="*/ 24 h 63"/>
                  <a:gd name="T26" fmla="*/ 67 w 121"/>
                  <a:gd name="T27" fmla="*/ 19 h 63"/>
                  <a:gd name="T28" fmla="*/ 77 w 121"/>
                  <a:gd name="T29" fmla="*/ 12 h 63"/>
                  <a:gd name="T30" fmla="*/ 91 w 121"/>
                  <a:gd name="T31" fmla="*/ 0 h 63"/>
                  <a:gd name="T32" fmla="*/ 102 w 121"/>
                  <a:gd name="T33" fmla="*/ 5 h 63"/>
                  <a:gd name="T34" fmla="*/ 121 w 121"/>
                  <a:gd name="T35"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63">
                    <a:moveTo>
                      <a:pt x="0" y="63"/>
                    </a:moveTo>
                    <a:cubicBezTo>
                      <a:pt x="3" y="62"/>
                      <a:pt x="10" y="57"/>
                      <a:pt x="13" y="55"/>
                    </a:cubicBezTo>
                    <a:cubicBezTo>
                      <a:pt x="14" y="55"/>
                      <a:pt x="15" y="54"/>
                      <a:pt x="16" y="53"/>
                    </a:cubicBezTo>
                    <a:cubicBezTo>
                      <a:pt x="16" y="52"/>
                      <a:pt x="16" y="51"/>
                      <a:pt x="15" y="50"/>
                    </a:cubicBezTo>
                    <a:cubicBezTo>
                      <a:pt x="15" y="48"/>
                      <a:pt x="15" y="46"/>
                      <a:pt x="15" y="44"/>
                    </a:cubicBezTo>
                    <a:cubicBezTo>
                      <a:pt x="15" y="43"/>
                      <a:pt x="15" y="43"/>
                      <a:pt x="15" y="42"/>
                    </a:cubicBezTo>
                    <a:cubicBezTo>
                      <a:pt x="16" y="41"/>
                      <a:pt x="16" y="41"/>
                      <a:pt x="17" y="40"/>
                    </a:cubicBezTo>
                    <a:cubicBezTo>
                      <a:pt x="20" y="39"/>
                      <a:pt x="23" y="37"/>
                      <a:pt x="27" y="37"/>
                    </a:cubicBezTo>
                    <a:cubicBezTo>
                      <a:pt x="28" y="37"/>
                      <a:pt x="29" y="36"/>
                      <a:pt x="30" y="36"/>
                    </a:cubicBezTo>
                    <a:cubicBezTo>
                      <a:pt x="30" y="35"/>
                      <a:pt x="31" y="34"/>
                      <a:pt x="31" y="34"/>
                    </a:cubicBezTo>
                    <a:cubicBezTo>
                      <a:pt x="34" y="30"/>
                      <a:pt x="39" y="32"/>
                      <a:pt x="42" y="29"/>
                    </a:cubicBezTo>
                    <a:cubicBezTo>
                      <a:pt x="44" y="28"/>
                      <a:pt x="45" y="26"/>
                      <a:pt x="46" y="25"/>
                    </a:cubicBezTo>
                    <a:cubicBezTo>
                      <a:pt x="49" y="23"/>
                      <a:pt x="53" y="24"/>
                      <a:pt x="57" y="24"/>
                    </a:cubicBezTo>
                    <a:cubicBezTo>
                      <a:pt x="61" y="23"/>
                      <a:pt x="64" y="21"/>
                      <a:pt x="67" y="19"/>
                    </a:cubicBezTo>
                    <a:cubicBezTo>
                      <a:pt x="71" y="17"/>
                      <a:pt x="74" y="15"/>
                      <a:pt x="77" y="12"/>
                    </a:cubicBezTo>
                    <a:cubicBezTo>
                      <a:pt x="81" y="8"/>
                      <a:pt x="85" y="1"/>
                      <a:pt x="91" y="0"/>
                    </a:cubicBezTo>
                    <a:cubicBezTo>
                      <a:pt x="95" y="0"/>
                      <a:pt x="99" y="3"/>
                      <a:pt x="102" y="5"/>
                    </a:cubicBezTo>
                    <a:cubicBezTo>
                      <a:pt x="107" y="8"/>
                      <a:pt x="115" y="14"/>
                      <a:pt x="121" y="1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nvGrpSpPr>
              <p:cNvPr id="927" name="Group 926"/>
              <p:cNvGrpSpPr/>
              <p:nvPr/>
            </p:nvGrpSpPr>
            <p:grpSpPr>
              <a:xfrm>
                <a:off x="5973079" y="2748470"/>
                <a:ext cx="128016" cy="128016"/>
                <a:chOff x="1520304" y="1939550"/>
                <a:chExt cx="726812" cy="726812"/>
              </a:xfrm>
            </p:grpSpPr>
            <p:sp>
              <p:nvSpPr>
                <p:cNvPr id="928" name="Oval 92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29" name="Group 928"/>
                <p:cNvGrpSpPr/>
                <p:nvPr/>
              </p:nvGrpSpPr>
              <p:grpSpPr>
                <a:xfrm>
                  <a:off x="1627350" y="2071688"/>
                  <a:ext cx="512722" cy="462536"/>
                  <a:chOff x="1302898" y="1640683"/>
                  <a:chExt cx="1201027" cy="1083468"/>
                </a:xfrm>
              </p:grpSpPr>
              <p:sp>
                <p:nvSpPr>
                  <p:cNvPr id="93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15" name="Group 814"/>
              <p:cNvGrpSpPr/>
              <p:nvPr/>
            </p:nvGrpSpPr>
            <p:grpSpPr>
              <a:xfrm>
                <a:off x="9868710" y="3418123"/>
                <a:ext cx="128016" cy="128016"/>
                <a:chOff x="1520304" y="1939550"/>
                <a:chExt cx="726812" cy="726812"/>
              </a:xfrm>
            </p:grpSpPr>
            <p:sp>
              <p:nvSpPr>
                <p:cNvPr id="816" name="Oval 81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17" name="Group 816"/>
                <p:cNvGrpSpPr/>
                <p:nvPr/>
              </p:nvGrpSpPr>
              <p:grpSpPr>
                <a:xfrm>
                  <a:off x="1627350" y="2071688"/>
                  <a:ext cx="512722" cy="462536"/>
                  <a:chOff x="1302898" y="1640683"/>
                  <a:chExt cx="1201027" cy="1083468"/>
                </a:xfrm>
              </p:grpSpPr>
              <p:sp>
                <p:nvSpPr>
                  <p:cNvPr id="81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07" name="Group 806"/>
              <p:cNvGrpSpPr/>
              <p:nvPr/>
            </p:nvGrpSpPr>
            <p:grpSpPr>
              <a:xfrm>
                <a:off x="9771289" y="3315135"/>
                <a:ext cx="128016" cy="128016"/>
                <a:chOff x="1520304" y="1939550"/>
                <a:chExt cx="726812" cy="726812"/>
              </a:xfrm>
            </p:grpSpPr>
            <p:sp>
              <p:nvSpPr>
                <p:cNvPr id="808" name="Oval 80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09" name="Group 808"/>
                <p:cNvGrpSpPr/>
                <p:nvPr/>
              </p:nvGrpSpPr>
              <p:grpSpPr>
                <a:xfrm>
                  <a:off x="1627350" y="2071688"/>
                  <a:ext cx="512722" cy="462536"/>
                  <a:chOff x="1302898" y="1640683"/>
                  <a:chExt cx="1201027" cy="1083468"/>
                </a:xfrm>
              </p:grpSpPr>
              <p:sp>
                <p:nvSpPr>
                  <p:cNvPr id="81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73" name="Group 572"/>
              <p:cNvGrpSpPr/>
              <p:nvPr/>
            </p:nvGrpSpPr>
            <p:grpSpPr>
              <a:xfrm>
                <a:off x="3269362" y="3279968"/>
                <a:ext cx="128016" cy="128016"/>
                <a:chOff x="1520304" y="1939550"/>
                <a:chExt cx="726812" cy="726812"/>
              </a:xfrm>
            </p:grpSpPr>
            <p:sp>
              <p:nvSpPr>
                <p:cNvPr id="574" name="Oval 57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75" name="Group 574"/>
                <p:cNvGrpSpPr/>
                <p:nvPr/>
              </p:nvGrpSpPr>
              <p:grpSpPr>
                <a:xfrm>
                  <a:off x="1627350" y="2071688"/>
                  <a:ext cx="512722" cy="462536"/>
                  <a:chOff x="1302898" y="1640683"/>
                  <a:chExt cx="1201027" cy="1083468"/>
                </a:xfrm>
              </p:grpSpPr>
              <p:sp>
                <p:nvSpPr>
                  <p:cNvPr id="57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70" name="Group 569"/>
              <p:cNvGrpSpPr/>
              <p:nvPr/>
            </p:nvGrpSpPr>
            <p:grpSpPr>
              <a:xfrm>
                <a:off x="3333060" y="3373249"/>
                <a:ext cx="128016" cy="128016"/>
                <a:chOff x="6617763" y="1494678"/>
                <a:chExt cx="188006" cy="188004"/>
              </a:xfrm>
            </p:grpSpPr>
            <p:sp>
              <p:nvSpPr>
                <p:cNvPr id="571" name="Oval 57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87" name="Group 486"/>
              <p:cNvGrpSpPr/>
              <p:nvPr/>
            </p:nvGrpSpPr>
            <p:grpSpPr>
              <a:xfrm>
                <a:off x="2766086" y="3560656"/>
                <a:ext cx="128016" cy="128016"/>
                <a:chOff x="1520304" y="1939550"/>
                <a:chExt cx="726812" cy="726812"/>
              </a:xfrm>
            </p:grpSpPr>
            <p:sp>
              <p:nvSpPr>
                <p:cNvPr id="488" name="Oval 4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89" name="Group 488"/>
                <p:cNvGrpSpPr/>
                <p:nvPr/>
              </p:nvGrpSpPr>
              <p:grpSpPr>
                <a:xfrm>
                  <a:off x="1627350" y="2071688"/>
                  <a:ext cx="512722" cy="462536"/>
                  <a:chOff x="1302898" y="1640683"/>
                  <a:chExt cx="1201027" cy="1083468"/>
                </a:xfrm>
              </p:grpSpPr>
              <p:sp>
                <p:nvSpPr>
                  <p:cNvPr id="49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79" name="Group 478"/>
              <p:cNvGrpSpPr/>
              <p:nvPr/>
            </p:nvGrpSpPr>
            <p:grpSpPr>
              <a:xfrm>
                <a:off x="2720799" y="3588285"/>
                <a:ext cx="128016" cy="128016"/>
                <a:chOff x="1520304" y="1939550"/>
                <a:chExt cx="726812" cy="726812"/>
              </a:xfrm>
            </p:grpSpPr>
            <p:sp>
              <p:nvSpPr>
                <p:cNvPr id="480" name="Oval 4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81" name="Group 480"/>
                <p:cNvGrpSpPr/>
                <p:nvPr/>
              </p:nvGrpSpPr>
              <p:grpSpPr>
                <a:xfrm>
                  <a:off x="1627350" y="2071688"/>
                  <a:ext cx="512722" cy="462536"/>
                  <a:chOff x="1302898" y="1640683"/>
                  <a:chExt cx="1201027" cy="1083468"/>
                </a:xfrm>
              </p:grpSpPr>
              <p:sp>
                <p:nvSpPr>
                  <p:cNvPr id="4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37" name="Group 236"/>
              <p:cNvGrpSpPr/>
              <p:nvPr/>
            </p:nvGrpSpPr>
            <p:grpSpPr>
              <a:xfrm>
                <a:off x="3916060" y="5577983"/>
                <a:ext cx="128016" cy="128016"/>
                <a:chOff x="1520304" y="1939550"/>
                <a:chExt cx="726812" cy="726812"/>
              </a:xfrm>
            </p:grpSpPr>
            <p:sp>
              <p:nvSpPr>
                <p:cNvPr id="238" name="Oval 23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290" name="Group 289"/>
                <p:cNvGrpSpPr/>
                <p:nvPr/>
              </p:nvGrpSpPr>
              <p:grpSpPr>
                <a:xfrm>
                  <a:off x="1627350" y="2071688"/>
                  <a:ext cx="512722" cy="462536"/>
                  <a:chOff x="1302898" y="1640683"/>
                  <a:chExt cx="1201027" cy="1083468"/>
                </a:xfrm>
              </p:grpSpPr>
              <p:sp>
                <p:nvSpPr>
                  <p:cNvPr id="29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96" name="Group 295"/>
              <p:cNvGrpSpPr/>
              <p:nvPr/>
            </p:nvGrpSpPr>
            <p:grpSpPr>
              <a:xfrm>
                <a:off x="3547079" y="5948616"/>
                <a:ext cx="128016" cy="128016"/>
                <a:chOff x="6617763" y="1494678"/>
                <a:chExt cx="188006" cy="188004"/>
              </a:xfrm>
            </p:grpSpPr>
            <p:sp>
              <p:nvSpPr>
                <p:cNvPr id="297" name="Oval 29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9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99" name="Group 298"/>
              <p:cNvGrpSpPr/>
              <p:nvPr/>
            </p:nvGrpSpPr>
            <p:grpSpPr>
              <a:xfrm>
                <a:off x="4296463" y="5522724"/>
                <a:ext cx="128016" cy="128016"/>
                <a:chOff x="6617763" y="1494678"/>
                <a:chExt cx="188006" cy="188004"/>
              </a:xfrm>
            </p:grpSpPr>
            <p:sp>
              <p:nvSpPr>
                <p:cNvPr id="300" name="Oval 299"/>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0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10" name="Group 309"/>
              <p:cNvGrpSpPr/>
              <p:nvPr/>
            </p:nvGrpSpPr>
            <p:grpSpPr>
              <a:xfrm>
                <a:off x="4425893" y="5507189"/>
                <a:ext cx="128016" cy="128016"/>
                <a:chOff x="6617763" y="1494678"/>
                <a:chExt cx="188006" cy="188004"/>
              </a:xfrm>
            </p:grpSpPr>
            <p:sp>
              <p:nvSpPr>
                <p:cNvPr id="327" name="Oval 32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51"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52" name="Group 351"/>
              <p:cNvGrpSpPr/>
              <p:nvPr/>
            </p:nvGrpSpPr>
            <p:grpSpPr>
              <a:xfrm>
                <a:off x="4552535" y="4890648"/>
                <a:ext cx="128016" cy="128016"/>
                <a:chOff x="6617763" y="1494678"/>
                <a:chExt cx="188006" cy="188004"/>
              </a:xfrm>
            </p:grpSpPr>
            <p:sp>
              <p:nvSpPr>
                <p:cNvPr id="377" name="Oval 37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7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79" name="Group 378"/>
              <p:cNvGrpSpPr/>
              <p:nvPr/>
            </p:nvGrpSpPr>
            <p:grpSpPr>
              <a:xfrm>
                <a:off x="811374" y="4005550"/>
                <a:ext cx="128016" cy="128016"/>
                <a:chOff x="1520304" y="1939550"/>
                <a:chExt cx="726812" cy="726812"/>
              </a:xfrm>
            </p:grpSpPr>
            <p:sp>
              <p:nvSpPr>
                <p:cNvPr id="380" name="Oval 3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381" name="Group 380"/>
                <p:cNvGrpSpPr/>
                <p:nvPr/>
              </p:nvGrpSpPr>
              <p:grpSpPr>
                <a:xfrm>
                  <a:off x="1627350" y="2071688"/>
                  <a:ext cx="512722" cy="462536"/>
                  <a:chOff x="1302898" y="1640683"/>
                  <a:chExt cx="1201027" cy="1083468"/>
                </a:xfrm>
              </p:grpSpPr>
              <p:sp>
                <p:nvSpPr>
                  <p:cNvPr id="3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387" name="Group 386"/>
              <p:cNvGrpSpPr/>
              <p:nvPr/>
            </p:nvGrpSpPr>
            <p:grpSpPr>
              <a:xfrm>
                <a:off x="3226557" y="3874799"/>
                <a:ext cx="128016" cy="128016"/>
                <a:chOff x="1520304" y="1939550"/>
                <a:chExt cx="726812" cy="726812"/>
              </a:xfrm>
            </p:grpSpPr>
            <p:sp>
              <p:nvSpPr>
                <p:cNvPr id="388" name="Oval 3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02" name="Group 401"/>
                <p:cNvGrpSpPr/>
                <p:nvPr/>
              </p:nvGrpSpPr>
              <p:grpSpPr>
                <a:xfrm>
                  <a:off x="1627350" y="2071688"/>
                  <a:ext cx="512722" cy="462536"/>
                  <a:chOff x="1302898" y="1640683"/>
                  <a:chExt cx="1201027" cy="1083468"/>
                </a:xfrm>
              </p:grpSpPr>
              <p:sp>
                <p:nvSpPr>
                  <p:cNvPr id="40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08" name="Group 407"/>
              <p:cNvGrpSpPr/>
              <p:nvPr/>
            </p:nvGrpSpPr>
            <p:grpSpPr>
              <a:xfrm>
                <a:off x="2604858" y="4017573"/>
                <a:ext cx="128016" cy="128016"/>
                <a:chOff x="1520304" y="1939550"/>
                <a:chExt cx="726812" cy="726812"/>
              </a:xfrm>
            </p:grpSpPr>
            <p:sp>
              <p:nvSpPr>
                <p:cNvPr id="409" name="Oval 40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10" name="Group 409"/>
                <p:cNvGrpSpPr/>
                <p:nvPr/>
              </p:nvGrpSpPr>
              <p:grpSpPr>
                <a:xfrm>
                  <a:off x="1627350" y="2071688"/>
                  <a:ext cx="512722" cy="462536"/>
                  <a:chOff x="1302898" y="1640683"/>
                  <a:chExt cx="1201027" cy="1083468"/>
                </a:xfrm>
              </p:grpSpPr>
              <p:sp>
                <p:nvSpPr>
                  <p:cNvPr id="41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25" name="Group 424"/>
              <p:cNvGrpSpPr/>
              <p:nvPr/>
            </p:nvGrpSpPr>
            <p:grpSpPr>
              <a:xfrm>
                <a:off x="2509072" y="3602738"/>
                <a:ext cx="128016" cy="128016"/>
                <a:chOff x="1520304" y="1939550"/>
                <a:chExt cx="726812" cy="726812"/>
              </a:xfrm>
            </p:grpSpPr>
            <p:sp>
              <p:nvSpPr>
                <p:cNvPr id="426" name="Oval 42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27" name="Group 426"/>
                <p:cNvGrpSpPr/>
                <p:nvPr/>
              </p:nvGrpSpPr>
              <p:grpSpPr>
                <a:xfrm>
                  <a:off x="1627350" y="2071688"/>
                  <a:ext cx="512722" cy="462536"/>
                  <a:chOff x="1302898" y="1640683"/>
                  <a:chExt cx="1201027" cy="1083468"/>
                </a:xfrm>
              </p:grpSpPr>
              <p:sp>
                <p:nvSpPr>
                  <p:cNvPr id="42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2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33" name="Group 432"/>
              <p:cNvGrpSpPr/>
              <p:nvPr/>
            </p:nvGrpSpPr>
            <p:grpSpPr>
              <a:xfrm>
                <a:off x="2352690" y="3546397"/>
                <a:ext cx="128016" cy="128016"/>
                <a:chOff x="1520304" y="1939550"/>
                <a:chExt cx="726812" cy="726812"/>
              </a:xfrm>
            </p:grpSpPr>
            <p:sp>
              <p:nvSpPr>
                <p:cNvPr id="434" name="Oval 43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35" name="Group 434"/>
                <p:cNvGrpSpPr/>
                <p:nvPr/>
              </p:nvGrpSpPr>
              <p:grpSpPr>
                <a:xfrm>
                  <a:off x="1627350" y="2071688"/>
                  <a:ext cx="512722" cy="462536"/>
                  <a:chOff x="1302898" y="1640683"/>
                  <a:chExt cx="1201027" cy="1083468"/>
                </a:xfrm>
              </p:grpSpPr>
              <p:sp>
                <p:nvSpPr>
                  <p:cNvPr id="43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41" name="Group 440"/>
              <p:cNvGrpSpPr/>
              <p:nvPr/>
            </p:nvGrpSpPr>
            <p:grpSpPr>
              <a:xfrm>
                <a:off x="2201880" y="3414979"/>
                <a:ext cx="128016" cy="128016"/>
                <a:chOff x="1520304" y="1939550"/>
                <a:chExt cx="726812" cy="726812"/>
              </a:xfrm>
            </p:grpSpPr>
            <p:sp>
              <p:nvSpPr>
                <p:cNvPr id="442" name="Oval 44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43" name="Group 442"/>
                <p:cNvGrpSpPr/>
                <p:nvPr/>
              </p:nvGrpSpPr>
              <p:grpSpPr>
                <a:xfrm>
                  <a:off x="1627350" y="2071688"/>
                  <a:ext cx="512722" cy="462536"/>
                  <a:chOff x="1302898" y="1640683"/>
                  <a:chExt cx="1201027" cy="1083468"/>
                </a:xfrm>
              </p:grpSpPr>
              <p:sp>
                <p:nvSpPr>
                  <p:cNvPr id="44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49" name="Group 448"/>
              <p:cNvGrpSpPr/>
              <p:nvPr/>
            </p:nvGrpSpPr>
            <p:grpSpPr>
              <a:xfrm>
                <a:off x="2104493" y="3534947"/>
                <a:ext cx="128016" cy="128016"/>
                <a:chOff x="1520304" y="1939550"/>
                <a:chExt cx="726812" cy="726812"/>
              </a:xfrm>
            </p:grpSpPr>
            <p:sp>
              <p:nvSpPr>
                <p:cNvPr id="450" name="Oval 44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51" name="Group 450"/>
                <p:cNvGrpSpPr/>
                <p:nvPr/>
              </p:nvGrpSpPr>
              <p:grpSpPr>
                <a:xfrm>
                  <a:off x="1627350" y="2071688"/>
                  <a:ext cx="512722" cy="462536"/>
                  <a:chOff x="1302898" y="1640683"/>
                  <a:chExt cx="1201027" cy="1083468"/>
                </a:xfrm>
              </p:grpSpPr>
              <p:sp>
                <p:nvSpPr>
                  <p:cNvPr id="45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57" name="Group 456"/>
              <p:cNvGrpSpPr/>
              <p:nvPr/>
            </p:nvGrpSpPr>
            <p:grpSpPr>
              <a:xfrm>
                <a:off x="2003442" y="3338194"/>
                <a:ext cx="128016" cy="128016"/>
                <a:chOff x="1520304" y="1939550"/>
                <a:chExt cx="726812" cy="726812"/>
              </a:xfrm>
            </p:grpSpPr>
            <p:sp>
              <p:nvSpPr>
                <p:cNvPr id="458" name="Oval 45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59" name="Group 458"/>
                <p:cNvGrpSpPr/>
                <p:nvPr/>
              </p:nvGrpSpPr>
              <p:grpSpPr>
                <a:xfrm>
                  <a:off x="1627350" y="2071688"/>
                  <a:ext cx="512722" cy="462536"/>
                  <a:chOff x="1302898" y="1640683"/>
                  <a:chExt cx="1201027" cy="1083468"/>
                </a:xfrm>
              </p:grpSpPr>
              <p:sp>
                <p:nvSpPr>
                  <p:cNvPr id="46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65" name="Group 464"/>
              <p:cNvGrpSpPr/>
              <p:nvPr/>
            </p:nvGrpSpPr>
            <p:grpSpPr>
              <a:xfrm>
                <a:off x="2817464" y="3664985"/>
                <a:ext cx="128016" cy="128016"/>
                <a:chOff x="1520304" y="1939550"/>
                <a:chExt cx="726812" cy="726812"/>
              </a:xfrm>
            </p:grpSpPr>
            <p:sp>
              <p:nvSpPr>
                <p:cNvPr id="466" name="Oval 46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67" name="Group 466"/>
                <p:cNvGrpSpPr/>
                <p:nvPr/>
              </p:nvGrpSpPr>
              <p:grpSpPr>
                <a:xfrm>
                  <a:off x="1627350" y="2071688"/>
                  <a:ext cx="512722" cy="462536"/>
                  <a:chOff x="1302898" y="1640683"/>
                  <a:chExt cx="1201027" cy="1083468"/>
                </a:xfrm>
              </p:grpSpPr>
              <p:sp>
                <p:nvSpPr>
                  <p:cNvPr id="46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73" name="Group 472"/>
              <p:cNvGrpSpPr/>
              <p:nvPr/>
            </p:nvGrpSpPr>
            <p:grpSpPr>
              <a:xfrm>
                <a:off x="2732387" y="3720244"/>
                <a:ext cx="128016" cy="128016"/>
                <a:chOff x="6617763" y="1494678"/>
                <a:chExt cx="188006" cy="188004"/>
              </a:xfrm>
            </p:grpSpPr>
            <p:sp>
              <p:nvSpPr>
                <p:cNvPr id="474" name="Oval 47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47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76" name="Group 475"/>
              <p:cNvGrpSpPr/>
              <p:nvPr/>
            </p:nvGrpSpPr>
            <p:grpSpPr>
              <a:xfrm>
                <a:off x="2008100" y="3359241"/>
                <a:ext cx="128016" cy="128016"/>
                <a:chOff x="6617763" y="1494678"/>
                <a:chExt cx="188006" cy="188004"/>
              </a:xfrm>
            </p:grpSpPr>
            <p:sp>
              <p:nvSpPr>
                <p:cNvPr id="477" name="Oval 47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47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95" name="Group 494"/>
              <p:cNvGrpSpPr/>
              <p:nvPr/>
            </p:nvGrpSpPr>
            <p:grpSpPr>
              <a:xfrm>
                <a:off x="3098555" y="3597686"/>
                <a:ext cx="128016" cy="128016"/>
                <a:chOff x="1520304" y="1939550"/>
                <a:chExt cx="726812" cy="726812"/>
              </a:xfrm>
            </p:grpSpPr>
            <p:sp>
              <p:nvSpPr>
                <p:cNvPr id="496" name="Oval 49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97" name="Group 496"/>
                <p:cNvGrpSpPr/>
                <p:nvPr/>
              </p:nvGrpSpPr>
              <p:grpSpPr>
                <a:xfrm>
                  <a:off x="1627350" y="2071688"/>
                  <a:ext cx="512722" cy="462536"/>
                  <a:chOff x="1302898" y="1640683"/>
                  <a:chExt cx="1201027" cy="1083468"/>
                </a:xfrm>
              </p:grpSpPr>
              <p:sp>
                <p:nvSpPr>
                  <p:cNvPr id="49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03" name="Group 502"/>
              <p:cNvGrpSpPr/>
              <p:nvPr/>
            </p:nvGrpSpPr>
            <p:grpSpPr>
              <a:xfrm>
                <a:off x="2449931" y="3334672"/>
                <a:ext cx="128016" cy="128016"/>
                <a:chOff x="1520304" y="1939550"/>
                <a:chExt cx="726812" cy="726812"/>
              </a:xfrm>
            </p:grpSpPr>
            <p:sp>
              <p:nvSpPr>
                <p:cNvPr id="504" name="Oval 50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05" name="Group 504"/>
                <p:cNvGrpSpPr/>
                <p:nvPr/>
              </p:nvGrpSpPr>
              <p:grpSpPr>
                <a:xfrm>
                  <a:off x="1627350" y="2071688"/>
                  <a:ext cx="512722" cy="462536"/>
                  <a:chOff x="1302898" y="1640683"/>
                  <a:chExt cx="1201027" cy="1083468"/>
                </a:xfrm>
              </p:grpSpPr>
              <p:sp>
                <p:nvSpPr>
                  <p:cNvPr id="50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1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11" name="Group 510"/>
              <p:cNvGrpSpPr/>
              <p:nvPr/>
            </p:nvGrpSpPr>
            <p:grpSpPr>
              <a:xfrm>
                <a:off x="2452750" y="3300492"/>
                <a:ext cx="128016" cy="128016"/>
                <a:chOff x="6617763" y="1494678"/>
                <a:chExt cx="188006" cy="188004"/>
              </a:xfrm>
            </p:grpSpPr>
            <p:sp>
              <p:nvSpPr>
                <p:cNvPr id="512" name="Oval 51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1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45" name="Group 544"/>
              <p:cNvGrpSpPr/>
              <p:nvPr/>
            </p:nvGrpSpPr>
            <p:grpSpPr>
              <a:xfrm>
                <a:off x="2818125" y="3258368"/>
                <a:ext cx="128016" cy="128016"/>
                <a:chOff x="6617763" y="1494678"/>
                <a:chExt cx="188006" cy="188004"/>
              </a:xfrm>
            </p:grpSpPr>
            <p:sp>
              <p:nvSpPr>
                <p:cNvPr id="546" name="Oval 54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4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48" name="Group 547"/>
              <p:cNvGrpSpPr/>
              <p:nvPr/>
            </p:nvGrpSpPr>
            <p:grpSpPr>
              <a:xfrm>
                <a:off x="3016135" y="3243436"/>
                <a:ext cx="128016" cy="128016"/>
                <a:chOff x="1520304" y="1939550"/>
                <a:chExt cx="726812" cy="726812"/>
              </a:xfrm>
            </p:grpSpPr>
            <p:sp>
              <p:nvSpPr>
                <p:cNvPr id="549" name="Oval 54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50" name="Group 549"/>
                <p:cNvGrpSpPr/>
                <p:nvPr/>
              </p:nvGrpSpPr>
              <p:grpSpPr>
                <a:xfrm>
                  <a:off x="1627350" y="2071688"/>
                  <a:ext cx="512722" cy="462536"/>
                  <a:chOff x="1302898" y="1640683"/>
                  <a:chExt cx="1201027" cy="1083468"/>
                </a:xfrm>
              </p:grpSpPr>
              <p:sp>
                <p:nvSpPr>
                  <p:cNvPr id="55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56" name="Group 555"/>
              <p:cNvGrpSpPr/>
              <p:nvPr/>
            </p:nvGrpSpPr>
            <p:grpSpPr>
              <a:xfrm>
                <a:off x="3001301" y="3228636"/>
                <a:ext cx="128016" cy="128016"/>
                <a:chOff x="6617763" y="1494678"/>
                <a:chExt cx="188006" cy="188004"/>
              </a:xfrm>
            </p:grpSpPr>
            <p:sp>
              <p:nvSpPr>
                <p:cNvPr id="557" name="Oval 55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5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59" name="Group 558"/>
              <p:cNvGrpSpPr/>
              <p:nvPr/>
            </p:nvGrpSpPr>
            <p:grpSpPr>
              <a:xfrm>
                <a:off x="3526736" y="3231225"/>
                <a:ext cx="128016" cy="128016"/>
                <a:chOff x="1520304" y="1939550"/>
                <a:chExt cx="726812" cy="726812"/>
              </a:xfrm>
            </p:grpSpPr>
            <p:sp>
              <p:nvSpPr>
                <p:cNvPr id="560" name="Oval 55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61" name="Group 560"/>
                <p:cNvGrpSpPr/>
                <p:nvPr/>
              </p:nvGrpSpPr>
              <p:grpSpPr>
                <a:xfrm>
                  <a:off x="1627350" y="2071688"/>
                  <a:ext cx="512722" cy="462536"/>
                  <a:chOff x="1302898" y="1640683"/>
                  <a:chExt cx="1201027" cy="1083468"/>
                </a:xfrm>
              </p:grpSpPr>
              <p:sp>
                <p:nvSpPr>
                  <p:cNvPr id="56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67" name="Group 566"/>
              <p:cNvGrpSpPr/>
              <p:nvPr/>
            </p:nvGrpSpPr>
            <p:grpSpPr>
              <a:xfrm>
                <a:off x="3285210" y="3453320"/>
                <a:ext cx="128016" cy="128016"/>
                <a:chOff x="6617763" y="1494678"/>
                <a:chExt cx="188006" cy="188004"/>
              </a:xfrm>
            </p:grpSpPr>
            <p:sp>
              <p:nvSpPr>
                <p:cNvPr id="568" name="Oval 56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6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1" name="Group 580"/>
              <p:cNvGrpSpPr/>
              <p:nvPr/>
            </p:nvGrpSpPr>
            <p:grpSpPr>
              <a:xfrm>
                <a:off x="3339456" y="3168944"/>
                <a:ext cx="128016" cy="128016"/>
                <a:chOff x="6617763" y="1494678"/>
                <a:chExt cx="188006" cy="188004"/>
              </a:xfrm>
            </p:grpSpPr>
            <p:sp>
              <p:nvSpPr>
                <p:cNvPr id="582" name="Oval 58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8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4" name="Group 583"/>
              <p:cNvGrpSpPr/>
              <p:nvPr/>
            </p:nvGrpSpPr>
            <p:grpSpPr>
              <a:xfrm>
                <a:off x="3610618" y="3130082"/>
                <a:ext cx="128016" cy="128016"/>
                <a:chOff x="1520304" y="1939550"/>
                <a:chExt cx="726812" cy="726812"/>
              </a:xfrm>
            </p:grpSpPr>
            <p:sp>
              <p:nvSpPr>
                <p:cNvPr id="585" name="Oval 58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86" name="Group 585"/>
                <p:cNvGrpSpPr/>
                <p:nvPr/>
              </p:nvGrpSpPr>
              <p:grpSpPr>
                <a:xfrm>
                  <a:off x="1627350" y="2071688"/>
                  <a:ext cx="512722" cy="462536"/>
                  <a:chOff x="1302898" y="1640683"/>
                  <a:chExt cx="1201027" cy="1083468"/>
                </a:xfrm>
              </p:grpSpPr>
              <p:sp>
                <p:nvSpPr>
                  <p:cNvPr id="58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92" name="Group 591"/>
              <p:cNvGrpSpPr/>
              <p:nvPr/>
            </p:nvGrpSpPr>
            <p:grpSpPr>
              <a:xfrm>
                <a:off x="3515161" y="3018209"/>
                <a:ext cx="128016" cy="128016"/>
                <a:chOff x="1520304" y="1939550"/>
                <a:chExt cx="726812" cy="726812"/>
              </a:xfrm>
            </p:grpSpPr>
            <p:sp>
              <p:nvSpPr>
                <p:cNvPr id="593" name="Oval 59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94" name="Group 593"/>
                <p:cNvGrpSpPr/>
                <p:nvPr/>
              </p:nvGrpSpPr>
              <p:grpSpPr>
                <a:xfrm>
                  <a:off x="1627350" y="2071688"/>
                  <a:ext cx="512722" cy="462536"/>
                  <a:chOff x="1302898" y="1640683"/>
                  <a:chExt cx="1201027" cy="1083468"/>
                </a:xfrm>
              </p:grpSpPr>
              <p:sp>
                <p:nvSpPr>
                  <p:cNvPr id="59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00" name="Group 599"/>
              <p:cNvGrpSpPr/>
              <p:nvPr/>
            </p:nvGrpSpPr>
            <p:grpSpPr>
              <a:xfrm>
                <a:off x="3584436" y="2988961"/>
                <a:ext cx="128016" cy="128016"/>
                <a:chOff x="6617763" y="1494678"/>
                <a:chExt cx="188006" cy="188004"/>
              </a:xfrm>
            </p:grpSpPr>
            <p:sp>
              <p:nvSpPr>
                <p:cNvPr id="601" name="Oval 60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0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03" name="Group 602"/>
              <p:cNvGrpSpPr/>
              <p:nvPr/>
            </p:nvGrpSpPr>
            <p:grpSpPr>
              <a:xfrm>
                <a:off x="1930285" y="2970174"/>
                <a:ext cx="128016" cy="128016"/>
                <a:chOff x="1520304" y="1939550"/>
                <a:chExt cx="726812" cy="726812"/>
              </a:xfrm>
            </p:grpSpPr>
            <p:sp>
              <p:nvSpPr>
                <p:cNvPr id="604" name="Oval 60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05" name="Group 604"/>
                <p:cNvGrpSpPr/>
                <p:nvPr/>
              </p:nvGrpSpPr>
              <p:grpSpPr>
                <a:xfrm>
                  <a:off x="1627350" y="2071688"/>
                  <a:ext cx="512722" cy="462536"/>
                  <a:chOff x="1302898" y="1640683"/>
                  <a:chExt cx="1201027" cy="1083468"/>
                </a:xfrm>
              </p:grpSpPr>
              <p:sp>
                <p:nvSpPr>
                  <p:cNvPr id="60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11" name="Group 610"/>
              <p:cNvGrpSpPr/>
              <p:nvPr/>
            </p:nvGrpSpPr>
            <p:grpSpPr>
              <a:xfrm>
                <a:off x="1948343" y="2887411"/>
                <a:ext cx="128016" cy="128016"/>
                <a:chOff x="1520304" y="1939550"/>
                <a:chExt cx="726812" cy="726812"/>
              </a:xfrm>
            </p:grpSpPr>
            <p:sp>
              <p:nvSpPr>
                <p:cNvPr id="612" name="Oval 61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13" name="Group 612"/>
                <p:cNvGrpSpPr/>
                <p:nvPr/>
              </p:nvGrpSpPr>
              <p:grpSpPr>
                <a:xfrm>
                  <a:off x="1627350" y="2071688"/>
                  <a:ext cx="512722" cy="462536"/>
                  <a:chOff x="1302898" y="1640683"/>
                  <a:chExt cx="1201027" cy="1083468"/>
                </a:xfrm>
              </p:grpSpPr>
              <p:sp>
                <p:nvSpPr>
                  <p:cNvPr id="61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19" name="Group 618"/>
              <p:cNvGrpSpPr/>
              <p:nvPr/>
            </p:nvGrpSpPr>
            <p:grpSpPr>
              <a:xfrm>
                <a:off x="2060951" y="3025193"/>
                <a:ext cx="128016" cy="128016"/>
                <a:chOff x="6617763" y="1494678"/>
                <a:chExt cx="188006" cy="188004"/>
              </a:xfrm>
            </p:grpSpPr>
            <p:sp>
              <p:nvSpPr>
                <p:cNvPr id="620" name="Oval 619"/>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21"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22" name="Group 621"/>
              <p:cNvGrpSpPr/>
              <p:nvPr/>
            </p:nvGrpSpPr>
            <p:grpSpPr>
              <a:xfrm>
                <a:off x="1077597" y="2322184"/>
                <a:ext cx="128016" cy="128016"/>
                <a:chOff x="1520304" y="1939550"/>
                <a:chExt cx="726812" cy="726812"/>
              </a:xfrm>
            </p:grpSpPr>
            <p:sp>
              <p:nvSpPr>
                <p:cNvPr id="623" name="Oval 62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24" name="Group 623"/>
                <p:cNvGrpSpPr/>
                <p:nvPr/>
              </p:nvGrpSpPr>
              <p:grpSpPr>
                <a:xfrm>
                  <a:off x="1627350" y="2071688"/>
                  <a:ext cx="512722" cy="462536"/>
                  <a:chOff x="1302898" y="1640683"/>
                  <a:chExt cx="1201027" cy="1083468"/>
                </a:xfrm>
              </p:grpSpPr>
              <p:sp>
                <p:nvSpPr>
                  <p:cNvPr id="62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30" name="Group 629"/>
              <p:cNvGrpSpPr/>
              <p:nvPr/>
            </p:nvGrpSpPr>
            <p:grpSpPr>
              <a:xfrm>
                <a:off x="6371821" y="5896574"/>
                <a:ext cx="128016" cy="128016"/>
                <a:chOff x="1520304" y="1939550"/>
                <a:chExt cx="726812" cy="726812"/>
              </a:xfrm>
            </p:grpSpPr>
            <p:sp>
              <p:nvSpPr>
                <p:cNvPr id="631" name="Oval 63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32" name="Group 631"/>
                <p:cNvGrpSpPr/>
                <p:nvPr/>
              </p:nvGrpSpPr>
              <p:grpSpPr>
                <a:xfrm>
                  <a:off x="1627350" y="2071688"/>
                  <a:ext cx="512722" cy="462536"/>
                  <a:chOff x="1302898" y="1640683"/>
                  <a:chExt cx="1201027" cy="1083468"/>
                </a:xfrm>
              </p:grpSpPr>
              <p:sp>
                <p:nvSpPr>
                  <p:cNvPr id="63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38" name="Group 637"/>
              <p:cNvGrpSpPr/>
              <p:nvPr/>
            </p:nvGrpSpPr>
            <p:grpSpPr>
              <a:xfrm>
                <a:off x="6681787" y="5575010"/>
                <a:ext cx="128016" cy="128016"/>
                <a:chOff x="1520304" y="1939550"/>
                <a:chExt cx="726812" cy="726812"/>
              </a:xfrm>
            </p:grpSpPr>
            <p:sp>
              <p:nvSpPr>
                <p:cNvPr id="639" name="Oval 63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40" name="Group 639"/>
                <p:cNvGrpSpPr/>
                <p:nvPr/>
              </p:nvGrpSpPr>
              <p:grpSpPr>
                <a:xfrm>
                  <a:off x="1627350" y="2071688"/>
                  <a:ext cx="512722" cy="462536"/>
                  <a:chOff x="1302898" y="1640683"/>
                  <a:chExt cx="1201027" cy="1083468"/>
                </a:xfrm>
              </p:grpSpPr>
              <p:sp>
                <p:nvSpPr>
                  <p:cNvPr id="64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46" name="Group 645"/>
              <p:cNvGrpSpPr/>
              <p:nvPr/>
            </p:nvGrpSpPr>
            <p:grpSpPr>
              <a:xfrm>
                <a:off x="6216668" y="4937915"/>
                <a:ext cx="128016" cy="128016"/>
                <a:chOff x="1520304" y="1939550"/>
                <a:chExt cx="726812" cy="726812"/>
              </a:xfrm>
            </p:grpSpPr>
            <p:sp>
              <p:nvSpPr>
                <p:cNvPr id="647" name="Oval 64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48" name="Group 647"/>
                <p:cNvGrpSpPr/>
                <p:nvPr/>
              </p:nvGrpSpPr>
              <p:grpSpPr>
                <a:xfrm>
                  <a:off x="1627350" y="2071688"/>
                  <a:ext cx="512722" cy="462536"/>
                  <a:chOff x="1302898" y="1640683"/>
                  <a:chExt cx="1201027" cy="1083468"/>
                </a:xfrm>
              </p:grpSpPr>
              <p:sp>
                <p:nvSpPr>
                  <p:cNvPr id="64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54" name="Group 653"/>
              <p:cNvGrpSpPr/>
              <p:nvPr/>
            </p:nvGrpSpPr>
            <p:grpSpPr>
              <a:xfrm>
                <a:off x="7659205" y="3891530"/>
                <a:ext cx="128016" cy="128016"/>
                <a:chOff x="1520304" y="1939550"/>
                <a:chExt cx="726812" cy="726812"/>
              </a:xfrm>
            </p:grpSpPr>
            <p:sp>
              <p:nvSpPr>
                <p:cNvPr id="655" name="Oval 65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56" name="Group 655"/>
                <p:cNvGrpSpPr/>
                <p:nvPr/>
              </p:nvGrpSpPr>
              <p:grpSpPr>
                <a:xfrm>
                  <a:off x="1627350" y="2071688"/>
                  <a:ext cx="512722" cy="462536"/>
                  <a:chOff x="1302898" y="1640683"/>
                  <a:chExt cx="1201027" cy="1083468"/>
                </a:xfrm>
              </p:grpSpPr>
              <p:sp>
                <p:nvSpPr>
                  <p:cNvPr id="65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62" name="Group 661"/>
              <p:cNvGrpSpPr/>
              <p:nvPr/>
            </p:nvGrpSpPr>
            <p:grpSpPr>
              <a:xfrm>
                <a:off x="7574787" y="3798824"/>
                <a:ext cx="128016" cy="128016"/>
                <a:chOff x="1520304" y="1939550"/>
                <a:chExt cx="726812" cy="726812"/>
              </a:xfrm>
            </p:grpSpPr>
            <p:sp>
              <p:nvSpPr>
                <p:cNvPr id="663" name="Oval 66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64" name="Group 663"/>
                <p:cNvGrpSpPr/>
                <p:nvPr/>
              </p:nvGrpSpPr>
              <p:grpSpPr>
                <a:xfrm>
                  <a:off x="1627350" y="2071688"/>
                  <a:ext cx="512722" cy="462536"/>
                  <a:chOff x="1302898" y="1640683"/>
                  <a:chExt cx="1201027" cy="1083468"/>
                </a:xfrm>
              </p:grpSpPr>
              <p:sp>
                <p:nvSpPr>
                  <p:cNvPr id="66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70" name="Group 669"/>
              <p:cNvGrpSpPr/>
              <p:nvPr/>
            </p:nvGrpSpPr>
            <p:grpSpPr>
              <a:xfrm>
                <a:off x="7421402" y="3843003"/>
                <a:ext cx="128016" cy="128016"/>
                <a:chOff x="1520304" y="1939550"/>
                <a:chExt cx="726812" cy="726812"/>
              </a:xfrm>
            </p:grpSpPr>
            <p:sp>
              <p:nvSpPr>
                <p:cNvPr id="671" name="Oval 67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72" name="Group 671"/>
                <p:cNvGrpSpPr/>
                <p:nvPr/>
              </p:nvGrpSpPr>
              <p:grpSpPr>
                <a:xfrm>
                  <a:off x="1627350" y="2071688"/>
                  <a:ext cx="512722" cy="462536"/>
                  <a:chOff x="1302898" y="1640683"/>
                  <a:chExt cx="1201027" cy="1083468"/>
                </a:xfrm>
              </p:grpSpPr>
              <p:sp>
                <p:nvSpPr>
                  <p:cNvPr id="67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78" name="Group 677"/>
              <p:cNvGrpSpPr/>
              <p:nvPr/>
            </p:nvGrpSpPr>
            <p:grpSpPr>
              <a:xfrm>
                <a:off x="7355894" y="3752474"/>
                <a:ext cx="128016" cy="128016"/>
                <a:chOff x="1520304" y="1939550"/>
                <a:chExt cx="726812" cy="726812"/>
              </a:xfrm>
            </p:grpSpPr>
            <p:sp>
              <p:nvSpPr>
                <p:cNvPr id="679" name="Oval 67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80" name="Group 679"/>
                <p:cNvGrpSpPr/>
                <p:nvPr/>
              </p:nvGrpSpPr>
              <p:grpSpPr>
                <a:xfrm>
                  <a:off x="1627350" y="2071688"/>
                  <a:ext cx="512722" cy="462536"/>
                  <a:chOff x="1302898" y="1640683"/>
                  <a:chExt cx="1201027" cy="1083468"/>
                </a:xfrm>
              </p:grpSpPr>
              <p:sp>
                <p:nvSpPr>
                  <p:cNvPr id="68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86" name="Group 685"/>
              <p:cNvGrpSpPr/>
              <p:nvPr/>
            </p:nvGrpSpPr>
            <p:grpSpPr>
              <a:xfrm>
                <a:off x="8358732" y="4471451"/>
                <a:ext cx="128016" cy="128016"/>
                <a:chOff x="1520304" y="1939550"/>
                <a:chExt cx="726812" cy="726812"/>
              </a:xfrm>
            </p:grpSpPr>
            <p:sp>
              <p:nvSpPr>
                <p:cNvPr id="687" name="Oval 68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88" name="Group 687"/>
                <p:cNvGrpSpPr/>
                <p:nvPr/>
              </p:nvGrpSpPr>
              <p:grpSpPr>
                <a:xfrm>
                  <a:off x="1627350" y="2071688"/>
                  <a:ext cx="512722" cy="462536"/>
                  <a:chOff x="1302898" y="1640683"/>
                  <a:chExt cx="1201027" cy="1083468"/>
                </a:xfrm>
              </p:grpSpPr>
              <p:sp>
                <p:nvSpPr>
                  <p:cNvPr id="68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94" name="Group 693"/>
              <p:cNvGrpSpPr/>
              <p:nvPr/>
            </p:nvGrpSpPr>
            <p:grpSpPr>
              <a:xfrm>
                <a:off x="8279282" y="3779593"/>
                <a:ext cx="128016" cy="128016"/>
                <a:chOff x="1520304" y="1939550"/>
                <a:chExt cx="726812" cy="726812"/>
              </a:xfrm>
            </p:grpSpPr>
            <p:sp>
              <p:nvSpPr>
                <p:cNvPr id="695" name="Oval 69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96" name="Group 695"/>
                <p:cNvGrpSpPr/>
                <p:nvPr/>
              </p:nvGrpSpPr>
              <p:grpSpPr>
                <a:xfrm>
                  <a:off x="1627350" y="2071688"/>
                  <a:ext cx="512722" cy="462536"/>
                  <a:chOff x="1302898" y="1640683"/>
                  <a:chExt cx="1201027" cy="1083468"/>
                </a:xfrm>
              </p:grpSpPr>
              <p:sp>
                <p:nvSpPr>
                  <p:cNvPr id="69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0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0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02" name="Group 701"/>
              <p:cNvGrpSpPr/>
              <p:nvPr/>
            </p:nvGrpSpPr>
            <p:grpSpPr>
              <a:xfrm>
                <a:off x="8101503" y="3936536"/>
                <a:ext cx="128016" cy="128016"/>
                <a:chOff x="6617763" y="1494678"/>
                <a:chExt cx="188006" cy="188004"/>
              </a:xfrm>
            </p:grpSpPr>
            <p:sp>
              <p:nvSpPr>
                <p:cNvPr id="703" name="Oval 702"/>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04"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05" name="Group 704"/>
              <p:cNvGrpSpPr/>
              <p:nvPr/>
            </p:nvGrpSpPr>
            <p:grpSpPr>
              <a:xfrm>
                <a:off x="8139273" y="4017327"/>
                <a:ext cx="128016" cy="128016"/>
                <a:chOff x="6617763" y="1494678"/>
                <a:chExt cx="188006" cy="188004"/>
              </a:xfrm>
            </p:grpSpPr>
            <p:sp>
              <p:nvSpPr>
                <p:cNvPr id="706" name="Oval 70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0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08" name="Group 707"/>
              <p:cNvGrpSpPr/>
              <p:nvPr/>
            </p:nvGrpSpPr>
            <p:grpSpPr>
              <a:xfrm>
                <a:off x="8310065" y="4212589"/>
                <a:ext cx="128016" cy="128016"/>
                <a:chOff x="6617763" y="1494678"/>
                <a:chExt cx="188006" cy="188004"/>
              </a:xfrm>
            </p:grpSpPr>
            <p:sp>
              <p:nvSpPr>
                <p:cNvPr id="709" name="Oval 70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1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11" name="Group 710"/>
              <p:cNvGrpSpPr/>
              <p:nvPr/>
            </p:nvGrpSpPr>
            <p:grpSpPr>
              <a:xfrm>
                <a:off x="8965083" y="4234026"/>
                <a:ext cx="128016" cy="128016"/>
                <a:chOff x="1520304" y="1939550"/>
                <a:chExt cx="726812" cy="726812"/>
              </a:xfrm>
            </p:grpSpPr>
            <p:sp>
              <p:nvSpPr>
                <p:cNvPr id="712" name="Oval 71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13" name="Group 712"/>
                <p:cNvGrpSpPr/>
                <p:nvPr/>
              </p:nvGrpSpPr>
              <p:grpSpPr>
                <a:xfrm>
                  <a:off x="1627350" y="2071688"/>
                  <a:ext cx="512722" cy="462536"/>
                  <a:chOff x="1302898" y="1640683"/>
                  <a:chExt cx="1201027" cy="1083468"/>
                </a:xfrm>
              </p:grpSpPr>
              <p:sp>
                <p:nvSpPr>
                  <p:cNvPr id="71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19" name="Group 718"/>
              <p:cNvGrpSpPr/>
              <p:nvPr/>
            </p:nvGrpSpPr>
            <p:grpSpPr>
              <a:xfrm>
                <a:off x="8984296" y="4562653"/>
                <a:ext cx="128016" cy="128016"/>
                <a:chOff x="1520304" y="1939550"/>
                <a:chExt cx="726812" cy="726812"/>
              </a:xfrm>
            </p:grpSpPr>
            <p:sp>
              <p:nvSpPr>
                <p:cNvPr id="720" name="Oval 71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21" name="Group 720"/>
                <p:cNvGrpSpPr/>
                <p:nvPr/>
              </p:nvGrpSpPr>
              <p:grpSpPr>
                <a:xfrm>
                  <a:off x="1627350" y="2071688"/>
                  <a:ext cx="512722" cy="462536"/>
                  <a:chOff x="1302898" y="1640683"/>
                  <a:chExt cx="1201027" cy="1083468"/>
                </a:xfrm>
              </p:grpSpPr>
              <p:sp>
                <p:nvSpPr>
                  <p:cNvPr id="72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27" name="Group 726"/>
              <p:cNvGrpSpPr/>
              <p:nvPr/>
            </p:nvGrpSpPr>
            <p:grpSpPr>
              <a:xfrm>
                <a:off x="9065695" y="4625407"/>
                <a:ext cx="128016" cy="128016"/>
                <a:chOff x="6617763" y="1494678"/>
                <a:chExt cx="188006" cy="188004"/>
              </a:xfrm>
            </p:grpSpPr>
            <p:sp>
              <p:nvSpPr>
                <p:cNvPr id="728" name="Oval 72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2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30" name="Group 729"/>
              <p:cNvGrpSpPr/>
              <p:nvPr/>
            </p:nvGrpSpPr>
            <p:grpSpPr>
              <a:xfrm>
                <a:off x="9130227" y="4693233"/>
                <a:ext cx="128016" cy="128016"/>
                <a:chOff x="6617763" y="1494678"/>
                <a:chExt cx="188006" cy="188004"/>
              </a:xfrm>
            </p:grpSpPr>
            <p:sp>
              <p:nvSpPr>
                <p:cNvPr id="731" name="Oval 73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3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33" name="Group 732"/>
              <p:cNvGrpSpPr/>
              <p:nvPr/>
            </p:nvGrpSpPr>
            <p:grpSpPr>
              <a:xfrm>
                <a:off x="9461015" y="5876549"/>
                <a:ext cx="128016" cy="128016"/>
                <a:chOff x="1520304" y="1939550"/>
                <a:chExt cx="726812" cy="726812"/>
              </a:xfrm>
            </p:grpSpPr>
            <p:sp>
              <p:nvSpPr>
                <p:cNvPr id="734" name="Oval 73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35" name="Group 734"/>
                <p:cNvGrpSpPr/>
                <p:nvPr/>
              </p:nvGrpSpPr>
              <p:grpSpPr>
                <a:xfrm>
                  <a:off x="1627350" y="2071688"/>
                  <a:ext cx="512722" cy="462536"/>
                  <a:chOff x="1302898" y="1640683"/>
                  <a:chExt cx="1201027" cy="1083468"/>
                </a:xfrm>
              </p:grpSpPr>
              <p:sp>
                <p:nvSpPr>
                  <p:cNvPr id="73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4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44" name="Group 743"/>
              <p:cNvGrpSpPr/>
              <p:nvPr/>
            </p:nvGrpSpPr>
            <p:grpSpPr>
              <a:xfrm>
                <a:off x="10362561" y="6094415"/>
                <a:ext cx="128016" cy="128016"/>
                <a:chOff x="6617763" y="1494678"/>
                <a:chExt cx="188006" cy="188004"/>
              </a:xfrm>
            </p:grpSpPr>
            <p:sp>
              <p:nvSpPr>
                <p:cNvPr id="745" name="Oval 74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4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47" name="Group 746"/>
              <p:cNvGrpSpPr/>
              <p:nvPr/>
            </p:nvGrpSpPr>
            <p:grpSpPr>
              <a:xfrm>
                <a:off x="10553982" y="5958094"/>
                <a:ext cx="128016" cy="128016"/>
                <a:chOff x="1520304" y="1939550"/>
                <a:chExt cx="726812" cy="726812"/>
              </a:xfrm>
            </p:grpSpPr>
            <p:sp>
              <p:nvSpPr>
                <p:cNvPr id="748" name="Oval 74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49" name="Group 748"/>
                <p:cNvGrpSpPr/>
                <p:nvPr/>
              </p:nvGrpSpPr>
              <p:grpSpPr>
                <a:xfrm>
                  <a:off x="1627350" y="2071688"/>
                  <a:ext cx="512722" cy="462536"/>
                  <a:chOff x="1302898" y="1640683"/>
                  <a:chExt cx="1201027" cy="1083468"/>
                </a:xfrm>
              </p:grpSpPr>
              <p:sp>
                <p:nvSpPr>
                  <p:cNvPr id="75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55" name="Group 754"/>
              <p:cNvGrpSpPr/>
              <p:nvPr/>
            </p:nvGrpSpPr>
            <p:grpSpPr>
              <a:xfrm>
                <a:off x="10612354" y="5638812"/>
                <a:ext cx="128016" cy="128016"/>
                <a:chOff x="1520304" y="1939550"/>
                <a:chExt cx="726812" cy="726812"/>
              </a:xfrm>
            </p:grpSpPr>
            <p:sp>
              <p:nvSpPr>
                <p:cNvPr id="756" name="Oval 75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57" name="Group 756"/>
                <p:cNvGrpSpPr/>
                <p:nvPr/>
              </p:nvGrpSpPr>
              <p:grpSpPr>
                <a:xfrm>
                  <a:off x="1627350" y="2071688"/>
                  <a:ext cx="512722" cy="462536"/>
                  <a:chOff x="1302898" y="1640683"/>
                  <a:chExt cx="1201027" cy="1083468"/>
                </a:xfrm>
              </p:grpSpPr>
              <p:sp>
                <p:nvSpPr>
                  <p:cNvPr id="75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41" name="Group 740"/>
              <p:cNvGrpSpPr/>
              <p:nvPr/>
            </p:nvGrpSpPr>
            <p:grpSpPr>
              <a:xfrm>
                <a:off x="10543574" y="5959393"/>
                <a:ext cx="128016" cy="128016"/>
                <a:chOff x="6617763" y="1494678"/>
                <a:chExt cx="188006" cy="188004"/>
              </a:xfrm>
            </p:grpSpPr>
            <p:sp>
              <p:nvSpPr>
                <p:cNvPr id="742" name="Oval 74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4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63" name="Group 762"/>
              <p:cNvGrpSpPr/>
              <p:nvPr/>
            </p:nvGrpSpPr>
            <p:grpSpPr>
              <a:xfrm>
                <a:off x="11296165" y="6115852"/>
                <a:ext cx="128016" cy="128016"/>
                <a:chOff x="1520304" y="1939550"/>
                <a:chExt cx="726812" cy="726812"/>
              </a:xfrm>
            </p:grpSpPr>
            <p:sp>
              <p:nvSpPr>
                <p:cNvPr id="764" name="Oval 76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65" name="Group 764"/>
                <p:cNvGrpSpPr/>
                <p:nvPr/>
              </p:nvGrpSpPr>
              <p:grpSpPr>
                <a:xfrm>
                  <a:off x="1627350" y="2071688"/>
                  <a:ext cx="512722" cy="462536"/>
                  <a:chOff x="1302898" y="1640683"/>
                  <a:chExt cx="1201027" cy="1083468"/>
                </a:xfrm>
              </p:grpSpPr>
              <p:sp>
                <p:nvSpPr>
                  <p:cNvPr id="76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71" name="Group 770"/>
              <p:cNvGrpSpPr/>
              <p:nvPr/>
            </p:nvGrpSpPr>
            <p:grpSpPr>
              <a:xfrm>
                <a:off x="10496419" y="4324031"/>
                <a:ext cx="128016" cy="128016"/>
                <a:chOff x="1520304" y="1939550"/>
                <a:chExt cx="726812" cy="726812"/>
              </a:xfrm>
            </p:grpSpPr>
            <p:sp>
              <p:nvSpPr>
                <p:cNvPr id="772" name="Oval 77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73" name="Group 772"/>
                <p:cNvGrpSpPr/>
                <p:nvPr/>
              </p:nvGrpSpPr>
              <p:grpSpPr>
                <a:xfrm>
                  <a:off x="1627350" y="2071688"/>
                  <a:ext cx="512722" cy="462536"/>
                  <a:chOff x="1302898" y="1640683"/>
                  <a:chExt cx="1201027" cy="1083468"/>
                </a:xfrm>
              </p:grpSpPr>
              <p:sp>
                <p:nvSpPr>
                  <p:cNvPr id="77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79" name="Group 778"/>
              <p:cNvGrpSpPr/>
              <p:nvPr/>
            </p:nvGrpSpPr>
            <p:grpSpPr>
              <a:xfrm>
                <a:off x="9648041" y="3897180"/>
                <a:ext cx="128016" cy="128016"/>
                <a:chOff x="1520304" y="1939550"/>
                <a:chExt cx="726812" cy="726812"/>
              </a:xfrm>
            </p:grpSpPr>
            <p:sp>
              <p:nvSpPr>
                <p:cNvPr id="780" name="Oval 7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81" name="Group 780"/>
                <p:cNvGrpSpPr/>
                <p:nvPr/>
              </p:nvGrpSpPr>
              <p:grpSpPr>
                <a:xfrm>
                  <a:off x="1627350" y="2071688"/>
                  <a:ext cx="512722" cy="462536"/>
                  <a:chOff x="1302898" y="1640683"/>
                  <a:chExt cx="1201027" cy="1083468"/>
                </a:xfrm>
              </p:grpSpPr>
              <p:sp>
                <p:nvSpPr>
                  <p:cNvPr id="7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87" name="Group 786"/>
              <p:cNvGrpSpPr/>
              <p:nvPr/>
            </p:nvGrpSpPr>
            <p:grpSpPr>
              <a:xfrm>
                <a:off x="9621191" y="4177685"/>
                <a:ext cx="128016" cy="128016"/>
                <a:chOff x="1520304" y="1939550"/>
                <a:chExt cx="726812" cy="726812"/>
              </a:xfrm>
            </p:grpSpPr>
            <p:sp>
              <p:nvSpPr>
                <p:cNvPr id="788" name="Oval 7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89" name="Group 788"/>
                <p:cNvGrpSpPr/>
                <p:nvPr/>
              </p:nvGrpSpPr>
              <p:grpSpPr>
                <a:xfrm>
                  <a:off x="1627350" y="2071688"/>
                  <a:ext cx="512722" cy="462536"/>
                  <a:chOff x="1302898" y="1640683"/>
                  <a:chExt cx="1201027" cy="1083468"/>
                </a:xfrm>
              </p:grpSpPr>
              <p:sp>
                <p:nvSpPr>
                  <p:cNvPr id="79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95" name="Group 794"/>
              <p:cNvGrpSpPr/>
              <p:nvPr/>
            </p:nvGrpSpPr>
            <p:grpSpPr>
              <a:xfrm>
                <a:off x="9366351" y="3933416"/>
                <a:ext cx="128016" cy="128016"/>
                <a:chOff x="6617763" y="1494678"/>
                <a:chExt cx="188006" cy="188004"/>
              </a:xfrm>
            </p:grpSpPr>
            <p:sp>
              <p:nvSpPr>
                <p:cNvPr id="796" name="Oval 79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9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98" name="Group 797"/>
              <p:cNvGrpSpPr/>
              <p:nvPr/>
            </p:nvGrpSpPr>
            <p:grpSpPr>
              <a:xfrm>
                <a:off x="9594682" y="3694018"/>
                <a:ext cx="128016" cy="128016"/>
                <a:chOff x="6617763" y="1494678"/>
                <a:chExt cx="188006" cy="188004"/>
              </a:xfrm>
            </p:grpSpPr>
            <p:sp>
              <p:nvSpPr>
                <p:cNvPr id="799" name="Oval 79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01" name="Group 800"/>
              <p:cNvGrpSpPr/>
              <p:nvPr/>
            </p:nvGrpSpPr>
            <p:grpSpPr>
              <a:xfrm>
                <a:off x="9473147" y="3267533"/>
                <a:ext cx="128016" cy="128016"/>
                <a:chOff x="6617763" y="1494678"/>
                <a:chExt cx="188006" cy="188004"/>
              </a:xfrm>
            </p:grpSpPr>
            <p:sp>
              <p:nvSpPr>
                <p:cNvPr id="802" name="Oval 80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04" name="Group 803"/>
              <p:cNvGrpSpPr/>
              <p:nvPr/>
            </p:nvGrpSpPr>
            <p:grpSpPr>
              <a:xfrm>
                <a:off x="9823352" y="3384507"/>
                <a:ext cx="128016" cy="128016"/>
                <a:chOff x="6617763" y="1494678"/>
                <a:chExt cx="188006" cy="188004"/>
              </a:xfrm>
            </p:grpSpPr>
            <p:sp>
              <p:nvSpPr>
                <p:cNvPr id="805" name="Oval 80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3" name="Group 822"/>
              <p:cNvGrpSpPr/>
              <p:nvPr/>
            </p:nvGrpSpPr>
            <p:grpSpPr>
              <a:xfrm>
                <a:off x="10265037" y="3334842"/>
                <a:ext cx="128016" cy="128016"/>
                <a:chOff x="6617763" y="1494678"/>
                <a:chExt cx="188006" cy="188004"/>
              </a:xfrm>
            </p:grpSpPr>
            <p:sp>
              <p:nvSpPr>
                <p:cNvPr id="824" name="Oval 82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2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6" name="Group 825"/>
              <p:cNvGrpSpPr/>
              <p:nvPr/>
            </p:nvGrpSpPr>
            <p:grpSpPr>
              <a:xfrm>
                <a:off x="10179598" y="3419645"/>
                <a:ext cx="128016" cy="128016"/>
                <a:chOff x="6617763" y="1494678"/>
                <a:chExt cx="188006" cy="188004"/>
              </a:xfrm>
            </p:grpSpPr>
            <p:sp>
              <p:nvSpPr>
                <p:cNvPr id="827" name="Oval 82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2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9" name="Group 828"/>
              <p:cNvGrpSpPr/>
              <p:nvPr/>
            </p:nvGrpSpPr>
            <p:grpSpPr>
              <a:xfrm>
                <a:off x="6605123" y="3331723"/>
                <a:ext cx="128016" cy="128016"/>
                <a:chOff x="1520304" y="1939550"/>
                <a:chExt cx="726812" cy="726812"/>
              </a:xfrm>
            </p:grpSpPr>
            <p:sp>
              <p:nvSpPr>
                <p:cNvPr id="830" name="Oval 82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31" name="Group 830"/>
                <p:cNvGrpSpPr/>
                <p:nvPr/>
              </p:nvGrpSpPr>
              <p:grpSpPr>
                <a:xfrm>
                  <a:off x="1627350" y="2071688"/>
                  <a:ext cx="512722" cy="462536"/>
                  <a:chOff x="1302898" y="1640683"/>
                  <a:chExt cx="1201027" cy="1083468"/>
                </a:xfrm>
              </p:grpSpPr>
              <p:sp>
                <p:nvSpPr>
                  <p:cNvPr id="83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37" name="Group 836"/>
              <p:cNvGrpSpPr/>
              <p:nvPr/>
            </p:nvGrpSpPr>
            <p:grpSpPr>
              <a:xfrm>
                <a:off x="5564444" y="3318946"/>
                <a:ext cx="128016" cy="128016"/>
                <a:chOff x="1520304" y="1939550"/>
                <a:chExt cx="726812" cy="726812"/>
              </a:xfrm>
            </p:grpSpPr>
            <p:sp>
              <p:nvSpPr>
                <p:cNvPr id="838" name="Oval 83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39" name="Group 838"/>
                <p:cNvGrpSpPr/>
                <p:nvPr/>
              </p:nvGrpSpPr>
              <p:grpSpPr>
                <a:xfrm>
                  <a:off x="1627350" y="2071688"/>
                  <a:ext cx="512722" cy="462536"/>
                  <a:chOff x="1302898" y="1640683"/>
                  <a:chExt cx="1201027" cy="1083468"/>
                </a:xfrm>
              </p:grpSpPr>
              <p:sp>
                <p:nvSpPr>
                  <p:cNvPr id="84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45" name="Group 844"/>
              <p:cNvGrpSpPr/>
              <p:nvPr/>
            </p:nvGrpSpPr>
            <p:grpSpPr>
              <a:xfrm>
                <a:off x="5904090" y="3130082"/>
                <a:ext cx="128016" cy="128016"/>
                <a:chOff x="1520304" y="1939550"/>
                <a:chExt cx="726812" cy="726812"/>
              </a:xfrm>
            </p:grpSpPr>
            <p:sp>
              <p:nvSpPr>
                <p:cNvPr id="846" name="Oval 84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47" name="Group 846"/>
                <p:cNvGrpSpPr/>
                <p:nvPr/>
              </p:nvGrpSpPr>
              <p:grpSpPr>
                <a:xfrm>
                  <a:off x="1627350" y="2071688"/>
                  <a:ext cx="512722" cy="462536"/>
                  <a:chOff x="1302898" y="1640683"/>
                  <a:chExt cx="1201027" cy="1083468"/>
                </a:xfrm>
              </p:grpSpPr>
              <p:sp>
                <p:nvSpPr>
                  <p:cNvPr id="84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53" name="Group 852"/>
              <p:cNvGrpSpPr/>
              <p:nvPr/>
            </p:nvGrpSpPr>
            <p:grpSpPr>
              <a:xfrm>
                <a:off x="5618633" y="2661182"/>
                <a:ext cx="128016" cy="128016"/>
                <a:chOff x="6617763" y="1494678"/>
                <a:chExt cx="188006" cy="188004"/>
              </a:xfrm>
            </p:grpSpPr>
            <p:sp>
              <p:nvSpPr>
                <p:cNvPr id="854" name="Oval 85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5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56" name="Group 855"/>
              <p:cNvGrpSpPr/>
              <p:nvPr/>
            </p:nvGrpSpPr>
            <p:grpSpPr>
              <a:xfrm>
                <a:off x="5778040" y="2766578"/>
                <a:ext cx="128016" cy="128016"/>
                <a:chOff x="1520304" y="1939550"/>
                <a:chExt cx="726812" cy="726812"/>
              </a:xfrm>
            </p:grpSpPr>
            <p:sp>
              <p:nvSpPr>
                <p:cNvPr id="857" name="Oval 85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58" name="Group 857"/>
                <p:cNvGrpSpPr/>
                <p:nvPr/>
              </p:nvGrpSpPr>
              <p:grpSpPr>
                <a:xfrm>
                  <a:off x="1627350" y="2071688"/>
                  <a:ext cx="512722" cy="462536"/>
                  <a:chOff x="1302898" y="1640683"/>
                  <a:chExt cx="1201027" cy="1083468"/>
                </a:xfrm>
              </p:grpSpPr>
              <p:sp>
                <p:nvSpPr>
                  <p:cNvPr id="85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64" name="Group 863"/>
              <p:cNvGrpSpPr/>
              <p:nvPr/>
            </p:nvGrpSpPr>
            <p:grpSpPr>
              <a:xfrm>
                <a:off x="5842655" y="2841888"/>
                <a:ext cx="128016" cy="128016"/>
                <a:chOff x="1520304" y="1939550"/>
                <a:chExt cx="726812" cy="726812"/>
              </a:xfrm>
            </p:grpSpPr>
            <p:sp>
              <p:nvSpPr>
                <p:cNvPr id="865" name="Oval 86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66" name="Group 865"/>
                <p:cNvGrpSpPr/>
                <p:nvPr/>
              </p:nvGrpSpPr>
              <p:grpSpPr>
                <a:xfrm>
                  <a:off x="1627350" y="2071688"/>
                  <a:ext cx="512722" cy="462536"/>
                  <a:chOff x="1302898" y="1640683"/>
                  <a:chExt cx="1201027" cy="1083468"/>
                </a:xfrm>
              </p:grpSpPr>
              <p:sp>
                <p:nvSpPr>
                  <p:cNvPr id="86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72" name="Group 871"/>
              <p:cNvGrpSpPr/>
              <p:nvPr/>
            </p:nvGrpSpPr>
            <p:grpSpPr>
              <a:xfrm>
                <a:off x="6226513" y="2936918"/>
                <a:ext cx="128016" cy="128016"/>
                <a:chOff x="1520304" y="1939550"/>
                <a:chExt cx="726812" cy="726812"/>
              </a:xfrm>
            </p:grpSpPr>
            <p:sp>
              <p:nvSpPr>
                <p:cNvPr id="873" name="Oval 87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74" name="Group 873"/>
                <p:cNvGrpSpPr/>
                <p:nvPr/>
              </p:nvGrpSpPr>
              <p:grpSpPr>
                <a:xfrm>
                  <a:off x="1627350" y="2071688"/>
                  <a:ext cx="512722" cy="462536"/>
                  <a:chOff x="1302898" y="1640683"/>
                  <a:chExt cx="1201027" cy="1083468"/>
                </a:xfrm>
              </p:grpSpPr>
              <p:sp>
                <p:nvSpPr>
                  <p:cNvPr id="87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80" name="Group 879"/>
              <p:cNvGrpSpPr/>
              <p:nvPr/>
            </p:nvGrpSpPr>
            <p:grpSpPr>
              <a:xfrm>
                <a:off x="6551924" y="3147819"/>
                <a:ext cx="128016" cy="128016"/>
                <a:chOff x="1520304" y="1939550"/>
                <a:chExt cx="726812" cy="726812"/>
              </a:xfrm>
            </p:grpSpPr>
            <p:sp>
              <p:nvSpPr>
                <p:cNvPr id="881" name="Oval 88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82" name="Group 881"/>
                <p:cNvGrpSpPr/>
                <p:nvPr/>
              </p:nvGrpSpPr>
              <p:grpSpPr>
                <a:xfrm>
                  <a:off x="1627350" y="2071688"/>
                  <a:ext cx="512722" cy="462536"/>
                  <a:chOff x="1302898" y="1640683"/>
                  <a:chExt cx="1201027" cy="1083468"/>
                </a:xfrm>
              </p:grpSpPr>
              <p:sp>
                <p:nvSpPr>
                  <p:cNvPr id="88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88" name="Group 887"/>
              <p:cNvGrpSpPr/>
              <p:nvPr/>
            </p:nvGrpSpPr>
            <p:grpSpPr>
              <a:xfrm>
                <a:off x="6673148" y="3103788"/>
                <a:ext cx="128016" cy="128016"/>
                <a:chOff x="1520304" y="1939550"/>
                <a:chExt cx="726812" cy="726812"/>
              </a:xfrm>
            </p:grpSpPr>
            <p:sp>
              <p:nvSpPr>
                <p:cNvPr id="889" name="Oval 88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90" name="Group 889"/>
                <p:cNvGrpSpPr/>
                <p:nvPr/>
              </p:nvGrpSpPr>
              <p:grpSpPr>
                <a:xfrm>
                  <a:off x="1627350" y="2071688"/>
                  <a:ext cx="512722" cy="462536"/>
                  <a:chOff x="1302898" y="1640683"/>
                  <a:chExt cx="1201027" cy="1083468"/>
                </a:xfrm>
              </p:grpSpPr>
              <p:sp>
                <p:nvSpPr>
                  <p:cNvPr id="89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96" name="Group 895"/>
              <p:cNvGrpSpPr/>
              <p:nvPr/>
            </p:nvGrpSpPr>
            <p:grpSpPr>
              <a:xfrm>
                <a:off x="6367725" y="3032663"/>
                <a:ext cx="128016" cy="128016"/>
                <a:chOff x="1520304" y="1939550"/>
                <a:chExt cx="726812" cy="726812"/>
              </a:xfrm>
            </p:grpSpPr>
            <p:sp>
              <p:nvSpPr>
                <p:cNvPr id="897" name="Oval 89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98" name="Group 897"/>
                <p:cNvGrpSpPr/>
                <p:nvPr/>
              </p:nvGrpSpPr>
              <p:grpSpPr>
                <a:xfrm>
                  <a:off x="1627350" y="2071688"/>
                  <a:ext cx="512722" cy="462536"/>
                  <a:chOff x="1302898" y="1640683"/>
                  <a:chExt cx="1201027" cy="1083468"/>
                </a:xfrm>
              </p:grpSpPr>
              <p:sp>
                <p:nvSpPr>
                  <p:cNvPr id="89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04" name="Group 903"/>
              <p:cNvGrpSpPr/>
              <p:nvPr/>
            </p:nvGrpSpPr>
            <p:grpSpPr>
              <a:xfrm>
                <a:off x="6292639" y="3028402"/>
                <a:ext cx="128016" cy="128016"/>
                <a:chOff x="6617763" y="1494678"/>
                <a:chExt cx="188006" cy="188004"/>
              </a:xfrm>
            </p:grpSpPr>
            <p:sp>
              <p:nvSpPr>
                <p:cNvPr id="905" name="Oval 90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0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07" name="Group 906"/>
              <p:cNvGrpSpPr/>
              <p:nvPr/>
            </p:nvGrpSpPr>
            <p:grpSpPr>
              <a:xfrm>
                <a:off x="6010181" y="2870135"/>
                <a:ext cx="128016" cy="128016"/>
                <a:chOff x="6617763" y="1494678"/>
                <a:chExt cx="188006" cy="188004"/>
              </a:xfrm>
            </p:grpSpPr>
            <p:sp>
              <p:nvSpPr>
                <p:cNvPr id="908" name="Oval 90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0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10" name="Group 909"/>
              <p:cNvGrpSpPr/>
              <p:nvPr/>
            </p:nvGrpSpPr>
            <p:grpSpPr>
              <a:xfrm>
                <a:off x="6091578" y="2963001"/>
                <a:ext cx="128016" cy="128016"/>
                <a:chOff x="1520304" y="1939550"/>
                <a:chExt cx="726812" cy="726812"/>
              </a:xfrm>
            </p:grpSpPr>
            <p:sp>
              <p:nvSpPr>
                <p:cNvPr id="911" name="Oval 91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12" name="Group 911"/>
                <p:cNvGrpSpPr/>
                <p:nvPr/>
              </p:nvGrpSpPr>
              <p:grpSpPr>
                <a:xfrm>
                  <a:off x="1627350" y="2071688"/>
                  <a:ext cx="512722" cy="462536"/>
                  <a:chOff x="1302898" y="1640683"/>
                  <a:chExt cx="1201027" cy="1083468"/>
                </a:xfrm>
              </p:grpSpPr>
              <p:sp>
                <p:nvSpPr>
                  <p:cNvPr id="91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18" name="Group 917"/>
              <p:cNvGrpSpPr/>
              <p:nvPr/>
            </p:nvGrpSpPr>
            <p:grpSpPr>
              <a:xfrm>
                <a:off x="5958332" y="2898080"/>
                <a:ext cx="128016" cy="128016"/>
                <a:chOff x="6617763" y="1494678"/>
                <a:chExt cx="188006" cy="188004"/>
              </a:xfrm>
            </p:grpSpPr>
            <p:sp>
              <p:nvSpPr>
                <p:cNvPr id="919" name="Oval 91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21" name="Group 920"/>
              <p:cNvGrpSpPr/>
              <p:nvPr/>
            </p:nvGrpSpPr>
            <p:grpSpPr>
              <a:xfrm>
                <a:off x="5986971" y="2748043"/>
                <a:ext cx="128016" cy="128016"/>
                <a:chOff x="6617763" y="1494678"/>
                <a:chExt cx="188006" cy="188004"/>
              </a:xfrm>
            </p:grpSpPr>
            <p:sp>
              <p:nvSpPr>
                <p:cNvPr id="922" name="Oval 92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24" name="Group 923"/>
              <p:cNvGrpSpPr/>
              <p:nvPr/>
            </p:nvGrpSpPr>
            <p:grpSpPr>
              <a:xfrm>
                <a:off x="6096330" y="2824221"/>
                <a:ext cx="128016" cy="128016"/>
                <a:chOff x="6617763" y="1494678"/>
                <a:chExt cx="188006" cy="188004"/>
              </a:xfrm>
            </p:grpSpPr>
            <p:sp>
              <p:nvSpPr>
                <p:cNvPr id="925" name="Oval 92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35" name="Group 934"/>
              <p:cNvGrpSpPr/>
              <p:nvPr/>
            </p:nvGrpSpPr>
            <p:grpSpPr>
              <a:xfrm>
                <a:off x="6482260" y="2850537"/>
                <a:ext cx="128016" cy="128016"/>
                <a:chOff x="1520304" y="1939550"/>
                <a:chExt cx="726812" cy="726812"/>
              </a:xfrm>
            </p:grpSpPr>
            <p:sp>
              <p:nvSpPr>
                <p:cNvPr id="936" name="Oval 93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37" name="Group 936"/>
                <p:cNvGrpSpPr/>
                <p:nvPr/>
              </p:nvGrpSpPr>
              <p:grpSpPr>
                <a:xfrm>
                  <a:off x="1627350" y="2071688"/>
                  <a:ext cx="512722" cy="462536"/>
                  <a:chOff x="1302898" y="1640683"/>
                  <a:chExt cx="1201027" cy="1083468"/>
                </a:xfrm>
              </p:grpSpPr>
              <p:sp>
                <p:nvSpPr>
                  <p:cNvPr id="93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43" name="Group 942"/>
              <p:cNvGrpSpPr/>
              <p:nvPr/>
            </p:nvGrpSpPr>
            <p:grpSpPr>
              <a:xfrm>
                <a:off x="7015873" y="2597882"/>
                <a:ext cx="128016" cy="128016"/>
                <a:chOff x="1520304" y="1939550"/>
                <a:chExt cx="726812" cy="726812"/>
              </a:xfrm>
            </p:grpSpPr>
            <p:sp>
              <p:nvSpPr>
                <p:cNvPr id="944" name="Oval 94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45" name="Group 944"/>
                <p:cNvGrpSpPr/>
                <p:nvPr/>
              </p:nvGrpSpPr>
              <p:grpSpPr>
                <a:xfrm>
                  <a:off x="1627350" y="2071688"/>
                  <a:ext cx="512722" cy="462536"/>
                  <a:chOff x="1302898" y="1640683"/>
                  <a:chExt cx="1201027" cy="1083468"/>
                </a:xfrm>
              </p:grpSpPr>
              <p:sp>
                <p:nvSpPr>
                  <p:cNvPr id="94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51" name="Group 950"/>
              <p:cNvGrpSpPr/>
              <p:nvPr/>
            </p:nvGrpSpPr>
            <p:grpSpPr>
              <a:xfrm>
                <a:off x="6346150" y="2427402"/>
                <a:ext cx="128016" cy="128016"/>
                <a:chOff x="1520304" y="1939550"/>
                <a:chExt cx="726812" cy="726812"/>
              </a:xfrm>
            </p:grpSpPr>
            <p:sp>
              <p:nvSpPr>
                <p:cNvPr id="952" name="Oval 95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53" name="Group 952"/>
                <p:cNvGrpSpPr/>
                <p:nvPr/>
              </p:nvGrpSpPr>
              <p:grpSpPr>
                <a:xfrm>
                  <a:off x="1627350" y="2071688"/>
                  <a:ext cx="512722" cy="462536"/>
                  <a:chOff x="1302898" y="1640683"/>
                  <a:chExt cx="1201027" cy="1083468"/>
                </a:xfrm>
              </p:grpSpPr>
              <p:sp>
                <p:nvSpPr>
                  <p:cNvPr id="95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59" name="Group 958"/>
              <p:cNvGrpSpPr/>
              <p:nvPr/>
            </p:nvGrpSpPr>
            <p:grpSpPr>
              <a:xfrm>
                <a:off x="6659729" y="2289622"/>
                <a:ext cx="128016" cy="128016"/>
                <a:chOff x="1520304" y="1939550"/>
                <a:chExt cx="726812" cy="726812"/>
              </a:xfrm>
            </p:grpSpPr>
            <p:sp>
              <p:nvSpPr>
                <p:cNvPr id="960" name="Oval 95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61" name="Group 960"/>
                <p:cNvGrpSpPr/>
                <p:nvPr/>
              </p:nvGrpSpPr>
              <p:grpSpPr>
                <a:xfrm>
                  <a:off x="1627350" y="2071688"/>
                  <a:ext cx="512722" cy="462536"/>
                  <a:chOff x="1302898" y="1640683"/>
                  <a:chExt cx="1201027" cy="1083468"/>
                </a:xfrm>
              </p:grpSpPr>
              <p:sp>
                <p:nvSpPr>
                  <p:cNvPr id="96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67" name="Group 966"/>
              <p:cNvGrpSpPr/>
              <p:nvPr/>
            </p:nvGrpSpPr>
            <p:grpSpPr>
              <a:xfrm>
                <a:off x="6649052" y="2290435"/>
                <a:ext cx="128016" cy="128016"/>
                <a:chOff x="6617763" y="1494678"/>
                <a:chExt cx="188006" cy="188004"/>
              </a:xfrm>
            </p:grpSpPr>
            <p:sp>
              <p:nvSpPr>
                <p:cNvPr id="968" name="Oval 96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6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0" name="Freeform: Shape 9"/>
              <p:cNvSpPr/>
              <p:nvPr/>
            </p:nvSpPr>
            <p:spPr bwMode="auto">
              <a:xfrm>
                <a:off x="6031706" y="3788569"/>
                <a:ext cx="128601" cy="42862"/>
              </a:xfrm>
              <a:custGeom>
                <a:avLst/>
                <a:gdLst>
                  <a:gd name="connsiteX0" fmla="*/ 0 w 128601"/>
                  <a:gd name="connsiteY0" fmla="*/ 0 h 42862"/>
                  <a:gd name="connsiteX1" fmla="*/ 14288 w 128601"/>
                  <a:gd name="connsiteY1" fmla="*/ 2381 h 42862"/>
                  <a:gd name="connsiteX2" fmla="*/ 21432 w 128601"/>
                  <a:gd name="connsiteY2" fmla="*/ 7144 h 42862"/>
                  <a:gd name="connsiteX3" fmla="*/ 30957 w 128601"/>
                  <a:gd name="connsiteY3" fmla="*/ 11906 h 42862"/>
                  <a:gd name="connsiteX4" fmla="*/ 45244 w 128601"/>
                  <a:gd name="connsiteY4" fmla="*/ 21431 h 42862"/>
                  <a:gd name="connsiteX5" fmla="*/ 52388 w 128601"/>
                  <a:gd name="connsiteY5" fmla="*/ 26194 h 42862"/>
                  <a:gd name="connsiteX6" fmla="*/ 66675 w 128601"/>
                  <a:gd name="connsiteY6" fmla="*/ 30956 h 42862"/>
                  <a:gd name="connsiteX7" fmla="*/ 90488 w 128601"/>
                  <a:gd name="connsiteY7" fmla="*/ 38100 h 42862"/>
                  <a:gd name="connsiteX8" fmla="*/ 109538 w 128601"/>
                  <a:gd name="connsiteY8" fmla="*/ 42862 h 42862"/>
                  <a:gd name="connsiteX9" fmla="*/ 121444 w 128601"/>
                  <a:gd name="connsiteY9" fmla="*/ 30956 h 42862"/>
                  <a:gd name="connsiteX10" fmla="*/ 128588 w 128601"/>
                  <a:gd name="connsiteY10" fmla="*/ 23812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601" h="42862">
                    <a:moveTo>
                      <a:pt x="0" y="0"/>
                    </a:moveTo>
                    <a:cubicBezTo>
                      <a:pt x="4763" y="794"/>
                      <a:pt x="9707" y="854"/>
                      <a:pt x="14288" y="2381"/>
                    </a:cubicBezTo>
                    <a:cubicBezTo>
                      <a:pt x="17003" y="3286"/>
                      <a:pt x="18947" y="5724"/>
                      <a:pt x="21432" y="7144"/>
                    </a:cubicBezTo>
                    <a:cubicBezTo>
                      <a:pt x="24514" y="8905"/>
                      <a:pt x="27913" y="10080"/>
                      <a:pt x="30957" y="11906"/>
                    </a:cubicBezTo>
                    <a:cubicBezTo>
                      <a:pt x="35865" y="14851"/>
                      <a:pt x="40482" y="18256"/>
                      <a:pt x="45244" y="21431"/>
                    </a:cubicBezTo>
                    <a:cubicBezTo>
                      <a:pt x="47625" y="23019"/>
                      <a:pt x="49673" y="25289"/>
                      <a:pt x="52388" y="26194"/>
                    </a:cubicBezTo>
                    <a:cubicBezTo>
                      <a:pt x="57150" y="27781"/>
                      <a:pt x="62185" y="28711"/>
                      <a:pt x="66675" y="30956"/>
                    </a:cubicBezTo>
                    <a:cubicBezTo>
                      <a:pt x="82698" y="38968"/>
                      <a:pt x="69734" y="33653"/>
                      <a:pt x="90488" y="38100"/>
                    </a:cubicBezTo>
                    <a:cubicBezTo>
                      <a:pt x="96888" y="39471"/>
                      <a:pt x="109538" y="42862"/>
                      <a:pt x="109538" y="42862"/>
                    </a:cubicBezTo>
                    <a:cubicBezTo>
                      <a:pt x="128589" y="30163"/>
                      <a:pt x="105569" y="46831"/>
                      <a:pt x="121444" y="30956"/>
                    </a:cubicBezTo>
                    <a:cubicBezTo>
                      <a:pt x="129249" y="23151"/>
                      <a:pt x="128588" y="29778"/>
                      <a:pt x="128588" y="23812"/>
                    </a:cubicBez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11" name="Freeform: Shape 10"/>
              <p:cNvSpPr/>
              <p:nvPr/>
            </p:nvSpPr>
            <p:spPr bwMode="auto">
              <a:xfrm>
                <a:off x="6034088" y="3783806"/>
                <a:ext cx="35718" cy="35719"/>
              </a:xfrm>
              <a:custGeom>
                <a:avLst/>
                <a:gdLst>
                  <a:gd name="connsiteX0" fmla="*/ 0 w 35718"/>
                  <a:gd name="connsiteY0" fmla="*/ 0 h 35719"/>
                  <a:gd name="connsiteX1" fmla="*/ 19050 w 35718"/>
                  <a:gd name="connsiteY1" fmla="*/ 21432 h 35719"/>
                  <a:gd name="connsiteX2" fmla="*/ 26193 w 35718"/>
                  <a:gd name="connsiteY2" fmla="*/ 26194 h 35719"/>
                  <a:gd name="connsiteX3" fmla="*/ 35718 w 35718"/>
                  <a:gd name="connsiteY3" fmla="*/ 35719 h 35719"/>
                </a:gdLst>
                <a:ahLst/>
                <a:cxnLst>
                  <a:cxn ang="0">
                    <a:pos x="connsiteX0" y="connsiteY0"/>
                  </a:cxn>
                  <a:cxn ang="0">
                    <a:pos x="connsiteX1" y="connsiteY1"/>
                  </a:cxn>
                  <a:cxn ang="0">
                    <a:pos x="connsiteX2" y="connsiteY2"/>
                  </a:cxn>
                  <a:cxn ang="0">
                    <a:pos x="connsiteX3" y="connsiteY3"/>
                  </a:cxn>
                </a:cxnLst>
                <a:rect l="l" t="t" r="r" b="b"/>
                <a:pathLst>
                  <a:path w="35718" h="35719">
                    <a:moveTo>
                      <a:pt x="0" y="0"/>
                    </a:moveTo>
                    <a:cubicBezTo>
                      <a:pt x="6350" y="7144"/>
                      <a:pt x="12291" y="14673"/>
                      <a:pt x="19050" y="21432"/>
                    </a:cubicBezTo>
                    <a:cubicBezTo>
                      <a:pt x="21073" y="23455"/>
                      <a:pt x="23995" y="24362"/>
                      <a:pt x="26193" y="26194"/>
                    </a:cubicBezTo>
                    <a:lnTo>
                      <a:pt x="35718" y="35719"/>
                    </a:ln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5" name="Rectangle 4"/>
              <p:cNvSpPr/>
              <p:nvPr/>
            </p:nvSpPr>
            <p:spPr bwMode="auto">
              <a:xfrm>
                <a:off x="720773" y="20669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States</a:t>
                </a:r>
                <a:endParaRPr lang="en-US" sz="700">
                  <a:solidFill>
                    <a:srgbClr val="353535"/>
                  </a:solidFill>
                  <a:latin typeface="Segoe UI Semilight"/>
                </a:endParaRPr>
              </a:p>
            </p:txBody>
          </p:sp>
          <p:sp>
            <p:nvSpPr>
              <p:cNvPr id="1052" name="Rectangle 1051"/>
              <p:cNvSpPr/>
              <p:nvPr/>
            </p:nvSpPr>
            <p:spPr bwMode="auto">
              <a:xfrm>
                <a:off x="2074652" y="25114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anada</a:t>
                </a:r>
                <a:endParaRPr lang="en-US" sz="700">
                  <a:solidFill>
                    <a:srgbClr val="353535"/>
                  </a:solidFill>
                  <a:latin typeface="Segoe UI Semilight"/>
                </a:endParaRPr>
              </a:p>
            </p:txBody>
          </p:sp>
          <p:sp>
            <p:nvSpPr>
              <p:cNvPr id="1054" name="Rectangle 1053"/>
              <p:cNvSpPr/>
              <p:nvPr/>
            </p:nvSpPr>
            <p:spPr bwMode="auto">
              <a:xfrm>
                <a:off x="2221475" y="383168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exico</a:t>
                </a:r>
                <a:endParaRPr lang="en-US" sz="700">
                  <a:solidFill>
                    <a:srgbClr val="353535"/>
                  </a:solidFill>
                  <a:latin typeface="Segoe UI Semilight"/>
                </a:endParaRPr>
              </a:p>
            </p:txBody>
          </p:sp>
          <p:sp>
            <p:nvSpPr>
              <p:cNvPr id="1055" name="Rectangle 1054"/>
              <p:cNvSpPr/>
              <p:nvPr/>
            </p:nvSpPr>
            <p:spPr bwMode="auto">
              <a:xfrm>
                <a:off x="3321979" y="445954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Venezuela</a:t>
                </a:r>
                <a:endParaRPr lang="en-US" sz="700">
                  <a:solidFill>
                    <a:srgbClr val="353535"/>
                  </a:solidFill>
                  <a:latin typeface="Segoe UI Semilight"/>
                </a:endParaRPr>
              </a:p>
            </p:txBody>
          </p:sp>
          <p:sp>
            <p:nvSpPr>
              <p:cNvPr id="1056" name="Rectangle 1055"/>
              <p:cNvSpPr/>
              <p:nvPr/>
            </p:nvSpPr>
            <p:spPr bwMode="auto">
              <a:xfrm>
                <a:off x="3035652" y="4635037"/>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olombia</a:t>
                </a:r>
                <a:endParaRPr lang="en-US" sz="700">
                  <a:solidFill>
                    <a:srgbClr val="353535"/>
                  </a:solidFill>
                  <a:latin typeface="Segoe UI Semilight"/>
                </a:endParaRPr>
              </a:p>
            </p:txBody>
          </p:sp>
          <p:sp>
            <p:nvSpPr>
              <p:cNvPr id="1057" name="Rectangle 1056"/>
              <p:cNvSpPr/>
              <p:nvPr/>
            </p:nvSpPr>
            <p:spPr bwMode="auto">
              <a:xfrm>
                <a:off x="3260436" y="491389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eru</a:t>
                </a:r>
                <a:endParaRPr lang="en-US" sz="700">
                  <a:solidFill>
                    <a:srgbClr val="353535"/>
                  </a:solidFill>
                  <a:latin typeface="Segoe UI Semilight"/>
                </a:endParaRPr>
              </a:p>
            </p:txBody>
          </p:sp>
          <p:sp>
            <p:nvSpPr>
              <p:cNvPr id="1058" name="Rectangle 1057"/>
              <p:cNvSpPr/>
              <p:nvPr/>
            </p:nvSpPr>
            <p:spPr bwMode="auto">
              <a:xfrm>
                <a:off x="3537527" y="52002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Bolivia</a:t>
                </a:r>
                <a:endParaRPr lang="en-US" sz="700">
                  <a:solidFill>
                    <a:srgbClr val="353535"/>
                  </a:solidFill>
                  <a:latin typeface="Segoe UI Semilight"/>
                </a:endParaRPr>
              </a:p>
            </p:txBody>
          </p:sp>
          <p:sp>
            <p:nvSpPr>
              <p:cNvPr id="1059" name="Rectangle 1058"/>
              <p:cNvSpPr/>
              <p:nvPr/>
            </p:nvSpPr>
            <p:spPr bwMode="auto">
              <a:xfrm>
                <a:off x="3991381" y="5042038"/>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Brazil</a:t>
                </a:r>
                <a:endParaRPr lang="en-US" sz="700">
                  <a:solidFill>
                    <a:srgbClr val="353535"/>
                  </a:solidFill>
                  <a:latin typeface="Segoe UI Semilight"/>
                </a:endParaRPr>
              </a:p>
            </p:txBody>
          </p:sp>
          <p:sp>
            <p:nvSpPr>
              <p:cNvPr id="1060" name="Rectangle 1059"/>
              <p:cNvSpPr/>
              <p:nvPr/>
            </p:nvSpPr>
            <p:spPr bwMode="auto">
              <a:xfrm>
                <a:off x="3517725" y="599437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rgentina</a:t>
                </a:r>
                <a:endParaRPr lang="en-US" sz="700">
                  <a:solidFill>
                    <a:srgbClr val="353535"/>
                  </a:solidFill>
                  <a:latin typeface="Segoe UI Semilight"/>
                </a:endParaRPr>
              </a:p>
            </p:txBody>
          </p:sp>
          <p:sp>
            <p:nvSpPr>
              <p:cNvPr id="1061" name="Rectangle 1060"/>
              <p:cNvSpPr/>
              <p:nvPr/>
            </p:nvSpPr>
            <p:spPr bwMode="auto">
              <a:xfrm>
                <a:off x="4210324" y="37049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tlanta Ocean</a:t>
                </a:r>
                <a:endParaRPr lang="en-US" sz="700">
                  <a:solidFill>
                    <a:srgbClr val="353535"/>
                  </a:solidFill>
                  <a:latin typeface="Segoe UI Semilight"/>
                </a:endParaRPr>
              </a:p>
            </p:txBody>
          </p:sp>
          <p:sp>
            <p:nvSpPr>
              <p:cNvPr id="1062" name="Rectangle 1061"/>
              <p:cNvSpPr/>
              <p:nvPr/>
            </p:nvSpPr>
            <p:spPr bwMode="auto">
              <a:xfrm>
                <a:off x="5717007" y="35974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lgeria</a:t>
                </a:r>
                <a:endParaRPr lang="en-US" sz="700">
                  <a:solidFill>
                    <a:srgbClr val="353535"/>
                  </a:solidFill>
                  <a:latin typeface="Segoe UI Semilight"/>
                </a:endParaRPr>
              </a:p>
            </p:txBody>
          </p:sp>
          <p:sp>
            <p:nvSpPr>
              <p:cNvPr id="1063" name="Rectangle 1062"/>
              <p:cNvSpPr/>
              <p:nvPr/>
            </p:nvSpPr>
            <p:spPr bwMode="auto">
              <a:xfrm>
                <a:off x="5459832" y="404036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ali</a:t>
                </a:r>
                <a:endParaRPr lang="en-US" sz="700">
                  <a:solidFill>
                    <a:srgbClr val="353535"/>
                  </a:solidFill>
                  <a:latin typeface="Segoe UI Semilight"/>
                </a:endParaRPr>
              </a:p>
            </p:txBody>
          </p:sp>
          <p:sp>
            <p:nvSpPr>
              <p:cNvPr id="1064" name="Rectangle 1063"/>
              <p:cNvSpPr/>
              <p:nvPr/>
            </p:nvSpPr>
            <p:spPr bwMode="auto">
              <a:xfrm>
                <a:off x="5821782" y="395940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iger</a:t>
                </a:r>
                <a:endParaRPr lang="en-US" sz="700">
                  <a:solidFill>
                    <a:srgbClr val="353535"/>
                  </a:solidFill>
                  <a:latin typeface="Segoe UI Semilight"/>
                </a:endParaRPr>
              </a:p>
            </p:txBody>
          </p:sp>
          <p:sp>
            <p:nvSpPr>
              <p:cNvPr id="1065" name="Rectangle 1064"/>
              <p:cNvSpPr/>
              <p:nvPr/>
            </p:nvSpPr>
            <p:spPr bwMode="auto">
              <a:xfrm>
                <a:off x="5821782" y="429754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igeria</a:t>
                </a:r>
                <a:endParaRPr lang="en-US" sz="700">
                  <a:solidFill>
                    <a:srgbClr val="353535"/>
                  </a:solidFill>
                  <a:latin typeface="Segoe UI Semilight"/>
                </a:endParaRPr>
              </a:p>
            </p:txBody>
          </p:sp>
          <p:sp>
            <p:nvSpPr>
              <p:cNvPr id="1066" name="Rectangle 1065"/>
              <p:cNvSpPr/>
              <p:nvPr/>
            </p:nvSpPr>
            <p:spPr bwMode="auto">
              <a:xfrm>
                <a:off x="6282285" y="4130852"/>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had</a:t>
                </a:r>
                <a:endParaRPr lang="en-US" sz="700">
                  <a:solidFill>
                    <a:srgbClr val="353535"/>
                  </a:solidFill>
                  <a:latin typeface="Segoe UI Semilight"/>
                </a:endParaRPr>
              </a:p>
            </p:txBody>
          </p:sp>
          <p:sp>
            <p:nvSpPr>
              <p:cNvPr id="1067" name="Rectangle 1066"/>
              <p:cNvSpPr/>
              <p:nvPr/>
            </p:nvSpPr>
            <p:spPr bwMode="auto">
              <a:xfrm>
                <a:off x="6263235" y="37450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Libya</a:t>
                </a:r>
                <a:endParaRPr lang="en-US" sz="700">
                  <a:solidFill>
                    <a:srgbClr val="353535"/>
                  </a:solidFill>
                  <a:latin typeface="Segoe UI Semilight"/>
                </a:endParaRPr>
              </a:p>
            </p:txBody>
          </p:sp>
          <p:sp>
            <p:nvSpPr>
              <p:cNvPr id="1068" name="Rectangle 1067"/>
              <p:cNvSpPr/>
              <p:nvPr/>
            </p:nvSpPr>
            <p:spPr bwMode="auto">
              <a:xfrm>
                <a:off x="6596610" y="37831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Egypt</a:t>
                </a:r>
                <a:endParaRPr lang="en-US" sz="700">
                  <a:solidFill>
                    <a:srgbClr val="353535"/>
                  </a:solidFill>
                  <a:latin typeface="Segoe UI Semilight"/>
                </a:endParaRPr>
              </a:p>
            </p:txBody>
          </p:sp>
          <p:sp>
            <p:nvSpPr>
              <p:cNvPr id="1069" name="Rectangle 1068"/>
              <p:cNvSpPr/>
              <p:nvPr/>
            </p:nvSpPr>
            <p:spPr bwMode="auto">
              <a:xfrm>
                <a:off x="6691860" y="40872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udan</a:t>
                </a:r>
                <a:endParaRPr lang="en-US" sz="700">
                  <a:solidFill>
                    <a:srgbClr val="353535"/>
                  </a:solidFill>
                  <a:latin typeface="Segoe UI Semilight"/>
                </a:endParaRPr>
              </a:p>
            </p:txBody>
          </p:sp>
          <p:sp>
            <p:nvSpPr>
              <p:cNvPr id="1070" name="Rectangle 1069"/>
              <p:cNvSpPr/>
              <p:nvPr/>
            </p:nvSpPr>
            <p:spPr bwMode="auto">
              <a:xfrm>
                <a:off x="6887122" y="44301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Ethiopia</a:t>
                </a:r>
                <a:endParaRPr lang="en-US" sz="700">
                  <a:solidFill>
                    <a:srgbClr val="353535"/>
                  </a:solidFill>
                  <a:latin typeface="Segoe UI Semilight"/>
                </a:endParaRPr>
              </a:p>
            </p:txBody>
          </p:sp>
          <p:sp>
            <p:nvSpPr>
              <p:cNvPr id="1071" name="Rectangle 1070"/>
              <p:cNvSpPr/>
              <p:nvPr/>
            </p:nvSpPr>
            <p:spPr bwMode="auto">
              <a:xfrm>
                <a:off x="6406657" y="4644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Dr Congo</a:t>
                </a:r>
                <a:endParaRPr lang="en-US" sz="700">
                  <a:solidFill>
                    <a:srgbClr val="353535"/>
                  </a:solidFill>
                  <a:latin typeface="Segoe UI Semilight"/>
                </a:endParaRPr>
              </a:p>
            </p:txBody>
          </p:sp>
          <p:sp>
            <p:nvSpPr>
              <p:cNvPr id="1072" name="Rectangle 1071"/>
              <p:cNvSpPr/>
              <p:nvPr/>
            </p:nvSpPr>
            <p:spPr bwMode="auto">
              <a:xfrm>
                <a:off x="6235207" y="4968329"/>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ngola</a:t>
                </a:r>
                <a:endParaRPr lang="en-US" sz="700">
                  <a:solidFill>
                    <a:srgbClr val="353535"/>
                  </a:solidFill>
                  <a:latin typeface="Segoe UI Semilight"/>
                </a:endParaRPr>
              </a:p>
            </p:txBody>
          </p:sp>
          <p:sp>
            <p:nvSpPr>
              <p:cNvPr id="1073" name="Rectangle 1072"/>
              <p:cNvSpPr/>
              <p:nvPr/>
            </p:nvSpPr>
            <p:spPr bwMode="auto">
              <a:xfrm>
                <a:off x="6592395" y="5025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Zambia</a:t>
                </a:r>
                <a:endParaRPr lang="en-US" sz="700">
                  <a:solidFill>
                    <a:srgbClr val="353535"/>
                  </a:solidFill>
                  <a:latin typeface="Segoe UI Semilight"/>
                </a:endParaRPr>
              </a:p>
            </p:txBody>
          </p:sp>
          <p:sp>
            <p:nvSpPr>
              <p:cNvPr id="1074" name="Rectangle 1073"/>
              <p:cNvSpPr/>
              <p:nvPr/>
            </p:nvSpPr>
            <p:spPr bwMode="auto">
              <a:xfrm>
                <a:off x="6149619" y="5320031"/>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rgbClr val="353535"/>
                    </a:solidFill>
                    <a:latin typeface="Segoe UI Semilight"/>
                  </a:rPr>
                  <a:t>Nambia</a:t>
                </a:r>
                <a:endParaRPr lang="en-US" sz="700">
                  <a:solidFill>
                    <a:srgbClr val="353535"/>
                  </a:solidFill>
                  <a:latin typeface="Segoe UI Semilight"/>
                </a:endParaRPr>
              </a:p>
            </p:txBody>
          </p:sp>
          <p:sp>
            <p:nvSpPr>
              <p:cNvPr id="1075" name="Rectangle 1074"/>
              <p:cNvSpPr/>
              <p:nvPr/>
            </p:nvSpPr>
            <p:spPr bwMode="auto">
              <a:xfrm>
                <a:off x="6395228" y="5748657"/>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outh Africa</a:t>
                </a:r>
                <a:endParaRPr lang="en-US" sz="700">
                  <a:solidFill>
                    <a:srgbClr val="353535"/>
                  </a:solidFill>
                  <a:latin typeface="Segoe UI Semilight"/>
                </a:endParaRPr>
              </a:p>
            </p:txBody>
          </p:sp>
          <p:sp>
            <p:nvSpPr>
              <p:cNvPr id="1076" name="Rectangle 1075"/>
              <p:cNvSpPr/>
              <p:nvPr/>
            </p:nvSpPr>
            <p:spPr bwMode="auto">
              <a:xfrm>
                <a:off x="4210324" y="15586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Greenland</a:t>
                </a:r>
                <a:endParaRPr lang="en-US" sz="700">
                  <a:solidFill>
                    <a:srgbClr val="353535"/>
                  </a:solidFill>
                  <a:latin typeface="Segoe UI Semilight"/>
                </a:endParaRPr>
              </a:p>
            </p:txBody>
          </p:sp>
          <p:sp>
            <p:nvSpPr>
              <p:cNvPr id="1077" name="Rectangle 1076"/>
              <p:cNvSpPr/>
              <p:nvPr/>
            </p:nvSpPr>
            <p:spPr bwMode="auto">
              <a:xfrm>
                <a:off x="6125386" y="1394814"/>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valbard</a:t>
                </a:r>
                <a:endParaRPr lang="en-US" sz="700">
                  <a:solidFill>
                    <a:srgbClr val="353535"/>
                  </a:solidFill>
                  <a:latin typeface="Segoe UI Semilight"/>
                </a:endParaRPr>
              </a:p>
            </p:txBody>
          </p:sp>
          <p:sp>
            <p:nvSpPr>
              <p:cNvPr id="1078" name="Rectangle 1077"/>
              <p:cNvSpPr/>
              <p:nvPr/>
            </p:nvSpPr>
            <p:spPr bwMode="auto">
              <a:xfrm>
                <a:off x="6099986" y="218865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weden </a:t>
                </a:r>
                <a:endParaRPr lang="en-US" sz="700">
                  <a:solidFill>
                    <a:srgbClr val="353535"/>
                  </a:solidFill>
                  <a:latin typeface="Segoe UI Semilight"/>
                </a:endParaRPr>
              </a:p>
            </p:txBody>
          </p:sp>
          <p:sp>
            <p:nvSpPr>
              <p:cNvPr id="1079" name="Rectangle 1078"/>
              <p:cNvSpPr/>
              <p:nvPr/>
            </p:nvSpPr>
            <p:spPr bwMode="auto">
              <a:xfrm>
                <a:off x="5780279" y="236029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orway</a:t>
                </a:r>
                <a:endParaRPr lang="en-US" sz="700">
                  <a:solidFill>
                    <a:srgbClr val="353535"/>
                  </a:solidFill>
                  <a:latin typeface="Segoe UI Semilight"/>
                </a:endParaRPr>
              </a:p>
            </p:txBody>
          </p:sp>
          <p:sp>
            <p:nvSpPr>
              <p:cNvPr id="1080" name="Rectangle 1079"/>
              <p:cNvSpPr/>
              <p:nvPr/>
            </p:nvSpPr>
            <p:spPr bwMode="auto">
              <a:xfrm>
                <a:off x="5380078" y="255714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Kingdom</a:t>
                </a:r>
                <a:endParaRPr lang="en-US" sz="700">
                  <a:solidFill>
                    <a:srgbClr val="353535"/>
                  </a:solidFill>
                  <a:latin typeface="Segoe UI Semilight"/>
                </a:endParaRPr>
              </a:p>
            </p:txBody>
          </p:sp>
          <p:sp>
            <p:nvSpPr>
              <p:cNvPr id="1089" name="Rectangle 1088"/>
              <p:cNvSpPr/>
              <p:nvPr/>
            </p:nvSpPr>
            <p:spPr bwMode="auto">
              <a:xfrm>
                <a:off x="5551441" y="29815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France</a:t>
                </a:r>
                <a:endParaRPr lang="en-US" sz="700">
                  <a:solidFill>
                    <a:srgbClr val="353535"/>
                  </a:solidFill>
                  <a:latin typeface="Segoe UI Semilight"/>
                </a:endParaRPr>
              </a:p>
            </p:txBody>
          </p:sp>
          <p:sp>
            <p:nvSpPr>
              <p:cNvPr id="1090" name="Rectangle 1089"/>
              <p:cNvSpPr/>
              <p:nvPr/>
            </p:nvSpPr>
            <p:spPr bwMode="auto">
              <a:xfrm>
                <a:off x="5995941" y="27656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oland</a:t>
                </a:r>
                <a:endParaRPr lang="en-US" sz="700">
                  <a:solidFill>
                    <a:srgbClr val="353535"/>
                  </a:solidFill>
                  <a:latin typeface="Segoe UI Semilight"/>
                </a:endParaRPr>
              </a:p>
            </p:txBody>
          </p:sp>
          <p:sp>
            <p:nvSpPr>
              <p:cNvPr id="1091" name="Rectangle 1090"/>
              <p:cNvSpPr/>
              <p:nvPr/>
            </p:nvSpPr>
            <p:spPr bwMode="auto">
              <a:xfrm>
                <a:off x="6484789" y="282343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kraine</a:t>
                </a:r>
                <a:endParaRPr lang="en-US" sz="700">
                  <a:solidFill>
                    <a:srgbClr val="353535"/>
                  </a:solidFill>
                  <a:latin typeface="Segoe UI Semilight"/>
                </a:endParaRPr>
              </a:p>
            </p:txBody>
          </p:sp>
          <p:sp>
            <p:nvSpPr>
              <p:cNvPr id="1092" name="Rectangle 1091"/>
              <p:cNvSpPr/>
              <p:nvPr/>
            </p:nvSpPr>
            <p:spPr bwMode="auto">
              <a:xfrm>
                <a:off x="6637189" y="324888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Turkey</a:t>
                </a:r>
                <a:endParaRPr lang="en-US" sz="700">
                  <a:solidFill>
                    <a:srgbClr val="353535"/>
                  </a:solidFill>
                  <a:latin typeface="Segoe UI Semilight"/>
                </a:endParaRPr>
              </a:p>
            </p:txBody>
          </p:sp>
          <p:sp>
            <p:nvSpPr>
              <p:cNvPr id="1093" name="Rectangle 1092"/>
              <p:cNvSpPr/>
              <p:nvPr/>
            </p:nvSpPr>
            <p:spPr bwMode="auto">
              <a:xfrm>
                <a:off x="6870069" y="374268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audi </a:t>
                </a:r>
                <a:br>
                  <a:rPr lang="en-GB" sz="700">
                    <a:solidFill>
                      <a:srgbClr val="353535"/>
                    </a:solidFill>
                    <a:latin typeface="Segoe UI Semilight"/>
                  </a:rPr>
                </a:br>
                <a:r>
                  <a:rPr lang="en-GB" sz="700">
                    <a:solidFill>
                      <a:srgbClr val="353535"/>
                    </a:solidFill>
                    <a:latin typeface="Segoe UI Semilight"/>
                  </a:rPr>
                  <a:t>Arabia</a:t>
                </a:r>
                <a:endParaRPr lang="en-US" sz="700">
                  <a:solidFill>
                    <a:srgbClr val="353535"/>
                  </a:solidFill>
                  <a:latin typeface="Segoe UI Semilight"/>
                </a:endParaRPr>
              </a:p>
            </p:txBody>
          </p:sp>
          <p:sp>
            <p:nvSpPr>
              <p:cNvPr id="1094" name="Rectangle 1093"/>
              <p:cNvSpPr/>
              <p:nvPr/>
            </p:nvSpPr>
            <p:spPr bwMode="auto">
              <a:xfrm>
                <a:off x="7244719" y="353965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ran</a:t>
                </a:r>
                <a:endParaRPr lang="en-US" sz="700">
                  <a:solidFill>
                    <a:srgbClr val="353535"/>
                  </a:solidFill>
                  <a:latin typeface="Segoe UI Semilight"/>
                </a:endParaRPr>
              </a:p>
            </p:txBody>
          </p:sp>
          <p:sp>
            <p:nvSpPr>
              <p:cNvPr id="1095" name="Rectangle 1094"/>
              <p:cNvSpPr/>
              <p:nvPr/>
            </p:nvSpPr>
            <p:spPr bwMode="auto">
              <a:xfrm>
                <a:off x="7739745" y="284763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rgbClr val="353535"/>
                    </a:solidFill>
                    <a:latin typeface="Segoe UI Semilight"/>
                  </a:rPr>
                  <a:t>Kazakistan</a:t>
                </a:r>
                <a:endParaRPr lang="en-US" sz="700">
                  <a:solidFill>
                    <a:srgbClr val="353535"/>
                  </a:solidFill>
                  <a:latin typeface="Segoe UI Semilight"/>
                </a:endParaRPr>
              </a:p>
            </p:txBody>
          </p:sp>
          <p:sp>
            <p:nvSpPr>
              <p:cNvPr id="1097" name="Rectangle 1096"/>
              <p:cNvSpPr/>
              <p:nvPr/>
            </p:nvSpPr>
            <p:spPr bwMode="auto">
              <a:xfrm>
                <a:off x="8082645" y="383167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ia</a:t>
                </a:r>
                <a:endParaRPr lang="en-US" sz="700">
                  <a:solidFill>
                    <a:srgbClr val="353535"/>
                  </a:solidFill>
                  <a:latin typeface="Segoe UI Semilight"/>
                </a:endParaRPr>
              </a:p>
            </p:txBody>
          </p:sp>
          <p:sp>
            <p:nvSpPr>
              <p:cNvPr id="1098" name="Rectangle 1097"/>
              <p:cNvSpPr/>
              <p:nvPr/>
            </p:nvSpPr>
            <p:spPr bwMode="auto">
              <a:xfrm>
                <a:off x="8528774" y="23070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Russia</a:t>
                </a:r>
                <a:endParaRPr lang="en-US" sz="700">
                  <a:solidFill>
                    <a:srgbClr val="353535"/>
                  </a:solidFill>
                  <a:latin typeface="Segoe UI Semilight"/>
                </a:endParaRPr>
              </a:p>
            </p:txBody>
          </p:sp>
          <p:sp>
            <p:nvSpPr>
              <p:cNvPr id="1099" name="Rectangle 1098"/>
              <p:cNvSpPr/>
              <p:nvPr/>
            </p:nvSpPr>
            <p:spPr bwMode="auto">
              <a:xfrm>
                <a:off x="8528774" y="293571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Russia</a:t>
                </a:r>
                <a:endParaRPr lang="en-US" sz="700">
                  <a:solidFill>
                    <a:srgbClr val="353535"/>
                  </a:solidFill>
                  <a:latin typeface="Segoe UI Semilight"/>
                </a:endParaRPr>
              </a:p>
            </p:txBody>
          </p:sp>
          <p:sp>
            <p:nvSpPr>
              <p:cNvPr id="1101" name="Rectangle 1100"/>
              <p:cNvSpPr/>
              <p:nvPr/>
            </p:nvSpPr>
            <p:spPr bwMode="auto">
              <a:xfrm>
                <a:off x="8647187" y="350633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hina</a:t>
                </a:r>
                <a:endParaRPr lang="en-US" sz="700">
                  <a:solidFill>
                    <a:srgbClr val="353535"/>
                  </a:solidFill>
                  <a:latin typeface="Segoe UI Semilight"/>
                </a:endParaRPr>
              </a:p>
            </p:txBody>
          </p:sp>
          <p:sp>
            <p:nvSpPr>
              <p:cNvPr id="1103" name="Rectangle 1102"/>
              <p:cNvSpPr/>
              <p:nvPr/>
            </p:nvSpPr>
            <p:spPr bwMode="auto">
              <a:xfrm>
                <a:off x="8647187" y="38496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yanmar</a:t>
                </a:r>
                <a:br>
                  <a:rPr lang="en-GB" sz="700">
                    <a:solidFill>
                      <a:srgbClr val="353535"/>
                    </a:solidFill>
                    <a:latin typeface="Segoe UI Semilight"/>
                  </a:rPr>
                </a:br>
                <a:r>
                  <a:rPr lang="en-GB" sz="700">
                    <a:solidFill>
                      <a:srgbClr val="353535"/>
                    </a:solidFill>
                    <a:latin typeface="Segoe UI Semilight"/>
                  </a:rPr>
                  <a:t>(Burma)</a:t>
                </a:r>
                <a:endParaRPr lang="en-US" sz="700">
                  <a:solidFill>
                    <a:srgbClr val="353535"/>
                  </a:solidFill>
                  <a:latin typeface="Segoe UI Semilight"/>
                </a:endParaRPr>
              </a:p>
            </p:txBody>
          </p:sp>
          <p:sp>
            <p:nvSpPr>
              <p:cNvPr id="1104" name="Rectangle 1103"/>
              <p:cNvSpPr/>
              <p:nvPr/>
            </p:nvSpPr>
            <p:spPr bwMode="auto">
              <a:xfrm>
                <a:off x="8045207" y="500790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ian Ocean</a:t>
                </a:r>
                <a:endParaRPr lang="en-US" sz="700">
                  <a:solidFill>
                    <a:srgbClr val="353535"/>
                  </a:solidFill>
                  <a:latin typeface="Segoe UI Semilight"/>
                </a:endParaRPr>
              </a:p>
            </p:txBody>
          </p:sp>
          <p:sp>
            <p:nvSpPr>
              <p:cNvPr id="1106" name="Rectangle 1105"/>
              <p:cNvSpPr/>
              <p:nvPr/>
            </p:nvSpPr>
            <p:spPr bwMode="auto">
              <a:xfrm>
                <a:off x="9422081" y="48177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onesia</a:t>
                </a:r>
                <a:endParaRPr lang="en-US" sz="700">
                  <a:solidFill>
                    <a:srgbClr val="353535"/>
                  </a:solidFill>
                  <a:latin typeface="Segoe UI Semilight"/>
                </a:endParaRPr>
              </a:p>
            </p:txBody>
          </p:sp>
          <p:sp>
            <p:nvSpPr>
              <p:cNvPr id="1107" name="Rectangle 1106"/>
              <p:cNvSpPr/>
              <p:nvPr/>
            </p:nvSpPr>
            <p:spPr bwMode="auto">
              <a:xfrm>
                <a:off x="9780221" y="559495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ustralia</a:t>
                </a:r>
                <a:endParaRPr lang="en-US" sz="700">
                  <a:solidFill>
                    <a:srgbClr val="353535"/>
                  </a:solidFill>
                  <a:latin typeface="Segoe UI Semilight"/>
                </a:endParaRPr>
              </a:p>
            </p:txBody>
          </p:sp>
          <p:sp>
            <p:nvSpPr>
              <p:cNvPr id="1108" name="Rectangle 1107"/>
              <p:cNvSpPr/>
              <p:nvPr/>
            </p:nvSpPr>
            <p:spPr bwMode="auto">
              <a:xfrm>
                <a:off x="10655394" y="360740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acific Ocean</a:t>
                </a:r>
                <a:endParaRPr lang="en-US" sz="700">
                  <a:solidFill>
                    <a:srgbClr val="353535"/>
                  </a:solidFill>
                  <a:latin typeface="Segoe UI Semilight"/>
                </a:endParaRPr>
              </a:p>
            </p:txBody>
          </p:sp>
          <p:sp>
            <p:nvSpPr>
              <p:cNvPr id="1109" name="Rectangle 1108"/>
              <p:cNvSpPr/>
              <p:nvPr/>
            </p:nvSpPr>
            <p:spPr bwMode="auto">
              <a:xfrm>
                <a:off x="1320488" y="426750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acific Ocean</a:t>
                </a:r>
                <a:endParaRPr lang="en-US" sz="700">
                  <a:solidFill>
                    <a:srgbClr val="353535"/>
                  </a:solidFill>
                  <a:latin typeface="Segoe UI Semilight"/>
                </a:endParaRPr>
              </a:p>
            </p:txBody>
          </p:sp>
        </p:grpSp>
        <p:sp>
          <p:nvSpPr>
            <p:cNvPr id="970" name="TextBox 969"/>
            <p:cNvSpPr txBox="1"/>
            <p:nvPr/>
          </p:nvSpPr>
          <p:spPr>
            <a:xfrm>
              <a:off x="11351100" y="1177427"/>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Data</a:t>
              </a:r>
              <a:r>
                <a:rPr lang="ar-SA" sz="850" kern="0">
                  <a:solidFill>
                    <a:srgbClr val="353535"/>
                  </a:solidFill>
                  <a:latin typeface="Segoe UI Semilight"/>
                </a:rPr>
                <a:t> </a:t>
              </a:r>
              <a:r>
                <a:rPr lang="en-US" sz="850" kern="0">
                  <a:solidFill>
                    <a:srgbClr val="353535"/>
                  </a:solidFill>
                  <a:latin typeface="Segoe UI Semilight"/>
                </a:rPr>
                <a:t>center</a:t>
              </a:r>
            </a:p>
          </p:txBody>
        </p:sp>
        <p:grpSp>
          <p:nvGrpSpPr>
            <p:cNvPr id="972" name="Group 971"/>
            <p:cNvGrpSpPr/>
            <p:nvPr/>
          </p:nvGrpSpPr>
          <p:grpSpPr>
            <a:xfrm>
              <a:off x="9135972" y="1135087"/>
              <a:ext cx="1590188" cy="130805"/>
              <a:chOff x="9073014" y="1067831"/>
              <a:chExt cx="1590188" cy="130805"/>
            </a:xfrm>
          </p:grpSpPr>
          <p:cxnSp>
            <p:nvCxnSpPr>
              <p:cNvPr id="1081" name="Straight Connector 1080"/>
              <p:cNvCxnSpPr/>
              <p:nvPr/>
            </p:nvCxnSpPr>
            <p:spPr>
              <a:xfrm flipH="1">
                <a:off x="9073014" y="1133233"/>
                <a:ext cx="228600" cy="0"/>
              </a:xfrm>
              <a:prstGeom prst="line">
                <a:avLst/>
              </a:prstGeom>
              <a:noFill/>
              <a:ln w="19050" cap="flat" cmpd="sng" algn="ctr">
                <a:solidFill>
                  <a:schemeClr val="accent1"/>
                </a:solidFill>
                <a:prstDash val="solid"/>
              </a:ln>
              <a:effectLst/>
            </p:spPr>
          </p:cxnSp>
          <p:sp>
            <p:nvSpPr>
              <p:cNvPr id="1082" name="TextBox 1081"/>
              <p:cNvSpPr txBox="1"/>
              <p:nvPr/>
            </p:nvSpPr>
            <p:spPr>
              <a:xfrm>
                <a:off x="9355344" y="1067831"/>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Owned capacity</a:t>
                </a:r>
              </a:p>
            </p:txBody>
          </p:sp>
        </p:grpSp>
        <p:grpSp>
          <p:nvGrpSpPr>
            <p:cNvPr id="1083" name="Group 1082"/>
            <p:cNvGrpSpPr/>
            <p:nvPr/>
          </p:nvGrpSpPr>
          <p:grpSpPr>
            <a:xfrm>
              <a:off x="9135972" y="1568035"/>
              <a:ext cx="1782405" cy="130805"/>
              <a:chOff x="9073014" y="1405627"/>
              <a:chExt cx="1782405" cy="130805"/>
            </a:xfrm>
          </p:grpSpPr>
          <p:cxnSp>
            <p:nvCxnSpPr>
              <p:cNvPr id="1084" name="Straight Connector 1083"/>
              <p:cNvCxnSpPr/>
              <p:nvPr/>
            </p:nvCxnSpPr>
            <p:spPr>
              <a:xfrm flipH="1" flipV="1">
                <a:off x="9073014" y="1471029"/>
                <a:ext cx="228600" cy="0"/>
              </a:xfrm>
              <a:prstGeom prst="line">
                <a:avLst/>
              </a:prstGeom>
              <a:noFill/>
              <a:ln w="19050" cap="flat" cmpd="sng" algn="ctr">
                <a:solidFill>
                  <a:schemeClr val="accent1"/>
                </a:solidFill>
                <a:prstDash val="sysDash"/>
              </a:ln>
              <a:effectLst/>
            </p:spPr>
          </p:cxnSp>
          <p:sp>
            <p:nvSpPr>
              <p:cNvPr id="1085" name="TextBox 1084"/>
              <p:cNvSpPr txBox="1"/>
              <p:nvPr/>
            </p:nvSpPr>
            <p:spPr>
              <a:xfrm>
                <a:off x="9347769" y="1405627"/>
                <a:ext cx="1507650" cy="130805"/>
              </a:xfrm>
              <a:prstGeom prst="rect">
                <a:avLst/>
              </a:prstGeom>
              <a:noFill/>
            </p:spPr>
            <p:txBody>
              <a:bodyPr wrap="square" lIns="0" tIns="0" rIns="0" bIns="0" rtlCol="0" anchor="ctr">
                <a:noAutofit/>
              </a:bodyPr>
              <a:lstStyle>
                <a:defPPr>
                  <a:defRPr lang="en-US"/>
                </a:defPPr>
                <a:lvl1pPr>
                  <a:spcAft>
                    <a:spcPts val="1200"/>
                  </a:spcAft>
                  <a:defRPr sz="8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Future capacity</a:t>
                </a:r>
              </a:p>
            </p:txBody>
          </p:sp>
        </p:grpSp>
        <p:grpSp>
          <p:nvGrpSpPr>
            <p:cNvPr id="1086" name="Group 1085"/>
            <p:cNvGrpSpPr/>
            <p:nvPr/>
          </p:nvGrpSpPr>
          <p:grpSpPr>
            <a:xfrm>
              <a:off x="9135972" y="1351561"/>
              <a:ext cx="1590188" cy="130805"/>
              <a:chOff x="9073014" y="1238325"/>
              <a:chExt cx="1590188" cy="130805"/>
            </a:xfrm>
          </p:grpSpPr>
          <p:cxnSp>
            <p:nvCxnSpPr>
              <p:cNvPr id="1087" name="Straight Connector 1086"/>
              <p:cNvCxnSpPr/>
              <p:nvPr/>
            </p:nvCxnSpPr>
            <p:spPr>
              <a:xfrm flipH="1">
                <a:off x="9073014" y="1303727"/>
                <a:ext cx="228600" cy="0"/>
              </a:xfrm>
              <a:prstGeom prst="line">
                <a:avLst/>
              </a:prstGeom>
              <a:noFill/>
              <a:ln w="19050" cap="flat" cmpd="sng" algn="ctr">
                <a:solidFill>
                  <a:schemeClr val="accent2">
                    <a:alpha val="94118"/>
                  </a:schemeClr>
                </a:solidFill>
                <a:prstDash val="solid"/>
              </a:ln>
              <a:effectLst/>
            </p:spPr>
          </p:cxnSp>
          <p:sp>
            <p:nvSpPr>
              <p:cNvPr id="1088" name="TextBox 1087"/>
              <p:cNvSpPr txBox="1"/>
              <p:nvPr/>
            </p:nvSpPr>
            <p:spPr>
              <a:xfrm>
                <a:off x="9355344" y="1238325"/>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Leased capacity</a:t>
                </a:r>
              </a:p>
            </p:txBody>
          </p:sp>
        </p:grpSp>
        <p:sp>
          <p:nvSpPr>
            <p:cNvPr id="1096" name="TextBox 1095"/>
            <p:cNvSpPr txBox="1"/>
            <p:nvPr/>
          </p:nvSpPr>
          <p:spPr>
            <a:xfrm>
              <a:off x="11351100" y="1543059"/>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Edge site</a:t>
              </a:r>
            </a:p>
          </p:txBody>
        </p:sp>
        <p:grpSp>
          <p:nvGrpSpPr>
            <p:cNvPr id="1100" name="Group 1099"/>
            <p:cNvGrpSpPr/>
            <p:nvPr/>
          </p:nvGrpSpPr>
          <p:grpSpPr>
            <a:xfrm>
              <a:off x="11008400" y="1453667"/>
              <a:ext cx="309594" cy="309590"/>
              <a:chOff x="1520304" y="1939550"/>
              <a:chExt cx="726812" cy="726812"/>
            </a:xfrm>
          </p:grpSpPr>
          <p:sp>
            <p:nvSpPr>
              <p:cNvPr id="1102" name="Oval 110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rgbClr val="353535"/>
                  </a:solidFill>
                  <a:latin typeface="Segoe UI Semilight"/>
                </a:endParaRPr>
              </a:p>
            </p:txBody>
          </p:sp>
          <p:grpSp>
            <p:nvGrpSpPr>
              <p:cNvPr id="1105" name="Group 1104"/>
              <p:cNvGrpSpPr/>
              <p:nvPr/>
            </p:nvGrpSpPr>
            <p:grpSpPr>
              <a:xfrm>
                <a:off x="1627350" y="2071688"/>
                <a:ext cx="512722" cy="462536"/>
                <a:chOff x="1302898" y="1640683"/>
                <a:chExt cx="1201027" cy="1083468"/>
              </a:xfrm>
            </p:grpSpPr>
            <p:sp>
              <p:nvSpPr>
                <p:cNvPr id="111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rgbClr val="353535"/>
                    </a:solidFill>
                    <a:latin typeface="Segoe UI" pitchFamily="34" charset="0"/>
                    <a:ea typeface="Segoe UI" pitchFamily="34" charset="0"/>
                    <a:cs typeface="Segoe UI" pitchFamily="34" charset="0"/>
                  </a:endParaRPr>
                </a:p>
              </p:txBody>
            </p:sp>
          </p:grpSp>
        </p:grpSp>
        <p:grpSp>
          <p:nvGrpSpPr>
            <p:cNvPr id="1115" name="Group 1114"/>
            <p:cNvGrpSpPr/>
            <p:nvPr/>
          </p:nvGrpSpPr>
          <p:grpSpPr>
            <a:xfrm>
              <a:off x="11008322" y="1089140"/>
              <a:ext cx="307378" cy="307378"/>
              <a:chOff x="6617763" y="1494678"/>
              <a:chExt cx="188006" cy="188004"/>
            </a:xfrm>
          </p:grpSpPr>
          <p:sp>
            <p:nvSpPr>
              <p:cNvPr id="1116" name="Oval 111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rgbClr val="353535"/>
                  </a:solidFill>
                  <a:latin typeface="Segoe UI Semilight"/>
                </a:endParaRPr>
              </a:p>
            </p:txBody>
          </p:sp>
          <p:sp>
            <p:nvSpPr>
              <p:cNvPr id="111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rgbClr val="353535"/>
                  </a:solidFill>
                  <a:latin typeface="Segoe UI" pitchFamily="34" charset="0"/>
                  <a:ea typeface="Segoe UI" pitchFamily="34" charset="0"/>
                  <a:cs typeface="Segoe UI" pitchFamily="34" charset="0"/>
                </a:endParaRPr>
              </a:p>
            </p:txBody>
          </p:sp>
        </p:grpSp>
      </p:grpSp>
      <p:sp>
        <p:nvSpPr>
          <p:cNvPr id="1118" name="Rectangular Callout 163"/>
          <p:cNvSpPr/>
          <p:nvPr/>
        </p:nvSpPr>
        <p:spPr bwMode="auto">
          <a:xfrm>
            <a:off x="907556" y="4764990"/>
            <a:ext cx="2076142" cy="1044320"/>
          </a:xfrm>
          <a:prstGeom prst="wedgeRectCallout">
            <a:avLst>
              <a:gd name="adj1" fmla="val 19250"/>
              <a:gd name="adj2" fmla="val -130900"/>
            </a:avLst>
          </a:prstGeom>
          <a:solidFill>
            <a:schemeClr val="bg1">
              <a:lumMod val="95000"/>
              <a:alpha val="70000"/>
            </a:schemeClr>
          </a:solidFill>
          <a:ln w="9525"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46616" tIns="46616" rIns="46616" bIns="46616" numCol="1" spcCol="0" rtlCol="0" fromWordArt="0" anchor="ctr" anchorCtr="0" forceAA="0" compatLnSpc="1">
            <a:prstTxWarp prst="textNoShape">
              <a:avLst/>
            </a:prstTxWarp>
            <a:noAutofit/>
          </a:bodyPr>
          <a:lstStyle/>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Inter-DC fiber owned (miles): </a:t>
            </a:r>
            <a:br>
              <a:rPr lang="en-US" sz="1199" kern="0">
                <a:solidFill>
                  <a:srgbClr val="353535"/>
                </a:solidFill>
                <a:latin typeface="Segoe UI Semilight"/>
                <a:ea typeface="Segoe UI" pitchFamily="34" charset="0"/>
                <a:cs typeface="Segoe UI" pitchFamily="34" charset="0"/>
              </a:rPr>
            </a:br>
            <a:r>
              <a:rPr lang="en-US" sz="1199" kern="0">
                <a:solidFill>
                  <a:srgbClr val="353535"/>
                </a:solidFill>
                <a:latin typeface="Segoe UI Semilight"/>
                <a:ea typeface="Segoe UI" pitchFamily="34" charset="0"/>
                <a:cs typeface="Segoe UI" pitchFamily="34" charset="0"/>
              </a:rPr>
              <a:t>30+ thousand, supporting:</a:t>
            </a:r>
          </a:p>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Global # of DC metros: 37</a:t>
            </a:r>
          </a:p>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Global # of network sites: 69</a:t>
            </a:r>
          </a:p>
        </p:txBody>
      </p:sp>
      <p:sp>
        <p:nvSpPr>
          <p:cNvPr id="1119" name="Rectangle 1118"/>
          <p:cNvSpPr/>
          <p:nvPr/>
        </p:nvSpPr>
        <p:spPr bwMode="auto">
          <a:xfrm>
            <a:off x="463075" y="1228518"/>
            <a:ext cx="3079875" cy="3221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3234" rIns="93234" bIns="93234" numCol="1" spcCol="0" rtlCol="0" fromWordArt="0" anchor="ctr" anchorCtr="0" forceAA="0" compatLnSpc="1">
            <a:prstTxWarp prst="textNoShape">
              <a:avLst/>
            </a:prstTxWarp>
            <a:noAutofit/>
          </a:bodyPr>
          <a:lstStyle/>
          <a:p>
            <a:pPr defTabSz="931932" fontAlgn="base">
              <a:spcBef>
                <a:spcPct val="0"/>
              </a:spcBef>
              <a:spcAft>
                <a:spcPct val="0"/>
              </a:spcAft>
              <a:defRPr/>
            </a:pPr>
            <a:r>
              <a:rPr lang="en-US" sz="1428" kern="0">
                <a:solidFill>
                  <a:srgbClr val="353535"/>
                </a:solidFill>
                <a:latin typeface="Segoe UI" panose="020B0502040204020203" pitchFamily="34" charset="0"/>
                <a:ea typeface="Segoe UI" panose="020B0502040204020203" pitchFamily="34" charset="0"/>
                <a:cs typeface="Segoe UI" panose="020B0502040204020203" pitchFamily="34" charset="0"/>
              </a:rPr>
              <a:t>Datacenters and network sites not exhaustive</a:t>
            </a:r>
          </a:p>
        </p:txBody>
      </p:sp>
    </p:spTree>
    <p:extLst>
      <p:ext uri="{BB962C8B-B14F-4D97-AF65-F5344CB8AC3E}">
        <p14:creationId xmlns:p14="http://schemas.microsoft.com/office/powerpoint/2010/main" val="2279732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17B6-4975-4935-BDD4-4F40C216B801}"/>
              </a:ext>
            </a:extLst>
          </p:cNvPr>
          <p:cNvSpPr>
            <a:spLocks noGrp="1"/>
          </p:cNvSpPr>
          <p:nvPr>
            <p:ph type="title"/>
          </p:nvPr>
        </p:nvSpPr>
        <p:spPr/>
        <p:txBody>
          <a:bodyPr/>
          <a:lstStyle/>
          <a:p>
            <a:r>
              <a:rPr lang="en-US"/>
              <a:t>Most comprehensive resiliency and best SLA</a:t>
            </a:r>
          </a:p>
        </p:txBody>
      </p:sp>
      <p:sp>
        <p:nvSpPr>
          <p:cNvPr id="4" name="Freeform: Shape 3">
            <a:extLst>
              <a:ext uri="{FF2B5EF4-FFF2-40B4-BE49-F238E27FC236}">
                <a16:creationId xmlns:a16="http://schemas.microsoft.com/office/drawing/2014/main" id="{9FC80BBB-BC74-4C31-BDC3-3A628AC33278}"/>
              </a:ext>
            </a:extLst>
          </p:cNvPr>
          <p:cNvSpPr/>
          <p:nvPr/>
        </p:nvSpPr>
        <p:spPr bwMode="auto">
          <a:xfrm>
            <a:off x="438865" y="4747526"/>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24" name="Freeform: Shape 23">
            <a:extLst>
              <a:ext uri="{FF2B5EF4-FFF2-40B4-BE49-F238E27FC236}">
                <a16:creationId xmlns:a16="http://schemas.microsoft.com/office/drawing/2014/main" id="{11B2812D-2F19-41E5-AE29-52C6E14288CA}"/>
              </a:ext>
            </a:extLst>
          </p:cNvPr>
          <p:cNvSpPr/>
          <p:nvPr/>
        </p:nvSpPr>
        <p:spPr bwMode="auto">
          <a:xfrm>
            <a:off x="2722869" y="4747526"/>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25" name="Freeform: Shape 24">
            <a:extLst>
              <a:ext uri="{FF2B5EF4-FFF2-40B4-BE49-F238E27FC236}">
                <a16:creationId xmlns:a16="http://schemas.microsoft.com/office/drawing/2014/main" id="{F66BD7A1-FB9F-464E-B11A-38797A4804F0}"/>
              </a:ext>
            </a:extLst>
          </p:cNvPr>
          <p:cNvSpPr/>
          <p:nvPr/>
        </p:nvSpPr>
        <p:spPr bwMode="auto">
          <a:xfrm>
            <a:off x="5546514" y="4747526"/>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26" name="Freeform: Shape 25">
            <a:extLst>
              <a:ext uri="{FF2B5EF4-FFF2-40B4-BE49-F238E27FC236}">
                <a16:creationId xmlns:a16="http://schemas.microsoft.com/office/drawing/2014/main" id="{8B1326BC-724D-49A8-9B5B-023D344C3109}"/>
              </a:ext>
            </a:extLst>
          </p:cNvPr>
          <p:cNvSpPr/>
          <p:nvPr/>
        </p:nvSpPr>
        <p:spPr bwMode="auto">
          <a:xfrm>
            <a:off x="8904241" y="4747526"/>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grpSp>
        <p:nvGrpSpPr>
          <p:cNvPr id="8" name="Group 7">
            <a:extLst>
              <a:ext uri="{FF2B5EF4-FFF2-40B4-BE49-F238E27FC236}">
                <a16:creationId xmlns:a16="http://schemas.microsoft.com/office/drawing/2014/main" id="{85975090-BBFC-45D6-AE79-9F67FD1E009F}"/>
              </a:ext>
            </a:extLst>
          </p:cNvPr>
          <p:cNvGrpSpPr/>
          <p:nvPr/>
        </p:nvGrpSpPr>
        <p:grpSpPr>
          <a:xfrm>
            <a:off x="372200" y="4868670"/>
            <a:ext cx="1987825" cy="836032"/>
            <a:chOff x="522514" y="4739119"/>
            <a:chExt cx="1988107" cy="836151"/>
          </a:xfrm>
        </p:grpSpPr>
        <p:sp>
          <p:nvSpPr>
            <p:cNvPr id="30" name="Rectangle 29">
              <a:extLst>
                <a:ext uri="{FF2B5EF4-FFF2-40B4-BE49-F238E27FC236}">
                  <a16:creationId xmlns:a16="http://schemas.microsoft.com/office/drawing/2014/main" id="{86C99C9A-8E4C-48F9-8EF3-1C471C50A579}"/>
                </a:ext>
              </a:extLst>
            </p:cNvPr>
            <p:cNvSpPr/>
            <p:nvPr/>
          </p:nvSpPr>
          <p:spPr>
            <a:xfrm>
              <a:off x="522514" y="4739119"/>
              <a:ext cx="1398377" cy="376738"/>
            </a:xfrm>
            <a:prstGeom prst="rect">
              <a:avLst/>
            </a:prstGeom>
          </p:spPr>
          <p:txBody>
            <a:bodyPr wrap="none">
              <a:spAutoFit/>
            </a:bodyPr>
            <a:lstStyle/>
            <a:p>
              <a:pPr defTabSz="932563">
                <a:defRPr/>
              </a:pPr>
              <a:r>
                <a:rPr 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SINGLE VM</a:t>
              </a:r>
            </a:p>
          </p:txBody>
        </p:sp>
        <p:sp>
          <p:nvSpPr>
            <p:cNvPr id="34" name="Rectangle 33">
              <a:extLst>
                <a:ext uri="{FF2B5EF4-FFF2-40B4-BE49-F238E27FC236}">
                  <a16:creationId xmlns:a16="http://schemas.microsoft.com/office/drawing/2014/main" id="{AF4977EE-2C68-4450-B4EB-44DE6987F5BF}"/>
                </a:ext>
              </a:extLst>
            </p:cNvPr>
            <p:cNvSpPr/>
            <p:nvPr/>
          </p:nvSpPr>
          <p:spPr>
            <a:xfrm>
              <a:off x="522514" y="4979030"/>
              <a:ext cx="1988107" cy="596240"/>
            </a:xfrm>
            <a:prstGeom prst="rect">
              <a:avLst/>
            </a:prstGeom>
          </p:spPr>
          <p:txBody>
            <a:bodyPr wrap="square">
              <a:spAutoFit/>
            </a:bodyPr>
            <a:lstStyle/>
            <a:p>
              <a:pPr defTabSz="932563">
                <a:defRPr/>
              </a:pPr>
              <a:r>
                <a:rPr lang="en-US" sz="1599">
                  <a:gradFill>
                    <a:gsLst>
                      <a:gs pos="78761">
                        <a:srgbClr val="353535"/>
                      </a:gs>
                      <a:gs pos="0">
                        <a:srgbClr val="353535"/>
                      </a:gs>
                    </a:gsLst>
                    <a:lin ang="5400000" scaled="0"/>
                  </a:gradFill>
                  <a:latin typeface="Segoe UI Semilight"/>
                </a:rPr>
                <a:t>Protection with Premium Storage</a:t>
              </a:r>
            </a:p>
          </p:txBody>
        </p:sp>
      </p:grpSp>
      <p:grpSp>
        <p:nvGrpSpPr>
          <p:cNvPr id="3" name="Group 2">
            <a:extLst>
              <a:ext uri="{FF2B5EF4-FFF2-40B4-BE49-F238E27FC236}">
                <a16:creationId xmlns:a16="http://schemas.microsoft.com/office/drawing/2014/main" id="{D3E34116-7876-4649-A823-5420E1A8BD4E}"/>
              </a:ext>
            </a:extLst>
          </p:cNvPr>
          <p:cNvGrpSpPr/>
          <p:nvPr/>
        </p:nvGrpSpPr>
        <p:grpSpPr>
          <a:xfrm>
            <a:off x="438864" y="2198025"/>
            <a:ext cx="1024528" cy="623106"/>
            <a:chOff x="522514" y="1920087"/>
            <a:chExt cx="1024673" cy="623195"/>
          </a:xfrm>
        </p:grpSpPr>
        <p:sp>
          <p:nvSpPr>
            <p:cNvPr id="43" name="Rectangle 362">
              <a:extLst>
                <a:ext uri="{FF2B5EF4-FFF2-40B4-BE49-F238E27FC236}">
                  <a16:creationId xmlns:a16="http://schemas.microsoft.com/office/drawing/2014/main" id="{BE54F0D0-7FAC-46F5-923D-FCBC1CC073A3}"/>
                </a:ext>
              </a:extLst>
            </p:cNvPr>
            <p:cNvSpPr>
              <a:spLocks noChangeArrowheads="1"/>
            </p:cNvSpPr>
            <p:nvPr/>
          </p:nvSpPr>
          <p:spPr bwMode="auto">
            <a:xfrm>
              <a:off x="522514" y="1920087"/>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44" name="Rectangle 365">
              <a:extLst>
                <a:ext uri="{FF2B5EF4-FFF2-40B4-BE49-F238E27FC236}">
                  <a16:creationId xmlns:a16="http://schemas.microsoft.com/office/drawing/2014/main" id="{26B0496F-1490-4FDE-A7EB-90EFD86A8A06}"/>
                </a:ext>
              </a:extLst>
            </p:cNvPr>
            <p:cNvSpPr>
              <a:spLocks noChangeArrowheads="1"/>
            </p:cNvSpPr>
            <p:nvPr/>
          </p:nvSpPr>
          <p:spPr bwMode="auto">
            <a:xfrm>
              <a:off x="522514" y="2168396"/>
              <a:ext cx="810926"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a:t>
              </a:r>
              <a:endParaRPr lang="en-US" altLang="en-US">
                <a:gradFill>
                  <a:gsLst>
                    <a:gs pos="78761">
                      <a:srgbClr val="353535"/>
                    </a:gs>
                    <a:gs pos="0">
                      <a:srgbClr val="353535"/>
                    </a:gs>
                  </a:gsLst>
                  <a:lin ang="5400000" scaled="0"/>
                </a:gradFill>
                <a:latin typeface="Segoe UI Semilight"/>
              </a:endParaRPr>
            </a:p>
          </p:txBody>
        </p:sp>
      </p:grpSp>
      <p:grpSp>
        <p:nvGrpSpPr>
          <p:cNvPr id="9" name="Group 8">
            <a:extLst>
              <a:ext uri="{FF2B5EF4-FFF2-40B4-BE49-F238E27FC236}">
                <a16:creationId xmlns:a16="http://schemas.microsoft.com/office/drawing/2014/main" id="{A2FA5BF8-42F7-4735-83C2-9752FEC28A3B}"/>
              </a:ext>
            </a:extLst>
          </p:cNvPr>
          <p:cNvGrpSpPr/>
          <p:nvPr/>
        </p:nvGrpSpPr>
        <p:grpSpPr>
          <a:xfrm>
            <a:off x="2656203" y="4868670"/>
            <a:ext cx="2823645" cy="836032"/>
            <a:chOff x="2806842" y="4739119"/>
            <a:chExt cx="2390527" cy="836151"/>
          </a:xfrm>
        </p:grpSpPr>
        <p:sp>
          <p:nvSpPr>
            <p:cNvPr id="31" name="Rectangle 30">
              <a:extLst>
                <a:ext uri="{FF2B5EF4-FFF2-40B4-BE49-F238E27FC236}">
                  <a16:creationId xmlns:a16="http://schemas.microsoft.com/office/drawing/2014/main" id="{AE93519E-5CAC-4E86-B857-A8DA0D05CD60}"/>
                </a:ext>
              </a:extLst>
            </p:cNvPr>
            <p:cNvSpPr/>
            <p:nvPr/>
          </p:nvSpPr>
          <p:spPr>
            <a:xfrm>
              <a:off x="2806842" y="4739119"/>
              <a:ext cx="1874230" cy="376738"/>
            </a:xfrm>
            <a:prstGeom prst="rect">
              <a:avLst/>
            </a:prstGeom>
          </p:spPr>
          <p:txBody>
            <a:bodyPr wrap="none">
              <a:spAutoFit/>
            </a:bodyPr>
            <a:lstStyle/>
            <a:p>
              <a:pPr defTabSz="932563">
                <a:defRPr/>
              </a:pPr>
              <a:r>
                <a:rPr 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AVAILABILITY SETS</a:t>
              </a:r>
            </a:p>
          </p:txBody>
        </p:sp>
        <p:sp>
          <p:nvSpPr>
            <p:cNvPr id="35" name="Rectangle 34">
              <a:extLst>
                <a:ext uri="{FF2B5EF4-FFF2-40B4-BE49-F238E27FC236}">
                  <a16:creationId xmlns:a16="http://schemas.microsoft.com/office/drawing/2014/main" id="{2D1E9CB2-30C4-4538-8D43-0553AEA4C909}"/>
                </a:ext>
              </a:extLst>
            </p:cNvPr>
            <p:cNvSpPr/>
            <p:nvPr/>
          </p:nvSpPr>
          <p:spPr>
            <a:xfrm>
              <a:off x="2806842" y="4979030"/>
              <a:ext cx="2390527" cy="596240"/>
            </a:xfrm>
            <a:prstGeom prst="rect">
              <a:avLst/>
            </a:prstGeom>
          </p:spPr>
          <p:txBody>
            <a:bodyPr wrap="square">
              <a:spAutoFit/>
            </a:bodyPr>
            <a:lstStyle/>
            <a:p>
              <a:pPr defTabSz="932563">
                <a:defRPr/>
              </a:pPr>
              <a:r>
                <a:rPr lang="en-US" sz="1599">
                  <a:gradFill>
                    <a:gsLst>
                      <a:gs pos="78761">
                        <a:srgbClr val="353535"/>
                      </a:gs>
                      <a:gs pos="0">
                        <a:srgbClr val="353535"/>
                      </a:gs>
                    </a:gsLst>
                    <a:lin ang="5400000" scaled="0"/>
                  </a:gradFill>
                  <a:latin typeface="Segoe UI Semilight"/>
                </a:rPr>
                <a:t>Protection against failures within datacenters</a:t>
              </a:r>
            </a:p>
          </p:txBody>
        </p:sp>
      </p:grpSp>
      <p:grpSp>
        <p:nvGrpSpPr>
          <p:cNvPr id="10" name="Group 9">
            <a:extLst>
              <a:ext uri="{FF2B5EF4-FFF2-40B4-BE49-F238E27FC236}">
                <a16:creationId xmlns:a16="http://schemas.microsoft.com/office/drawing/2014/main" id="{CA7AE3EA-53EE-496D-9E83-250515C0D0DB}"/>
              </a:ext>
            </a:extLst>
          </p:cNvPr>
          <p:cNvGrpSpPr/>
          <p:nvPr/>
        </p:nvGrpSpPr>
        <p:grpSpPr>
          <a:xfrm>
            <a:off x="5479848" y="4868670"/>
            <a:ext cx="3061548" cy="836032"/>
            <a:chOff x="5630888" y="4739119"/>
            <a:chExt cx="2284328" cy="836151"/>
          </a:xfrm>
        </p:grpSpPr>
        <p:sp>
          <p:nvSpPr>
            <p:cNvPr id="32" name="Rectangle 31">
              <a:extLst>
                <a:ext uri="{FF2B5EF4-FFF2-40B4-BE49-F238E27FC236}">
                  <a16:creationId xmlns:a16="http://schemas.microsoft.com/office/drawing/2014/main" id="{F8241D1E-9776-46B4-AC53-517C71B117EC}"/>
                </a:ext>
              </a:extLst>
            </p:cNvPr>
            <p:cNvSpPr/>
            <p:nvPr/>
          </p:nvSpPr>
          <p:spPr>
            <a:xfrm>
              <a:off x="5630888" y="4739119"/>
              <a:ext cx="1830240" cy="376738"/>
            </a:xfrm>
            <a:prstGeom prst="rect">
              <a:avLst/>
            </a:prstGeom>
          </p:spPr>
          <p:txBody>
            <a:bodyPr wrap="none">
              <a:spAutoFit/>
            </a:bodyPr>
            <a:lstStyle/>
            <a:p>
              <a:pPr defTabSz="932563">
                <a:defRPr/>
              </a:pPr>
              <a:r>
                <a:rPr 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AVAILABILITY ZONES</a:t>
              </a:r>
            </a:p>
          </p:txBody>
        </p:sp>
        <p:sp>
          <p:nvSpPr>
            <p:cNvPr id="36" name="Rectangle 35">
              <a:extLst>
                <a:ext uri="{FF2B5EF4-FFF2-40B4-BE49-F238E27FC236}">
                  <a16:creationId xmlns:a16="http://schemas.microsoft.com/office/drawing/2014/main" id="{A00FBC54-3159-488B-9805-067A9050681B}"/>
                </a:ext>
              </a:extLst>
            </p:cNvPr>
            <p:cNvSpPr/>
            <p:nvPr/>
          </p:nvSpPr>
          <p:spPr>
            <a:xfrm>
              <a:off x="5630888" y="4979030"/>
              <a:ext cx="2284328" cy="596240"/>
            </a:xfrm>
            <a:prstGeom prst="rect">
              <a:avLst/>
            </a:prstGeom>
          </p:spPr>
          <p:txBody>
            <a:bodyPr wrap="square">
              <a:spAutoFit/>
            </a:bodyPr>
            <a:lstStyle/>
            <a:p>
              <a:pPr defTabSz="932563">
                <a:defRPr/>
              </a:pPr>
              <a:r>
                <a:rPr lang="en-US" sz="1599">
                  <a:gradFill>
                    <a:gsLst>
                      <a:gs pos="78761">
                        <a:srgbClr val="353535"/>
                      </a:gs>
                      <a:gs pos="0">
                        <a:srgbClr val="353535"/>
                      </a:gs>
                    </a:gsLst>
                    <a:lin ang="5400000" scaled="0"/>
                  </a:gradFill>
                  <a:latin typeface="Segoe UI Semilight"/>
                </a:rPr>
                <a:t>Protection from entire datacenter failures</a:t>
              </a:r>
            </a:p>
          </p:txBody>
        </p:sp>
      </p:grpSp>
      <p:grpSp>
        <p:nvGrpSpPr>
          <p:cNvPr id="11" name="Group 10">
            <a:extLst>
              <a:ext uri="{FF2B5EF4-FFF2-40B4-BE49-F238E27FC236}">
                <a16:creationId xmlns:a16="http://schemas.microsoft.com/office/drawing/2014/main" id="{EBA960E1-FAB4-4A60-BAEE-F5A25B0153F7}"/>
              </a:ext>
            </a:extLst>
          </p:cNvPr>
          <p:cNvGrpSpPr/>
          <p:nvPr/>
        </p:nvGrpSpPr>
        <p:grpSpPr>
          <a:xfrm>
            <a:off x="8837575" y="4868670"/>
            <a:ext cx="2989759" cy="836032"/>
            <a:chOff x="8989092" y="4739119"/>
            <a:chExt cx="2284328" cy="836151"/>
          </a:xfrm>
        </p:grpSpPr>
        <p:sp>
          <p:nvSpPr>
            <p:cNvPr id="33" name="Rectangle 32">
              <a:extLst>
                <a:ext uri="{FF2B5EF4-FFF2-40B4-BE49-F238E27FC236}">
                  <a16:creationId xmlns:a16="http://schemas.microsoft.com/office/drawing/2014/main" id="{B28B47E3-5453-4268-9424-9C3B0EE80D8B}"/>
                </a:ext>
              </a:extLst>
            </p:cNvPr>
            <p:cNvSpPr/>
            <p:nvPr/>
          </p:nvSpPr>
          <p:spPr>
            <a:xfrm>
              <a:off x="8989092" y="4739119"/>
              <a:ext cx="1326956" cy="376738"/>
            </a:xfrm>
            <a:prstGeom prst="rect">
              <a:avLst/>
            </a:prstGeom>
          </p:spPr>
          <p:txBody>
            <a:bodyPr wrap="none">
              <a:spAutoFit/>
            </a:bodyPr>
            <a:lstStyle/>
            <a:p>
              <a:pPr defTabSz="932563">
                <a:defRPr/>
              </a:pPr>
              <a:r>
                <a:rPr 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EGION PAIRS</a:t>
              </a:r>
            </a:p>
          </p:txBody>
        </p:sp>
        <p:sp>
          <p:nvSpPr>
            <p:cNvPr id="38" name="Rectangle 37">
              <a:extLst>
                <a:ext uri="{FF2B5EF4-FFF2-40B4-BE49-F238E27FC236}">
                  <a16:creationId xmlns:a16="http://schemas.microsoft.com/office/drawing/2014/main" id="{A1DBA6A0-68FB-4166-A508-C7B24FCE17EC}"/>
                </a:ext>
              </a:extLst>
            </p:cNvPr>
            <p:cNvSpPr/>
            <p:nvPr/>
          </p:nvSpPr>
          <p:spPr>
            <a:xfrm>
              <a:off x="8989092" y="4979030"/>
              <a:ext cx="2284328" cy="596240"/>
            </a:xfrm>
            <a:prstGeom prst="rect">
              <a:avLst/>
            </a:prstGeom>
          </p:spPr>
          <p:txBody>
            <a:bodyPr wrap="square">
              <a:spAutoFit/>
            </a:bodyPr>
            <a:lstStyle/>
            <a:p>
              <a:pPr defTabSz="932563">
                <a:defRPr/>
              </a:pPr>
              <a:r>
                <a:rPr lang="en-US" sz="1599">
                  <a:gradFill>
                    <a:gsLst>
                      <a:gs pos="78761">
                        <a:srgbClr val="353535"/>
                      </a:gs>
                      <a:gs pos="0">
                        <a:srgbClr val="353535"/>
                      </a:gs>
                    </a:gsLst>
                    <a:lin ang="5400000" scaled="0"/>
                  </a:gradFill>
                  <a:latin typeface="Segoe UI Semilight"/>
                </a:rPr>
                <a:t>Protection from disaster with</a:t>
              </a:r>
              <a:br>
                <a:rPr lang="en-US" sz="1599">
                  <a:gradFill>
                    <a:gsLst>
                      <a:gs pos="78761">
                        <a:srgbClr val="353535"/>
                      </a:gs>
                      <a:gs pos="0">
                        <a:srgbClr val="353535"/>
                      </a:gs>
                    </a:gsLst>
                    <a:lin ang="5400000" scaled="0"/>
                  </a:gradFill>
                  <a:latin typeface="Segoe UI Semilight"/>
                </a:rPr>
              </a:br>
              <a:r>
                <a:rPr lang="en-US" sz="1599">
                  <a:gradFill>
                    <a:gsLst>
                      <a:gs pos="78761">
                        <a:srgbClr val="353535"/>
                      </a:gs>
                      <a:gs pos="0">
                        <a:srgbClr val="353535"/>
                      </a:gs>
                    </a:gsLst>
                    <a:lin ang="5400000" scaled="0"/>
                  </a:gradFill>
                  <a:latin typeface="Segoe UI Semilight"/>
                </a:rPr>
                <a:t>Data Residency compliance</a:t>
              </a:r>
            </a:p>
          </p:txBody>
        </p:sp>
      </p:grpSp>
      <p:sp>
        <p:nvSpPr>
          <p:cNvPr id="63" name="Freeform: Shape 62">
            <a:extLst>
              <a:ext uri="{FF2B5EF4-FFF2-40B4-BE49-F238E27FC236}">
                <a16:creationId xmlns:a16="http://schemas.microsoft.com/office/drawing/2014/main" id="{B18BDE70-580F-4EAB-867D-3F3E6C5993AC}"/>
              </a:ext>
            </a:extLst>
          </p:cNvPr>
          <p:cNvSpPr/>
          <p:nvPr/>
        </p:nvSpPr>
        <p:spPr bwMode="auto">
          <a:xfrm>
            <a:off x="438865" y="2862207"/>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64" name="Freeform: Shape 63">
            <a:extLst>
              <a:ext uri="{FF2B5EF4-FFF2-40B4-BE49-F238E27FC236}">
                <a16:creationId xmlns:a16="http://schemas.microsoft.com/office/drawing/2014/main" id="{D109FD18-D374-4FCF-A27B-F81D4F41EB75}"/>
              </a:ext>
            </a:extLst>
          </p:cNvPr>
          <p:cNvSpPr/>
          <p:nvPr/>
        </p:nvSpPr>
        <p:spPr bwMode="auto">
          <a:xfrm>
            <a:off x="2722869" y="2862207"/>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65" name="Freeform: Shape 64">
            <a:extLst>
              <a:ext uri="{FF2B5EF4-FFF2-40B4-BE49-F238E27FC236}">
                <a16:creationId xmlns:a16="http://schemas.microsoft.com/office/drawing/2014/main" id="{E91A317A-8CC9-4667-82DD-F225E726BA9A}"/>
              </a:ext>
            </a:extLst>
          </p:cNvPr>
          <p:cNvSpPr/>
          <p:nvPr/>
        </p:nvSpPr>
        <p:spPr bwMode="auto">
          <a:xfrm>
            <a:off x="5546514" y="2862207"/>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66" name="Freeform: Shape 65">
            <a:extLst>
              <a:ext uri="{FF2B5EF4-FFF2-40B4-BE49-F238E27FC236}">
                <a16:creationId xmlns:a16="http://schemas.microsoft.com/office/drawing/2014/main" id="{52C7DA27-095C-42EC-B6F9-8C23D3C4306D}"/>
              </a:ext>
            </a:extLst>
          </p:cNvPr>
          <p:cNvSpPr/>
          <p:nvPr/>
        </p:nvSpPr>
        <p:spPr bwMode="auto">
          <a:xfrm>
            <a:off x="8904241" y="2862207"/>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grpSp>
        <p:nvGrpSpPr>
          <p:cNvPr id="5" name="Group 4">
            <a:extLst>
              <a:ext uri="{FF2B5EF4-FFF2-40B4-BE49-F238E27FC236}">
                <a16:creationId xmlns:a16="http://schemas.microsoft.com/office/drawing/2014/main" id="{E6D3F48B-B8D4-49F2-BC61-FFF7C5113783}"/>
              </a:ext>
            </a:extLst>
          </p:cNvPr>
          <p:cNvGrpSpPr/>
          <p:nvPr/>
        </p:nvGrpSpPr>
        <p:grpSpPr>
          <a:xfrm>
            <a:off x="2722867" y="2202279"/>
            <a:ext cx="1024528" cy="620582"/>
            <a:chOff x="2806842" y="2107278"/>
            <a:chExt cx="1024673" cy="620670"/>
          </a:xfrm>
        </p:grpSpPr>
        <p:sp>
          <p:nvSpPr>
            <p:cNvPr id="67" name="Rectangle 362">
              <a:extLst>
                <a:ext uri="{FF2B5EF4-FFF2-40B4-BE49-F238E27FC236}">
                  <a16:creationId xmlns:a16="http://schemas.microsoft.com/office/drawing/2014/main" id="{EB9D7CCA-E5F5-416D-BAA0-AFE7B9E578EF}"/>
                </a:ext>
              </a:extLst>
            </p:cNvPr>
            <p:cNvSpPr>
              <a:spLocks noChangeArrowheads="1"/>
            </p:cNvSpPr>
            <p:nvPr/>
          </p:nvSpPr>
          <p:spPr bwMode="auto">
            <a:xfrm>
              <a:off x="2806842" y="2107278"/>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68" name="Rectangle 365">
              <a:extLst>
                <a:ext uri="{FF2B5EF4-FFF2-40B4-BE49-F238E27FC236}">
                  <a16:creationId xmlns:a16="http://schemas.microsoft.com/office/drawing/2014/main" id="{E3C06106-7365-4A6F-AB14-6721F6D03340}"/>
                </a:ext>
              </a:extLst>
            </p:cNvPr>
            <p:cNvSpPr>
              <a:spLocks noChangeArrowheads="1"/>
            </p:cNvSpPr>
            <p:nvPr/>
          </p:nvSpPr>
          <p:spPr bwMode="auto">
            <a:xfrm>
              <a:off x="2806842"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5% </a:t>
              </a:r>
              <a:endParaRPr lang="en-US" altLang="en-US">
                <a:gradFill>
                  <a:gsLst>
                    <a:gs pos="78761">
                      <a:srgbClr val="353535"/>
                    </a:gs>
                    <a:gs pos="0">
                      <a:srgbClr val="353535"/>
                    </a:gs>
                  </a:gsLst>
                  <a:lin ang="5400000" scaled="0"/>
                </a:gradFill>
                <a:latin typeface="Segoe UI Semilight"/>
              </a:endParaRPr>
            </a:p>
          </p:txBody>
        </p:sp>
      </p:grpSp>
      <p:grpSp>
        <p:nvGrpSpPr>
          <p:cNvPr id="6" name="Group 5">
            <a:extLst>
              <a:ext uri="{FF2B5EF4-FFF2-40B4-BE49-F238E27FC236}">
                <a16:creationId xmlns:a16="http://schemas.microsoft.com/office/drawing/2014/main" id="{33C4FBB1-CB83-4D74-B18A-E863348C7A8F}"/>
              </a:ext>
            </a:extLst>
          </p:cNvPr>
          <p:cNvGrpSpPr/>
          <p:nvPr/>
        </p:nvGrpSpPr>
        <p:grpSpPr>
          <a:xfrm>
            <a:off x="5546511" y="2198024"/>
            <a:ext cx="1024528" cy="624837"/>
            <a:chOff x="5630888" y="2103022"/>
            <a:chExt cx="1024673" cy="624926"/>
          </a:xfrm>
        </p:grpSpPr>
        <p:sp>
          <p:nvSpPr>
            <p:cNvPr id="69" name="Rectangle 362">
              <a:extLst>
                <a:ext uri="{FF2B5EF4-FFF2-40B4-BE49-F238E27FC236}">
                  <a16:creationId xmlns:a16="http://schemas.microsoft.com/office/drawing/2014/main" id="{FB272A3B-699B-4771-A084-81A20AE6B384}"/>
                </a:ext>
              </a:extLst>
            </p:cNvPr>
            <p:cNvSpPr>
              <a:spLocks noChangeArrowheads="1"/>
            </p:cNvSpPr>
            <p:nvPr/>
          </p:nvSpPr>
          <p:spPr bwMode="auto">
            <a:xfrm>
              <a:off x="5630888" y="2103022"/>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VM SLA</a:t>
              </a:r>
            </a:p>
          </p:txBody>
        </p:sp>
        <p:sp>
          <p:nvSpPr>
            <p:cNvPr id="70" name="Rectangle 365">
              <a:extLst>
                <a:ext uri="{FF2B5EF4-FFF2-40B4-BE49-F238E27FC236}">
                  <a16:creationId xmlns:a16="http://schemas.microsoft.com/office/drawing/2014/main" id="{AE756659-5BFA-4811-A9BD-772602605AC8}"/>
                </a:ext>
              </a:extLst>
            </p:cNvPr>
            <p:cNvSpPr>
              <a:spLocks noChangeArrowheads="1"/>
            </p:cNvSpPr>
            <p:nvPr/>
          </p:nvSpPr>
          <p:spPr bwMode="auto">
            <a:xfrm>
              <a:off x="5630888"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panose="020B0502040204020203" pitchFamily="34" charset="0"/>
                  <a:cs typeface="Segoe UI" panose="020B0502040204020203" pitchFamily="34" charset="0"/>
                </a:rPr>
                <a:t>99.99% </a:t>
              </a:r>
              <a:endParaRPr lang="en-US" altLang="en-US">
                <a:gradFill>
                  <a:gsLst>
                    <a:gs pos="78761">
                      <a:srgbClr val="353535"/>
                    </a:gs>
                    <a:gs pos="0">
                      <a:srgbClr val="353535"/>
                    </a:gs>
                  </a:gsLst>
                  <a:lin ang="5400000" scaled="0"/>
                </a:gradFill>
                <a:latin typeface="Segoe UI Semilight"/>
              </a:endParaRPr>
            </a:p>
          </p:txBody>
        </p:sp>
      </p:grpSp>
      <p:sp>
        <p:nvSpPr>
          <p:cNvPr id="72" name="Rectangle 365">
            <a:extLst>
              <a:ext uri="{FF2B5EF4-FFF2-40B4-BE49-F238E27FC236}">
                <a16:creationId xmlns:a16="http://schemas.microsoft.com/office/drawing/2014/main" id="{DDE028D8-2C1A-4722-A489-1153DBA144DF}"/>
              </a:ext>
            </a:extLst>
          </p:cNvPr>
          <p:cNvSpPr>
            <a:spLocks noChangeArrowheads="1"/>
          </p:cNvSpPr>
          <p:nvPr/>
        </p:nvSpPr>
        <p:spPr bwMode="auto">
          <a:xfrm>
            <a:off x="8900648" y="2204181"/>
            <a:ext cx="1172128" cy="65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EGIONS</a:t>
            </a:r>
            <a:br>
              <a:rPr lang="en-US" altLang="en-US">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br>
            <a:r>
              <a:rPr lang="en-US" altLang="en-US">
                <a:gradFill>
                  <a:gsLst>
                    <a:gs pos="78761">
                      <a:srgbClr val="353535"/>
                    </a:gs>
                    <a:gs pos="0">
                      <a:srgbClr val="353535"/>
                    </a:gs>
                  </a:gsLst>
                  <a:lin ang="5400000" scaled="0"/>
                </a:gradFill>
                <a:latin typeface="Segoe UI" panose="020B0502040204020203" pitchFamily="34" charset="0"/>
                <a:cs typeface="Segoe UI" panose="020B0502040204020203" pitchFamily="34" charset="0"/>
              </a:rPr>
              <a:t>42</a:t>
            </a:r>
          </a:p>
        </p:txBody>
      </p:sp>
      <p:sp>
        <p:nvSpPr>
          <p:cNvPr id="73" name="PC1_E977">
            <a:extLst>
              <a:ext uri="{FF2B5EF4-FFF2-40B4-BE49-F238E27FC236}">
                <a16:creationId xmlns:a16="http://schemas.microsoft.com/office/drawing/2014/main" id="{CA53C8D6-6924-487D-8B12-6F4017ED255B}"/>
              </a:ext>
            </a:extLst>
          </p:cNvPr>
          <p:cNvSpPr>
            <a:spLocks noChangeAspect="1" noEditPoints="1"/>
          </p:cNvSpPr>
          <p:nvPr/>
        </p:nvSpPr>
        <p:spPr bwMode="auto">
          <a:xfrm>
            <a:off x="1212382" y="3560157"/>
            <a:ext cx="611531" cy="489419"/>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gradFill>
              <a:latin typeface="Segoe UI Semilight"/>
            </a:endParaRPr>
          </a:p>
        </p:txBody>
      </p:sp>
      <p:grpSp>
        <p:nvGrpSpPr>
          <p:cNvPr id="84" name="Group 83">
            <a:extLst>
              <a:ext uri="{FF2B5EF4-FFF2-40B4-BE49-F238E27FC236}">
                <a16:creationId xmlns:a16="http://schemas.microsoft.com/office/drawing/2014/main" id="{2A4E6E2D-2EAE-4A15-88D7-CB8AA5476496}"/>
              </a:ext>
            </a:extLst>
          </p:cNvPr>
          <p:cNvGrpSpPr/>
          <p:nvPr/>
        </p:nvGrpSpPr>
        <p:grpSpPr>
          <a:xfrm>
            <a:off x="3375029" y="3400413"/>
            <a:ext cx="1399593" cy="808907"/>
            <a:chOff x="3459095" y="2961602"/>
            <a:chExt cx="1399792" cy="809022"/>
          </a:xfrm>
        </p:grpSpPr>
        <p:sp>
          <p:nvSpPr>
            <p:cNvPr id="76" name="monitor">
              <a:extLst>
                <a:ext uri="{FF2B5EF4-FFF2-40B4-BE49-F238E27FC236}">
                  <a16:creationId xmlns:a16="http://schemas.microsoft.com/office/drawing/2014/main" id="{8ACDE5C5-D9BD-4900-BC23-9C11FD3A1ACB}"/>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77" name="monitor">
              <a:extLst>
                <a:ext uri="{FF2B5EF4-FFF2-40B4-BE49-F238E27FC236}">
                  <a16:creationId xmlns:a16="http://schemas.microsoft.com/office/drawing/2014/main" id="{6BFE5E39-9E92-4515-8053-C717F25794AB}"/>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79" name="Rectangle 78">
              <a:extLst>
                <a:ext uri="{FF2B5EF4-FFF2-40B4-BE49-F238E27FC236}">
                  <a16:creationId xmlns:a16="http://schemas.microsoft.com/office/drawing/2014/main" id="{44E3CCC8-95EA-40AE-B1EB-071187DCDEFF}"/>
                </a:ext>
              </a:extLst>
            </p:cNvPr>
            <p:cNvSpPr/>
            <p:nvPr/>
          </p:nvSpPr>
          <p:spPr bwMode="auto">
            <a:xfrm>
              <a:off x="3475778" y="2961602"/>
              <a:ext cx="1353672" cy="473134"/>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cs typeface="Segoe UI" pitchFamily="34" charset="0"/>
              </a:endParaRPr>
            </a:p>
          </p:txBody>
        </p:sp>
        <p:sp>
          <p:nvSpPr>
            <p:cNvPr id="80" name="monitor">
              <a:extLst>
                <a:ext uri="{FF2B5EF4-FFF2-40B4-BE49-F238E27FC236}">
                  <a16:creationId xmlns:a16="http://schemas.microsoft.com/office/drawing/2014/main" id="{85884749-C830-4D4F-B190-11F8659557F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1" name="monitor">
              <a:extLst>
                <a:ext uri="{FF2B5EF4-FFF2-40B4-BE49-F238E27FC236}">
                  <a16:creationId xmlns:a16="http://schemas.microsoft.com/office/drawing/2014/main" id="{34931339-6B1A-4FE4-AE1D-CB3D3C510103}"/>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2" name="monitor">
              <a:extLst>
                <a:ext uri="{FF2B5EF4-FFF2-40B4-BE49-F238E27FC236}">
                  <a16:creationId xmlns:a16="http://schemas.microsoft.com/office/drawing/2014/main" id="{91A36490-38B7-4C34-8D89-C04E91EFB087}"/>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3" name="monitor">
              <a:extLst>
                <a:ext uri="{FF2B5EF4-FFF2-40B4-BE49-F238E27FC236}">
                  <a16:creationId xmlns:a16="http://schemas.microsoft.com/office/drawing/2014/main" id="{555E0BD7-5A39-4C9E-8B81-85C9771CE3C7}"/>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grpSp>
      <p:grpSp>
        <p:nvGrpSpPr>
          <p:cNvPr id="88" name="Group 87">
            <a:extLst>
              <a:ext uri="{FF2B5EF4-FFF2-40B4-BE49-F238E27FC236}">
                <a16:creationId xmlns:a16="http://schemas.microsoft.com/office/drawing/2014/main" id="{D7FABECC-41F8-45D5-AC0B-CEE3DF09EBBC}"/>
              </a:ext>
            </a:extLst>
          </p:cNvPr>
          <p:cNvGrpSpPr/>
          <p:nvPr/>
        </p:nvGrpSpPr>
        <p:grpSpPr>
          <a:xfrm>
            <a:off x="6589798" y="3267491"/>
            <a:ext cx="1145720" cy="1074750"/>
            <a:chOff x="6265202" y="2921103"/>
            <a:chExt cx="1145883" cy="1074902"/>
          </a:xfrm>
        </p:grpSpPr>
        <p:sp>
          <p:nvSpPr>
            <p:cNvPr id="85" name="server">
              <a:extLst>
                <a:ext uri="{FF2B5EF4-FFF2-40B4-BE49-F238E27FC236}">
                  <a16:creationId xmlns:a16="http://schemas.microsoft.com/office/drawing/2014/main" id="{70E59AE1-0673-46C0-B5FD-11993B5AA277}"/>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6" name="server">
              <a:extLst>
                <a:ext uri="{FF2B5EF4-FFF2-40B4-BE49-F238E27FC236}">
                  <a16:creationId xmlns:a16="http://schemas.microsoft.com/office/drawing/2014/main" id="{C020C5A8-AECB-47DF-B012-A70852B32C37}"/>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7" name="server">
              <a:extLst>
                <a:ext uri="{FF2B5EF4-FFF2-40B4-BE49-F238E27FC236}">
                  <a16:creationId xmlns:a16="http://schemas.microsoft.com/office/drawing/2014/main" id="{86DCDF78-CBC1-4643-A546-4FA1ECCC352E}"/>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grpSp>
      <p:sp>
        <p:nvSpPr>
          <p:cNvPr id="89" name="Freeform: Shape 88">
            <a:extLst>
              <a:ext uri="{FF2B5EF4-FFF2-40B4-BE49-F238E27FC236}">
                <a16:creationId xmlns:a16="http://schemas.microsoft.com/office/drawing/2014/main" id="{11D75E76-A537-4A18-9B66-D3EEFF3A92D5}"/>
              </a:ext>
            </a:extLst>
          </p:cNvPr>
          <p:cNvSpPr/>
          <p:nvPr/>
        </p:nvSpPr>
        <p:spPr bwMode="auto">
          <a:xfrm>
            <a:off x="6946542" y="3509678"/>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90" name="Freeform: Shape 89">
            <a:extLst>
              <a:ext uri="{FF2B5EF4-FFF2-40B4-BE49-F238E27FC236}">
                <a16:creationId xmlns:a16="http://schemas.microsoft.com/office/drawing/2014/main" id="{342CDFF3-1BAB-49A1-8CA0-A00453DAEE15}"/>
              </a:ext>
            </a:extLst>
          </p:cNvPr>
          <p:cNvSpPr/>
          <p:nvPr/>
        </p:nvSpPr>
        <p:spPr bwMode="auto">
          <a:xfrm rot="2700000">
            <a:off x="6541767" y="4027740"/>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91" name="Freeform: Shape 90">
            <a:extLst>
              <a:ext uri="{FF2B5EF4-FFF2-40B4-BE49-F238E27FC236}">
                <a16:creationId xmlns:a16="http://schemas.microsoft.com/office/drawing/2014/main" id="{6AFE5A52-DE23-43ED-8778-7EF477993EDB}"/>
              </a:ext>
            </a:extLst>
          </p:cNvPr>
          <p:cNvSpPr/>
          <p:nvPr/>
        </p:nvSpPr>
        <p:spPr bwMode="auto">
          <a:xfrm rot="18900000" flipH="1">
            <a:off x="7312345" y="4021738"/>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grpSp>
        <p:nvGrpSpPr>
          <p:cNvPr id="16" name="Group 15">
            <a:extLst>
              <a:ext uri="{FF2B5EF4-FFF2-40B4-BE49-F238E27FC236}">
                <a16:creationId xmlns:a16="http://schemas.microsoft.com/office/drawing/2014/main" id="{6CDF00BB-5F8B-46A2-9EF3-651DFF08D009}"/>
              </a:ext>
            </a:extLst>
          </p:cNvPr>
          <p:cNvGrpSpPr/>
          <p:nvPr/>
        </p:nvGrpSpPr>
        <p:grpSpPr>
          <a:xfrm>
            <a:off x="9021663" y="3171482"/>
            <a:ext cx="2733181" cy="1285331"/>
            <a:chOff x="9106531" y="3479339"/>
            <a:chExt cx="2733568" cy="1285513"/>
          </a:xfrm>
        </p:grpSpPr>
        <p:grpSp>
          <p:nvGrpSpPr>
            <p:cNvPr id="12" name="Group 11">
              <a:extLst>
                <a:ext uri="{FF2B5EF4-FFF2-40B4-BE49-F238E27FC236}">
                  <a16:creationId xmlns:a16="http://schemas.microsoft.com/office/drawing/2014/main" id="{73893447-AD34-44A2-B240-E606BCDE1609}"/>
                </a:ext>
              </a:extLst>
            </p:cNvPr>
            <p:cNvGrpSpPr/>
            <p:nvPr/>
          </p:nvGrpSpPr>
          <p:grpSpPr>
            <a:xfrm>
              <a:off x="9106531" y="3479339"/>
              <a:ext cx="2733568" cy="1285513"/>
              <a:chOff x="9106531" y="3070266"/>
              <a:chExt cx="2733568" cy="1285513"/>
            </a:xfrm>
          </p:grpSpPr>
          <p:sp>
            <p:nvSpPr>
              <p:cNvPr id="92" name="Freeform 11">
                <a:extLst>
                  <a:ext uri="{FF2B5EF4-FFF2-40B4-BE49-F238E27FC236}">
                    <a16:creationId xmlns:a16="http://schemas.microsoft.com/office/drawing/2014/main" id="{6871CD05-BCDD-40B6-9C33-4EB4ED5FE918}"/>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3" name="Freeform 11">
                <a:extLst>
                  <a:ext uri="{FF2B5EF4-FFF2-40B4-BE49-F238E27FC236}">
                    <a16:creationId xmlns:a16="http://schemas.microsoft.com/office/drawing/2014/main" id="{17560B62-29B0-430E-8DF7-55A04A4CF97E}"/>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5" name="Freeform: Shape 94">
                <a:extLst>
                  <a:ext uri="{FF2B5EF4-FFF2-40B4-BE49-F238E27FC236}">
                    <a16:creationId xmlns:a16="http://schemas.microsoft.com/office/drawing/2014/main" id="{832AC6D8-73C6-42C0-929A-89B24F58AECB}"/>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96" name="Rectangle 95">
                <a:extLst>
                  <a:ext uri="{FF2B5EF4-FFF2-40B4-BE49-F238E27FC236}">
                    <a16:creationId xmlns:a16="http://schemas.microsoft.com/office/drawing/2014/main" id="{CE892F80-0093-42F0-B8D5-C3DDA86F4423}"/>
                  </a:ext>
                </a:extLst>
              </p:cNvPr>
              <p:cNvSpPr/>
              <p:nvPr/>
            </p:nvSpPr>
            <p:spPr bwMode="auto">
              <a:xfrm>
                <a:off x="9106531" y="3070266"/>
                <a:ext cx="2733568" cy="1285513"/>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cs typeface="Segoe UI" pitchFamily="34" charset="0"/>
                </a:endParaRPr>
              </a:p>
            </p:txBody>
          </p:sp>
        </p:grpSp>
        <p:sp>
          <p:nvSpPr>
            <p:cNvPr id="13" name="Rectangle 12">
              <a:extLst>
                <a:ext uri="{FF2B5EF4-FFF2-40B4-BE49-F238E27FC236}">
                  <a16:creationId xmlns:a16="http://schemas.microsoft.com/office/drawing/2014/main" id="{303B7D81-78DD-449F-A12C-6C4C172E5139}"/>
                </a:ext>
              </a:extLst>
            </p:cNvPr>
            <p:cNvSpPr/>
            <p:nvPr/>
          </p:nvSpPr>
          <p:spPr>
            <a:xfrm>
              <a:off x="9497050" y="4354349"/>
              <a:ext cx="760670" cy="282423"/>
            </a:xfrm>
            <a:prstGeom prst="rect">
              <a:avLst/>
            </a:prstGeom>
          </p:spPr>
          <p:txBody>
            <a:bodyPr wrap="none">
              <a:spAutoFit/>
            </a:bodyPr>
            <a:lstStyle/>
            <a:p>
              <a:pPr defTabSz="932563">
                <a:defRPr/>
              </a:pPr>
              <a:r>
                <a:rPr lang="en-US" sz="1199">
                  <a:gradFill>
                    <a:gsLst>
                      <a:gs pos="78761">
                        <a:srgbClr val="353535"/>
                      </a:gs>
                      <a:gs pos="0">
                        <a:srgbClr val="353535"/>
                      </a:gs>
                    </a:gsLst>
                    <a:lin ang="5400000" scaled="0"/>
                  </a:gradFill>
                  <a:latin typeface="Segoe UI Semilight"/>
                </a:rPr>
                <a:t>Region 1</a:t>
              </a:r>
              <a:endParaRPr lang="en-US" sz="1199">
                <a:solidFill>
                  <a:srgbClr val="353535"/>
                </a:solidFill>
                <a:latin typeface="Segoe UI Semilight"/>
              </a:endParaRPr>
            </a:p>
          </p:txBody>
        </p:sp>
        <p:sp>
          <p:nvSpPr>
            <p:cNvPr id="58" name="Rectangle 57">
              <a:extLst>
                <a:ext uri="{FF2B5EF4-FFF2-40B4-BE49-F238E27FC236}">
                  <a16:creationId xmlns:a16="http://schemas.microsoft.com/office/drawing/2014/main" id="{D0D12200-5521-406C-82FD-15CD2F787555}"/>
                </a:ext>
              </a:extLst>
            </p:cNvPr>
            <p:cNvSpPr/>
            <p:nvPr/>
          </p:nvSpPr>
          <p:spPr>
            <a:xfrm>
              <a:off x="10700758" y="4352010"/>
              <a:ext cx="785198" cy="282423"/>
            </a:xfrm>
            <a:prstGeom prst="rect">
              <a:avLst/>
            </a:prstGeom>
          </p:spPr>
          <p:txBody>
            <a:bodyPr wrap="none">
              <a:spAutoFit/>
            </a:bodyPr>
            <a:lstStyle/>
            <a:p>
              <a:pPr defTabSz="932563">
                <a:defRPr/>
              </a:pPr>
              <a:r>
                <a:rPr lang="en-US" sz="1199">
                  <a:gradFill>
                    <a:gsLst>
                      <a:gs pos="78761">
                        <a:srgbClr val="353535"/>
                      </a:gs>
                      <a:gs pos="0">
                        <a:srgbClr val="353535"/>
                      </a:gs>
                    </a:gsLst>
                    <a:lin ang="5400000" scaled="0"/>
                  </a:gradFill>
                  <a:latin typeface="Segoe UI Semilight"/>
                </a:rPr>
                <a:t>Region 2</a:t>
              </a:r>
              <a:endParaRPr lang="en-US" sz="1199">
                <a:solidFill>
                  <a:srgbClr val="353535"/>
                </a:solidFill>
                <a:latin typeface="Segoe UI Semilight"/>
              </a:endParaRPr>
            </a:p>
          </p:txBody>
        </p:sp>
      </p:grpSp>
      <p:grpSp>
        <p:nvGrpSpPr>
          <p:cNvPr id="19" name="Group 18">
            <a:extLst>
              <a:ext uri="{FF2B5EF4-FFF2-40B4-BE49-F238E27FC236}">
                <a16:creationId xmlns:a16="http://schemas.microsoft.com/office/drawing/2014/main" id="{721F6F95-9A0C-4BCE-9AAE-2516FFB71397}"/>
              </a:ext>
            </a:extLst>
          </p:cNvPr>
          <p:cNvGrpSpPr/>
          <p:nvPr/>
        </p:nvGrpSpPr>
        <p:grpSpPr>
          <a:xfrm>
            <a:off x="426166" y="1636625"/>
            <a:ext cx="2171262" cy="714758"/>
            <a:chOff x="425344" y="1636360"/>
            <a:chExt cx="2171570" cy="714860"/>
          </a:xfrm>
        </p:grpSpPr>
        <p:sp>
          <p:nvSpPr>
            <p:cNvPr id="14" name="Right Triangle 13">
              <a:extLst>
                <a:ext uri="{FF2B5EF4-FFF2-40B4-BE49-F238E27FC236}">
                  <a16:creationId xmlns:a16="http://schemas.microsoft.com/office/drawing/2014/main" id="{8E249FE3-F914-4FD2-AE80-536E1857663D}"/>
                </a:ext>
              </a:extLst>
            </p:cNvPr>
            <p:cNvSpPr/>
            <p:nvPr/>
          </p:nvSpPr>
          <p:spPr bwMode="auto">
            <a:xfrm flipV="1">
              <a:off x="2364684" y="2118990"/>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8" name="Group 17">
              <a:extLst>
                <a:ext uri="{FF2B5EF4-FFF2-40B4-BE49-F238E27FC236}">
                  <a16:creationId xmlns:a16="http://schemas.microsoft.com/office/drawing/2014/main" id="{F5065182-454F-455E-B5E8-13A054E2F8CF}"/>
                </a:ext>
              </a:extLst>
            </p:cNvPr>
            <p:cNvGrpSpPr/>
            <p:nvPr/>
          </p:nvGrpSpPr>
          <p:grpSpPr>
            <a:xfrm>
              <a:off x="425344" y="1636360"/>
              <a:ext cx="2171570" cy="517065"/>
              <a:chOff x="425344" y="1636360"/>
              <a:chExt cx="2171570" cy="517065"/>
            </a:xfrm>
          </p:grpSpPr>
          <p:sp>
            <p:nvSpPr>
              <p:cNvPr id="7" name="Rectangle 6">
                <a:extLst>
                  <a:ext uri="{FF2B5EF4-FFF2-40B4-BE49-F238E27FC236}">
                    <a16:creationId xmlns:a16="http://schemas.microsoft.com/office/drawing/2014/main" id="{D315414A-DCF3-49E3-AB29-89D920249CBA}"/>
                  </a:ext>
                </a:extLst>
              </p:cNvPr>
              <p:cNvSpPr/>
              <p:nvPr/>
            </p:nvSpPr>
            <p:spPr bwMode="auto">
              <a:xfrm>
                <a:off x="438044" y="1640081"/>
                <a:ext cx="2158870"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TextBox 77">
                <a:extLst>
                  <a:ext uri="{FF2B5EF4-FFF2-40B4-BE49-F238E27FC236}">
                    <a16:creationId xmlns:a16="http://schemas.microsoft.com/office/drawing/2014/main" id="{5561766D-2BB7-4B40-95A9-D38809892AC8}"/>
                  </a:ext>
                </a:extLst>
              </p:cNvPr>
              <p:cNvSpPr txBox="1"/>
              <p:nvPr/>
            </p:nvSpPr>
            <p:spPr>
              <a:xfrm>
                <a:off x="425344" y="1636360"/>
                <a:ext cx="2159468" cy="517065"/>
              </a:xfrm>
              <a:prstGeom prst="rect">
                <a:avLst/>
              </a:prstGeom>
              <a:noFill/>
            </p:spPr>
            <p:txBody>
              <a:bodyPr wrap="square" lIns="91427" tIns="146283" rIns="91427" bIns="146283" rtlCol="0">
                <a:spAutoFit/>
              </a:bodyPr>
              <a:lstStyle/>
              <a:p>
                <a:pPr algn="ctr" defTabSz="932563">
                  <a:lnSpc>
                    <a:spcPct val="90000"/>
                  </a:lnSpc>
                  <a:spcAft>
                    <a:spcPts val="600"/>
                  </a:spcAft>
                  <a:defRPr/>
                </a:pPr>
                <a: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NDUSTRY-ONLY</a:t>
                </a:r>
              </a:p>
            </p:txBody>
          </p:sp>
        </p:grpSp>
      </p:grpSp>
      <p:grpSp>
        <p:nvGrpSpPr>
          <p:cNvPr id="21" name="Group 20">
            <a:extLst>
              <a:ext uri="{FF2B5EF4-FFF2-40B4-BE49-F238E27FC236}">
                <a16:creationId xmlns:a16="http://schemas.microsoft.com/office/drawing/2014/main" id="{587C85CE-9A53-4688-9E81-BF56FEB08BFC}"/>
              </a:ext>
            </a:extLst>
          </p:cNvPr>
          <p:cNvGrpSpPr/>
          <p:nvPr/>
        </p:nvGrpSpPr>
        <p:grpSpPr>
          <a:xfrm>
            <a:off x="2717257" y="1536544"/>
            <a:ext cx="6061542" cy="810178"/>
            <a:chOff x="2716760" y="1536265"/>
            <a:chExt cx="6062402" cy="810293"/>
          </a:xfrm>
        </p:grpSpPr>
        <p:sp>
          <p:nvSpPr>
            <p:cNvPr id="104" name="Right Triangle 103">
              <a:extLst>
                <a:ext uri="{FF2B5EF4-FFF2-40B4-BE49-F238E27FC236}">
                  <a16:creationId xmlns:a16="http://schemas.microsoft.com/office/drawing/2014/main" id="{77C37534-1791-4CF1-85A4-4F78FDD1750C}"/>
                </a:ext>
              </a:extLst>
            </p:cNvPr>
            <p:cNvSpPr/>
            <p:nvPr/>
          </p:nvSpPr>
          <p:spPr bwMode="auto">
            <a:xfrm flipV="1">
              <a:off x="8543756" y="2114328"/>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3" name="Rectangle 102">
              <a:extLst>
                <a:ext uri="{FF2B5EF4-FFF2-40B4-BE49-F238E27FC236}">
                  <a16:creationId xmlns:a16="http://schemas.microsoft.com/office/drawing/2014/main" id="{9B9BFA6B-9122-42BF-9A57-5266B10A29EB}"/>
                </a:ext>
              </a:extLst>
            </p:cNvPr>
            <p:cNvSpPr/>
            <p:nvPr/>
          </p:nvSpPr>
          <p:spPr bwMode="auto">
            <a:xfrm>
              <a:off x="2719936" y="1646427"/>
              <a:ext cx="6059226" cy="4835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2" name="TextBox 101">
              <a:extLst>
                <a:ext uri="{FF2B5EF4-FFF2-40B4-BE49-F238E27FC236}">
                  <a16:creationId xmlns:a16="http://schemas.microsoft.com/office/drawing/2014/main" id="{F02D31BF-72AD-46F9-9459-547B4FD11C45}"/>
                </a:ext>
              </a:extLst>
            </p:cNvPr>
            <p:cNvSpPr txBox="1"/>
            <p:nvPr/>
          </p:nvSpPr>
          <p:spPr>
            <a:xfrm>
              <a:off x="2716760" y="1536265"/>
              <a:ext cx="6059225" cy="747289"/>
            </a:xfrm>
            <a:prstGeom prst="rect">
              <a:avLst/>
            </a:prstGeom>
            <a:noFill/>
          </p:spPr>
          <p:txBody>
            <a:bodyPr wrap="square" lIns="91427" tIns="146283" rIns="91427" bIns="146283" rtlCol="0">
              <a:spAutoFit/>
            </a:bodyPr>
            <a:lstStyle/>
            <a:p>
              <a:pPr algn="ctr" defTabSz="932563">
                <a:lnSpc>
                  <a:spcPct val="90000"/>
                </a:lnSpc>
                <a:spcAft>
                  <a:spcPts val="600"/>
                </a:spcAft>
                <a:defRPr/>
              </a:pPr>
              <a: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NDUSTRY-LEADING </a:t>
              </a:r>
              <a:b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br>
              <a: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HIGH AVAILABILITY SLA</a:t>
              </a:r>
            </a:p>
          </p:txBody>
        </p:sp>
      </p:grpSp>
      <p:grpSp>
        <p:nvGrpSpPr>
          <p:cNvPr id="22" name="Group 21">
            <a:extLst>
              <a:ext uri="{FF2B5EF4-FFF2-40B4-BE49-F238E27FC236}">
                <a16:creationId xmlns:a16="http://schemas.microsoft.com/office/drawing/2014/main" id="{03CF4517-18D9-48A4-962D-616069ECBC54}"/>
              </a:ext>
            </a:extLst>
          </p:cNvPr>
          <p:cNvGrpSpPr/>
          <p:nvPr/>
        </p:nvGrpSpPr>
        <p:grpSpPr>
          <a:xfrm>
            <a:off x="8898628" y="1516260"/>
            <a:ext cx="2973638" cy="830462"/>
            <a:chOff x="8899008" y="1515979"/>
            <a:chExt cx="2974060" cy="830579"/>
          </a:xfrm>
        </p:grpSpPr>
        <p:sp>
          <p:nvSpPr>
            <p:cNvPr id="114" name="Right Triangle 113">
              <a:extLst>
                <a:ext uri="{FF2B5EF4-FFF2-40B4-BE49-F238E27FC236}">
                  <a16:creationId xmlns:a16="http://schemas.microsoft.com/office/drawing/2014/main" id="{302C9F94-0C2B-43EE-BD77-029EC996B64B}"/>
                </a:ext>
              </a:extLst>
            </p:cNvPr>
            <p:cNvSpPr/>
            <p:nvPr/>
          </p:nvSpPr>
          <p:spPr bwMode="auto">
            <a:xfrm flipV="1">
              <a:off x="11640838" y="2114328"/>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a:extLst>
                <a:ext uri="{FF2B5EF4-FFF2-40B4-BE49-F238E27FC236}">
                  <a16:creationId xmlns:a16="http://schemas.microsoft.com/office/drawing/2014/main" id="{7A1DE41B-C0D5-4F9C-B77A-994929A9FB49}"/>
                </a:ext>
              </a:extLst>
            </p:cNvPr>
            <p:cNvSpPr/>
            <p:nvPr/>
          </p:nvSpPr>
          <p:spPr bwMode="auto">
            <a:xfrm>
              <a:off x="8902185" y="1635419"/>
              <a:ext cx="2970883"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2" name="TextBox 111">
              <a:extLst>
                <a:ext uri="{FF2B5EF4-FFF2-40B4-BE49-F238E27FC236}">
                  <a16:creationId xmlns:a16="http://schemas.microsoft.com/office/drawing/2014/main" id="{2CD5BE73-34AC-4FA4-974A-2BC76B428F60}"/>
                </a:ext>
              </a:extLst>
            </p:cNvPr>
            <p:cNvSpPr txBox="1"/>
            <p:nvPr/>
          </p:nvSpPr>
          <p:spPr>
            <a:xfrm>
              <a:off x="8899008" y="1515979"/>
              <a:ext cx="2974059" cy="747289"/>
            </a:xfrm>
            <a:prstGeom prst="rect">
              <a:avLst/>
            </a:prstGeom>
            <a:noFill/>
          </p:spPr>
          <p:txBody>
            <a:bodyPr wrap="square" lIns="91427" tIns="146283" rIns="91427" bIns="146283" rtlCol="0">
              <a:spAutoFit/>
            </a:bodyPr>
            <a:lstStyle/>
            <a:p>
              <a:pPr algn="ctr" defTabSz="932563">
                <a:lnSpc>
                  <a:spcPct val="90000"/>
                </a:lnSpc>
                <a:spcAft>
                  <a:spcPts val="600"/>
                </a:spcAft>
                <a:defRPr/>
              </a:pPr>
              <a: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INDUSTRY-LEADING </a:t>
              </a:r>
              <a:b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br>
              <a:r>
                <a:rPr lang="en-US" sz="1599" b="1" cap="small">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DISASTER RECOVERY</a:t>
              </a:r>
            </a:p>
          </p:txBody>
        </p:sp>
      </p:grpSp>
    </p:spTree>
    <p:extLst>
      <p:ext uri="{BB962C8B-B14F-4D97-AF65-F5344CB8AC3E}">
        <p14:creationId xmlns:p14="http://schemas.microsoft.com/office/powerpoint/2010/main" val="1245248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0 2.46482E-6 L 0.07161 2.46482E-6 " pathEditMode="relative" rAng="0" ptsTypes="AA">
                                      <p:cBhvr>
                                        <p:cTn id="9" dur="750" spd="-100000" fill="hold"/>
                                        <p:tgtEl>
                                          <p:spTgt spid="2"/>
                                        </p:tgtEl>
                                        <p:attrNameLst>
                                          <p:attrName>ppt_x</p:attrName>
                                          <p:attrName>ppt_y</p:attrName>
                                        </p:attrNameLst>
                                      </p:cBhvr>
                                      <p:rCtr x="3574" y="0"/>
                                    </p:animMotion>
                                  </p:childTnLst>
                                </p:cTn>
                              </p:par>
                              <p:par>
                                <p:cTn id="10" presetID="22" presetClass="entr" presetSubtype="8" fill="hold" grpId="0" nodeType="withEffect">
                                  <p:stCondLst>
                                    <p:cond delay="500"/>
                                  </p:stCondLst>
                                  <p:childTnLst>
                                    <p:set>
                                      <p:cBhvr>
                                        <p:cTn id="11" dur="1" fill="hold">
                                          <p:stCondLst>
                                            <p:cond delay="0"/>
                                          </p:stCondLst>
                                        </p:cTn>
                                        <p:tgtEl>
                                          <p:spTgt spid="63"/>
                                        </p:tgtEl>
                                        <p:attrNameLst>
                                          <p:attrName>style.visibility</p:attrName>
                                        </p:attrNameLst>
                                      </p:cBhvr>
                                      <p:to>
                                        <p:strVal val="visible"/>
                                      </p:to>
                                    </p:set>
                                    <p:animEffect transition="in" filter="wipe(left)">
                                      <p:cBhvr>
                                        <p:cTn id="12" dur="500"/>
                                        <p:tgtEl>
                                          <p:spTgt spid="63"/>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par>
                                <p:cTn id="16" presetID="10" presetClass="entr" presetSubtype="0" fill="hold" nodeType="withEffect">
                                  <p:stCondLst>
                                    <p:cond delay="90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400"/>
                                        <p:tgtEl>
                                          <p:spTgt spid="8"/>
                                        </p:tgtEl>
                                      </p:cBhvr>
                                    </p:animEffect>
                                  </p:childTnLst>
                                </p:cTn>
                              </p:par>
                              <p:par>
                                <p:cTn id="19" presetID="10" presetClass="entr" presetSubtype="0" fill="hold" nodeType="withEffect">
                                  <p:stCondLst>
                                    <p:cond delay="9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400"/>
                                        <p:tgtEl>
                                          <p:spTgt spid="3"/>
                                        </p:tgtEl>
                                      </p:cBhvr>
                                    </p:animEffect>
                                  </p:childTnLst>
                                </p:cTn>
                              </p:par>
                              <p:par>
                                <p:cTn id="22" presetID="42" presetClass="path" presetSubtype="0" decel="100000" fill="hold" nodeType="withEffect">
                                  <p:stCondLst>
                                    <p:cond delay="600"/>
                                  </p:stCondLst>
                                  <p:childTnLst>
                                    <p:animMotion origin="layout" path="M 4.31453E-6 -4.94326E-6 L 4.31453E-6 0.09624 " pathEditMode="relative" rAng="0" ptsTypes="AA">
                                      <p:cBhvr>
                                        <p:cTn id="23" dur="700" spd="-100000" fill="hold"/>
                                        <p:tgtEl>
                                          <p:spTgt spid="3"/>
                                        </p:tgtEl>
                                        <p:attrNameLst>
                                          <p:attrName>ppt_x</p:attrName>
                                          <p:attrName>ppt_y</p:attrName>
                                        </p:attrNameLst>
                                      </p:cBhvr>
                                      <p:rCtr x="0" y="4812"/>
                                    </p:animMotion>
                                  </p:childTnLst>
                                </p:cTn>
                              </p:par>
                              <p:par>
                                <p:cTn id="24" presetID="10" presetClass="entr" presetSubtype="0" fill="hold" grpId="0" nodeType="withEffect">
                                  <p:stCondLst>
                                    <p:cond delay="90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childTnLst>
                                </p:cTn>
                              </p:par>
                              <p:par>
                                <p:cTn id="27" presetID="64" presetClass="path" presetSubtype="0" decel="100000" fill="hold" nodeType="withEffect">
                                  <p:stCondLst>
                                    <p:cond delay="600"/>
                                  </p:stCondLst>
                                  <p:childTnLst>
                                    <p:animMotion origin="layout" path="M 7.78657E-7 2.90513E-7 L 7.78657E-7 -0.10327 " pathEditMode="relative" rAng="0" ptsTypes="AA">
                                      <p:cBhvr>
                                        <p:cTn id="28" dur="700" spd="-100000" fill="hold"/>
                                        <p:tgtEl>
                                          <p:spTgt spid="8"/>
                                        </p:tgtEl>
                                        <p:attrNameLst>
                                          <p:attrName>ppt_x</p:attrName>
                                          <p:attrName>ppt_y</p:attrName>
                                        </p:attrNameLst>
                                      </p:cBhvr>
                                      <p:rCtr x="0" y="-5175"/>
                                    </p:animMotion>
                                  </p:childTnLst>
                                </p:cTn>
                              </p:par>
                              <p:par>
                                <p:cTn id="29" presetID="10" presetClass="entr" presetSubtype="0" fill="hold" nodeType="withEffect">
                                  <p:stCondLst>
                                    <p:cond delay="10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400"/>
                                        <p:tgtEl>
                                          <p:spTgt spid="5"/>
                                        </p:tgtEl>
                                      </p:cBhvr>
                                    </p:animEffect>
                                  </p:childTnLst>
                                </p:cTn>
                              </p:par>
                              <p:par>
                                <p:cTn id="32" presetID="42" presetClass="path" presetSubtype="0" decel="100000" fill="hold" nodeType="withEffect">
                                  <p:stCondLst>
                                    <p:cond delay="700"/>
                                  </p:stCondLst>
                                  <p:childTnLst>
                                    <p:animMotion origin="layout" path="M -2.18024E-6 1.13028E-6 L -2.18024E-6 0.09623 " pathEditMode="relative" rAng="0" ptsTypes="AA">
                                      <p:cBhvr>
                                        <p:cTn id="33" dur="700" spd="-100000" fill="hold"/>
                                        <p:tgtEl>
                                          <p:spTgt spid="5"/>
                                        </p:tgtEl>
                                        <p:attrNameLst>
                                          <p:attrName>ppt_x</p:attrName>
                                          <p:attrName>ppt_y</p:attrName>
                                        </p:attrNameLst>
                                      </p:cBhvr>
                                      <p:rCtr x="0" y="4812"/>
                                    </p:animMotion>
                                  </p:childTnLst>
                                </p:cTn>
                              </p:par>
                              <p:par>
                                <p:cTn id="34" presetID="10" presetClass="entr" presetSubtype="0" fill="hold" nodeType="withEffect">
                                  <p:stCondLst>
                                    <p:cond delay="110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400"/>
                                        <p:tgtEl>
                                          <p:spTgt spid="6"/>
                                        </p:tgtEl>
                                      </p:cBhvr>
                                    </p:animEffect>
                                  </p:childTnLst>
                                </p:cTn>
                              </p:par>
                              <p:par>
                                <p:cTn id="37" presetID="42" presetClass="path" presetSubtype="0" decel="100000" fill="hold" nodeType="withEffect">
                                  <p:stCondLst>
                                    <p:cond delay="800"/>
                                  </p:stCondLst>
                                  <p:childTnLst>
                                    <p:animMotion origin="layout" path="M 7.63339E-7 -4.94326E-6 L 7.63339E-7 0.09624 " pathEditMode="relative" rAng="0" ptsTypes="AA">
                                      <p:cBhvr>
                                        <p:cTn id="38" dur="700" spd="-100000" fill="hold"/>
                                        <p:tgtEl>
                                          <p:spTgt spid="6"/>
                                        </p:tgtEl>
                                        <p:attrNameLst>
                                          <p:attrName>ppt_x</p:attrName>
                                          <p:attrName>ppt_y</p:attrName>
                                        </p:attrNameLst>
                                      </p:cBhvr>
                                      <p:rCtr x="0" y="4812"/>
                                    </p:animMotion>
                                  </p:childTnLst>
                                </p:cTn>
                              </p:par>
                              <p:par>
                                <p:cTn id="39" presetID="22" presetClass="entr" presetSubtype="8" fill="hold" grpId="0" nodeType="withEffect">
                                  <p:stCondLst>
                                    <p:cond delay="600"/>
                                  </p:stCondLst>
                                  <p:childTnLst>
                                    <p:set>
                                      <p:cBhvr>
                                        <p:cTn id="40" dur="1" fill="hold">
                                          <p:stCondLst>
                                            <p:cond delay="0"/>
                                          </p:stCondLst>
                                        </p:cTn>
                                        <p:tgtEl>
                                          <p:spTgt spid="64"/>
                                        </p:tgtEl>
                                        <p:attrNameLst>
                                          <p:attrName>style.visibility</p:attrName>
                                        </p:attrNameLst>
                                      </p:cBhvr>
                                      <p:to>
                                        <p:strVal val="visible"/>
                                      </p:to>
                                    </p:set>
                                    <p:animEffect transition="in" filter="wipe(left)">
                                      <p:cBhvr>
                                        <p:cTn id="41" dur="500"/>
                                        <p:tgtEl>
                                          <p:spTgt spid="64"/>
                                        </p:tgtEl>
                                      </p:cBhvr>
                                    </p:animEffect>
                                  </p:childTnLst>
                                </p:cTn>
                              </p:par>
                              <p:par>
                                <p:cTn id="42" presetID="22" presetClass="entr" presetSubtype="8" fill="hold" grpId="0" nodeType="withEffect">
                                  <p:stCondLst>
                                    <p:cond delay="700"/>
                                  </p:stCondLst>
                                  <p:childTnLst>
                                    <p:set>
                                      <p:cBhvr>
                                        <p:cTn id="43" dur="1" fill="hold">
                                          <p:stCondLst>
                                            <p:cond delay="0"/>
                                          </p:stCondLst>
                                        </p:cTn>
                                        <p:tgtEl>
                                          <p:spTgt spid="65"/>
                                        </p:tgtEl>
                                        <p:attrNameLst>
                                          <p:attrName>style.visibility</p:attrName>
                                        </p:attrNameLst>
                                      </p:cBhvr>
                                      <p:to>
                                        <p:strVal val="visible"/>
                                      </p:to>
                                    </p:set>
                                    <p:animEffect transition="in" filter="wipe(left)">
                                      <p:cBhvr>
                                        <p:cTn id="44" dur="500"/>
                                        <p:tgtEl>
                                          <p:spTgt spid="65"/>
                                        </p:tgtEl>
                                      </p:cBhvr>
                                    </p:animEffect>
                                  </p:childTnLst>
                                </p:cTn>
                              </p:par>
                              <p:par>
                                <p:cTn id="45" presetID="22" presetClass="entr" presetSubtype="8" fill="hold" grpId="0" nodeType="withEffect">
                                  <p:stCondLst>
                                    <p:cond delay="80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par>
                                <p:cTn id="48" presetID="22" presetClass="entr" presetSubtype="8" fill="hold" grpId="0" nodeType="withEffect">
                                  <p:stCondLst>
                                    <p:cond delay="60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par>
                                <p:cTn id="51" presetID="22" presetClass="entr" presetSubtype="8" fill="hold" grpId="0" nodeType="withEffect">
                                  <p:stCondLst>
                                    <p:cond delay="700"/>
                                  </p:stCondLst>
                                  <p:childTnLst>
                                    <p:set>
                                      <p:cBhvr>
                                        <p:cTn id="52" dur="1" fill="hold">
                                          <p:stCondLst>
                                            <p:cond delay="0"/>
                                          </p:stCondLst>
                                        </p:cTn>
                                        <p:tgtEl>
                                          <p:spTgt spid="25"/>
                                        </p:tgtEl>
                                        <p:attrNameLst>
                                          <p:attrName>style.visibility</p:attrName>
                                        </p:attrNameLst>
                                      </p:cBhvr>
                                      <p:to>
                                        <p:strVal val="visible"/>
                                      </p:to>
                                    </p:set>
                                    <p:animEffect transition="in" filter="wipe(left)">
                                      <p:cBhvr>
                                        <p:cTn id="53" dur="500"/>
                                        <p:tgtEl>
                                          <p:spTgt spid="25"/>
                                        </p:tgtEl>
                                      </p:cBhvr>
                                    </p:animEffect>
                                  </p:childTnLst>
                                </p:cTn>
                              </p:par>
                              <p:par>
                                <p:cTn id="54" presetID="22" presetClass="entr" presetSubtype="8" fill="hold" grpId="0" nodeType="withEffect">
                                  <p:stCondLst>
                                    <p:cond delay="700"/>
                                  </p:stCondLst>
                                  <p:childTnLst>
                                    <p:set>
                                      <p:cBhvr>
                                        <p:cTn id="55" dur="1" fill="hold">
                                          <p:stCondLst>
                                            <p:cond delay="0"/>
                                          </p:stCondLst>
                                        </p:cTn>
                                        <p:tgtEl>
                                          <p:spTgt spid="26"/>
                                        </p:tgtEl>
                                        <p:attrNameLst>
                                          <p:attrName>style.visibility</p:attrName>
                                        </p:attrNameLst>
                                      </p:cBhvr>
                                      <p:to>
                                        <p:strVal val="visible"/>
                                      </p:to>
                                    </p:set>
                                    <p:animEffect transition="in" filter="wipe(left)">
                                      <p:cBhvr>
                                        <p:cTn id="56" dur="500"/>
                                        <p:tgtEl>
                                          <p:spTgt spid="26"/>
                                        </p:tgtEl>
                                      </p:cBhvr>
                                    </p:animEffect>
                                  </p:childTnLst>
                                </p:cTn>
                              </p:par>
                              <p:par>
                                <p:cTn id="57" presetID="10" presetClass="entr" presetSubtype="0" fill="hold" nodeType="withEffect">
                                  <p:stCondLst>
                                    <p:cond delay="100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400"/>
                                        <p:tgtEl>
                                          <p:spTgt spid="9"/>
                                        </p:tgtEl>
                                      </p:cBhvr>
                                    </p:animEffect>
                                  </p:childTnLst>
                                </p:cTn>
                              </p:par>
                              <p:par>
                                <p:cTn id="60" presetID="64" presetClass="path" presetSubtype="0" decel="100000" fill="hold" nodeType="withEffect">
                                  <p:stCondLst>
                                    <p:cond delay="700"/>
                                  </p:stCondLst>
                                  <p:childTnLst>
                                    <p:animMotion origin="layout" path="M 4.00306E-6 2.90513E-7 L 4.00306E-6 -0.10327 " pathEditMode="relative" rAng="0" ptsTypes="AA">
                                      <p:cBhvr>
                                        <p:cTn id="61" dur="700" spd="-100000" fill="hold"/>
                                        <p:tgtEl>
                                          <p:spTgt spid="9"/>
                                        </p:tgtEl>
                                        <p:attrNameLst>
                                          <p:attrName>ppt_x</p:attrName>
                                          <p:attrName>ppt_y</p:attrName>
                                        </p:attrNameLst>
                                      </p:cBhvr>
                                      <p:rCtr x="0" y="-5175"/>
                                    </p:animMotion>
                                  </p:childTnLst>
                                </p:cTn>
                              </p:par>
                              <p:par>
                                <p:cTn id="62" presetID="10" presetClass="entr" presetSubtype="0" fill="hold" nodeType="withEffect">
                                  <p:stCondLst>
                                    <p:cond delay="110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400"/>
                                        <p:tgtEl>
                                          <p:spTgt spid="10"/>
                                        </p:tgtEl>
                                      </p:cBhvr>
                                    </p:animEffect>
                                  </p:childTnLst>
                                </p:cTn>
                              </p:par>
                              <p:par>
                                <p:cTn id="65" presetID="64" presetClass="path" presetSubtype="0" decel="100000" fill="hold" nodeType="withEffect">
                                  <p:stCondLst>
                                    <p:cond delay="800"/>
                                  </p:stCondLst>
                                  <p:childTnLst>
                                    <p:animMotion origin="layout" path="M 3.20909E-6 2.90513E-7 L 3.20909E-6 -0.10327 " pathEditMode="relative" rAng="0" ptsTypes="AA">
                                      <p:cBhvr>
                                        <p:cTn id="66" dur="700" spd="-100000" fill="hold"/>
                                        <p:tgtEl>
                                          <p:spTgt spid="10"/>
                                        </p:tgtEl>
                                        <p:attrNameLst>
                                          <p:attrName>ppt_x</p:attrName>
                                          <p:attrName>ppt_y</p:attrName>
                                        </p:attrNameLst>
                                      </p:cBhvr>
                                      <p:rCtr x="0" y="-5175"/>
                                    </p:animMotion>
                                  </p:childTnLst>
                                </p:cTn>
                              </p:par>
                              <p:par>
                                <p:cTn id="67" presetID="10" presetClass="entr" presetSubtype="0" fill="hold" nodeType="withEffect">
                                  <p:stCondLst>
                                    <p:cond delay="120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400"/>
                                        <p:tgtEl>
                                          <p:spTgt spid="11"/>
                                        </p:tgtEl>
                                      </p:cBhvr>
                                    </p:animEffect>
                                  </p:childTnLst>
                                </p:cTn>
                              </p:par>
                              <p:par>
                                <p:cTn id="70" presetID="64" presetClass="path" presetSubtype="0" decel="100000" fill="hold" nodeType="withEffect">
                                  <p:stCondLst>
                                    <p:cond delay="900"/>
                                  </p:stCondLst>
                                  <p:childTnLst>
                                    <p:animMotion origin="layout" path="M 4.54174E-6 2.90513E-7 L 4.54174E-6 -0.10327 " pathEditMode="relative" rAng="0" ptsTypes="AA">
                                      <p:cBhvr>
                                        <p:cTn id="71" dur="700" spd="-100000" fill="hold"/>
                                        <p:tgtEl>
                                          <p:spTgt spid="11"/>
                                        </p:tgtEl>
                                        <p:attrNameLst>
                                          <p:attrName>ppt_x</p:attrName>
                                          <p:attrName>ppt_y</p:attrName>
                                        </p:attrNameLst>
                                      </p:cBhvr>
                                      <p:rCtr x="0" y="-5175"/>
                                    </p:animMotion>
                                  </p:childTnLst>
                                </p:cTn>
                              </p:par>
                              <p:par>
                                <p:cTn id="72" presetID="10" presetClass="entr" presetSubtype="0" fill="hold" grpId="0" nodeType="withEffect">
                                  <p:stCondLst>
                                    <p:cond delay="1200"/>
                                  </p:stCondLst>
                                  <p:childTnLst>
                                    <p:set>
                                      <p:cBhvr>
                                        <p:cTn id="73" dur="1" fill="hold">
                                          <p:stCondLst>
                                            <p:cond delay="0"/>
                                          </p:stCondLst>
                                        </p:cTn>
                                        <p:tgtEl>
                                          <p:spTgt spid="72"/>
                                        </p:tgtEl>
                                        <p:attrNameLst>
                                          <p:attrName>style.visibility</p:attrName>
                                        </p:attrNameLst>
                                      </p:cBhvr>
                                      <p:to>
                                        <p:strVal val="visible"/>
                                      </p:to>
                                    </p:set>
                                    <p:animEffect transition="in" filter="fade">
                                      <p:cBhvr>
                                        <p:cTn id="74" dur="400"/>
                                        <p:tgtEl>
                                          <p:spTgt spid="72"/>
                                        </p:tgtEl>
                                      </p:cBhvr>
                                    </p:animEffect>
                                  </p:childTnLst>
                                </p:cTn>
                              </p:par>
                              <p:par>
                                <p:cTn id="75" presetID="42" presetClass="path" presetSubtype="0" decel="100000" fill="hold" grpId="1" nodeType="withEffect">
                                  <p:stCondLst>
                                    <p:cond delay="900"/>
                                  </p:stCondLst>
                                  <p:childTnLst>
                                    <p:animMotion origin="layout" path="M -2.99464E-6 1.49796E-6 L -2.99464E-6 0.09623 " pathEditMode="relative" rAng="0" ptsTypes="AA">
                                      <p:cBhvr>
                                        <p:cTn id="76" dur="700" spd="-100000" fill="hold"/>
                                        <p:tgtEl>
                                          <p:spTgt spid="72"/>
                                        </p:tgtEl>
                                        <p:attrNameLst>
                                          <p:attrName>ppt_x</p:attrName>
                                          <p:attrName>ppt_y</p:attrName>
                                        </p:attrNameLst>
                                      </p:cBhvr>
                                      <p:rCtr x="0" y="4812"/>
                                    </p:animMotion>
                                  </p:childTnLst>
                                </p:cTn>
                              </p:par>
                              <p:par>
                                <p:cTn id="77" presetID="10" presetClass="entr" presetSubtype="0" fill="hold" nodeType="withEffect">
                                  <p:stCondLst>
                                    <p:cond delay="100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par>
                                <p:cTn id="80" presetID="10" presetClass="entr" presetSubtype="0" fill="hold" nodeType="withEffect">
                                  <p:stCondLst>
                                    <p:cond delay="1100"/>
                                  </p:stCondLst>
                                  <p:childTnLst>
                                    <p:set>
                                      <p:cBhvr>
                                        <p:cTn id="81" dur="1" fill="hold">
                                          <p:stCondLst>
                                            <p:cond delay="0"/>
                                          </p:stCondLst>
                                        </p:cTn>
                                        <p:tgtEl>
                                          <p:spTgt spid="88"/>
                                        </p:tgtEl>
                                        <p:attrNameLst>
                                          <p:attrName>style.visibility</p:attrName>
                                        </p:attrNameLst>
                                      </p:cBhvr>
                                      <p:to>
                                        <p:strVal val="visible"/>
                                      </p:to>
                                    </p:set>
                                    <p:animEffect transition="in" filter="fade">
                                      <p:cBhvr>
                                        <p:cTn id="82" dur="500"/>
                                        <p:tgtEl>
                                          <p:spTgt spid="88"/>
                                        </p:tgtEl>
                                      </p:cBhvr>
                                    </p:animEffect>
                                  </p:childTnLst>
                                </p:cTn>
                              </p:par>
                              <p:par>
                                <p:cTn id="83" presetID="10" presetClass="entr" presetSubtype="0" fill="hold" grpId="0" nodeType="withEffect">
                                  <p:stCondLst>
                                    <p:cond delay="1100"/>
                                  </p:stCondLst>
                                  <p:childTnLst>
                                    <p:set>
                                      <p:cBhvr>
                                        <p:cTn id="84" dur="1" fill="hold">
                                          <p:stCondLst>
                                            <p:cond delay="0"/>
                                          </p:stCondLst>
                                        </p:cTn>
                                        <p:tgtEl>
                                          <p:spTgt spid="89"/>
                                        </p:tgtEl>
                                        <p:attrNameLst>
                                          <p:attrName>style.visibility</p:attrName>
                                        </p:attrNameLst>
                                      </p:cBhvr>
                                      <p:to>
                                        <p:strVal val="visible"/>
                                      </p:to>
                                    </p:set>
                                    <p:animEffect transition="in" filter="fade">
                                      <p:cBhvr>
                                        <p:cTn id="85" dur="500"/>
                                        <p:tgtEl>
                                          <p:spTgt spid="89"/>
                                        </p:tgtEl>
                                      </p:cBhvr>
                                    </p:animEffect>
                                  </p:childTnLst>
                                </p:cTn>
                              </p:par>
                              <p:par>
                                <p:cTn id="86" presetID="10" presetClass="entr" presetSubtype="0" fill="hold" grpId="0" nodeType="withEffect">
                                  <p:stCondLst>
                                    <p:cond delay="1100"/>
                                  </p:stCondLst>
                                  <p:childTnLst>
                                    <p:set>
                                      <p:cBhvr>
                                        <p:cTn id="87" dur="1" fill="hold">
                                          <p:stCondLst>
                                            <p:cond delay="0"/>
                                          </p:stCondLst>
                                        </p:cTn>
                                        <p:tgtEl>
                                          <p:spTgt spid="91"/>
                                        </p:tgtEl>
                                        <p:attrNameLst>
                                          <p:attrName>style.visibility</p:attrName>
                                        </p:attrNameLst>
                                      </p:cBhvr>
                                      <p:to>
                                        <p:strVal val="visible"/>
                                      </p:to>
                                    </p:set>
                                    <p:animEffect transition="in" filter="fade">
                                      <p:cBhvr>
                                        <p:cTn id="88" dur="500"/>
                                        <p:tgtEl>
                                          <p:spTgt spid="91"/>
                                        </p:tgtEl>
                                      </p:cBhvr>
                                    </p:animEffect>
                                  </p:childTnLst>
                                </p:cTn>
                              </p:par>
                              <p:par>
                                <p:cTn id="89" presetID="10" presetClass="entr" presetSubtype="0" fill="hold" grpId="0" nodeType="withEffect">
                                  <p:stCondLst>
                                    <p:cond delay="1100"/>
                                  </p:stCondLst>
                                  <p:childTnLst>
                                    <p:set>
                                      <p:cBhvr>
                                        <p:cTn id="90" dur="1" fill="hold">
                                          <p:stCondLst>
                                            <p:cond delay="0"/>
                                          </p:stCondLst>
                                        </p:cTn>
                                        <p:tgtEl>
                                          <p:spTgt spid="90"/>
                                        </p:tgtEl>
                                        <p:attrNameLst>
                                          <p:attrName>style.visibility</p:attrName>
                                        </p:attrNameLst>
                                      </p:cBhvr>
                                      <p:to>
                                        <p:strVal val="visible"/>
                                      </p:to>
                                    </p:set>
                                    <p:animEffect transition="in" filter="fade">
                                      <p:cBhvr>
                                        <p:cTn id="91" dur="500"/>
                                        <p:tgtEl>
                                          <p:spTgt spid="90"/>
                                        </p:tgtEl>
                                      </p:cBhvr>
                                    </p:animEffect>
                                  </p:childTnLst>
                                </p:cTn>
                              </p:par>
                              <p:par>
                                <p:cTn id="92" presetID="10" presetClass="entr" presetSubtype="0" fill="hold" nodeType="withEffect">
                                  <p:stCondLst>
                                    <p:cond delay="1100"/>
                                  </p:stCondLst>
                                  <p:childTnLst>
                                    <p:set>
                                      <p:cBhvr>
                                        <p:cTn id="93" dur="1" fill="hold">
                                          <p:stCondLst>
                                            <p:cond delay="0"/>
                                          </p:stCondLst>
                                        </p:cTn>
                                        <p:tgtEl>
                                          <p:spTgt spid="16"/>
                                        </p:tgtEl>
                                        <p:attrNameLst>
                                          <p:attrName>style.visibility</p:attrName>
                                        </p:attrNameLst>
                                      </p:cBhvr>
                                      <p:to>
                                        <p:strVal val="visible"/>
                                      </p:to>
                                    </p:set>
                                    <p:animEffect transition="in" filter="fade">
                                      <p:cBhvr>
                                        <p:cTn id="94" dur="500"/>
                                        <p:tgtEl>
                                          <p:spTgt spid="16"/>
                                        </p:tgtEl>
                                      </p:cBhvr>
                                    </p:animEffect>
                                  </p:childTnLst>
                                </p:cTn>
                              </p:par>
                            </p:childTnLst>
                          </p:cTn>
                        </p:par>
                        <p:par>
                          <p:cTn id="95" fill="hold">
                            <p:stCondLst>
                              <p:cond delay="1600"/>
                            </p:stCondLst>
                            <p:childTnLst>
                              <p:par>
                                <p:cTn id="96" presetID="10" presetClass="entr" presetSubtype="0" fill="hold" nodeType="afterEffect">
                                  <p:stCondLst>
                                    <p:cond delay="90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400"/>
                                        <p:tgtEl>
                                          <p:spTgt spid="19"/>
                                        </p:tgtEl>
                                      </p:cBhvr>
                                    </p:animEffect>
                                  </p:childTnLst>
                                </p:cTn>
                              </p:par>
                              <p:par>
                                <p:cTn id="99" presetID="42" presetClass="path" presetSubtype="0" decel="100000" fill="hold" nodeType="withEffect">
                                  <p:stCondLst>
                                    <p:cond delay="600"/>
                                  </p:stCondLst>
                                  <p:childTnLst>
                                    <p:animMotion origin="layout" path="M -1.57263E-6 4.18066E-6 L -1.57263E-6 0.09623 " pathEditMode="relative" rAng="0" ptsTypes="AA">
                                      <p:cBhvr>
                                        <p:cTn id="100" dur="700" spd="-100000" fill="hold"/>
                                        <p:tgtEl>
                                          <p:spTgt spid="19"/>
                                        </p:tgtEl>
                                        <p:attrNameLst>
                                          <p:attrName>ppt_x</p:attrName>
                                          <p:attrName>ppt_y</p:attrName>
                                        </p:attrNameLst>
                                      </p:cBhvr>
                                      <p:rCtr x="0" y="4812"/>
                                    </p:animMotion>
                                  </p:childTnLst>
                                </p:cTn>
                              </p:par>
                              <p:par>
                                <p:cTn id="101" presetID="10" presetClass="entr" presetSubtype="0" fill="hold" nodeType="withEffect">
                                  <p:stCondLst>
                                    <p:cond delay="900"/>
                                  </p:stCondLst>
                                  <p:childTnLst>
                                    <p:set>
                                      <p:cBhvr>
                                        <p:cTn id="102" dur="1" fill="hold">
                                          <p:stCondLst>
                                            <p:cond delay="0"/>
                                          </p:stCondLst>
                                        </p:cTn>
                                        <p:tgtEl>
                                          <p:spTgt spid="21"/>
                                        </p:tgtEl>
                                        <p:attrNameLst>
                                          <p:attrName>style.visibility</p:attrName>
                                        </p:attrNameLst>
                                      </p:cBhvr>
                                      <p:to>
                                        <p:strVal val="visible"/>
                                      </p:to>
                                    </p:set>
                                    <p:animEffect transition="in" filter="fade">
                                      <p:cBhvr>
                                        <p:cTn id="103" dur="400"/>
                                        <p:tgtEl>
                                          <p:spTgt spid="21"/>
                                        </p:tgtEl>
                                      </p:cBhvr>
                                    </p:animEffect>
                                  </p:childTnLst>
                                </p:cTn>
                              </p:par>
                              <p:par>
                                <p:cTn id="104" presetID="42" presetClass="path" presetSubtype="0" decel="100000" fill="hold" nodeType="withEffect">
                                  <p:stCondLst>
                                    <p:cond delay="600"/>
                                  </p:stCondLst>
                                  <p:childTnLst>
                                    <p:animMotion origin="layout" path="M 1.66709E-6 3.96732E-6 L 1.66709E-6 0.09623 " pathEditMode="relative" rAng="0" ptsTypes="AA">
                                      <p:cBhvr>
                                        <p:cTn id="105" dur="700" spd="-100000" fill="hold"/>
                                        <p:tgtEl>
                                          <p:spTgt spid="21"/>
                                        </p:tgtEl>
                                        <p:attrNameLst>
                                          <p:attrName>ppt_x</p:attrName>
                                          <p:attrName>ppt_y</p:attrName>
                                        </p:attrNameLst>
                                      </p:cBhvr>
                                      <p:rCtr x="0" y="4812"/>
                                    </p:animMotion>
                                  </p:childTnLst>
                                </p:cTn>
                              </p:par>
                              <p:par>
                                <p:cTn id="106" presetID="10" presetClass="entr" presetSubtype="0" fill="hold" nodeType="withEffect">
                                  <p:stCondLst>
                                    <p:cond delay="900"/>
                                  </p:stCondLst>
                                  <p:childTnLst>
                                    <p:set>
                                      <p:cBhvr>
                                        <p:cTn id="107" dur="1" fill="hold">
                                          <p:stCondLst>
                                            <p:cond delay="0"/>
                                          </p:stCondLst>
                                        </p:cTn>
                                        <p:tgtEl>
                                          <p:spTgt spid="22"/>
                                        </p:tgtEl>
                                        <p:attrNameLst>
                                          <p:attrName>style.visibility</p:attrName>
                                        </p:attrNameLst>
                                      </p:cBhvr>
                                      <p:to>
                                        <p:strVal val="visible"/>
                                      </p:to>
                                    </p:set>
                                    <p:animEffect transition="in" filter="fade">
                                      <p:cBhvr>
                                        <p:cTn id="108" dur="400"/>
                                        <p:tgtEl>
                                          <p:spTgt spid="22"/>
                                        </p:tgtEl>
                                      </p:cBhvr>
                                    </p:animEffect>
                                  </p:childTnLst>
                                </p:cTn>
                              </p:par>
                              <p:par>
                                <p:cTn id="109" presetID="42" presetClass="path" presetSubtype="0" decel="100000" fill="hold" nodeType="withEffect">
                                  <p:stCondLst>
                                    <p:cond delay="600"/>
                                  </p:stCondLst>
                                  <p:childTnLst>
                                    <p:animMotion origin="layout" path="M 2.13429E-6 2.70994E-6 L 2.13429E-6 0.09623 " pathEditMode="relative" rAng="0" ptsTypes="AA">
                                      <p:cBhvr>
                                        <p:cTn id="110" dur="700" spd="-100000" fill="hold"/>
                                        <p:tgtEl>
                                          <p:spTgt spid="22"/>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24" grpId="0" animBg="1"/>
      <p:bldP spid="25" grpId="0" animBg="1"/>
      <p:bldP spid="26" grpId="0" animBg="1"/>
      <p:bldP spid="63" grpId="0" animBg="1"/>
      <p:bldP spid="64" grpId="0" animBg="1"/>
      <p:bldP spid="65" grpId="0" animBg="1"/>
      <p:bldP spid="66" grpId="0" animBg="1"/>
      <p:bldP spid="72" grpId="0"/>
      <p:bldP spid="72" grpId="1"/>
      <p:bldP spid="73" grpId="0" animBg="1"/>
      <p:bldP spid="89" grpId="0" animBg="1"/>
      <p:bldP spid="90" grpId="0" animBg="1"/>
      <p:bldP spid="9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Group 98"/>
          <p:cNvGrpSpPr/>
          <p:nvPr/>
        </p:nvGrpSpPr>
        <p:grpSpPr>
          <a:xfrm>
            <a:off x="2310530" y="-16266"/>
            <a:ext cx="8215862" cy="6839709"/>
            <a:chOff x="10424520" y="-4607"/>
            <a:chExt cx="1762005" cy="1466870"/>
          </a:xfrm>
        </p:grpSpPr>
        <p:sp>
          <p:nvSpPr>
            <p:cNvPr id="100" name="Rectangle 99"/>
            <p:cNvSpPr/>
            <p:nvPr/>
          </p:nvSpPr>
          <p:spPr bwMode="auto">
            <a:xfrm>
              <a:off x="10424520" y="-4607"/>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1" name="Rectangle 100"/>
            <p:cNvSpPr/>
            <p:nvPr/>
          </p:nvSpPr>
          <p:spPr bwMode="auto">
            <a:xfrm>
              <a:off x="10424520" y="491504"/>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2" name="Rectangle 101"/>
            <p:cNvSpPr/>
            <p:nvPr/>
          </p:nvSpPr>
          <p:spPr bwMode="auto">
            <a:xfrm>
              <a:off x="10424520" y="977887"/>
              <a:ext cx="261985" cy="478062"/>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3" name="Rectangle 102"/>
            <p:cNvSpPr/>
            <p:nvPr/>
          </p:nvSpPr>
          <p:spPr bwMode="auto">
            <a:xfrm>
              <a:off x="10679976" y="495165"/>
              <a:ext cx="1353799" cy="4824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4" name="Rectangle 103"/>
            <p:cNvSpPr/>
            <p:nvPr/>
          </p:nvSpPr>
          <p:spPr bwMode="auto">
            <a:xfrm>
              <a:off x="10679976" y="973463"/>
              <a:ext cx="1353799" cy="4824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5" name="Rectangle 104"/>
            <p:cNvSpPr/>
            <p:nvPr/>
          </p:nvSpPr>
          <p:spPr bwMode="auto">
            <a:xfrm>
              <a:off x="10679976" y="-4607"/>
              <a:ext cx="1353799" cy="506086"/>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6" name="Rectangle 105"/>
            <p:cNvSpPr/>
            <p:nvPr/>
          </p:nvSpPr>
          <p:spPr bwMode="auto">
            <a:xfrm>
              <a:off x="10690619" y="1080531"/>
              <a:ext cx="1083708" cy="297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107" name="Rectangle 106"/>
            <p:cNvSpPr/>
            <p:nvPr/>
          </p:nvSpPr>
          <p:spPr bwMode="auto">
            <a:xfrm>
              <a:off x="10690620" y="532633"/>
              <a:ext cx="1285595" cy="4190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108" name="Rectangle 107"/>
            <p:cNvSpPr/>
            <p:nvPr/>
          </p:nvSpPr>
          <p:spPr bwMode="auto">
            <a:xfrm>
              <a:off x="10690620" y="185730"/>
              <a:ext cx="1083707" cy="144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grpSp>
          <p:nvGrpSpPr>
            <p:cNvPr id="109" name="Group 108"/>
            <p:cNvGrpSpPr/>
            <p:nvPr/>
          </p:nvGrpSpPr>
          <p:grpSpPr>
            <a:xfrm>
              <a:off x="10464128" y="178742"/>
              <a:ext cx="189075" cy="189075"/>
              <a:chOff x="3521877" y="511997"/>
              <a:chExt cx="640398" cy="640398"/>
            </a:xfrm>
          </p:grpSpPr>
          <p:sp>
            <p:nvSpPr>
              <p:cNvPr id="132" name="Freeform 131"/>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918">
                  <a:solidFill>
                    <a:srgbClr val="505050"/>
                  </a:solidFill>
                  <a:latin typeface="Segoe UI"/>
                </a:endParaRPr>
              </a:p>
            </p:txBody>
          </p:sp>
          <p:sp>
            <p:nvSpPr>
              <p:cNvPr id="133" name="Oval 132"/>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0" name="Group 109"/>
            <p:cNvGrpSpPr/>
            <p:nvPr/>
          </p:nvGrpSpPr>
          <p:grpSpPr>
            <a:xfrm>
              <a:off x="10458847" y="652091"/>
              <a:ext cx="201083" cy="201083"/>
              <a:chOff x="3500293" y="3151895"/>
              <a:chExt cx="681070" cy="681070"/>
            </a:xfrm>
          </p:grpSpPr>
          <p:grpSp>
            <p:nvGrpSpPr>
              <p:cNvPr id="128" name="Group 127"/>
              <p:cNvGrpSpPr/>
              <p:nvPr/>
            </p:nvGrpSpPr>
            <p:grpSpPr>
              <a:xfrm>
                <a:off x="3607832" y="3353215"/>
                <a:ext cx="469102" cy="355120"/>
                <a:chOff x="3268663" y="4287838"/>
                <a:chExt cx="4351337" cy="3294062"/>
              </a:xfrm>
              <a:solidFill>
                <a:schemeClr val="bg1"/>
              </a:solidFill>
            </p:grpSpPr>
            <p:sp>
              <p:nvSpPr>
                <p:cNvPr id="130"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31"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129" name="Oval 128"/>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1" name="Group 110"/>
            <p:cNvGrpSpPr/>
            <p:nvPr/>
          </p:nvGrpSpPr>
          <p:grpSpPr>
            <a:xfrm>
              <a:off x="10483840" y="1167833"/>
              <a:ext cx="153842" cy="115459"/>
              <a:chOff x="2724150" y="20638"/>
              <a:chExt cx="4695825" cy="3524250"/>
            </a:xfrm>
            <a:solidFill>
              <a:schemeClr val="bg1"/>
            </a:solidFill>
          </p:grpSpPr>
          <p:sp>
            <p:nvSpPr>
              <p:cNvPr id="124"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5"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6"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7"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112" name="Rectangle 111"/>
            <p:cNvSpPr/>
            <p:nvPr/>
          </p:nvSpPr>
          <p:spPr bwMode="auto">
            <a:xfrm>
              <a:off x="10433220" y="501479"/>
              <a:ext cx="1310211" cy="482486"/>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13" name="Rectangle 112"/>
            <p:cNvSpPr/>
            <p:nvPr/>
          </p:nvSpPr>
          <p:spPr bwMode="auto">
            <a:xfrm>
              <a:off x="10433220" y="979777"/>
              <a:ext cx="1308851" cy="482486"/>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cxnSp>
          <p:nvCxnSpPr>
            <p:cNvPr id="114" name="Straight Connector 113">
              <a:extLst>
                <a:ext uri="{FF2B5EF4-FFF2-40B4-BE49-F238E27FC236}">
                  <a16:creationId xmlns:a16="http://schemas.microsoft.com/office/drawing/2014/main" id="{153D86BF-D60D-4D45-AD9A-B2638811C3FD}"/>
                </a:ext>
              </a:extLst>
            </p:cNvPr>
            <p:cNvCxnSpPr>
              <a:cxnSpLocks/>
            </p:cNvCxnSpPr>
            <p:nvPr/>
          </p:nvCxnSpPr>
          <p:spPr>
            <a:xfrm>
              <a:off x="10424520" y="982010"/>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153D86BF-D60D-4D45-AD9A-B2638811C3FD}"/>
                </a:ext>
              </a:extLst>
            </p:cNvPr>
            <p:cNvCxnSpPr>
              <a:cxnSpLocks/>
            </p:cNvCxnSpPr>
            <p:nvPr/>
          </p:nvCxnSpPr>
          <p:spPr>
            <a:xfrm>
              <a:off x="10424520" y="495627"/>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6" name="Rectangle 115"/>
            <p:cNvSpPr/>
            <p:nvPr/>
          </p:nvSpPr>
          <p:spPr bwMode="auto">
            <a:xfrm>
              <a:off x="11738846" y="-4607"/>
              <a:ext cx="447679" cy="146394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nvGrpSpPr>
            <p:cNvPr id="117" name="Group 116">
              <a:extLst>
                <a:ext uri="{FF2B5EF4-FFF2-40B4-BE49-F238E27FC236}">
                  <a16:creationId xmlns:a16="http://schemas.microsoft.com/office/drawing/2014/main" id="{61249D4F-2BF9-4EDD-A8F1-E113D4AF9FA9}"/>
                </a:ext>
              </a:extLst>
            </p:cNvPr>
            <p:cNvGrpSpPr>
              <a:grpSpLocks noChangeAspect="1"/>
            </p:cNvGrpSpPr>
            <p:nvPr/>
          </p:nvGrpSpPr>
          <p:grpSpPr>
            <a:xfrm>
              <a:off x="11916627" y="186534"/>
              <a:ext cx="127438" cy="161984"/>
              <a:chOff x="2173288" y="115909"/>
              <a:chExt cx="5797550" cy="7369175"/>
            </a:xfrm>
            <a:solidFill>
              <a:srgbClr val="FFFFFF"/>
            </a:solidFill>
          </p:grpSpPr>
          <p:sp>
            <p:nvSpPr>
              <p:cNvPr id="121"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dirty="0">
                  <a:solidFill>
                    <a:srgbClr val="FFFFFF"/>
                  </a:solidFill>
                  <a:latin typeface="Segoe UI"/>
                </a:endParaRPr>
              </a:p>
            </p:txBody>
          </p:sp>
          <p:sp>
            <p:nvSpPr>
              <p:cNvPr id="122"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sp>
            <p:nvSpPr>
              <p:cNvPr id="123"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29" y="6307128"/>
                <a:ext cx="2716211" cy="32700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grpSp>
        <p:sp>
          <p:nvSpPr>
            <p:cNvPr id="118" name="Rectangle 117"/>
            <p:cNvSpPr/>
            <p:nvPr/>
          </p:nvSpPr>
          <p:spPr>
            <a:xfrm rot="16200000">
              <a:off x="11553088" y="881889"/>
              <a:ext cx="805161" cy="48008"/>
            </a:xfrm>
            <a:prstGeom prst="rect">
              <a:avLst/>
            </a:prstGeom>
          </p:spPr>
          <p:txBody>
            <a:bodyPr wrap="square">
              <a:spAutoFit/>
            </a:bodyPr>
            <a:lstStyle/>
            <a:p>
              <a:pPr algn="ctr" defTabSz="951028" eaLnBrk="0" fontAlgn="base" hangingPunct="0">
                <a:lnSpc>
                  <a:spcPct val="90000"/>
                </a:lnSpc>
                <a:spcBef>
                  <a:spcPct val="0"/>
                </a:spcBef>
                <a:spcAft>
                  <a:spcPct val="0"/>
                </a:spcAft>
                <a:defRPr/>
              </a:pPr>
              <a:r>
                <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Azure Stack + Hybrid</a:t>
              </a:r>
            </a:p>
          </p:txBody>
        </p:sp>
        <p:sp>
          <p:nvSpPr>
            <p:cNvPr id="119" name="Rectangle 118"/>
            <p:cNvSpPr/>
            <p:nvPr/>
          </p:nvSpPr>
          <p:spPr bwMode="auto">
            <a:xfrm>
              <a:off x="11738846" y="1707"/>
              <a:ext cx="447679" cy="1454242"/>
            </a:xfrm>
            <a:prstGeom prst="rect">
              <a:avLst/>
            </a:prstGeom>
            <a:solidFill>
              <a:srgbClr val="000000">
                <a:alpha val="5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cxnSp>
          <p:nvCxnSpPr>
            <p:cNvPr id="120" name="Straight Connector 119">
              <a:extLst>
                <a:ext uri="{FF2B5EF4-FFF2-40B4-BE49-F238E27FC236}">
                  <a16:creationId xmlns:a16="http://schemas.microsoft.com/office/drawing/2014/main" id="{153D86BF-D60D-4D45-AD9A-B2638811C3FD}"/>
                </a:ext>
              </a:extLst>
            </p:cNvPr>
            <p:cNvCxnSpPr>
              <a:cxnSpLocks/>
            </p:cNvCxnSpPr>
            <p:nvPr/>
          </p:nvCxnSpPr>
          <p:spPr>
            <a:xfrm flipV="1">
              <a:off x="11743432" y="-4607"/>
              <a:ext cx="0" cy="1455809"/>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3" name="TextBox 10">
            <a:extLst>
              <a:ext uri="{FF2B5EF4-FFF2-40B4-BE49-F238E27FC236}">
                <a16:creationId xmlns:a16="http://schemas.microsoft.com/office/drawing/2014/main" id="{896338E4-5E15-43CE-8AF9-7CEA7FF4CEDC}"/>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Trusted</a:t>
            </a:r>
          </a:p>
        </p:txBody>
      </p:sp>
      <p:sp>
        <p:nvSpPr>
          <p:cNvPr id="49" name="TextBox 10">
            <a:extLst>
              <a:ext uri="{FF2B5EF4-FFF2-40B4-BE49-F238E27FC236}">
                <a16:creationId xmlns:a16="http://schemas.microsoft.com/office/drawing/2014/main" id="{8BD8644E-02C1-4F61-928F-E8902B1F0AC2}"/>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Productive</a:t>
            </a:r>
          </a:p>
        </p:txBody>
      </p:sp>
      <p:sp>
        <p:nvSpPr>
          <p:cNvPr id="50" name="TextBox 10">
            <a:extLst>
              <a:ext uri="{FF2B5EF4-FFF2-40B4-BE49-F238E27FC236}">
                <a16:creationId xmlns:a16="http://schemas.microsoft.com/office/drawing/2014/main" id="{FF250B0B-16D0-4242-B609-FCD6071403FF}"/>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Intelligent</a:t>
            </a:r>
          </a:p>
        </p:txBody>
      </p:sp>
      <p:sp>
        <p:nvSpPr>
          <p:cNvPr id="56" name="TextBox 10">
            <a:extLst>
              <a:ext uri="{FF2B5EF4-FFF2-40B4-BE49-F238E27FC236}">
                <a16:creationId xmlns:a16="http://schemas.microsoft.com/office/drawing/2014/main" id="{2F69F83B-0A06-4322-8678-085D0848E284}"/>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Hybrid</a:t>
            </a:r>
          </a:p>
        </p:txBody>
      </p:sp>
      <p:sp>
        <p:nvSpPr>
          <p:cNvPr id="57"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377293" y="3177938"/>
            <a:ext cx="747003" cy="74700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58" name="Group 57">
            <a:extLst>
              <a:ext uri="{FF2B5EF4-FFF2-40B4-BE49-F238E27FC236}">
                <a16:creationId xmlns:a16="http://schemas.microsoft.com/office/drawing/2014/main" id="{77AD9DD7-EB86-45CE-9B27-089347C7D079}"/>
              </a:ext>
            </a:extLst>
          </p:cNvPr>
          <p:cNvGrpSpPr/>
          <p:nvPr/>
        </p:nvGrpSpPr>
        <p:grpSpPr>
          <a:xfrm>
            <a:off x="1406985" y="3215629"/>
            <a:ext cx="687620" cy="671619"/>
            <a:chOff x="2088630" y="3287843"/>
            <a:chExt cx="429718" cy="419725"/>
          </a:xfrm>
          <a:noFill/>
        </p:grpSpPr>
        <p:sp>
          <p:nvSpPr>
            <p:cNvPr id="59" name="Rectangle 58">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Rectangle 59">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1495053" y="3171750"/>
            <a:ext cx="511484" cy="759376"/>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2" name="Freeform 61"/>
          <p:cNvSpPr>
            <a:spLocks noChangeArrowheads="1"/>
          </p:cNvSpPr>
          <p:nvPr/>
        </p:nvSpPr>
        <p:spPr bwMode="auto">
          <a:xfrm>
            <a:off x="1347779" y="3152655"/>
            <a:ext cx="806031" cy="79756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73" name="Rectangle 172"/>
          <p:cNvSpPr/>
          <p:nvPr/>
        </p:nvSpPr>
        <p:spPr bwMode="auto">
          <a:xfrm>
            <a:off x="-9096" y="-27832"/>
            <a:ext cx="4379102" cy="7041520"/>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grpSp>
        <p:nvGrpSpPr>
          <p:cNvPr id="2" name="Group 1"/>
          <p:cNvGrpSpPr/>
          <p:nvPr/>
        </p:nvGrpSpPr>
        <p:grpSpPr>
          <a:xfrm>
            <a:off x="4370005" y="-27833"/>
            <a:ext cx="8092619" cy="7039827"/>
            <a:chOff x="4283844" y="-27289"/>
            <a:chExt cx="7934660" cy="6902418"/>
          </a:xfrm>
        </p:grpSpPr>
        <p:sp>
          <p:nvSpPr>
            <p:cNvPr id="158" name="Rectangle 157"/>
            <p:cNvSpPr/>
            <p:nvPr/>
          </p:nvSpPr>
          <p:spPr bwMode="auto">
            <a:xfrm>
              <a:off x="4283901" y="1655499"/>
              <a:ext cx="7913662" cy="3566877"/>
            </a:xfrm>
            <a:prstGeom prst="rect">
              <a:avLst/>
            </a:prstGeom>
            <a:solidFill>
              <a:srgbClr val="F8F8F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67" name="Rectangle 166"/>
            <p:cNvSpPr/>
            <p:nvPr/>
          </p:nvSpPr>
          <p:spPr bwMode="auto">
            <a:xfrm>
              <a:off x="4283901" y="5170853"/>
              <a:ext cx="7913662" cy="170427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64" name="Rectangle 163"/>
            <p:cNvSpPr/>
            <p:nvPr/>
          </p:nvSpPr>
          <p:spPr bwMode="auto">
            <a:xfrm>
              <a:off x="4283844" y="-27289"/>
              <a:ext cx="7934660" cy="170427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71" name="Rectangle 170"/>
            <p:cNvSpPr/>
            <p:nvPr/>
          </p:nvSpPr>
          <p:spPr bwMode="auto">
            <a:xfrm>
              <a:off x="11249886" y="-25052"/>
              <a:ext cx="968618" cy="69001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r>
                <a:rPr lang="en-US" sz="1836" b="1" dirty="0">
                  <a:gradFill>
                    <a:gsLst>
                      <a:gs pos="0">
                        <a:srgbClr val="FFFFFF"/>
                      </a:gs>
                      <a:gs pos="100000">
                        <a:srgbClr val="FFFFFF"/>
                      </a:gs>
                    </a:gsLst>
                    <a:lin ang="5400000" scaled="0"/>
                  </a:gradFill>
                  <a:latin typeface="Segoe UI Semibold" charset="0"/>
                  <a:ea typeface="Segoe UI Semibold" charset="0"/>
                  <a:cs typeface="Segoe UI Semibold" charset="0"/>
                </a:rPr>
                <a:t>Azure Stack + Hybrid</a:t>
              </a:r>
            </a:p>
          </p:txBody>
        </p:sp>
      </p:grpSp>
      <p:sp>
        <p:nvSpPr>
          <p:cNvPr id="168" name="Rectangle 167"/>
          <p:cNvSpPr/>
          <p:nvPr/>
        </p:nvSpPr>
        <p:spPr bwMode="auto">
          <a:xfrm>
            <a:off x="4640747" y="5506181"/>
            <a:ext cx="6380911" cy="548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169" name="Rectangle 168"/>
          <p:cNvSpPr/>
          <p:nvPr/>
        </p:nvSpPr>
        <p:spPr bwMode="auto">
          <a:xfrm>
            <a:off x="4450810"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Compute</a:t>
            </a:r>
          </a:p>
        </p:txBody>
      </p:sp>
      <p:sp>
        <p:nvSpPr>
          <p:cNvPr id="21" name="Rectangle 20"/>
          <p:cNvSpPr/>
          <p:nvPr/>
        </p:nvSpPr>
        <p:spPr bwMode="auto">
          <a:xfrm>
            <a:off x="6726081"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Storage</a:t>
            </a:r>
          </a:p>
        </p:txBody>
      </p:sp>
      <p:sp>
        <p:nvSpPr>
          <p:cNvPr id="22" name="Rectangle 21"/>
          <p:cNvSpPr/>
          <p:nvPr/>
        </p:nvSpPr>
        <p:spPr bwMode="auto">
          <a:xfrm>
            <a:off x="9410602"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Networking</a:t>
            </a:r>
          </a:p>
        </p:txBody>
      </p:sp>
      <p:sp>
        <p:nvSpPr>
          <p:cNvPr id="23" name="Rectangle 22"/>
          <p:cNvSpPr/>
          <p:nvPr/>
        </p:nvSpPr>
        <p:spPr bwMode="auto">
          <a:xfrm>
            <a:off x="5643140" y="5987634"/>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Security</a:t>
            </a:r>
          </a:p>
        </p:txBody>
      </p:sp>
      <p:sp>
        <p:nvSpPr>
          <p:cNvPr id="24" name="Rectangle 23"/>
          <p:cNvSpPr/>
          <p:nvPr/>
        </p:nvSpPr>
        <p:spPr bwMode="auto">
          <a:xfrm>
            <a:off x="7802695" y="5987634"/>
            <a:ext cx="1753631"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Management</a:t>
            </a:r>
          </a:p>
        </p:txBody>
      </p:sp>
      <p:sp>
        <p:nvSpPr>
          <p:cNvPr id="160" name="Rectangle 159"/>
          <p:cNvSpPr/>
          <p:nvPr/>
        </p:nvSpPr>
        <p:spPr bwMode="auto">
          <a:xfrm>
            <a:off x="4639485" y="2237684"/>
            <a:ext cx="6380908" cy="4998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B7DD8"/>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161" name="Rectangle 160"/>
          <p:cNvSpPr/>
          <p:nvPr/>
        </p:nvSpPr>
        <p:spPr bwMode="auto">
          <a:xfrm>
            <a:off x="4660756" y="2586206"/>
            <a:ext cx="3489801" cy="2314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Web + Mobile</a:t>
            </a:r>
            <a:br>
              <a:rPr lang="en-US" sz="1836" dirty="0">
                <a:solidFill>
                  <a:srgbClr val="505050">
                    <a:lumMod val="75000"/>
                  </a:srgbClr>
                </a:solidFill>
                <a:latin typeface="Segoe UI Semilight"/>
                <a:ea typeface="Segoe UI" pitchFamily="34" charset="0"/>
                <a:cs typeface="Segoe UI" pitchFamily="34" charset="0"/>
              </a:rPr>
            </a:br>
            <a:r>
              <a:rPr lang="en-US" sz="1836" dirty="0">
                <a:solidFill>
                  <a:srgbClr val="505050">
                    <a:lumMod val="75000"/>
                  </a:srgbClr>
                </a:solidFill>
                <a:latin typeface="Segoe UI Semilight"/>
                <a:ea typeface="Segoe UI" pitchFamily="34" charset="0"/>
                <a:cs typeface="Segoe UI" pitchFamily="34" charset="0"/>
              </a:rPr>
              <a:t>Internet of Thing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Microservice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Container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Serverless</a:t>
            </a:r>
          </a:p>
        </p:txBody>
      </p:sp>
      <p:sp>
        <p:nvSpPr>
          <p:cNvPr id="162" name="Rectangle 161"/>
          <p:cNvSpPr/>
          <p:nvPr/>
        </p:nvSpPr>
        <p:spPr bwMode="auto">
          <a:xfrm>
            <a:off x="7377660" y="2586206"/>
            <a:ext cx="3489801" cy="2314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Identity</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Data + Analytic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Artificial Intelligence</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Cognitive Service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High Performance Computing</a:t>
            </a:r>
          </a:p>
        </p:txBody>
      </p:sp>
      <p:sp>
        <p:nvSpPr>
          <p:cNvPr id="165" name="Rectangle 164"/>
          <p:cNvSpPr/>
          <p:nvPr/>
        </p:nvSpPr>
        <p:spPr bwMode="auto">
          <a:xfrm>
            <a:off x="4639485" y="218184"/>
            <a:ext cx="6380908" cy="4998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sp>
        <p:nvSpPr>
          <p:cNvPr id="166" name="Rectangle 165"/>
          <p:cNvSpPr/>
          <p:nvPr/>
        </p:nvSpPr>
        <p:spPr bwMode="auto">
          <a:xfrm>
            <a:off x="4660755" y="713182"/>
            <a:ext cx="5607371" cy="8438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3" spcCol="18288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Developer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Tools</a:t>
            </a:r>
          </a:p>
          <a:p>
            <a:pPr defTabSz="950846" fontAlgn="base">
              <a:lnSpc>
                <a:spcPct val="90000"/>
              </a:lnSpc>
              <a:spcBef>
                <a:spcPct val="0"/>
              </a:spcBef>
              <a:spcAft>
                <a:spcPct val="0"/>
              </a:spcAft>
              <a:defRPr/>
            </a:pPr>
            <a:endParaRPr lang="en-US" sz="1632" dirty="0">
              <a:solidFill>
                <a:srgbClr val="FFFFFF"/>
              </a:solidFill>
              <a:latin typeface="Segoe UI" charset="0"/>
              <a:ea typeface="Segoe UI" charset="0"/>
              <a:cs typeface="Segoe UI" charset="0"/>
            </a:endParaRPr>
          </a:p>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DevOps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     </a:t>
            </a:r>
          </a:p>
          <a:p>
            <a:pPr defTabSz="950846" fontAlgn="base">
              <a:lnSpc>
                <a:spcPct val="90000"/>
              </a:lnSpc>
              <a:spcBef>
                <a:spcPct val="0"/>
              </a:spcBef>
              <a:spcAft>
                <a:spcPct val="0"/>
              </a:spcAft>
              <a:defRPr/>
            </a:pPr>
            <a:endParaRPr lang="en-US" sz="1632" dirty="0">
              <a:solidFill>
                <a:srgbClr val="FFFFFF"/>
              </a:solidFill>
              <a:latin typeface="Segoe UI" charset="0"/>
              <a:ea typeface="Segoe UI" charset="0"/>
              <a:cs typeface="Segoe UI" charset="0"/>
            </a:endParaRPr>
          </a:p>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Portal +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Scripting</a:t>
            </a:r>
          </a:p>
        </p:txBody>
      </p:sp>
      <p:cxnSp>
        <p:nvCxnSpPr>
          <p:cNvPr id="32" name="Straight Connector 31">
            <a:extLst>
              <a:ext uri="{FF2B5EF4-FFF2-40B4-BE49-F238E27FC236}">
                <a16:creationId xmlns:a16="http://schemas.microsoft.com/office/drawing/2014/main" id="{153D86BF-D60D-4D45-AD9A-B2638811C3FD}"/>
              </a:ext>
            </a:extLst>
          </p:cNvPr>
          <p:cNvCxnSpPr>
            <a:cxnSpLocks/>
          </p:cNvCxnSpPr>
          <p:nvPr/>
        </p:nvCxnSpPr>
        <p:spPr>
          <a:xfrm>
            <a:off x="3475953" y="496"/>
            <a:ext cx="0" cy="7025446"/>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1" name="Group 10"/>
          <p:cNvGrpSpPr/>
          <p:nvPr/>
        </p:nvGrpSpPr>
        <p:grpSpPr>
          <a:xfrm>
            <a:off x="3475955" y="1703912"/>
            <a:ext cx="881334" cy="3577108"/>
            <a:chOff x="3407244" y="1670654"/>
            <a:chExt cx="896670" cy="3507287"/>
          </a:xfrm>
        </p:grpSpPr>
        <p:cxnSp>
          <p:nvCxnSpPr>
            <p:cNvPr id="33" name="Straight Connector 32">
              <a:extLst>
                <a:ext uri="{FF2B5EF4-FFF2-40B4-BE49-F238E27FC236}">
                  <a16:creationId xmlns:a16="http://schemas.microsoft.com/office/drawing/2014/main" id="{153D86BF-D60D-4D45-AD9A-B2638811C3FD}"/>
                </a:ext>
              </a:extLst>
            </p:cNvPr>
            <p:cNvCxnSpPr>
              <a:cxnSpLocks/>
            </p:cNvCxnSpPr>
            <p:nvPr/>
          </p:nvCxnSpPr>
          <p:spPr>
            <a:xfrm>
              <a:off x="3407244" y="1670654"/>
              <a:ext cx="896670"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5" name="Straight Connector 44">
              <a:extLst>
                <a:ext uri="{FF2B5EF4-FFF2-40B4-BE49-F238E27FC236}">
                  <a16:creationId xmlns:a16="http://schemas.microsoft.com/office/drawing/2014/main" id="{153D86BF-D60D-4D45-AD9A-B2638811C3FD}"/>
                </a:ext>
              </a:extLst>
            </p:cNvPr>
            <p:cNvCxnSpPr>
              <a:cxnSpLocks/>
            </p:cNvCxnSpPr>
            <p:nvPr/>
          </p:nvCxnSpPr>
          <p:spPr>
            <a:xfrm>
              <a:off x="3407244" y="5177941"/>
              <a:ext cx="896670"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p:cNvGrpSpPr/>
          <p:nvPr/>
        </p:nvGrpSpPr>
        <p:grpSpPr>
          <a:xfrm>
            <a:off x="3589101" y="552272"/>
            <a:ext cx="653147" cy="653147"/>
            <a:chOff x="3521877" y="511997"/>
            <a:chExt cx="640398" cy="640398"/>
          </a:xfrm>
        </p:grpSpPr>
        <p:sp>
          <p:nvSpPr>
            <p:cNvPr id="34" name="Freeform 33"/>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1836">
                <a:solidFill>
                  <a:srgbClr val="505050"/>
                </a:solidFill>
                <a:latin typeface="Segoe UI"/>
              </a:endParaRPr>
            </a:p>
          </p:txBody>
        </p:sp>
        <p:sp>
          <p:nvSpPr>
            <p:cNvPr id="5" name="Oval 4"/>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 name="Group 7"/>
          <p:cNvGrpSpPr/>
          <p:nvPr/>
        </p:nvGrpSpPr>
        <p:grpSpPr>
          <a:xfrm>
            <a:off x="3570856" y="3214641"/>
            <a:ext cx="694628" cy="694628"/>
            <a:chOff x="3500293" y="3151895"/>
            <a:chExt cx="681070" cy="681070"/>
          </a:xfrm>
        </p:grpSpPr>
        <p:grpSp>
          <p:nvGrpSpPr>
            <p:cNvPr id="40" name="Group 39"/>
            <p:cNvGrpSpPr/>
            <p:nvPr/>
          </p:nvGrpSpPr>
          <p:grpSpPr>
            <a:xfrm>
              <a:off x="3607832" y="3353215"/>
              <a:ext cx="469102" cy="355120"/>
              <a:chOff x="3268663" y="4287838"/>
              <a:chExt cx="4351337" cy="3294062"/>
            </a:xfrm>
            <a:solidFill>
              <a:schemeClr val="bg1"/>
            </a:solidFill>
          </p:grpSpPr>
          <p:sp>
            <p:nvSpPr>
              <p:cNvPr id="41"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42"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7" name="Oval 6"/>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1" name="Group 50"/>
          <p:cNvGrpSpPr/>
          <p:nvPr/>
        </p:nvGrpSpPr>
        <p:grpSpPr>
          <a:xfrm>
            <a:off x="3657194" y="5911502"/>
            <a:ext cx="531439" cy="398847"/>
            <a:chOff x="2724150" y="20638"/>
            <a:chExt cx="4695825" cy="3524250"/>
          </a:xfrm>
          <a:solidFill>
            <a:schemeClr val="bg1"/>
          </a:solidFill>
        </p:grpSpPr>
        <p:sp>
          <p:nvSpPr>
            <p:cNvPr id="52"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3"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4"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5"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44" name="Group 43">
            <a:extLst>
              <a:ext uri="{FF2B5EF4-FFF2-40B4-BE49-F238E27FC236}">
                <a16:creationId xmlns:a16="http://schemas.microsoft.com/office/drawing/2014/main" id="{61249D4F-2BF9-4EDD-A8F1-E113D4AF9FA9}"/>
              </a:ext>
            </a:extLst>
          </p:cNvPr>
          <p:cNvGrpSpPr>
            <a:grpSpLocks noChangeAspect="1"/>
          </p:cNvGrpSpPr>
          <p:nvPr/>
        </p:nvGrpSpPr>
        <p:grpSpPr>
          <a:xfrm>
            <a:off x="11727414" y="579191"/>
            <a:ext cx="440225" cy="559562"/>
            <a:chOff x="2173288" y="115909"/>
            <a:chExt cx="5797550" cy="7369175"/>
          </a:xfrm>
          <a:solidFill>
            <a:srgbClr val="FFFFFF"/>
          </a:solidFill>
        </p:grpSpPr>
        <p:sp>
          <p:nvSpPr>
            <p:cNvPr id="46"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dirty="0">
                <a:solidFill>
                  <a:srgbClr val="FFFFFF"/>
                </a:solidFill>
                <a:latin typeface="Segoe UI"/>
              </a:endParaRPr>
            </a:p>
          </p:txBody>
        </p:sp>
        <p:sp>
          <p:nvSpPr>
            <p:cNvPr id="47"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a:solidFill>
                  <a:srgbClr val="FFFFFF"/>
                </a:solidFill>
                <a:latin typeface="Segoe UI"/>
              </a:endParaRPr>
            </a:p>
          </p:txBody>
        </p:sp>
        <p:sp>
          <p:nvSpPr>
            <p:cNvPr id="48"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13" y="6307138"/>
              <a:ext cx="2716212" cy="32702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a:solidFill>
                  <a:srgbClr val="FFFFFF"/>
                </a:solidFill>
                <a:latin typeface="Segoe UI"/>
              </a:endParaRPr>
            </a:p>
          </p:txBody>
        </p:sp>
      </p:grpSp>
      <p:pic>
        <p:nvPicPr>
          <p:cNvPr id="63" name="Picture 62">
            <a:extLst>
              <a:ext uri="{FF2B5EF4-FFF2-40B4-BE49-F238E27FC236}">
                <a16:creationId xmlns:a16="http://schemas.microsoft.com/office/drawing/2014/main" id="{D3306387-D82A-41F4-953A-523158B43CD8}"/>
              </a:ext>
            </a:extLst>
          </p:cNvPr>
          <p:cNvPicPr>
            <a:picLocks noChangeAspect="1"/>
          </p:cNvPicPr>
          <p:nvPr/>
        </p:nvPicPr>
        <p:blipFill>
          <a:blip r:embed="rId3"/>
          <a:stretch>
            <a:fillRect/>
          </a:stretch>
        </p:blipFill>
        <p:spPr>
          <a:xfrm>
            <a:off x="588535" y="3080860"/>
            <a:ext cx="2423077" cy="853076"/>
          </a:xfrm>
          <a:prstGeom prst="rect">
            <a:avLst/>
          </a:prstGeom>
        </p:spPr>
      </p:pic>
    </p:spTree>
    <p:extLst>
      <p:ext uri="{BB962C8B-B14F-4D97-AF65-F5344CB8AC3E}">
        <p14:creationId xmlns:p14="http://schemas.microsoft.com/office/powerpoint/2010/main" val="94783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829017" y="-464870"/>
            <a:ext cx="487464" cy="865480"/>
            <a:chOff x="749671" y="1272712"/>
            <a:chExt cx="477949" cy="848587"/>
          </a:xfrm>
        </p:grpSpPr>
        <p:grpSp>
          <p:nvGrpSpPr>
            <p:cNvPr id="37" name="Group 135"/>
            <p:cNvGrpSpPr>
              <a:grpSpLocks noChangeAspect="1"/>
            </p:cNvGrpSpPr>
            <p:nvPr/>
          </p:nvGrpSpPr>
          <p:grpSpPr bwMode="auto">
            <a:xfrm>
              <a:off x="860163" y="1548571"/>
              <a:ext cx="273312" cy="331910"/>
              <a:chOff x="3828" y="2131"/>
              <a:chExt cx="237" cy="419"/>
            </a:xfrm>
            <a:solidFill>
              <a:srgbClr val="001F50"/>
            </a:solidFill>
          </p:grpSpPr>
          <p:sp>
            <p:nvSpPr>
              <p:cNvPr id="39"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0"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1"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2"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grpSp>
        <p:sp>
          <p:nvSpPr>
            <p:cNvPr id="38" name="Freeform 158"/>
            <p:cNvSpPr>
              <a:spLocks noEditPoints="1"/>
            </p:cNvSpPr>
            <p:nvPr/>
          </p:nvSpPr>
          <p:spPr bwMode="auto">
            <a:xfrm>
              <a:off x="749671" y="1272712"/>
              <a:ext cx="477949" cy="848587"/>
            </a:xfrm>
            <a:custGeom>
              <a:avLst/>
              <a:gdLst>
                <a:gd name="T0" fmla="*/ 478 w 530"/>
                <a:gd name="T1" fmla="*/ 104 h 941"/>
                <a:gd name="T2" fmla="*/ 54 w 530"/>
                <a:gd name="T3" fmla="*/ 104 h 941"/>
                <a:gd name="T4" fmla="*/ 54 w 530"/>
                <a:gd name="T5" fmla="*/ 53 h 941"/>
                <a:gd name="T6" fmla="*/ 478 w 530"/>
                <a:gd name="T7" fmla="*/ 53 h 941"/>
                <a:gd name="T8" fmla="*/ 478 w 530"/>
                <a:gd name="T9" fmla="*/ 104 h 941"/>
                <a:gd name="T10" fmla="*/ 478 w 530"/>
                <a:gd name="T11" fmla="*/ 775 h 941"/>
                <a:gd name="T12" fmla="*/ 54 w 530"/>
                <a:gd name="T13" fmla="*/ 775 h 941"/>
                <a:gd name="T14" fmla="*/ 54 w 530"/>
                <a:gd name="T15" fmla="*/ 158 h 941"/>
                <a:gd name="T16" fmla="*/ 478 w 530"/>
                <a:gd name="T17" fmla="*/ 158 h 941"/>
                <a:gd name="T18" fmla="*/ 478 w 530"/>
                <a:gd name="T19" fmla="*/ 775 h 941"/>
                <a:gd name="T20" fmla="*/ 478 w 530"/>
                <a:gd name="T21" fmla="*/ 890 h 941"/>
                <a:gd name="T22" fmla="*/ 54 w 530"/>
                <a:gd name="T23" fmla="*/ 890 h 941"/>
                <a:gd name="T24" fmla="*/ 54 w 530"/>
                <a:gd name="T25" fmla="*/ 828 h 941"/>
                <a:gd name="T26" fmla="*/ 478 w 530"/>
                <a:gd name="T27" fmla="*/ 828 h 941"/>
                <a:gd name="T28" fmla="*/ 478 w 530"/>
                <a:gd name="T29" fmla="*/ 890 h 941"/>
                <a:gd name="T30" fmla="*/ 530 w 530"/>
                <a:gd name="T31" fmla="*/ 0 h 941"/>
                <a:gd name="T32" fmla="*/ 0 w 530"/>
                <a:gd name="T33" fmla="*/ 0 h 941"/>
                <a:gd name="T34" fmla="*/ 0 w 530"/>
                <a:gd name="T35" fmla="*/ 941 h 941"/>
                <a:gd name="T36" fmla="*/ 530 w 530"/>
                <a:gd name="T37" fmla="*/ 941 h 941"/>
                <a:gd name="T38" fmla="*/ 530 w 530"/>
                <a:gd name="T39"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941">
                  <a:moveTo>
                    <a:pt x="478" y="104"/>
                  </a:moveTo>
                  <a:lnTo>
                    <a:pt x="54" y="104"/>
                  </a:lnTo>
                  <a:lnTo>
                    <a:pt x="54" y="53"/>
                  </a:lnTo>
                  <a:lnTo>
                    <a:pt x="478" y="53"/>
                  </a:lnTo>
                  <a:lnTo>
                    <a:pt x="478" y="104"/>
                  </a:lnTo>
                  <a:close/>
                  <a:moveTo>
                    <a:pt x="478" y="775"/>
                  </a:moveTo>
                  <a:lnTo>
                    <a:pt x="54" y="775"/>
                  </a:lnTo>
                  <a:lnTo>
                    <a:pt x="54" y="158"/>
                  </a:lnTo>
                  <a:lnTo>
                    <a:pt x="478" y="158"/>
                  </a:lnTo>
                  <a:lnTo>
                    <a:pt x="478" y="775"/>
                  </a:lnTo>
                  <a:close/>
                  <a:moveTo>
                    <a:pt x="478" y="890"/>
                  </a:moveTo>
                  <a:lnTo>
                    <a:pt x="54" y="890"/>
                  </a:lnTo>
                  <a:lnTo>
                    <a:pt x="54" y="828"/>
                  </a:lnTo>
                  <a:lnTo>
                    <a:pt x="478" y="828"/>
                  </a:lnTo>
                  <a:lnTo>
                    <a:pt x="478" y="890"/>
                  </a:lnTo>
                  <a:close/>
                  <a:moveTo>
                    <a:pt x="530" y="0"/>
                  </a:moveTo>
                  <a:lnTo>
                    <a:pt x="0" y="0"/>
                  </a:lnTo>
                  <a:lnTo>
                    <a:pt x="0" y="941"/>
                  </a:lnTo>
                  <a:lnTo>
                    <a:pt x="530" y="941"/>
                  </a:lnTo>
                  <a:lnTo>
                    <a:pt x="53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3" name="Group 42"/>
          <p:cNvGrpSpPr/>
          <p:nvPr/>
        </p:nvGrpSpPr>
        <p:grpSpPr>
          <a:xfrm>
            <a:off x="704202" y="-1091321"/>
            <a:ext cx="989344" cy="811944"/>
            <a:chOff x="2657475" y="611188"/>
            <a:chExt cx="1611313" cy="1322388"/>
          </a:xfrm>
        </p:grpSpPr>
        <p:sp>
          <p:nvSpPr>
            <p:cNvPr id="44" name="Freeform 5"/>
            <p:cNvSpPr>
              <a:spLocks noEditPoints="1"/>
            </p:cNvSpPr>
            <p:nvPr/>
          </p:nvSpPr>
          <p:spPr bwMode="auto">
            <a:xfrm>
              <a:off x="2657475" y="1314450"/>
              <a:ext cx="635000" cy="619125"/>
            </a:xfrm>
            <a:custGeom>
              <a:avLst/>
              <a:gdLst>
                <a:gd name="T0" fmla="*/ 0 w 400"/>
                <a:gd name="T1" fmla="*/ 390 h 390"/>
                <a:gd name="T2" fmla="*/ 400 w 400"/>
                <a:gd name="T3" fmla="*/ 390 h 390"/>
                <a:gd name="T4" fmla="*/ 400 w 400"/>
                <a:gd name="T5" fmla="*/ 0 h 390"/>
                <a:gd name="T6" fmla="*/ 0 w 400"/>
                <a:gd name="T7" fmla="*/ 0 h 390"/>
                <a:gd name="T8" fmla="*/ 0 w 400"/>
                <a:gd name="T9" fmla="*/ 390 h 390"/>
                <a:gd name="T10" fmla="*/ 48 w 400"/>
                <a:gd name="T11" fmla="*/ 49 h 390"/>
                <a:gd name="T12" fmla="*/ 351 w 400"/>
                <a:gd name="T13" fmla="*/ 49 h 390"/>
                <a:gd name="T14" fmla="*/ 351 w 400"/>
                <a:gd name="T15" fmla="*/ 342 h 390"/>
                <a:gd name="T16" fmla="*/ 48 w 400"/>
                <a:gd name="T17" fmla="*/ 342 h 390"/>
                <a:gd name="T18" fmla="*/ 48 w 400"/>
                <a:gd name="T19" fmla="*/ 4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0">
                  <a:moveTo>
                    <a:pt x="0" y="390"/>
                  </a:moveTo>
                  <a:lnTo>
                    <a:pt x="400" y="390"/>
                  </a:lnTo>
                  <a:lnTo>
                    <a:pt x="400" y="0"/>
                  </a:lnTo>
                  <a:lnTo>
                    <a:pt x="0" y="0"/>
                  </a:lnTo>
                  <a:lnTo>
                    <a:pt x="0" y="390"/>
                  </a:lnTo>
                  <a:close/>
                  <a:moveTo>
                    <a:pt x="48" y="49"/>
                  </a:moveTo>
                  <a:lnTo>
                    <a:pt x="351" y="49"/>
                  </a:lnTo>
                  <a:lnTo>
                    <a:pt x="351" y="342"/>
                  </a:lnTo>
                  <a:lnTo>
                    <a:pt x="48" y="342"/>
                  </a:lnTo>
                  <a:lnTo>
                    <a:pt x="48" y="49"/>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 name="Freeform 6"/>
            <p:cNvSpPr>
              <a:spLocks noEditPoints="1"/>
            </p:cNvSpPr>
            <p:nvPr/>
          </p:nvSpPr>
          <p:spPr bwMode="auto">
            <a:xfrm>
              <a:off x="3360738" y="611188"/>
              <a:ext cx="908050" cy="904875"/>
            </a:xfrm>
            <a:custGeom>
              <a:avLst/>
              <a:gdLst>
                <a:gd name="T0" fmla="*/ 0 w 572"/>
                <a:gd name="T1" fmla="*/ 0 h 570"/>
                <a:gd name="T2" fmla="*/ 0 w 572"/>
                <a:gd name="T3" fmla="*/ 570 h 570"/>
                <a:gd name="T4" fmla="*/ 572 w 572"/>
                <a:gd name="T5" fmla="*/ 570 h 570"/>
                <a:gd name="T6" fmla="*/ 572 w 572"/>
                <a:gd name="T7" fmla="*/ 0 h 570"/>
                <a:gd name="T8" fmla="*/ 0 w 572"/>
                <a:gd name="T9" fmla="*/ 0 h 570"/>
                <a:gd name="T10" fmla="*/ 523 w 572"/>
                <a:gd name="T11" fmla="*/ 521 h 570"/>
                <a:gd name="T12" fmla="*/ 48 w 572"/>
                <a:gd name="T13" fmla="*/ 521 h 570"/>
                <a:gd name="T14" fmla="*/ 48 w 572"/>
                <a:gd name="T15" fmla="*/ 48 h 570"/>
                <a:gd name="T16" fmla="*/ 523 w 572"/>
                <a:gd name="T17" fmla="*/ 48 h 570"/>
                <a:gd name="T18" fmla="*/ 523 w 572"/>
                <a:gd name="T19" fmla="*/ 52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570">
                  <a:moveTo>
                    <a:pt x="0" y="0"/>
                  </a:moveTo>
                  <a:lnTo>
                    <a:pt x="0" y="570"/>
                  </a:lnTo>
                  <a:lnTo>
                    <a:pt x="572" y="570"/>
                  </a:lnTo>
                  <a:lnTo>
                    <a:pt x="572" y="0"/>
                  </a:lnTo>
                  <a:lnTo>
                    <a:pt x="0" y="0"/>
                  </a:lnTo>
                  <a:close/>
                  <a:moveTo>
                    <a:pt x="523" y="521"/>
                  </a:moveTo>
                  <a:lnTo>
                    <a:pt x="48" y="521"/>
                  </a:lnTo>
                  <a:lnTo>
                    <a:pt x="48" y="48"/>
                  </a:lnTo>
                  <a:lnTo>
                    <a:pt x="523" y="48"/>
                  </a:lnTo>
                  <a:lnTo>
                    <a:pt x="523" y="521"/>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 name="Freeform 7"/>
            <p:cNvSpPr>
              <a:spLocks noEditPoints="1"/>
            </p:cNvSpPr>
            <p:nvPr/>
          </p:nvSpPr>
          <p:spPr bwMode="auto">
            <a:xfrm>
              <a:off x="2657475" y="611188"/>
              <a:ext cx="635000" cy="631825"/>
            </a:xfrm>
            <a:custGeom>
              <a:avLst/>
              <a:gdLst>
                <a:gd name="T0" fmla="*/ 0 w 400"/>
                <a:gd name="T1" fmla="*/ 398 h 398"/>
                <a:gd name="T2" fmla="*/ 400 w 400"/>
                <a:gd name="T3" fmla="*/ 398 h 398"/>
                <a:gd name="T4" fmla="*/ 400 w 400"/>
                <a:gd name="T5" fmla="*/ 0 h 398"/>
                <a:gd name="T6" fmla="*/ 0 w 400"/>
                <a:gd name="T7" fmla="*/ 0 h 398"/>
                <a:gd name="T8" fmla="*/ 0 w 400"/>
                <a:gd name="T9" fmla="*/ 398 h 398"/>
                <a:gd name="T10" fmla="*/ 48 w 400"/>
                <a:gd name="T11" fmla="*/ 48 h 398"/>
                <a:gd name="T12" fmla="*/ 351 w 400"/>
                <a:gd name="T13" fmla="*/ 48 h 398"/>
                <a:gd name="T14" fmla="*/ 351 w 400"/>
                <a:gd name="T15" fmla="*/ 349 h 398"/>
                <a:gd name="T16" fmla="*/ 48 w 400"/>
                <a:gd name="T17" fmla="*/ 349 h 398"/>
                <a:gd name="T18" fmla="*/ 48 w 400"/>
                <a:gd name="T19" fmla="*/ 4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8">
                  <a:moveTo>
                    <a:pt x="0" y="398"/>
                  </a:moveTo>
                  <a:lnTo>
                    <a:pt x="400" y="398"/>
                  </a:lnTo>
                  <a:lnTo>
                    <a:pt x="400" y="0"/>
                  </a:lnTo>
                  <a:lnTo>
                    <a:pt x="0" y="0"/>
                  </a:lnTo>
                  <a:lnTo>
                    <a:pt x="0" y="398"/>
                  </a:lnTo>
                  <a:close/>
                  <a:moveTo>
                    <a:pt x="48" y="48"/>
                  </a:moveTo>
                  <a:lnTo>
                    <a:pt x="351" y="48"/>
                  </a:lnTo>
                  <a:lnTo>
                    <a:pt x="351" y="349"/>
                  </a:lnTo>
                  <a:lnTo>
                    <a:pt x="48" y="34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 name="Freeform 8"/>
            <p:cNvSpPr>
              <a:spLocks noEditPoints="1"/>
            </p:cNvSpPr>
            <p:nvPr/>
          </p:nvSpPr>
          <p:spPr bwMode="auto">
            <a:xfrm>
              <a:off x="3360738" y="1589088"/>
              <a:ext cx="908050" cy="344488"/>
            </a:xfrm>
            <a:custGeom>
              <a:avLst/>
              <a:gdLst>
                <a:gd name="T0" fmla="*/ 0 w 572"/>
                <a:gd name="T1" fmla="*/ 217 h 217"/>
                <a:gd name="T2" fmla="*/ 572 w 572"/>
                <a:gd name="T3" fmla="*/ 217 h 217"/>
                <a:gd name="T4" fmla="*/ 572 w 572"/>
                <a:gd name="T5" fmla="*/ 0 h 217"/>
                <a:gd name="T6" fmla="*/ 0 w 572"/>
                <a:gd name="T7" fmla="*/ 0 h 217"/>
                <a:gd name="T8" fmla="*/ 0 w 572"/>
                <a:gd name="T9" fmla="*/ 217 h 217"/>
                <a:gd name="T10" fmla="*/ 223 w 572"/>
                <a:gd name="T11" fmla="*/ 169 h 217"/>
                <a:gd name="T12" fmla="*/ 223 w 572"/>
                <a:gd name="T13" fmla="*/ 48 h 217"/>
                <a:gd name="T14" fmla="*/ 349 w 572"/>
                <a:gd name="T15" fmla="*/ 48 h 217"/>
                <a:gd name="T16" fmla="*/ 349 w 572"/>
                <a:gd name="T17" fmla="*/ 169 h 217"/>
                <a:gd name="T18" fmla="*/ 223 w 572"/>
                <a:gd name="T19" fmla="*/ 169 h 217"/>
                <a:gd name="T20" fmla="*/ 523 w 572"/>
                <a:gd name="T21" fmla="*/ 169 h 217"/>
                <a:gd name="T22" fmla="*/ 397 w 572"/>
                <a:gd name="T23" fmla="*/ 169 h 217"/>
                <a:gd name="T24" fmla="*/ 397 w 572"/>
                <a:gd name="T25" fmla="*/ 48 h 217"/>
                <a:gd name="T26" fmla="*/ 523 w 572"/>
                <a:gd name="T27" fmla="*/ 48 h 217"/>
                <a:gd name="T28" fmla="*/ 523 w 572"/>
                <a:gd name="T29" fmla="*/ 169 h 217"/>
                <a:gd name="T30" fmla="*/ 48 w 572"/>
                <a:gd name="T31" fmla="*/ 48 h 217"/>
                <a:gd name="T32" fmla="*/ 174 w 572"/>
                <a:gd name="T33" fmla="*/ 48 h 217"/>
                <a:gd name="T34" fmla="*/ 174 w 572"/>
                <a:gd name="T35" fmla="*/ 169 h 217"/>
                <a:gd name="T36" fmla="*/ 48 w 572"/>
                <a:gd name="T37" fmla="*/ 169 h 217"/>
                <a:gd name="T38" fmla="*/ 48 w 572"/>
                <a:gd name="T39" fmla="*/ 4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2" h="217">
                  <a:moveTo>
                    <a:pt x="0" y="217"/>
                  </a:moveTo>
                  <a:lnTo>
                    <a:pt x="572" y="217"/>
                  </a:lnTo>
                  <a:lnTo>
                    <a:pt x="572" y="0"/>
                  </a:lnTo>
                  <a:lnTo>
                    <a:pt x="0" y="0"/>
                  </a:lnTo>
                  <a:lnTo>
                    <a:pt x="0" y="217"/>
                  </a:lnTo>
                  <a:close/>
                  <a:moveTo>
                    <a:pt x="223" y="169"/>
                  </a:moveTo>
                  <a:lnTo>
                    <a:pt x="223" y="48"/>
                  </a:lnTo>
                  <a:lnTo>
                    <a:pt x="349" y="48"/>
                  </a:lnTo>
                  <a:lnTo>
                    <a:pt x="349" y="169"/>
                  </a:lnTo>
                  <a:lnTo>
                    <a:pt x="223" y="169"/>
                  </a:lnTo>
                  <a:close/>
                  <a:moveTo>
                    <a:pt x="523" y="169"/>
                  </a:moveTo>
                  <a:lnTo>
                    <a:pt x="397" y="169"/>
                  </a:lnTo>
                  <a:lnTo>
                    <a:pt x="397" y="48"/>
                  </a:lnTo>
                  <a:lnTo>
                    <a:pt x="523" y="48"/>
                  </a:lnTo>
                  <a:lnTo>
                    <a:pt x="523" y="169"/>
                  </a:lnTo>
                  <a:close/>
                  <a:moveTo>
                    <a:pt x="48" y="48"/>
                  </a:moveTo>
                  <a:lnTo>
                    <a:pt x="174" y="48"/>
                  </a:lnTo>
                  <a:lnTo>
                    <a:pt x="174" y="169"/>
                  </a:lnTo>
                  <a:lnTo>
                    <a:pt x="48" y="16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8" name="Group 47"/>
          <p:cNvGrpSpPr/>
          <p:nvPr/>
        </p:nvGrpSpPr>
        <p:grpSpPr>
          <a:xfrm>
            <a:off x="5062299" y="-1265165"/>
            <a:ext cx="997367" cy="997366"/>
            <a:chOff x="6461125" y="374650"/>
            <a:chExt cx="1751013" cy="1751012"/>
          </a:xfrm>
        </p:grpSpPr>
        <p:sp>
          <p:nvSpPr>
            <p:cNvPr id="49" name="Freeform 16"/>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 name="Freeform 17"/>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51" name="Freeform 21"/>
          <p:cNvSpPr>
            <a:spLocks noEditPoints="1"/>
          </p:cNvSpPr>
          <p:nvPr/>
        </p:nvSpPr>
        <p:spPr bwMode="auto">
          <a:xfrm>
            <a:off x="8521160" y="-975784"/>
            <a:ext cx="835237" cy="653742"/>
          </a:xfrm>
          <a:custGeom>
            <a:avLst/>
            <a:gdLst>
              <a:gd name="T0" fmla="*/ 51 w 925"/>
              <a:gd name="T1" fmla="*/ 571 h 724"/>
              <a:gd name="T2" fmla="*/ 51 w 925"/>
              <a:gd name="T3" fmla="*/ 51 h 724"/>
              <a:gd name="T4" fmla="*/ 874 w 925"/>
              <a:gd name="T5" fmla="*/ 51 h 724"/>
              <a:gd name="T6" fmla="*/ 874 w 925"/>
              <a:gd name="T7" fmla="*/ 571 h 724"/>
              <a:gd name="T8" fmla="*/ 51 w 925"/>
              <a:gd name="T9" fmla="*/ 571 h 724"/>
              <a:gd name="T10" fmla="*/ 438 w 925"/>
              <a:gd name="T11" fmla="*/ 673 h 724"/>
              <a:gd name="T12" fmla="*/ 309 w 925"/>
              <a:gd name="T13" fmla="*/ 673 h 724"/>
              <a:gd name="T14" fmla="*/ 309 w 925"/>
              <a:gd name="T15" fmla="*/ 724 h 724"/>
              <a:gd name="T16" fmla="*/ 616 w 925"/>
              <a:gd name="T17" fmla="*/ 724 h 724"/>
              <a:gd name="T18" fmla="*/ 616 w 925"/>
              <a:gd name="T19" fmla="*/ 673 h 724"/>
              <a:gd name="T20" fmla="*/ 490 w 925"/>
              <a:gd name="T21" fmla="*/ 673 h 724"/>
              <a:gd name="T22" fmla="*/ 490 w 925"/>
              <a:gd name="T23" fmla="*/ 622 h 724"/>
              <a:gd name="T24" fmla="*/ 925 w 925"/>
              <a:gd name="T25" fmla="*/ 622 h 724"/>
              <a:gd name="T26" fmla="*/ 925 w 925"/>
              <a:gd name="T27" fmla="*/ 0 h 724"/>
              <a:gd name="T28" fmla="*/ 0 w 925"/>
              <a:gd name="T29" fmla="*/ 0 h 724"/>
              <a:gd name="T30" fmla="*/ 0 w 925"/>
              <a:gd name="T31" fmla="*/ 622 h 724"/>
              <a:gd name="T32" fmla="*/ 438 w 925"/>
              <a:gd name="T33" fmla="*/ 622 h 724"/>
              <a:gd name="T34" fmla="*/ 438 w 925"/>
              <a:gd name="T35" fmla="*/ 67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5" h="724">
                <a:moveTo>
                  <a:pt x="51" y="571"/>
                </a:moveTo>
                <a:lnTo>
                  <a:pt x="51" y="51"/>
                </a:lnTo>
                <a:lnTo>
                  <a:pt x="874" y="51"/>
                </a:lnTo>
                <a:lnTo>
                  <a:pt x="874" y="571"/>
                </a:lnTo>
                <a:lnTo>
                  <a:pt x="51" y="571"/>
                </a:lnTo>
                <a:close/>
                <a:moveTo>
                  <a:pt x="438" y="673"/>
                </a:moveTo>
                <a:lnTo>
                  <a:pt x="309" y="673"/>
                </a:lnTo>
                <a:lnTo>
                  <a:pt x="309" y="724"/>
                </a:lnTo>
                <a:lnTo>
                  <a:pt x="616" y="724"/>
                </a:lnTo>
                <a:lnTo>
                  <a:pt x="616" y="673"/>
                </a:lnTo>
                <a:lnTo>
                  <a:pt x="490" y="673"/>
                </a:lnTo>
                <a:lnTo>
                  <a:pt x="490" y="622"/>
                </a:lnTo>
                <a:lnTo>
                  <a:pt x="925" y="622"/>
                </a:lnTo>
                <a:lnTo>
                  <a:pt x="925" y="0"/>
                </a:lnTo>
                <a:lnTo>
                  <a:pt x="0" y="0"/>
                </a:lnTo>
                <a:lnTo>
                  <a:pt x="0" y="622"/>
                </a:lnTo>
                <a:lnTo>
                  <a:pt x="438" y="622"/>
                </a:lnTo>
                <a:lnTo>
                  <a:pt x="438" y="673"/>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52" name="Group 51"/>
          <p:cNvGrpSpPr/>
          <p:nvPr/>
        </p:nvGrpSpPr>
        <p:grpSpPr>
          <a:xfrm>
            <a:off x="12794778" y="1302201"/>
            <a:ext cx="739544" cy="580354"/>
            <a:chOff x="8963025" y="-1204913"/>
            <a:chExt cx="1873251" cy="1470026"/>
          </a:xfrm>
          <a:solidFill>
            <a:srgbClr val="001F50"/>
          </a:solidFill>
        </p:grpSpPr>
        <p:sp>
          <p:nvSpPr>
            <p:cNvPr id="53" name="Freeform 5"/>
            <p:cNvSpPr>
              <a:spLocks noEditPoints="1"/>
            </p:cNvSpPr>
            <p:nvPr/>
          </p:nvSpPr>
          <p:spPr bwMode="auto">
            <a:xfrm>
              <a:off x="8963025" y="-1204913"/>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8 h 157"/>
                <a:gd name="T26" fmla="*/ 393 w 440"/>
                <a:gd name="T27" fmla="*/ 128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1"/>
                    <a:pt x="21" y="0"/>
                    <a:pt x="48" y="0"/>
                  </a:cubicBezTo>
                  <a:cubicBezTo>
                    <a:pt x="393" y="0"/>
                    <a:pt x="393" y="0"/>
                    <a:pt x="393" y="0"/>
                  </a:cubicBezTo>
                  <a:cubicBezTo>
                    <a:pt x="419" y="0"/>
                    <a:pt x="440" y="21"/>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8"/>
                    <a:pt x="48" y="128"/>
                  </a:cubicBezTo>
                  <a:cubicBezTo>
                    <a:pt x="393" y="128"/>
                    <a:pt x="393" y="128"/>
                    <a:pt x="393" y="128"/>
                  </a:cubicBezTo>
                  <a:cubicBezTo>
                    <a:pt x="403" y="128"/>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4" name="Oval 6"/>
            <p:cNvSpPr>
              <a:spLocks noChangeArrowheads="1"/>
            </p:cNvSpPr>
            <p:nvPr/>
          </p:nvSpPr>
          <p:spPr bwMode="auto">
            <a:xfrm>
              <a:off x="10396538" y="-944563"/>
              <a:ext cx="158750" cy="158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5" name="Rectangle 7"/>
            <p:cNvSpPr>
              <a:spLocks noChangeArrowheads="1"/>
            </p:cNvSpPr>
            <p:nvPr/>
          </p:nvSpPr>
          <p:spPr bwMode="auto">
            <a:xfrm>
              <a:off x="9217025" y="-930275"/>
              <a:ext cx="8651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6" name="Freeform 8"/>
            <p:cNvSpPr>
              <a:spLocks noEditPoints="1"/>
            </p:cNvSpPr>
            <p:nvPr/>
          </p:nvSpPr>
          <p:spPr bwMode="auto">
            <a:xfrm>
              <a:off x="8963025" y="-406400"/>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9 h 157"/>
                <a:gd name="T26" fmla="*/ 393 w 440"/>
                <a:gd name="T27" fmla="*/ 129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2"/>
                    <a:pt x="21" y="0"/>
                    <a:pt x="48" y="0"/>
                  </a:cubicBezTo>
                  <a:cubicBezTo>
                    <a:pt x="393" y="0"/>
                    <a:pt x="393" y="0"/>
                    <a:pt x="393" y="0"/>
                  </a:cubicBezTo>
                  <a:cubicBezTo>
                    <a:pt x="419" y="0"/>
                    <a:pt x="440" y="22"/>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9"/>
                    <a:pt x="48" y="129"/>
                  </a:cubicBezTo>
                  <a:cubicBezTo>
                    <a:pt x="393" y="129"/>
                    <a:pt x="393" y="129"/>
                    <a:pt x="393" y="129"/>
                  </a:cubicBezTo>
                  <a:cubicBezTo>
                    <a:pt x="403" y="129"/>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7" name="Oval 9"/>
            <p:cNvSpPr>
              <a:spLocks noChangeArrowheads="1"/>
            </p:cNvSpPr>
            <p:nvPr/>
          </p:nvSpPr>
          <p:spPr bwMode="auto">
            <a:xfrm>
              <a:off x="10396538" y="-144463"/>
              <a:ext cx="158750"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0" name="Rectangle 10"/>
            <p:cNvSpPr>
              <a:spLocks noChangeArrowheads="1"/>
            </p:cNvSpPr>
            <p:nvPr/>
          </p:nvSpPr>
          <p:spPr bwMode="auto">
            <a:xfrm>
              <a:off x="9217025" y="-131763"/>
              <a:ext cx="865188" cy="123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61" name="Group 60"/>
          <p:cNvGrpSpPr/>
          <p:nvPr/>
        </p:nvGrpSpPr>
        <p:grpSpPr>
          <a:xfrm>
            <a:off x="10575511" y="-1171769"/>
            <a:ext cx="887125" cy="936773"/>
            <a:chOff x="8907463" y="388938"/>
            <a:chExt cx="1503363" cy="1587500"/>
          </a:xfrm>
          <a:solidFill>
            <a:srgbClr val="001F50"/>
          </a:solidFill>
        </p:grpSpPr>
        <p:sp>
          <p:nvSpPr>
            <p:cNvPr id="62" name="Freeform 32"/>
            <p:cNvSpPr>
              <a:spLocks noEditPoints="1"/>
            </p:cNvSpPr>
            <p:nvPr/>
          </p:nvSpPr>
          <p:spPr bwMode="auto">
            <a:xfrm>
              <a:off x="8907463" y="884238"/>
              <a:ext cx="1093788" cy="1092200"/>
            </a:xfrm>
            <a:custGeom>
              <a:avLst/>
              <a:gdLst>
                <a:gd name="T0" fmla="*/ 204 w 256"/>
                <a:gd name="T1" fmla="*/ 23 h 256"/>
                <a:gd name="T2" fmla="*/ 203 w 256"/>
                <a:gd name="T3" fmla="*/ 0 h 256"/>
                <a:gd name="T4" fmla="*/ 185 w 256"/>
                <a:gd name="T5" fmla="*/ 23 h 256"/>
                <a:gd name="T6" fmla="*/ 170 w 256"/>
                <a:gd name="T7" fmla="*/ 0 h 256"/>
                <a:gd name="T8" fmla="*/ 152 w 256"/>
                <a:gd name="T9" fmla="*/ 23 h 256"/>
                <a:gd name="T10" fmla="*/ 137 w 256"/>
                <a:gd name="T11" fmla="*/ 0 h 256"/>
                <a:gd name="T12" fmla="*/ 119 w 256"/>
                <a:gd name="T13" fmla="*/ 23 h 256"/>
                <a:gd name="T14" fmla="*/ 104 w 256"/>
                <a:gd name="T15" fmla="*/ 0 h 256"/>
                <a:gd name="T16" fmla="*/ 86 w 256"/>
                <a:gd name="T17" fmla="*/ 23 h 256"/>
                <a:gd name="T18" fmla="*/ 71 w 256"/>
                <a:gd name="T19" fmla="*/ 0 h 256"/>
                <a:gd name="T20" fmla="*/ 53 w 256"/>
                <a:gd name="T21" fmla="*/ 23 h 256"/>
                <a:gd name="T22" fmla="*/ 25 w 256"/>
                <a:gd name="T23" fmla="*/ 51 h 256"/>
                <a:gd name="T24" fmla="*/ 0 w 256"/>
                <a:gd name="T25" fmla="*/ 53 h 256"/>
                <a:gd name="T26" fmla="*/ 25 w 256"/>
                <a:gd name="T27" fmla="*/ 71 h 256"/>
                <a:gd name="T28" fmla="*/ 0 w 256"/>
                <a:gd name="T29" fmla="*/ 86 h 256"/>
                <a:gd name="T30" fmla="*/ 25 w 256"/>
                <a:gd name="T31" fmla="*/ 104 h 256"/>
                <a:gd name="T32" fmla="*/ 0 w 256"/>
                <a:gd name="T33" fmla="*/ 119 h 256"/>
                <a:gd name="T34" fmla="*/ 25 w 256"/>
                <a:gd name="T35" fmla="*/ 137 h 256"/>
                <a:gd name="T36" fmla="*/ 0 w 256"/>
                <a:gd name="T37" fmla="*/ 152 h 256"/>
                <a:gd name="T38" fmla="*/ 25 w 256"/>
                <a:gd name="T39" fmla="*/ 170 h 256"/>
                <a:gd name="T40" fmla="*/ 0 w 256"/>
                <a:gd name="T41" fmla="*/ 185 h 256"/>
                <a:gd name="T42" fmla="*/ 25 w 256"/>
                <a:gd name="T43" fmla="*/ 203 h 256"/>
                <a:gd name="T44" fmla="*/ 52 w 256"/>
                <a:gd name="T45" fmla="*/ 233 h 256"/>
                <a:gd name="T46" fmla="*/ 53 w 256"/>
                <a:gd name="T47" fmla="*/ 256 h 256"/>
                <a:gd name="T48" fmla="*/ 71 w 256"/>
                <a:gd name="T49" fmla="*/ 233 h 256"/>
                <a:gd name="T50" fmla="*/ 86 w 256"/>
                <a:gd name="T51" fmla="*/ 256 h 256"/>
                <a:gd name="T52" fmla="*/ 104 w 256"/>
                <a:gd name="T53" fmla="*/ 233 h 256"/>
                <a:gd name="T54" fmla="*/ 119 w 256"/>
                <a:gd name="T55" fmla="*/ 256 h 256"/>
                <a:gd name="T56" fmla="*/ 137 w 256"/>
                <a:gd name="T57" fmla="*/ 233 h 256"/>
                <a:gd name="T58" fmla="*/ 152 w 256"/>
                <a:gd name="T59" fmla="*/ 256 h 256"/>
                <a:gd name="T60" fmla="*/ 170 w 256"/>
                <a:gd name="T61" fmla="*/ 233 h 256"/>
                <a:gd name="T62" fmla="*/ 185 w 256"/>
                <a:gd name="T63" fmla="*/ 256 h 256"/>
                <a:gd name="T64" fmla="*/ 203 w 256"/>
                <a:gd name="T65" fmla="*/ 233 h 256"/>
                <a:gd name="T66" fmla="*/ 231 w 256"/>
                <a:gd name="T67" fmla="*/ 205 h 256"/>
                <a:gd name="T68" fmla="*/ 256 w 256"/>
                <a:gd name="T69" fmla="*/ 203 h 256"/>
                <a:gd name="T70" fmla="*/ 231 w 256"/>
                <a:gd name="T71" fmla="*/ 185 h 256"/>
                <a:gd name="T72" fmla="*/ 256 w 256"/>
                <a:gd name="T73" fmla="*/ 170 h 256"/>
                <a:gd name="T74" fmla="*/ 231 w 256"/>
                <a:gd name="T75" fmla="*/ 152 h 256"/>
                <a:gd name="T76" fmla="*/ 256 w 256"/>
                <a:gd name="T77" fmla="*/ 137 h 256"/>
                <a:gd name="T78" fmla="*/ 231 w 256"/>
                <a:gd name="T79" fmla="*/ 119 h 256"/>
                <a:gd name="T80" fmla="*/ 256 w 256"/>
                <a:gd name="T81" fmla="*/ 104 h 256"/>
                <a:gd name="T82" fmla="*/ 231 w 256"/>
                <a:gd name="T83" fmla="*/ 86 h 256"/>
                <a:gd name="T84" fmla="*/ 256 w 256"/>
                <a:gd name="T85" fmla="*/ 71 h 256"/>
                <a:gd name="T86" fmla="*/ 231 w 256"/>
                <a:gd name="T87" fmla="*/ 53 h 256"/>
                <a:gd name="T88" fmla="*/ 213 w 256"/>
                <a:gd name="T89" fmla="*/ 205 h 256"/>
                <a:gd name="T90" fmla="*/ 52 w 256"/>
                <a:gd name="T91" fmla="*/ 215 h 256"/>
                <a:gd name="T92" fmla="*/ 43 w 256"/>
                <a:gd name="T93" fmla="*/ 51 h 256"/>
                <a:gd name="T94" fmla="*/ 204 w 256"/>
                <a:gd name="T95" fmla="*/ 41 h 256"/>
                <a:gd name="T96" fmla="*/ 213 w 256"/>
                <a:gd name="T97" fmla="*/ 20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 h="256">
                  <a:moveTo>
                    <a:pt x="231" y="51"/>
                  </a:moveTo>
                  <a:cubicBezTo>
                    <a:pt x="231" y="34"/>
                    <a:pt x="220" y="23"/>
                    <a:pt x="204" y="23"/>
                  </a:cubicBezTo>
                  <a:cubicBezTo>
                    <a:pt x="203" y="23"/>
                    <a:pt x="203" y="23"/>
                    <a:pt x="203" y="23"/>
                  </a:cubicBezTo>
                  <a:cubicBezTo>
                    <a:pt x="203" y="0"/>
                    <a:pt x="203" y="0"/>
                    <a:pt x="203" y="0"/>
                  </a:cubicBezTo>
                  <a:cubicBezTo>
                    <a:pt x="185" y="0"/>
                    <a:pt x="185" y="0"/>
                    <a:pt x="185" y="0"/>
                  </a:cubicBezTo>
                  <a:cubicBezTo>
                    <a:pt x="185" y="23"/>
                    <a:pt x="185" y="23"/>
                    <a:pt x="185" y="23"/>
                  </a:cubicBezTo>
                  <a:cubicBezTo>
                    <a:pt x="170" y="23"/>
                    <a:pt x="170" y="23"/>
                    <a:pt x="170" y="23"/>
                  </a:cubicBezTo>
                  <a:cubicBezTo>
                    <a:pt x="170" y="0"/>
                    <a:pt x="170" y="0"/>
                    <a:pt x="170" y="0"/>
                  </a:cubicBezTo>
                  <a:cubicBezTo>
                    <a:pt x="152" y="0"/>
                    <a:pt x="152" y="0"/>
                    <a:pt x="152" y="0"/>
                  </a:cubicBezTo>
                  <a:cubicBezTo>
                    <a:pt x="152" y="23"/>
                    <a:pt x="152" y="23"/>
                    <a:pt x="152" y="23"/>
                  </a:cubicBezTo>
                  <a:cubicBezTo>
                    <a:pt x="137" y="23"/>
                    <a:pt x="137" y="23"/>
                    <a:pt x="137" y="23"/>
                  </a:cubicBezTo>
                  <a:cubicBezTo>
                    <a:pt x="137" y="0"/>
                    <a:pt x="137" y="0"/>
                    <a:pt x="137" y="0"/>
                  </a:cubicBezTo>
                  <a:cubicBezTo>
                    <a:pt x="119" y="0"/>
                    <a:pt x="119" y="0"/>
                    <a:pt x="119" y="0"/>
                  </a:cubicBezTo>
                  <a:cubicBezTo>
                    <a:pt x="119" y="23"/>
                    <a:pt x="119" y="23"/>
                    <a:pt x="119" y="23"/>
                  </a:cubicBezTo>
                  <a:cubicBezTo>
                    <a:pt x="104" y="23"/>
                    <a:pt x="104" y="23"/>
                    <a:pt x="104" y="23"/>
                  </a:cubicBezTo>
                  <a:cubicBezTo>
                    <a:pt x="104" y="0"/>
                    <a:pt x="104" y="0"/>
                    <a:pt x="104" y="0"/>
                  </a:cubicBezTo>
                  <a:cubicBezTo>
                    <a:pt x="86" y="0"/>
                    <a:pt x="86" y="0"/>
                    <a:pt x="86" y="0"/>
                  </a:cubicBezTo>
                  <a:cubicBezTo>
                    <a:pt x="86" y="23"/>
                    <a:pt x="86" y="23"/>
                    <a:pt x="86" y="23"/>
                  </a:cubicBezTo>
                  <a:cubicBezTo>
                    <a:pt x="71" y="23"/>
                    <a:pt x="71" y="23"/>
                    <a:pt x="71" y="23"/>
                  </a:cubicBezTo>
                  <a:cubicBezTo>
                    <a:pt x="71" y="0"/>
                    <a:pt x="71" y="0"/>
                    <a:pt x="71" y="0"/>
                  </a:cubicBezTo>
                  <a:cubicBezTo>
                    <a:pt x="53" y="0"/>
                    <a:pt x="53" y="0"/>
                    <a:pt x="53" y="0"/>
                  </a:cubicBezTo>
                  <a:cubicBezTo>
                    <a:pt x="53" y="23"/>
                    <a:pt x="53" y="23"/>
                    <a:pt x="53" y="23"/>
                  </a:cubicBezTo>
                  <a:cubicBezTo>
                    <a:pt x="52" y="23"/>
                    <a:pt x="52" y="23"/>
                    <a:pt x="52" y="23"/>
                  </a:cubicBezTo>
                  <a:cubicBezTo>
                    <a:pt x="39" y="23"/>
                    <a:pt x="25" y="33"/>
                    <a:pt x="25" y="51"/>
                  </a:cubicBezTo>
                  <a:cubicBezTo>
                    <a:pt x="25" y="53"/>
                    <a:pt x="25" y="53"/>
                    <a:pt x="25" y="53"/>
                  </a:cubicBezTo>
                  <a:cubicBezTo>
                    <a:pt x="0" y="53"/>
                    <a:pt x="0" y="53"/>
                    <a:pt x="0" y="53"/>
                  </a:cubicBezTo>
                  <a:cubicBezTo>
                    <a:pt x="0" y="71"/>
                    <a:pt x="0" y="71"/>
                    <a:pt x="0" y="71"/>
                  </a:cubicBezTo>
                  <a:cubicBezTo>
                    <a:pt x="25" y="71"/>
                    <a:pt x="25" y="71"/>
                    <a:pt x="25" y="71"/>
                  </a:cubicBezTo>
                  <a:cubicBezTo>
                    <a:pt x="25" y="86"/>
                    <a:pt x="25" y="86"/>
                    <a:pt x="25" y="86"/>
                  </a:cubicBezTo>
                  <a:cubicBezTo>
                    <a:pt x="0" y="86"/>
                    <a:pt x="0" y="86"/>
                    <a:pt x="0" y="86"/>
                  </a:cubicBezTo>
                  <a:cubicBezTo>
                    <a:pt x="0" y="104"/>
                    <a:pt x="0" y="104"/>
                    <a:pt x="0" y="104"/>
                  </a:cubicBezTo>
                  <a:cubicBezTo>
                    <a:pt x="25" y="104"/>
                    <a:pt x="25" y="104"/>
                    <a:pt x="25" y="104"/>
                  </a:cubicBezTo>
                  <a:cubicBezTo>
                    <a:pt x="25" y="119"/>
                    <a:pt x="25" y="119"/>
                    <a:pt x="25" y="119"/>
                  </a:cubicBezTo>
                  <a:cubicBezTo>
                    <a:pt x="0" y="119"/>
                    <a:pt x="0" y="119"/>
                    <a:pt x="0" y="119"/>
                  </a:cubicBezTo>
                  <a:cubicBezTo>
                    <a:pt x="0" y="137"/>
                    <a:pt x="0" y="137"/>
                    <a:pt x="0" y="137"/>
                  </a:cubicBezTo>
                  <a:cubicBezTo>
                    <a:pt x="25" y="137"/>
                    <a:pt x="25" y="137"/>
                    <a:pt x="25" y="137"/>
                  </a:cubicBezTo>
                  <a:cubicBezTo>
                    <a:pt x="25" y="152"/>
                    <a:pt x="25" y="152"/>
                    <a:pt x="25" y="152"/>
                  </a:cubicBezTo>
                  <a:cubicBezTo>
                    <a:pt x="0" y="152"/>
                    <a:pt x="0" y="152"/>
                    <a:pt x="0" y="152"/>
                  </a:cubicBezTo>
                  <a:cubicBezTo>
                    <a:pt x="0" y="170"/>
                    <a:pt x="0" y="170"/>
                    <a:pt x="0" y="170"/>
                  </a:cubicBezTo>
                  <a:cubicBezTo>
                    <a:pt x="25" y="170"/>
                    <a:pt x="25" y="170"/>
                    <a:pt x="25" y="170"/>
                  </a:cubicBezTo>
                  <a:cubicBezTo>
                    <a:pt x="25" y="185"/>
                    <a:pt x="25" y="185"/>
                    <a:pt x="25" y="185"/>
                  </a:cubicBezTo>
                  <a:cubicBezTo>
                    <a:pt x="0" y="185"/>
                    <a:pt x="0" y="185"/>
                    <a:pt x="0" y="185"/>
                  </a:cubicBezTo>
                  <a:cubicBezTo>
                    <a:pt x="0" y="203"/>
                    <a:pt x="0" y="203"/>
                    <a:pt x="0" y="203"/>
                  </a:cubicBezTo>
                  <a:cubicBezTo>
                    <a:pt x="25" y="203"/>
                    <a:pt x="25" y="203"/>
                    <a:pt x="25" y="203"/>
                  </a:cubicBezTo>
                  <a:cubicBezTo>
                    <a:pt x="25" y="205"/>
                    <a:pt x="25" y="205"/>
                    <a:pt x="25" y="205"/>
                  </a:cubicBezTo>
                  <a:cubicBezTo>
                    <a:pt x="25" y="220"/>
                    <a:pt x="39" y="233"/>
                    <a:pt x="52" y="233"/>
                  </a:cubicBezTo>
                  <a:cubicBezTo>
                    <a:pt x="53" y="233"/>
                    <a:pt x="53" y="233"/>
                    <a:pt x="53" y="233"/>
                  </a:cubicBezTo>
                  <a:cubicBezTo>
                    <a:pt x="53" y="256"/>
                    <a:pt x="53" y="256"/>
                    <a:pt x="53" y="256"/>
                  </a:cubicBezTo>
                  <a:cubicBezTo>
                    <a:pt x="71" y="256"/>
                    <a:pt x="71" y="256"/>
                    <a:pt x="71" y="256"/>
                  </a:cubicBezTo>
                  <a:cubicBezTo>
                    <a:pt x="71" y="233"/>
                    <a:pt x="71" y="233"/>
                    <a:pt x="71" y="233"/>
                  </a:cubicBezTo>
                  <a:cubicBezTo>
                    <a:pt x="86" y="233"/>
                    <a:pt x="86" y="233"/>
                    <a:pt x="86" y="233"/>
                  </a:cubicBezTo>
                  <a:cubicBezTo>
                    <a:pt x="86" y="256"/>
                    <a:pt x="86" y="256"/>
                    <a:pt x="86" y="256"/>
                  </a:cubicBezTo>
                  <a:cubicBezTo>
                    <a:pt x="104" y="256"/>
                    <a:pt x="104" y="256"/>
                    <a:pt x="104" y="256"/>
                  </a:cubicBezTo>
                  <a:cubicBezTo>
                    <a:pt x="104" y="233"/>
                    <a:pt x="104" y="233"/>
                    <a:pt x="104" y="233"/>
                  </a:cubicBezTo>
                  <a:cubicBezTo>
                    <a:pt x="119" y="233"/>
                    <a:pt x="119" y="233"/>
                    <a:pt x="119" y="233"/>
                  </a:cubicBezTo>
                  <a:cubicBezTo>
                    <a:pt x="119" y="256"/>
                    <a:pt x="119" y="256"/>
                    <a:pt x="119" y="256"/>
                  </a:cubicBezTo>
                  <a:cubicBezTo>
                    <a:pt x="137" y="256"/>
                    <a:pt x="137" y="256"/>
                    <a:pt x="137" y="256"/>
                  </a:cubicBezTo>
                  <a:cubicBezTo>
                    <a:pt x="137" y="233"/>
                    <a:pt x="137" y="233"/>
                    <a:pt x="137" y="233"/>
                  </a:cubicBezTo>
                  <a:cubicBezTo>
                    <a:pt x="152" y="233"/>
                    <a:pt x="152" y="233"/>
                    <a:pt x="152" y="233"/>
                  </a:cubicBezTo>
                  <a:cubicBezTo>
                    <a:pt x="152" y="256"/>
                    <a:pt x="152" y="256"/>
                    <a:pt x="152" y="256"/>
                  </a:cubicBezTo>
                  <a:cubicBezTo>
                    <a:pt x="170" y="256"/>
                    <a:pt x="170" y="256"/>
                    <a:pt x="170" y="256"/>
                  </a:cubicBezTo>
                  <a:cubicBezTo>
                    <a:pt x="170" y="233"/>
                    <a:pt x="170" y="233"/>
                    <a:pt x="170" y="233"/>
                  </a:cubicBezTo>
                  <a:cubicBezTo>
                    <a:pt x="185" y="233"/>
                    <a:pt x="185" y="233"/>
                    <a:pt x="185" y="233"/>
                  </a:cubicBezTo>
                  <a:cubicBezTo>
                    <a:pt x="185" y="256"/>
                    <a:pt x="185" y="256"/>
                    <a:pt x="185" y="256"/>
                  </a:cubicBezTo>
                  <a:cubicBezTo>
                    <a:pt x="203" y="256"/>
                    <a:pt x="203" y="256"/>
                    <a:pt x="203" y="256"/>
                  </a:cubicBezTo>
                  <a:cubicBezTo>
                    <a:pt x="203" y="233"/>
                    <a:pt x="203" y="233"/>
                    <a:pt x="203" y="233"/>
                  </a:cubicBezTo>
                  <a:cubicBezTo>
                    <a:pt x="204" y="233"/>
                    <a:pt x="204" y="233"/>
                    <a:pt x="204" y="233"/>
                  </a:cubicBezTo>
                  <a:cubicBezTo>
                    <a:pt x="221" y="233"/>
                    <a:pt x="231" y="219"/>
                    <a:pt x="231" y="205"/>
                  </a:cubicBezTo>
                  <a:cubicBezTo>
                    <a:pt x="231" y="203"/>
                    <a:pt x="231" y="203"/>
                    <a:pt x="231" y="203"/>
                  </a:cubicBezTo>
                  <a:cubicBezTo>
                    <a:pt x="256" y="203"/>
                    <a:pt x="256" y="203"/>
                    <a:pt x="256" y="203"/>
                  </a:cubicBezTo>
                  <a:cubicBezTo>
                    <a:pt x="256" y="185"/>
                    <a:pt x="256" y="185"/>
                    <a:pt x="256" y="185"/>
                  </a:cubicBezTo>
                  <a:cubicBezTo>
                    <a:pt x="231" y="185"/>
                    <a:pt x="231" y="185"/>
                    <a:pt x="231" y="185"/>
                  </a:cubicBezTo>
                  <a:cubicBezTo>
                    <a:pt x="231" y="170"/>
                    <a:pt x="231" y="170"/>
                    <a:pt x="231" y="170"/>
                  </a:cubicBezTo>
                  <a:cubicBezTo>
                    <a:pt x="256" y="170"/>
                    <a:pt x="256" y="170"/>
                    <a:pt x="256" y="170"/>
                  </a:cubicBezTo>
                  <a:cubicBezTo>
                    <a:pt x="256" y="152"/>
                    <a:pt x="256" y="152"/>
                    <a:pt x="256" y="152"/>
                  </a:cubicBezTo>
                  <a:cubicBezTo>
                    <a:pt x="231" y="152"/>
                    <a:pt x="231" y="152"/>
                    <a:pt x="231" y="152"/>
                  </a:cubicBezTo>
                  <a:cubicBezTo>
                    <a:pt x="231" y="137"/>
                    <a:pt x="231" y="137"/>
                    <a:pt x="231" y="137"/>
                  </a:cubicBezTo>
                  <a:cubicBezTo>
                    <a:pt x="256" y="137"/>
                    <a:pt x="256" y="137"/>
                    <a:pt x="256" y="137"/>
                  </a:cubicBezTo>
                  <a:cubicBezTo>
                    <a:pt x="256" y="119"/>
                    <a:pt x="256" y="119"/>
                    <a:pt x="256" y="119"/>
                  </a:cubicBezTo>
                  <a:cubicBezTo>
                    <a:pt x="231" y="119"/>
                    <a:pt x="231" y="119"/>
                    <a:pt x="231" y="119"/>
                  </a:cubicBezTo>
                  <a:cubicBezTo>
                    <a:pt x="231" y="104"/>
                    <a:pt x="231" y="104"/>
                    <a:pt x="231" y="104"/>
                  </a:cubicBezTo>
                  <a:cubicBezTo>
                    <a:pt x="256" y="104"/>
                    <a:pt x="256" y="104"/>
                    <a:pt x="256" y="104"/>
                  </a:cubicBezTo>
                  <a:cubicBezTo>
                    <a:pt x="256" y="86"/>
                    <a:pt x="256" y="86"/>
                    <a:pt x="256" y="86"/>
                  </a:cubicBezTo>
                  <a:cubicBezTo>
                    <a:pt x="231" y="86"/>
                    <a:pt x="231" y="86"/>
                    <a:pt x="231" y="86"/>
                  </a:cubicBezTo>
                  <a:cubicBezTo>
                    <a:pt x="231" y="71"/>
                    <a:pt x="231" y="71"/>
                    <a:pt x="231" y="71"/>
                  </a:cubicBezTo>
                  <a:cubicBezTo>
                    <a:pt x="256" y="71"/>
                    <a:pt x="256" y="71"/>
                    <a:pt x="256" y="71"/>
                  </a:cubicBezTo>
                  <a:cubicBezTo>
                    <a:pt x="256" y="53"/>
                    <a:pt x="256" y="53"/>
                    <a:pt x="256" y="53"/>
                  </a:cubicBezTo>
                  <a:cubicBezTo>
                    <a:pt x="231" y="53"/>
                    <a:pt x="231" y="53"/>
                    <a:pt x="231" y="53"/>
                  </a:cubicBezTo>
                  <a:lnTo>
                    <a:pt x="231" y="51"/>
                  </a:lnTo>
                  <a:close/>
                  <a:moveTo>
                    <a:pt x="213" y="205"/>
                  </a:moveTo>
                  <a:cubicBezTo>
                    <a:pt x="213" y="209"/>
                    <a:pt x="211" y="215"/>
                    <a:pt x="204" y="215"/>
                  </a:cubicBezTo>
                  <a:cubicBezTo>
                    <a:pt x="52" y="215"/>
                    <a:pt x="52" y="215"/>
                    <a:pt x="52" y="215"/>
                  </a:cubicBezTo>
                  <a:cubicBezTo>
                    <a:pt x="48" y="215"/>
                    <a:pt x="43" y="210"/>
                    <a:pt x="43" y="205"/>
                  </a:cubicBezTo>
                  <a:cubicBezTo>
                    <a:pt x="43" y="51"/>
                    <a:pt x="43" y="51"/>
                    <a:pt x="43" y="51"/>
                  </a:cubicBezTo>
                  <a:cubicBezTo>
                    <a:pt x="43" y="44"/>
                    <a:pt x="49" y="41"/>
                    <a:pt x="52" y="41"/>
                  </a:cubicBezTo>
                  <a:cubicBezTo>
                    <a:pt x="204" y="41"/>
                    <a:pt x="204" y="41"/>
                    <a:pt x="204" y="41"/>
                  </a:cubicBezTo>
                  <a:cubicBezTo>
                    <a:pt x="210" y="41"/>
                    <a:pt x="213" y="44"/>
                    <a:pt x="213" y="51"/>
                  </a:cubicBezTo>
                  <a:lnTo>
                    <a:pt x="213"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3" name="Freeform 33"/>
            <p:cNvSpPr>
              <a:spLocks/>
            </p:cNvSpPr>
            <p:nvPr/>
          </p:nvSpPr>
          <p:spPr bwMode="auto">
            <a:xfrm>
              <a:off x="9825038" y="701675"/>
              <a:ext cx="277813" cy="273050"/>
            </a:xfrm>
            <a:custGeom>
              <a:avLst/>
              <a:gdLst>
                <a:gd name="T0" fmla="*/ 0 w 65"/>
                <a:gd name="T1" fmla="*/ 0 h 64"/>
                <a:gd name="T2" fmla="*/ 0 w 65"/>
                <a:gd name="T3" fmla="*/ 18 h 64"/>
                <a:gd name="T4" fmla="*/ 47 w 65"/>
                <a:gd name="T5" fmla="*/ 64 h 64"/>
                <a:gd name="T6" fmla="*/ 65 w 65"/>
                <a:gd name="T7" fmla="*/ 64 h 64"/>
                <a:gd name="T8" fmla="*/ 0 w 65"/>
                <a:gd name="T9" fmla="*/ 0 h 64"/>
              </a:gdLst>
              <a:ahLst/>
              <a:cxnLst>
                <a:cxn ang="0">
                  <a:pos x="T0" y="T1"/>
                </a:cxn>
                <a:cxn ang="0">
                  <a:pos x="T2" y="T3"/>
                </a:cxn>
                <a:cxn ang="0">
                  <a:pos x="T4" y="T5"/>
                </a:cxn>
                <a:cxn ang="0">
                  <a:pos x="T6" y="T7"/>
                </a:cxn>
                <a:cxn ang="0">
                  <a:pos x="T8" y="T9"/>
                </a:cxn>
              </a:cxnLst>
              <a:rect l="0" t="0" r="r" b="b"/>
              <a:pathLst>
                <a:path w="65" h="64">
                  <a:moveTo>
                    <a:pt x="0" y="0"/>
                  </a:moveTo>
                  <a:cubicBezTo>
                    <a:pt x="0" y="18"/>
                    <a:pt x="0" y="18"/>
                    <a:pt x="0" y="18"/>
                  </a:cubicBezTo>
                  <a:cubicBezTo>
                    <a:pt x="26" y="18"/>
                    <a:pt x="47" y="39"/>
                    <a:pt x="47" y="64"/>
                  </a:cubicBezTo>
                  <a:cubicBezTo>
                    <a:pt x="65" y="64"/>
                    <a:pt x="65" y="64"/>
                    <a:pt x="65" y="64"/>
                  </a:cubicBezTo>
                  <a:cubicBezTo>
                    <a:pt x="65" y="29"/>
                    <a:pt x="3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4" name="Freeform 34"/>
            <p:cNvSpPr>
              <a:spLocks/>
            </p:cNvSpPr>
            <p:nvPr/>
          </p:nvSpPr>
          <p:spPr bwMode="auto">
            <a:xfrm>
              <a:off x="9825038" y="547688"/>
              <a:ext cx="431800" cy="427038"/>
            </a:xfrm>
            <a:custGeom>
              <a:avLst/>
              <a:gdLst>
                <a:gd name="T0" fmla="*/ 0 w 101"/>
                <a:gd name="T1" fmla="*/ 0 h 100"/>
                <a:gd name="T2" fmla="*/ 0 w 101"/>
                <a:gd name="T3" fmla="*/ 18 h 100"/>
                <a:gd name="T4" fmla="*/ 83 w 101"/>
                <a:gd name="T5" fmla="*/ 100 h 100"/>
                <a:gd name="T6" fmla="*/ 101 w 101"/>
                <a:gd name="T7" fmla="*/ 100 h 100"/>
                <a:gd name="T8" fmla="*/ 0 w 101"/>
                <a:gd name="T9" fmla="*/ 0 h 100"/>
              </a:gdLst>
              <a:ahLst/>
              <a:cxnLst>
                <a:cxn ang="0">
                  <a:pos x="T0" y="T1"/>
                </a:cxn>
                <a:cxn ang="0">
                  <a:pos x="T2" y="T3"/>
                </a:cxn>
                <a:cxn ang="0">
                  <a:pos x="T4" y="T5"/>
                </a:cxn>
                <a:cxn ang="0">
                  <a:pos x="T6" y="T7"/>
                </a:cxn>
                <a:cxn ang="0">
                  <a:pos x="T8" y="T9"/>
                </a:cxn>
              </a:cxnLst>
              <a:rect l="0" t="0" r="r" b="b"/>
              <a:pathLst>
                <a:path w="101" h="100">
                  <a:moveTo>
                    <a:pt x="0" y="0"/>
                  </a:moveTo>
                  <a:cubicBezTo>
                    <a:pt x="0" y="18"/>
                    <a:pt x="0" y="18"/>
                    <a:pt x="0" y="18"/>
                  </a:cubicBezTo>
                  <a:cubicBezTo>
                    <a:pt x="46" y="18"/>
                    <a:pt x="83" y="55"/>
                    <a:pt x="83" y="100"/>
                  </a:cubicBezTo>
                  <a:cubicBezTo>
                    <a:pt x="101" y="100"/>
                    <a:pt x="101" y="100"/>
                    <a:pt x="101" y="100"/>
                  </a:cubicBezTo>
                  <a:cubicBezTo>
                    <a:pt x="101" y="45"/>
                    <a:pt x="5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5" name="Freeform 35"/>
            <p:cNvSpPr>
              <a:spLocks/>
            </p:cNvSpPr>
            <p:nvPr/>
          </p:nvSpPr>
          <p:spPr bwMode="auto">
            <a:xfrm>
              <a:off x="9825038" y="388938"/>
              <a:ext cx="585788" cy="585788"/>
            </a:xfrm>
            <a:custGeom>
              <a:avLst/>
              <a:gdLst>
                <a:gd name="T0" fmla="*/ 0 w 137"/>
                <a:gd name="T1" fmla="*/ 0 h 137"/>
                <a:gd name="T2" fmla="*/ 0 w 137"/>
                <a:gd name="T3" fmla="*/ 18 h 137"/>
                <a:gd name="T4" fmla="*/ 119 w 137"/>
                <a:gd name="T5" fmla="*/ 137 h 137"/>
                <a:gd name="T6" fmla="*/ 137 w 137"/>
                <a:gd name="T7" fmla="*/ 137 h 137"/>
                <a:gd name="T8" fmla="*/ 0 w 137"/>
                <a:gd name="T9" fmla="*/ 0 h 137"/>
              </a:gdLst>
              <a:ahLst/>
              <a:cxnLst>
                <a:cxn ang="0">
                  <a:pos x="T0" y="T1"/>
                </a:cxn>
                <a:cxn ang="0">
                  <a:pos x="T2" y="T3"/>
                </a:cxn>
                <a:cxn ang="0">
                  <a:pos x="T4" y="T5"/>
                </a:cxn>
                <a:cxn ang="0">
                  <a:pos x="T6" y="T7"/>
                </a:cxn>
                <a:cxn ang="0">
                  <a:pos x="T8" y="T9"/>
                </a:cxn>
              </a:cxnLst>
              <a:rect l="0" t="0" r="r" b="b"/>
              <a:pathLst>
                <a:path w="137" h="137">
                  <a:moveTo>
                    <a:pt x="0" y="0"/>
                  </a:moveTo>
                  <a:cubicBezTo>
                    <a:pt x="0" y="18"/>
                    <a:pt x="0" y="18"/>
                    <a:pt x="0" y="18"/>
                  </a:cubicBezTo>
                  <a:cubicBezTo>
                    <a:pt x="66" y="18"/>
                    <a:pt x="119" y="72"/>
                    <a:pt x="119" y="137"/>
                  </a:cubicBezTo>
                  <a:cubicBezTo>
                    <a:pt x="137" y="137"/>
                    <a:pt x="137" y="137"/>
                    <a:pt x="137" y="137"/>
                  </a:cubicBezTo>
                  <a:cubicBezTo>
                    <a:pt x="137" y="62"/>
                    <a:pt x="7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66" name="Group 65"/>
          <p:cNvGrpSpPr/>
          <p:nvPr/>
        </p:nvGrpSpPr>
        <p:grpSpPr>
          <a:xfrm>
            <a:off x="-1114634" y="7097854"/>
            <a:ext cx="796618" cy="490528"/>
            <a:chOff x="2960687" y="4940300"/>
            <a:chExt cx="1611314" cy="992187"/>
          </a:xfrm>
          <a:solidFill>
            <a:srgbClr val="001F50"/>
          </a:solidFill>
        </p:grpSpPr>
        <p:sp>
          <p:nvSpPr>
            <p:cNvPr id="67"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2"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3"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4" name="Rectangle 49"/>
            <p:cNvSpPr>
              <a:spLocks noChangeArrowheads="1"/>
            </p:cNvSpPr>
            <p:nvPr/>
          </p:nvSpPr>
          <p:spPr bwMode="auto">
            <a:xfrm>
              <a:off x="3127375"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5" name="Rectangle 50"/>
            <p:cNvSpPr>
              <a:spLocks noChangeArrowheads="1"/>
            </p:cNvSpPr>
            <p:nvPr/>
          </p:nvSpPr>
          <p:spPr bwMode="auto">
            <a:xfrm>
              <a:off x="4171950"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6" name="Rectangle 51"/>
            <p:cNvSpPr>
              <a:spLocks noChangeArrowheads="1"/>
            </p:cNvSpPr>
            <p:nvPr/>
          </p:nvSpPr>
          <p:spPr bwMode="auto">
            <a:xfrm>
              <a:off x="3127375"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7" name="Rectangle 52"/>
            <p:cNvSpPr>
              <a:spLocks noChangeArrowheads="1"/>
            </p:cNvSpPr>
            <p:nvPr/>
          </p:nvSpPr>
          <p:spPr bwMode="auto">
            <a:xfrm>
              <a:off x="4171950"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78" name="Freeform 56"/>
          <p:cNvSpPr>
            <a:spLocks noEditPoints="1"/>
          </p:cNvSpPr>
          <p:nvPr/>
        </p:nvSpPr>
        <p:spPr bwMode="auto">
          <a:xfrm>
            <a:off x="4637705" y="7257172"/>
            <a:ext cx="900219" cy="490855"/>
          </a:xfrm>
          <a:custGeom>
            <a:avLst/>
            <a:gdLst>
              <a:gd name="T0" fmla="*/ 277 w 349"/>
              <a:gd name="T1" fmla="*/ 189 h 189"/>
              <a:gd name="T2" fmla="*/ 44 w 349"/>
              <a:gd name="T3" fmla="*/ 189 h 189"/>
              <a:gd name="T4" fmla="*/ 43 w 349"/>
              <a:gd name="T5" fmla="*/ 189 h 189"/>
              <a:gd name="T6" fmla="*/ 0 w 349"/>
              <a:gd name="T7" fmla="*/ 134 h 189"/>
              <a:gd name="T8" fmla="*/ 54 w 349"/>
              <a:gd name="T9" fmla="*/ 80 h 189"/>
              <a:gd name="T10" fmla="*/ 56 w 349"/>
              <a:gd name="T11" fmla="*/ 80 h 189"/>
              <a:gd name="T12" fmla="*/ 57 w 349"/>
              <a:gd name="T13" fmla="*/ 77 h 189"/>
              <a:gd name="T14" fmla="*/ 148 w 349"/>
              <a:gd name="T15" fmla="*/ 0 h 189"/>
              <a:gd name="T16" fmla="*/ 235 w 349"/>
              <a:gd name="T17" fmla="*/ 59 h 189"/>
              <a:gd name="T18" fmla="*/ 235 w 349"/>
              <a:gd name="T19" fmla="*/ 59 h 189"/>
              <a:gd name="T20" fmla="*/ 277 w 349"/>
              <a:gd name="T21" fmla="*/ 46 h 189"/>
              <a:gd name="T22" fmla="*/ 349 w 349"/>
              <a:gd name="T23" fmla="*/ 119 h 189"/>
              <a:gd name="T24" fmla="*/ 277 w 349"/>
              <a:gd name="T25" fmla="*/ 189 h 189"/>
              <a:gd name="T26" fmla="*/ 139 w 349"/>
              <a:gd name="T27" fmla="*/ 172 h 189"/>
              <a:gd name="T28" fmla="*/ 277 w 349"/>
              <a:gd name="T29" fmla="*/ 172 h 189"/>
              <a:gd name="T30" fmla="*/ 332 w 349"/>
              <a:gd name="T31" fmla="*/ 119 h 189"/>
              <a:gd name="T32" fmla="*/ 277 w 349"/>
              <a:gd name="T33" fmla="*/ 63 h 189"/>
              <a:gd name="T34" fmla="*/ 239 w 349"/>
              <a:gd name="T35" fmla="*/ 78 h 189"/>
              <a:gd name="T36" fmla="*/ 227 w 349"/>
              <a:gd name="T37" fmla="*/ 90 h 189"/>
              <a:gd name="T38" fmla="*/ 219 w 349"/>
              <a:gd name="T39" fmla="*/ 65 h 189"/>
              <a:gd name="T40" fmla="*/ 148 w 349"/>
              <a:gd name="T41" fmla="*/ 17 h 189"/>
              <a:gd name="T42" fmla="*/ 73 w 349"/>
              <a:gd name="T43" fmla="*/ 79 h 189"/>
              <a:gd name="T44" fmla="*/ 70 w 349"/>
              <a:gd name="T45" fmla="*/ 100 h 189"/>
              <a:gd name="T46" fmla="*/ 54 w 349"/>
              <a:gd name="T47" fmla="*/ 97 h 189"/>
              <a:gd name="T48" fmla="*/ 17 w 349"/>
              <a:gd name="T49" fmla="*/ 134 h 189"/>
              <a:gd name="T50" fmla="*/ 47 w 349"/>
              <a:gd name="T51" fmla="*/ 172 h 189"/>
              <a:gd name="T52" fmla="*/ 139 w 349"/>
              <a:gd name="T53" fmla="*/ 17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9" h="189">
                <a:moveTo>
                  <a:pt x="277" y="189"/>
                </a:moveTo>
                <a:cubicBezTo>
                  <a:pt x="44" y="189"/>
                  <a:pt x="44" y="189"/>
                  <a:pt x="44" y="189"/>
                </a:cubicBezTo>
                <a:cubicBezTo>
                  <a:pt x="43" y="189"/>
                  <a:pt x="43" y="189"/>
                  <a:pt x="43" y="189"/>
                </a:cubicBezTo>
                <a:cubicBezTo>
                  <a:pt x="17" y="182"/>
                  <a:pt x="0" y="160"/>
                  <a:pt x="0" y="134"/>
                </a:cubicBezTo>
                <a:cubicBezTo>
                  <a:pt x="0" y="105"/>
                  <a:pt x="25" y="80"/>
                  <a:pt x="54" y="80"/>
                </a:cubicBezTo>
                <a:cubicBezTo>
                  <a:pt x="56" y="80"/>
                  <a:pt x="56" y="80"/>
                  <a:pt x="56" y="80"/>
                </a:cubicBezTo>
                <a:cubicBezTo>
                  <a:pt x="57" y="77"/>
                  <a:pt x="57" y="77"/>
                  <a:pt x="57" y="77"/>
                </a:cubicBezTo>
                <a:cubicBezTo>
                  <a:pt x="64" y="33"/>
                  <a:pt x="104" y="0"/>
                  <a:pt x="148" y="0"/>
                </a:cubicBezTo>
                <a:cubicBezTo>
                  <a:pt x="185" y="0"/>
                  <a:pt x="221" y="24"/>
                  <a:pt x="235" y="59"/>
                </a:cubicBezTo>
                <a:cubicBezTo>
                  <a:pt x="235" y="59"/>
                  <a:pt x="235" y="59"/>
                  <a:pt x="235" y="59"/>
                </a:cubicBezTo>
                <a:cubicBezTo>
                  <a:pt x="247" y="51"/>
                  <a:pt x="262" y="46"/>
                  <a:pt x="277" y="46"/>
                </a:cubicBezTo>
                <a:cubicBezTo>
                  <a:pt x="316" y="46"/>
                  <a:pt x="349" y="79"/>
                  <a:pt x="349" y="119"/>
                </a:cubicBezTo>
                <a:cubicBezTo>
                  <a:pt x="349" y="157"/>
                  <a:pt x="316" y="189"/>
                  <a:pt x="277" y="189"/>
                </a:cubicBezTo>
                <a:close/>
                <a:moveTo>
                  <a:pt x="139" y="172"/>
                </a:moveTo>
                <a:cubicBezTo>
                  <a:pt x="277" y="172"/>
                  <a:pt x="277" y="172"/>
                  <a:pt x="277" y="172"/>
                </a:cubicBezTo>
                <a:cubicBezTo>
                  <a:pt x="307" y="172"/>
                  <a:pt x="332" y="148"/>
                  <a:pt x="332" y="119"/>
                </a:cubicBezTo>
                <a:cubicBezTo>
                  <a:pt x="332" y="88"/>
                  <a:pt x="307" y="63"/>
                  <a:pt x="277" y="63"/>
                </a:cubicBezTo>
                <a:cubicBezTo>
                  <a:pt x="262" y="63"/>
                  <a:pt x="248" y="69"/>
                  <a:pt x="239" y="78"/>
                </a:cubicBezTo>
                <a:cubicBezTo>
                  <a:pt x="227" y="90"/>
                  <a:pt x="227" y="90"/>
                  <a:pt x="227" y="90"/>
                </a:cubicBezTo>
                <a:cubicBezTo>
                  <a:pt x="219" y="65"/>
                  <a:pt x="219" y="65"/>
                  <a:pt x="219" y="65"/>
                </a:cubicBezTo>
                <a:cubicBezTo>
                  <a:pt x="208" y="37"/>
                  <a:pt x="178" y="17"/>
                  <a:pt x="148" y="17"/>
                </a:cubicBezTo>
                <a:cubicBezTo>
                  <a:pt x="112" y="17"/>
                  <a:pt x="80" y="44"/>
                  <a:pt x="73" y="79"/>
                </a:cubicBezTo>
                <a:cubicBezTo>
                  <a:pt x="70" y="100"/>
                  <a:pt x="70" y="100"/>
                  <a:pt x="70" y="100"/>
                </a:cubicBezTo>
                <a:cubicBezTo>
                  <a:pt x="54" y="97"/>
                  <a:pt x="54" y="97"/>
                  <a:pt x="54" y="97"/>
                </a:cubicBezTo>
                <a:cubicBezTo>
                  <a:pt x="34" y="97"/>
                  <a:pt x="17" y="115"/>
                  <a:pt x="17" y="134"/>
                </a:cubicBezTo>
                <a:cubicBezTo>
                  <a:pt x="17" y="152"/>
                  <a:pt x="29" y="167"/>
                  <a:pt x="47" y="172"/>
                </a:cubicBezTo>
                <a:lnTo>
                  <a:pt x="139" y="172"/>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9" name="Group 78"/>
          <p:cNvGrpSpPr/>
          <p:nvPr/>
        </p:nvGrpSpPr>
        <p:grpSpPr>
          <a:xfrm>
            <a:off x="12042830" y="7227676"/>
            <a:ext cx="1031315" cy="702106"/>
            <a:chOff x="10160000" y="4967288"/>
            <a:chExt cx="1611313" cy="1096962"/>
          </a:xfrm>
        </p:grpSpPr>
        <p:sp>
          <p:nvSpPr>
            <p:cNvPr id="80" name="Freeform 84"/>
            <p:cNvSpPr>
              <a:spLocks/>
            </p:cNvSpPr>
            <p:nvPr/>
          </p:nvSpPr>
          <p:spPr bwMode="auto">
            <a:xfrm>
              <a:off x="10160000" y="4967288"/>
              <a:ext cx="1116013" cy="673100"/>
            </a:xfrm>
            <a:custGeom>
              <a:avLst/>
              <a:gdLst>
                <a:gd name="T0" fmla="*/ 60 w 262"/>
                <a:gd name="T1" fmla="*/ 25 h 157"/>
                <a:gd name="T2" fmla="*/ 129 w 262"/>
                <a:gd name="T3" fmla="*/ 42 h 157"/>
                <a:gd name="T4" fmla="*/ 130 w 262"/>
                <a:gd name="T5" fmla="*/ 42 h 157"/>
                <a:gd name="T6" fmla="*/ 149 w 262"/>
                <a:gd name="T7" fmla="*/ 36 h 157"/>
                <a:gd name="T8" fmla="*/ 244 w 262"/>
                <a:gd name="T9" fmla="*/ 66 h 157"/>
                <a:gd name="T10" fmla="*/ 233 w 262"/>
                <a:gd name="T11" fmla="*/ 74 h 157"/>
                <a:gd name="T12" fmla="*/ 184 w 262"/>
                <a:gd name="T13" fmla="*/ 59 h 157"/>
                <a:gd name="T14" fmla="*/ 173 w 262"/>
                <a:gd name="T15" fmla="*/ 55 h 157"/>
                <a:gd name="T16" fmla="*/ 173 w 262"/>
                <a:gd name="T17" fmla="*/ 66 h 157"/>
                <a:gd name="T18" fmla="*/ 159 w 262"/>
                <a:gd name="T19" fmla="*/ 93 h 157"/>
                <a:gd name="T20" fmla="*/ 117 w 262"/>
                <a:gd name="T21" fmla="*/ 99 h 157"/>
                <a:gd name="T22" fmla="*/ 115 w 262"/>
                <a:gd name="T23" fmla="*/ 108 h 157"/>
                <a:gd name="T24" fmla="*/ 114 w 262"/>
                <a:gd name="T25" fmla="*/ 116 h 157"/>
                <a:gd name="T26" fmla="*/ 172 w 262"/>
                <a:gd name="T27" fmla="*/ 104 h 157"/>
                <a:gd name="T28" fmla="*/ 172 w 262"/>
                <a:gd name="T29" fmla="*/ 104 h 157"/>
                <a:gd name="T30" fmla="*/ 188 w 262"/>
                <a:gd name="T31" fmla="*/ 78 h 157"/>
                <a:gd name="T32" fmla="*/ 230 w 262"/>
                <a:gd name="T33" fmla="*/ 91 h 157"/>
                <a:gd name="T34" fmla="*/ 232 w 262"/>
                <a:gd name="T35" fmla="*/ 91 h 157"/>
                <a:gd name="T36" fmla="*/ 262 w 262"/>
                <a:gd name="T37" fmla="*/ 60 h 157"/>
                <a:gd name="T38" fmla="*/ 262 w 262"/>
                <a:gd name="T39" fmla="*/ 54 h 157"/>
                <a:gd name="T40" fmla="*/ 156 w 262"/>
                <a:gd name="T41" fmla="*/ 21 h 157"/>
                <a:gd name="T42" fmla="*/ 120 w 262"/>
                <a:gd name="T43" fmla="*/ 28 h 157"/>
                <a:gd name="T44" fmla="*/ 60 w 262"/>
                <a:gd name="T45" fmla="*/ 6 h 157"/>
                <a:gd name="T46" fmla="*/ 51 w 262"/>
                <a:gd name="T47" fmla="*/ 0 h 157"/>
                <a:gd name="T48" fmla="*/ 0 w 262"/>
                <a:gd name="T49" fmla="*/ 135 h 157"/>
                <a:gd name="T50" fmla="*/ 62 w 262"/>
                <a:gd name="T51" fmla="*/ 157 h 157"/>
                <a:gd name="T52" fmla="*/ 67 w 262"/>
                <a:gd name="T53" fmla="*/ 141 h 157"/>
                <a:gd name="T54" fmla="*/ 22 w 262"/>
                <a:gd name="T55" fmla="*/ 125 h 157"/>
                <a:gd name="T56" fmla="*/ 60 w 262"/>
                <a:gd name="T5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57">
                  <a:moveTo>
                    <a:pt x="60" y="25"/>
                  </a:moveTo>
                  <a:cubicBezTo>
                    <a:pt x="78" y="35"/>
                    <a:pt x="113" y="52"/>
                    <a:pt x="129" y="42"/>
                  </a:cubicBezTo>
                  <a:cubicBezTo>
                    <a:pt x="130" y="42"/>
                    <a:pt x="130" y="42"/>
                    <a:pt x="130" y="42"/>
                  </a:cubicBezTo>
                  <a:cubicBezTo>
                    <a:pt x="141" y="33"/>
                    <a:pt x="149" y="36"/>
                    <a:pt x="149" y="36"/>
                  </a:cubicBezTo>
                  <a:cubicBezTo>
                    <a:pt x="244" y="66"/>
                    <a:pt x="244" y="66"/>
                    <a:pt x="244" y="66"/>
                  </a:cubicBezTo>
                  <a:cubicBezTo>
                    <a:pt x="242" y="72"/>
                    <a:pt x="236" y="74"/>
                    <a:pt x="233" y="74"/>
                  </a:cubicBezTo>
                  <a:cubicBezTo>
                    <a:pt x="184" y="59"/>
                    <a:pt x="184" y="59"/>
                    <a:pt x="184" y="59"/>
                  </a:cubicBezTo>
                  <a:cubicBezTo>
                    <a:pt x="173" y="55"/>
                    <a:pt x="173" y="55"/>
                    <a:pt x="173" y="55"/>
                  </a:cubicBezTo>
                  <a:cubicBezTo>
                    <a:pt x="173" y="66"/>
                    <a:pt x="173" y="66"/>
                    <a:pt x="173" y="66"/>
                  </a:cubicBezTo>
                  <a:cubicBezTo>
                    <a:pt x="173" y="67"/>
                    <a:pt x="172" y="77"/>
                    <a:pt x="159" y="93"/>
                  </a:cubicBezTo>
                  <a:cubicBezTo>
                    <a:pt x="149" y="103"/>
                    <a:pt x="125" y="101"/>
                    <a:pt x="117" y="99"/>
                  </a:cubicBezTo>
                  <a:cubicBezTo>
                    <a:pt x="115" y="108"/>
                    <a:pt x="115" y="108"/>
                    <a:pt x="115" y="108"/>
                  </a:cubicBezTo>
                  <a:cubicBezTo>
                    <a:pt x="114" y="116"/>
                    <a:pt x="114" y="116"/>
                    <a:pt x="114" y="116"/>
                  </a:cubicBezTo>
                  <a:cubicBezTo>
                    <a:pt x="118" y="117"/>
                    <a:pt x="153" y="123"/>
                    <a:pt x="172" y="104"/>
                  </a:cubicBezTo>
                  <a:cubicBezTo>
                    <a:pt x="172" y="104"/>
                    <a:pt x="172" y="104"/>
                    <a:pt x="172" y="104"/>
                  </a:cubicBezTo>
                  <a:cubicBezTo>
                    <a:pt x="181" y="93"/>
                    <a:pt x="185" y="84"/>
                    <a:pt x="188" y="78"/>
                  </a:cubicBezTo>
                  <a:cubicBezTo>
                    <a:pt x="230" y="91"/>
                    <a:pt x="230" y="91"/>
                    <a:pt x="230" y="91"/>
                  </a:cubicBezTo>
                  <a:cubicBezTo>
                    <a:pt x="232" y="91"/>
                    <a:pt x="232" y="91"/>
                    <a:pt x="232" y="91"/>
                  </a:cubicBezTo>
                  <a:cubicBezTo>
                    <a:pt x="244" y="91"/>
                    <a:pt x="262" y="83"/>
                    <a:pt x="262" y="60"/>
                  </a:cubicBezTo>
                  <a:cubicBezTo>
                    <a:pt x="262" y="54"/>
                    <a:pt x="262" y="54"/>
                    <a:pt x="262" y="54"/>
                  </a:cubicBezTo>
                  <a:cubicBezTo>
                    <a:pt x="156" y="21"/>
                    <a:pt x="156" y="21"/>
                    <a:pt x="156" y="21"/>
                  </a:cubicBezTo>
                  <a:cubicBezTo>
                    <a:pt x="149" y="18"/>
                    <a:pt x="135" y="16"/>
                    <a:pt x="120" y="28"/>
                  </a:cubicBezTo>
                  <a:cubicBezTo>
                    <a:pt x="113" y="31"/>
                    <a:pt x="85" y="21"/>
                    <a:pt x="60" y="6"/>
                  </a:cubicBezTo>
                  <a:cubicBezTo>
                    <a:pt x="51" y="0"/>
                    <a:pt x="51" y="0"/>
                    <a:pt x="51" y="0"/>
                  </a:cubicBezTo>
                  <a:cubicBezTo>
                    <a:pt x="0" y="135"/>
                    <a:pt x="0" y="135"/>
                    <a:pt x="0" y="135"/>
                  </a:cubicBezTo>
                  <a:cubicBezTo>
                    <a:pt x="62" y="157"/>
                    <a:pt x="62" y="157"/>
                    <a:pt x="62" y="157"/>
                  </a:cubicBezTo>
                  <a:cubicBezTo>
                    <a:pt x="67" y="141"/>
                    <a:pt x="67" y="141"/>
                    <a:pt x="67" y="141"/>
                  </a:cubicBezTo>
                  <a:cubicBezTo>
                    <a:pt x="22" y="125"/>
                    <a:pt x="22" y="125"/>
                    <a:pt x="22" y="125"/>
                  </a:cubicBezTo>
                  <a:lnTo>
                    <a:pt x="60" y="25"/>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1" name="Freeform 85"/>
            <p:cNvSpPr>
              <a:spLocks/>
            </p:cNvSpPr>
            <p:nvPr/>
          </p:nvSpPr>
          <p:spPr bwMode="auto">
            <a:xfrm>
              <a:off x="10448925" y="4997450"/>
              <a:ext cx="1322388" cy="1066800"/>
            </a:xfrm>
            <a:custGeom>
              <a:avLst/>
              <a:gdLst>
                <a:gd name="T0" fmla="*/ 252 w 310"/>
                <a:gd name="T1" fmla="*/ 0 h 249"/>
                <a:gd name="T2" fmla="*/ 200 w 310"/>
                <a:gd name="T3" fmla="*/ 26 h 249"/>
                <a:gd name="T4" fmla="*/ 207 w 310"/>
                <a:gd name="T5" fmla="*/ 42 h 249"/>
                <a:gd name="T6" fmla="*/ 244 w 310"/>
                <a:gd name="T7" fmla="*/ 23 h 249"/>
                <a:gd name="T8" fmla="*/ 287 w 310"/>
                <a:gd name="T9" fmla="*/ 115 h 249"/>
                <a:gd name="T10" fmla="*/ 252 w 310"/>
                <a:gd name="T11" fmla="*/ 131 h 249"/>
                <a:gd name="T12" fmla="*/ 251 w 310"/>
                <a:gd name="T13" fmla="*/ 132 h 249"/>
                <a:gd name="T14" fmla="*/ 206 w 310"/>
                <a:gd name="T15" fmla="*/ 172 h 249"/>
                <a:gd name="T16" fmla="*/ 93 w 310"/>
                <a:gd name="T17" fmla="*/ 231 h 249"/>
                <a:gd name="T18" fmla="*/ 83 w 310"/>
                <a:gd name="T19" fmla="*/ 231 h 249"/>
                <a:gd name="T20" fmla="*/ 82 w 310"/>
                <a:gd name="T21" fmla="*/ 224 h 249"/>
                <a:gd name="T22" fmla="*/ 86 w 310"/>
                <a:gd name="T23" fmla="*/ 222 h 249"/>
                <a:gd name="T24" fmla="*/ 85 w 310"/>
                <a:gd name="T25" fmla="*/ 221 h 249"/>
                <a:gd name="T26" fmla="*/ 173 w 310"/>
                <a:gd name="T27" fmla="*/ 174 h 249"/>
                <a:gd name="T28" fmla="*/ 165 w 310"/>
                <a:gd name="T29" fmla="*/ 159 h 249"/>
                <a:gd name="T30" fmla="*/ 76 w 310"/>
                <a:gd name="T31" fmla="*/ 207 h 249"/>
                <a:gd name="T32" fmla="*/ 75 w 310"/>
                <a:gd name="T33" fmla="*/ 207 h 249"/>
                <a:gd name="T34" fmla="*/ 71 w 310"/>
                <a:gd name="T35" fmla="*/ 211 h 249"/>
                <a:gd name="T36" fmla="*/ 53 w 310"/>
                <a:gd name="T37" fmla="*/ 216 h 249"/>
                <a:gd name="T38" fmla="*/ 52 w 310"/>
                <a:gd name="T39" fmla="*/ 214 h 249"/>
                <a:gd name="T40" fmla="*/ 51 w 310"/>
                <a:gd name="T41" fmla="*/ 213 h 249"/>
                <a:gd name="T42" fmla="*/ 50 w 310"/>
                <a:gd name="T43" fmla="*/ 206 h 249"/>
                <a:gd name="T44" fmla="*/ 65 w 310"/>
                <a:gd name="T45" fmla="*/ 198 h 249"/>
                <a:gd name="T46" fmla="*/ 65 w 310"/>
                <a:gd name="T47" fmla="*/ 198 h 249"/>
                <a:gd name="T48" fmla="*/ 160 w 310"/>
                <a:gd name="T49" fmla="*/ 150 h 249"/>
                <a:gd name="T50" fmla="*/ 152 w 310"/>
                <a:gd name="T51" fmla="*/ 134 h 249"/>
                <a:gd name="T52" fmla="*/ 41 w 310"/>
                <a:gd name="T53" fmla="*/ 191 h 249"/>
                <a:gd name="T54" fmla="*/ 28 w 310"/>
                <a:gd name="T55" fmla="*/ 190 h 249"/>
                <a:gd name="T56" fmla="*/ 29 w 310"/>
                <a:gd name="T57" fmla="*/ 182 h 249"/>
                <a:gd name="T58" fmla="*/ 39 w 310"/>
                <a:gd name="T59" fmla="*/ 177 h 249"/>
                <a:gd name="T60" fmla="*/ 57 w 310"/>
                <a:gd name="T61" fmla="*/ 168 h 249"/>
                <a:gd name="T62" fmla="*/ 57 w 310"/>
                <a:gd name="T63" fmla="*/ 168 h 249"/>
                <a:gd name="T64" fmla="*/ 145 w 310"/>
                <a:gd name="T65" fmla="*/ 123 h 249"/>
                <a:gd name="T66" fmla="*/ 138 w 310"/>
                <a:gd name="T67" fmla="*/ 108 h 249"/>
                <a:gd name="T68" fmla="*/ 33 w 310"/>
                <a:gd name="T69" fmla="*/ 161 h 249"/>
                <a:gd name="T70" fmla="*/ 19 w 310"/>
                <a:gd name="T71" fmla="*/ 160 h 249"/>
                <a:gd name="T72" fmla="*/ 20 w 310"/>
                <a:gd name="T73" fmla="*/ 154 h 249"/>
                <a:gd name="T74" fmla="*/ 58 w 310"/>
                <a:gd name="T75" fmla="*/ 131 h 249"/>
                <a:gd name="T76" fmla="*/ 49 w 310"/>
                <a:gd name="T77" fmla="*/ 117 h 249"/>
                <a:gd name="T78" fmla="*/ 9 w 310"/>
                <a:gd name="T79" fmla="*/ 141 h 249"/>
                <a:gd name="T80" fmla="*/ 8 w 310"/>
                <a:gd name="T81" fmla="*/ 142 h 249"/>
                <a:gd name="T82" fmla="*/ 3 w 310"/>
                <a:gd name="T83" fmla="*/ 167 h 249"/>
                <a:gd name="T84" fmla="*/ 4 w 310"/>
                <a:gd name="T85" fmla="*/ 168 h 249"/>
                <a:gd name="T86" fmla="*/ 4 w 310"/>
                <a:gd name="T87" fmla="*/ 169 h 249"/>
                <a:gd name="T88" fmla="*/ 13 w 310"/>
                <a:gd name="T89" fmla="*/ 177 h 249"/>
                <a:gd name="T90" fmla="*/ 12 w 310"/>
                <a:gd name="T91" fmla="*/ 197 h 249"/>
                <a:gd name="T92" fmla="*/ 13 w 310"/>
                <a:gd name="T93" fmla="*/ 198 h 249"/>
                <a:gd name="T94" fmla="*/ 13 w 310"/>
                <a:gd name="T95" fmla="*/ 199 h 249"/>
                <a:gd name="T96" fmla="*/ 33 w 310"/>
                <a:gd name="T97" fmla="*/ 209 h 249"/>
                <a:gd name="T98" fmla="*/ 37 w 310"/>
                <a:gd name="T99" fmla="*/ 222 h 249"/>
                <a:gd name="T100" fmla="*/ 49 w 310"/>
                <a:gd name="T101" fmla="*/ 232 h 249"/>
                <a:gd name="T102" fmla="*/ 55 w 310"/>
                <a:gd name="T103" fmla="*/ 233 h 249"/>
                <a:gd name="T104" fmla="*/ 65 w 310"/>
                <a:gd name="T105" fmla="*/ 231 h 249"/>
                <a:gd name="T106" fmla="*/ 70 w 310"/>
                <a:gd name="T107" fmla="*/ 241 h 249"/>
                <a:gd name="T108" fmla="*/ 71 w 310"/>
                <a:gd name="T109" fmla="*/ 242 h 249"/>
                <a:gd name="T110" fmla="*/ 89 w 310"/>
                <a:gd name="T111" fmla="*/ 249 h 249"/>
                <a:gd name="T112" fmla="*/ 98 w 310"/>
                <a:gd name="T113" fmla="*/ 248 h 249"/>
                <a:gd name="T114" fmla="*/ 99 w 310"/>
                <a:gd name="T115" fmla="*/ 247 h 249"/>
                <a:gd name="T116" fmla="*/ 100 w 310"/>
                <a:gd name="T117" fmla="*/ 247 h 249"/>
                <a:gd name="T118" fmla="*/ 213 w 310"/>
                <a:gd name="T119" fmla="*/ 187 h 249"/>
                <a:gd name="T120" fmla="*/ 262 w 310"/>
                <a:gd name="T121" fmla="*/ 145 h 249"/>
                <a:gd name="T122" fmla="*/ 310 w 310"/>
                <a:gd name="T123" fmla="*/ 123 h 249"/>
                <a:gd name="T124" fmla="*/ 252 w 310"/>
                <a:gd name="T1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 h="249">
                  <a:moveTo>
                    <a:pt x="252" y="0"/>
                  </a:moveTo>
                  <a:cubicBezTo>
                    <a:pt x="200" y="26"/>
                    <a:pt x="200" y="26"/>
                    <a:pt x="200" y="26"/>
                  </a:cubicBezTo>
                  <a:cubicBezTo>
                    <a:pt x="207" y="42"/>
                    <a:pt x="207" y="42"/>
                    <a:pt x="207" y="42"/>
                  </a:cubicBezTo>
                  <a:cubicBezTo>
                    <a:pt x="244" y="23"/>
                    <a:pt x="244" y="23"/>
                    <a:pt x="244" y="23"/>
                  </a:cubicBezTo>
                  <a:cubicBezTo>
                    <a:pt x="287" y="115"/>
                    <a:pt x="287" y="115"/>
                    <a:pt x="287" y="115"/>
                  </a:cubicBezTo>
                  <a:cubicBezTo>
                    <a:pt x="252" y="131"/>
                    <a:pt x="252" y="131"/>
                    <a:pt x="252" y="131"/>
                  </a:cubicBezTo>
                  <a:cubicBezTo>
                    <a:pt x="251" y="132"/>
                    <a:pt x="251" y="132"/>
                    <a:pt x="251" y="132"/>
                  </a:cubicBezTo>
                  <a:cubicBezTo>
                    <a:pt x="238" y="145"/>
                    <a:pt x="214" y="168"/>
                    <a:pt x="206" y="172"/>
                  </a:cubicBezTo>
                  <a:cubicBezTo>
                    <a:pt x="194" y="178"/>
                    <a:pt x="104" y="225"/>
                    <a:pt x="93" y="231"/>
                  </a:cubicBezTo>
                  <a:cubicBezTo>
                    <a:pt x="90" y="232"/>
                    <a:pt x="85" y="232"/>
                    <a:pt x="83" y="231"/>
                  </a:cubicBezTo>
                  <a:cubicBezTo>
                    <a:pt x="82" y="228"/>
                    <a:pt x="82" y="226"/>
                    <a:pt x="82" y="224"/>
                  </a:cubicBezTo>
                  <a:cubicBezTo>
                    <a:pt x="84" y="223"/>
                    <a:pt x="85" y="223"/>
                    <a:pt x="86" y="222"/>
                  </a:cubicBezTo>
                  <a:cubicBezTo>
                    <a:pt x="85" y="221"/>
                    <a:pt x="85" y="221"/>
                    <a:pt x="85" y="221"/>
                  </a:cubicBezTo>
                  <a:cubicBezTo>
                    <a:pt x="173" y="174"/>
                    <a:pt x="173" y="174"/>
                    <a:pt x="173" y="174"/>
                  </a:cubicBezTo>
                  <a:cubicBezTo>
                    <a:pt x="165" y="159"/>
                    <a:pt x="165" y="159"/>
                    <a:pt x="165" y="159"/>
                  </a:cubicBezTo>
                  <a:cubicBezTo>
                    <a:pt x="76" y="207"/>
                    <a:pt x="76" y="207"/>
                    <a:pt x="76" y="207"/>
                  </a:cubicBezTo>
                  <a:cubicBezTo>
                    <a:pt x="75" y="207"/>
                    <a:pt x="75" y="207"/>
                    <a:pt x="75" y="207"/>
                  </a:cubicBezTo>
                  <a:cubicBezTo>
                    <a:pt x="74" y="208"/>
                    <a:pt x="73" y="209"/>
                    <a:pt x="71" y="211"/>
                  </a:cubicBezTo>
                  <a:cubicBezTo>
                    <a:pt x="65" y="214"/>
                    <a:pt x="57" y="217"/>
                    <a:pt x="53" y="216"/>
                  </a:cubicBezTo>
                  <a:cubicBezTo>
                    <a:pt x="52" y="215"/>
                    <a:pt x="52" y="215"/>
                    <a:pt x="52" y="214"/>
                  </a:cubicBezTo>
                  <a:cubicBezTo>
                    <a:pt x="51" y="213"/>
                    <a:pt x="51" y="213"/>
                    <a:pt x="51" y="213"/>
                  </a:cubicBezTo>
                  <a:cubicBezTo>
                    <a:pt x="49" y="211"/>
                    <a:pt x="50" y="208"/>
                    <a:pt x="50" y="206"/>
                  </a:cubicBezTo>
                  <a:cubicBezTo>
                    <a:pt x="56" y="204"/>
                    <a:pt x="61" y="201"/>
                    <a:pt x="65" y="198"/>
                  </a:cubicBezTo>
                  <a:cubicBezTo>
                    <a:pt x="65" y="198"/>
                    <a:pt x="65" y="198"/>
                    <a:pt x="65" y="198"/>
                  </a:cubicBezTo>
                  <a:cubicBezTo>
                    <a:pt x="160" y="150"/>
                    <a:pt x="160" y="150"/>
                    <a:pt x="160" y="150"/>
                  </a:cubicBezTo>
                  <a:cubicBezTo>
                    <a:pt x="152" y="134"/>
                    <a:pt x="152" y="134"/>
                    <a:pt x="152" y="134"/>
                  </a:cubicBezTo>
                  <a:cubicBezTo>
                    <a:pt x="41" y="191"/>
                    <a:pt x="41" y="191"/>
                    <a:pt x="41" y="191"/>
                  </a:cubicBezTo>
                  <a:cubicBezTo>
                    <a:pt x="36" y="193"/>
                    <a:pt x="31" y="193"/>
                    <a:pt x="28" y="190"/>
                  </a:cubicBezTo>
                  <a:cubicBezTo>
                    <a:pt x="27" y="187"/>
                    <a:pt x="29" y="184"/>
                    <a:pt x="29" y="182"/>
                  </a:cubicBezTo>
                  <a:cubicBezTo>
                    <a:pt x="39" y="177"/>
                    <a:pt x="39" y="177"/>
                    <a:pt x="39" y="177"/>
                  </a:cubicBezTo>
                  <a:cubicBezTo>
                    <a:pt x="46" y="174"/>
                    <a:pt x="53" y="171"/>
                    <a:pt x="57" y="168"/>
                  </a:cubicBezTo>
                  <a:cubicBezTo>
                    <a:pt x="57" y="168"/>
                    <a:pt x="57" y="168"/>
                    <a:pt x="57" y="168"/>
                  </a:cubicBezTo>
                  <a:cubicBezTo>
                    <a:pt x="145" y="123"/>
                    <a:pt x="145" y="123"/>
                    <a:pt x="145" y="123"/>
                  </a:cubicBezTo>
                  <a:cubicBezTo>
                    <a:pt x="138" y="108"/>
                    <a:pt x="138" y="108"/>
                    <a:pt x="138" y="108"/>
                  </a:cubicBezTo>
                  <a:cubicBezTo>
                    <a:pt x="33" y="161"/>
                    <a:pt x="33" y="161"/>
                    <a:pt x="33" y="161"/>
                  </a:cubicBezTo>
                  <a:cubicBezTo>
                    <a:pt x="28" y="163"/>
                    <a:pt x="22" y="163"/>
                    <a:pt x="19" y="160"/>
                  </a:cubicBezTo>
                  <a:cubicBezTo>
                    <a:pt x="19" y="157"/>
                    <a:pt x="20" y="155"/>
                    <a:pt x="20" y="154"/>
                  </a:cubicBezTo>
                  <a:cubicBezTo>
                    <a:pt x="58" y="131"/>
                    <a:pt x="58" y="131"/>
                    <a:pt x="58" y="131"/>
                  </a:cubicBezTo>
                  <a:cubicBezTo>
                    <a:pt x="49" y="117"/>
                    <a:pt x="49" y="117"/>
                    <a:pt x="49" y="117"/>
                  </a:cubicBezTo>
                  <a:cubicBezTo>
                    <a:pt x="9" y="141"/>
                    <a:pt x="9" y="141"/>
                    <a:pt x="9" y="141"/>
                  </a:cubicBezTo>
                  <a:cubicBezTo>
                    <a:pt x="8" y="142"/>
                    <a:pt x="8" y="142"/>
                    <a:pt x="8" y="142"/>
                  </a:cubicBezTo>
                  <a:cubicBezTo>
                    <a:pt x="5" y="146"/>
                    <a:pt x="0" y="155"/>
                    <a:pt x="3" y="167"/>
                  </a:cubicBezTo>
                  <a:cubicBezTo>
                    <a:pt x="4" y="168"/>
                    <a:pt x="4" y="168"/>
                    <a:pt x="4" y="168"/>
                  </a:cubicBezTo>
                  <a:cubicBezTo>
                    <a:pt x="4" y="169"/>
                    <a:pt x="4" y="169"/>
                    <a:pt x="4" y="169"/>
                  </a:cubicBezTo>
                  <a:cubicBezTo>
                    <a:pt x="7" y="173"/>
                    <a:pt x="10" y="175"/>
                    <a:pt x="13" y="177"/>
                  </a:cubicBezTo>
                  <a:cubicBezTo>
                    <a:pt x="11" y="182"/>
                    <a:pt x="10" y="189"/>
                    <a:pt x="12" y="197"/>
                  </a:cubicBezTo>
                  <a:cubicBezTo>
                    <a:pt x="13" y="198"/>
                    <a:pt x="13" y="198"/>
                    <a:pt x="13" y="198"/>
                  </a:cubicBezTo>
                  <a:cubicBezTo>
                    <a:pt x="13" y="199"/>
                    <a:pt x="13" y="199"/>
                    <a:pt x="13" y="199"/>
                  </a:cubicBezTo>
                  <a:cubicBezTo>
                    <a:pt x="18" y="206"/>
                    <a:pt x="25" y="209"/>
                    <a:pt x="33" y="209"/>
                  </a:cubicBezTo>
                  <a:cubicBezTo>
                    <a:pt x="33" y="213"/>
                    <a:pt x="34" y="218"/>
                    <a:pt x="37" y="222"/>
                  </a:cubicBezTo>
                  <a:cubicBezTo>
                    <a:pt x="39" y="227"/>
                    <a:pt x="43" y="231"/>
                    <a:pt x="49" y="232"/>
                  </a:cubicBezTo>
                  <a:cubicBezTo>
                    <a:pt x="51" y="233"/>
                    <a:pt x="53" y="233"/>
                    <a:pt x="55" y="233"/>
                  </a:cubicBezTo>
                  <a:cubicBezTo>
                    <a:pt x="59" y="233"/>
                    <a:pt x="62" y="232"/>
                    <a:pt x="65" y="231"/>
                  </a:cubicBezTo>
                  <a:cubicBezTo>
                    <a:pt x="66" y="235"/>
                    <a:pt x="68" y="238"/>
                    <a:pt x="70" y="241"/>
                  </a:cubicBezTo>
                  <a:cubicBezTo>
                    <a:pt x="71" y="242"/>
                    <a:pt x="71" y="242"/>
                    <a:pt x="71" y="242"/>
                  </a:cubicBezTo>
                  <a:cubicBezTo>
                    <a:pt x="76" y="247"/>
                    <a:pt x="83" y="249"/>
                    <a:pt x="89" y="249"/>
                  </a:cubicBezTo>
                  <a:cubicBezTo>
                    <a:pt x="93" y="249"/>
                    <a:pt x="97" y="248"/>
                    <a:pt x="98" y="248"/>
                  </a:cubicBezTo>
                  <a:cubicBezTo>
                    <a:pt x="99" y="247"/>
                    <a:pt x="99" y="247"/>
                    <a:pt x="99" y="247"/>
                  </a:cubicBezTo>
                  <a:cubicBezTo>
                    <a:pt x="100" y="247"/>
                    <a:pt x="100" y="247"/>
                    <a:pt x="100" y="247"/>
                  </a:cubicBezTo>
                  <a:cubicBezTo>
                    <a:pt x="101" y="246"/>
                    <a:pt x="201" y="193"/>
                    <a:pt x="213" y="187"/>
                  </a:cubicBezTo>
                  <a:cubicBezTo>
                    <a:pt x="226" y="181"/>
                    <a:pt x="255" y="152"/>
                    <a:pt x="262" y="145"/>
                  </a:cubicBezTo>
                  <a:cubicBezTo>
                    <a:pt x="310" y="123"/>
                    <a:pt x="310" y="123"/>
                    <a:pt x="310" y="123"/>
                  </a:cubicBezTo>
                  <a:lnTo>
                    <a:pt x="252" y="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8" name="Business Trans large"/>
          <p:cNvSpPr txBox="1"/>
          <p:nvPr/>
        </p:nvSpPr>
        <p:spPr>
          <a:xfrm>
            <a:off x="4342290" y="3049901"/>
            <a:ext cx="3376665" cy="1058660"/>
          </a:xfrm>
          <a:prstGeom prst="rect">
            <a:avLst/>
          </a:prstGeom>
          <a:noFill/>
          <a:ln w="25400">
            <a:noFill/>
            <a:miter lim="800000"/>
          </a:ln>
        </p:spPr>
        <p:txBody>
          <a:bodyPr wrap="square" lIns="0" tIns="0" rIns="0" bIns="0" rtlCol="0" anchor="ctr">
            <a:noAutofit/>
          </a:bodyPr>
          <a:lstStyle/>
          <a:p>
            <a:pPr algn="ctr" defTabSz="914049">
              <a:lnSpc>
                <a:spcPct val="90000"/>
              </a:lnSpc>
              <a:defRPr/>
            </a:pPr>
            <a:r>
              <a:rPr lang="en-US" sz="2800" b="1" kern="0" dirty="0">
                <a:ln w="3175">
                  <a:noFill/>
                </a:ln>
                <a:solidFill>
                  <a:srgbClr val="001F50"/>
                </a:solidFill>
                <a:latin typeface="Segoe UI"/>
                <a:cs typeface="Segoe UI Semilight" panose="020B0402040204020203" pitchFamily="34" charset="0"/>
              </a:rPr>
              <a:t>Digital transformation</a:t>
            </a:r>
          </a:p>
        </p:txBody>
      </p:sp>
      <p:sp>
        <p:nvSpPr>
          <p:cNvPr id="69" name="engage"/>
          <p:cNvSpPr/>
          <p:nvPr/>
        </p:nvSpPr>
        <p:spPr bwMode="auto">
          <a:xfrm>
            <a:off x="1624469" y="1547538"/>
            <a:ext cx="219393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dirty="0">
                <a:solidFill>
                  <a:srgbClr val="001F50"/>
                </a:solidFill>
                <a:latin typeface="Segoe UI Light" charset="0"/>
                <a:ea typeface="Segoe UI Light" charset="0"/>
                <a:cs typeface="Segoe UI Light" charset="0"/>
              </a:rPr>
              <a:t>Engage your customers</a:t>
            </a:r>
          </a:p>
        </p:txBody>
      </p:sp>
      <p:sp>
        <p:nvSpPr>
          <p:cNvPr id="71" name="empower"/>
          <p:cNvSpPr/>
          <p:nvPr/>
        </p:nvSpPr>
        <p:spPr bwMode="auto">
          <a:xfrm>
            <a:off x="1315005" y="4760638"/>
            <a:ext cx="256407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dirty="0">
                <a:solidFill>
                  <a:srgbClr val="001F50"/>
                </a:solidFill>
                <a:latin typeface="Segoe UI Light" charset="0"/>
                <a:ea typeface="Segoe UI Light" charset="0"/>
                <a:cs typeface="Segoe UI Light" charset="0"/>
              </a:rPr>
              <a:t>Empower your employees</a:t>
            </a:r>
          </a:p>
        </p:txBody>
      </p:sp>
      <p:sp>
        <p:nvSpPr>
          <p:cNvPr id="70" name="optimize"/>
          <p:cNvSpPr/>
          <p:nvPr/>
        </p:nvSpPr>
        <p:spPr bwMode="auto">
          <a:xfrm>
            <a:off x="8099682" y="4760638"/>
            <a:ext cx="261328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solidFill>
                  <a:srgbClr val="001F50"/>
                </a:solidFill>
                <a:latin typeface="Segoe UI Light" charset="0"/>
                <a:ea typeface="Segoe UI Light" charset="0"/>
                <a:cs typeface="Segoe UI Light" charset="0"/>
              </a:rPr>
              <a:t>Optimize your operations</a:t>
            </a:r>
          </a:p>
        </p:txBody>
      </p:sp>
      <p:sp>
        <p:nvSpPr>
          <p:cNvPr id="68" name="transform"/>
          <p:cNvSpPr/>
          <p:nvPr/>
        </p:nvSpPr>
        <p:spPr bwMode="auto">
          <a:xfrm>
            <a:off x="8238877" y="1547538"/>
            <a:ext cx="2367185"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solidFill>
                  <a:srgbClr val="001F50"/>
                </a:solidFill>
                <a:latin typeface="Segoe UI Light" charset="0"/>
                <a:ea typeface="Segoe UI Light" charset="0"/>
                <a:cs typeface="Segoe UI Light" charset="0"/>
              </a:rPr>
              <a:t>Transform your products</a:t>
            </a:r>
          </a:p>
        </p:txBody>
      </p:sp>
      <p:grpSp>
        <p:nvGrpSpPr>
          <p:cNvPr id="11" name="Group 10"/>
          <p:cNvGrpSpPr/>
          <p:nvPr/>
        </p:nvGrpSpPr>
        <p:grpSpPr>
          <a:xfrm>
            <a:off x="3642212" y="1057817"/>
            <a:ext cx="4819489" cy="5120300"/>
            <a:chOff x="4224178" y="1296820"/>
            <a:chExt cx="3666426" cy="3895268"/>
          </a:xfrm>
        </p:grpSpPr>
        <p:grpSp>
          <p:nvGrpSpPr>
            <p:cNvPr id="9" name="Group 8"/>
            <p:cNvGrpSpPr/>
            <p:nvPr/>
          </p:nvGrpSpPr>
          <p:grpSpPr>
            <a:xfrm>
              <a:off x="4224178" y="1525658"/>
              <a:ext cx="3666426" cy="3666430"/>
              <a:chOff x="4224178" y="1525658"/>
              <a:chExt cx="3666426" cy="3666430"/>
            </a:xfrm>
          </p:grpSpPr>
          <p:sp>
            <p:nvSpPr>
              <p:cNvPr id="90" name="Freeform 89"/>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Arc 2"/>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59" name="Freeform 58"/>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2" name="Group 81"/>
            <p:cNvGrpSpPr/>
            <p:nvPr/>
          </p:nvGrpSpPr>
          <p:grpSpPr>
            <a:xfrm flipV="1">
              <a:off x="4224178" y="1296820"/>
              <a:ext cx="3666426" cy="3666430"/>
              <a:chOff x="4224178" y="1525658"/>
              <a:chExt cx="3666426" cy="3666430"/>
            </a:xfrm>
          </p:grpSpPr>
          <p:sp>
            <p:nvSpPr>
              <p:cNvPr id="83" name="Freeform 82"/>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Arc 85"/>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87" name="Freeform 86"/>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0" name="Group 9"/>
          <p:cNvGrpSpPr/>
          <p:nvPr/>
        </p:nvGrpSpPr>
        <p:grpSpPr>
          <a:xfrm rot="5400000">
            <a:off x="3620878" y="1057819"/>
            <a:ext cx="4819489" cy="5120300"/>
            <a:chOff x="3007793" y="1296820"/>
            <a:chExt cx="3666426" cy="3895268"/>
          </a:xfrm>
        </p:grpSpPr>
        <p:grpSp>
          <p:nvGrpSpPr>
            <p:cNvPr id="111" name="Group 110"/>
            <p:cNvGrpSpPr/>
            <p:nvPr/>
          </p:nvGrpSpPr>
          <p:grpSpPr>
            <a:xfrm>
              <a:off x="3007793" y="1525658"/>
              <a:ext cx="3666426" cy="3666430"/>
              <a:chOff x="4224178" y="1525658"/>
              <a:chExt cx="3666426" cy="3666430"/>
            </a:xfrm>
          </p:grpSpPr>
          <p:sp>
            <p:nvSpPr>
              <p:cNvPr id="112" name="Freeform 111"/>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Arc 112"/>
              <p:cNvSpPr/>
              <p:nvPr/>
            </p:nvSpPr>
            <p:spPr>
              <a:xfrm rot="20312244">
                <a:off x="4224178" y="1525658"/>
                <a:ext cx="3666426" cy="3666430"/>
              </a:xfrm>
              <a:prstGeom prst="arc">
                <a:avLst>
                  <a:gd name="adj1" fmla="val 16108988"/>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4" name="Freeform 113"/>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flipV="1">
              <a:off x="3007793" y="1296820"/>
              <a:ext cx="3666426" cy="3666430"/>
              <a:chOff x="4224178" y="1525658"/>
              <a:chExt cx="3666426" cy="3666430"/>
            </a:xfrm>
          </p:grpSpPr>
          <p:sp>
            <p:nvSpPr>
              <p:cNvPr id="116" name="Freeform 115"/>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Arc 116"/>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8" name="Freeform 117"/>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 name="Freeform 5"/>
          <p:cNvSpPr>
            <a:spLocks noEditPoints="1"/>
          </p:cNvSpPr>
          <p:nvPr/>
        </p:nvSpPr>
        <p:spPr bwMode="auto">
          <a:xfrm>
            <a:off x="4339101" y="1897085"/>
            <a:ext cx="661032" cy="699107"/>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 name="Freeform 6"/>
          <p:cNvSpPr>
            <a:spLocks noEditPoints="1"/>
          </p:cNvSpPr>
          <p:nvPr/>
        </p:nvSpPr>
        <p:spPr bwMode="auto">
          <a:xfrm>
            <a:off x="4029210" y="1635845"/>
            <a:ext cx="575361" cy="485462"/>
          </a:xfrm>
          <a:custGeom>
            <a:avLst/>
            <a:gdLst>
              <a:gd name="T0" fmla="*/ 503 w 544"/>
              <a:gd name="T1" fmla="*/ 115 h 459"/>
              <a:gd name="T2" fmla="*/ 503 w 544"/>
              <a:gd name="T3" fmla="*/ 306 h 459"/>
              <a:gd name="T4" fmla="*/ 466 w 544"/>
              <a:gd name="T5" fmla="*/ 306 h 459"/>
              <a:gd name="T6" fmla="*/ 466 w 544"/>
              <a:gd name="T7" fmla="*/ 347 h 459"/>
              <a:gd name="T8" fmla="*/ 466 w 544"/>
              <a:gd name="T9" fmla="*/ 363 h 459"/>
              <a:gd name="T10" fmla="*/ 412 w 544"/>
              <a:gd name="T11" fmla="*/ 314 h 459"/>
              <a:gd name="T12" fmla="*/ 401 w 544"/>
              <a:gd name="T13" fmla="*/ 306 h 459"/>
              <a:gd name="T14" fmla="*/ 388 w 544"/>
              <a:gd name="T15" fmla="*/ 306 h 459"/>
              <a:gd name="T16" fmla="*/ 194 w 544"/>
              <a:gd name="T17" fmla="*/ 306 h 459"/>
              <a:gd name="T18" fmla="*/ 194 w 544"/>
              <a:gd name="T19" fmla="*/ 269 h 459"/>
              <a:gd name="T20" fmla="*/ 388 w 544"/>
              <a:gd name="T21" fmla="*/ 269 h 459"/>
              <a:gd name="T22" fmla="*/ 388 w 544"/>
              <a:gd name="T23" fmla="*/ 115 h 459"/>
              <a:gd name="T24" fmla="*/ 503 w 544"/>
              <a:gd name="T25" fmla="*/ 115 h 459"/>
              <a:gd name="T26" fmla="*/ 135 w 544"/>
              <a:gd name="T27" fmla="*/ 231 h 459"/>
              <a:gd name="T28" fmla="*/ 127 w 544"/>
              <a:gd name="T29" fmla="*/ 239 h 459"/>
              <a:gd name="T30" fmla="*/ 78 w 544"/>
              <a:gd name="T31" fmla="*/ 287 h 459"/>
              <a:gd name="T32" fmla="*/ 78 w 544"/>
              <a:gd name="T33" fmla="*/ 269 h 459"/>
              <a:gd name="T34" fmla="*/ 78 w 544"/>
              <a:gd name="T35" fmla="*/ 231 h 459"/>
              <a:gd name="T36" fmla="*/ 38 w 544"/>
              <a:gd name="T37" fmla="*/ 231 h 459"/>
              <a:gd name="T38" fmla="*/ 38 w 544"/>
              <a:gd name="T39" fmla="*/ 37 h 459"/>
              <a:gd name="T40" fmla="*/ 347 w 544"/>
              <a:gd name="T41" fmla="*/ 37 h 459"/>
              <a:gd name="T42" fmla="*/ 347 w 544"/>
              <a:gd name="T43" fmla="*/ 231 h 459"/>
              <a:gd name="T44" fmla="*/ 156 w 544"/>
              <a:gd name="T45" fmla="*/ 231 h 459"/>
              <a:gd name="T46" fmla="*/ 135 w 544"/>
              <a:gd name="T47" fmla="*/ 231 h 459"/>
              <a:gd name="T48" fmla="*/ 388 w 544"/>
              <a:gd name="T49" fmla="*/ 0 h 459"/>
              <a:gd name="T50" fmla="*/ 0 w 544"/>
              <a:gd name="T51" fmla="*/ 0 h 459"/>
              <a:gd name="T52" fmla="*/ 0 w 544"/>
              <a:gd name="T53" fmla="*/ 269 h 459"/>
              <a:gd name="T54" fmla="*/ 38 w 544"/>
              <a:gd name="T55" fmla="*/ 269 h 459"/>
              <a:gd name="T56" fmla="*/ 38 w 544"/>
              <a:gd name="T57" fmla="*/ 381 h 459"/>
              <a:gd name="T58" fmla="*/ 156 w 544"/>
              <a:gd name="T59" fmla="*/ 269 h 459"/>
              <a:gd name="T60" fmla="*/ 156 w 544"/>
              <a:gd name="T61" fmla="*/ 347 h 459"/>
              <a:gd name="T62" fmla="*/ 388 w 544"/>
              <a:gd name="T63" fmla="*/ 347 h 459"/>
              <a:gd name="T64" fmla="*/ 503 w 544"/>
              <a:gd name="T65" fmla="*/ 459 h 459"/>
              <a:gd name="T66" fmla="*/ 503 w 544"/>
              <a:gd name="T67" fmla="*/ 347 h 459"/>
              <a:gd name="T68" fmla="*/ 544 w 544"/>
              <a:gd name="T69" fmla="*/ 347 h 459"/>
              <a:gd name="T70" fmla="*/ 544 w 544"/>
              <a:gd name="T71" fmla="*/ 75 h 459"/>
              <a:gd name="T72" fmla="*/ 388 w 544"/>
              <a:gd name="T73" fmla="*/ 75 h 459"/>
              <a:gd name="T74" fmla="*/ 388 w 544"/>
              <a:gd name="T7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4" h="459">
                <a:moveTo>
                  <a:pt x="503" y="115"/>
                </a:moveTo>
                <a:lnTo>
                  <a:pt x="503" y="306"/>
                </a:lnTo>
                <a:lnTo>
                  <a:pt x="466" y="306"/>
                </a:lnTo>
                <a:lnTo>
                  <a:pt x="466" y="347"/>
                </a:lnTo>
                <a:lnTo>
                  <a:pt x="466" y="363"/>
                </a:lnTo>
                <a:lnTo>
                  <a:pt x="412" y="314"/>
                </a:lnTo>
                <a:lnTo>
                  <a:pt x="401" y="306"/>
                </a:lnTo>
                <a:lnTo>
                  <a:pt x="388" y="306"/>
                </a:lnTo>
                <a:lnTo>
                  <a:pt x="194" y="306"/>
                </a:lnTo>
                <a:lnTo>
                  <a:pt x="194" y="269"/>
                </a:lnTo>
                <a:lnTo>
                  <a:pt x="388" y="269"/>
                </a:lnTo>
                <a:lnTo>
                  <a:pt x="388" y="115"/>
                </a:lnTo>
                <a:lnTo>
                  <a:pt x="503" y="115"/>
                </a:lnTo>
                <a:close/>
                <a:moveTo>
                  <a:pt x="135" y="231"/>
                </a:moveTo>
                <a:lnTo>
                  <a:pt x="127" y="239"/>
                </a:lnTo>
                <a:lnTo>
                  <a:pt x="78" y="287"/>
                </a:lnTo>
                <a:lnTo>
                  <a:pt x="78" y="269"/>
                </a:lnTo>
                <a:lnTo>
                  <a:pt x="78" y="231"/>
                </a:lnTo>
                <a:lnTo>
                  <a:pt x="38" y="231"/>
                </a:lnTo>
                <a:lnTo>
                  <a:pt x="38" y="37"/>
                </a:lnTo>
                <a:lnTo>
                  <a:pt x="347" y="37"/>
                </a:lnTo>
                <a:lnTo>
                  <a:pt x="347" y="231"/>
                </a:lnTo>
                <a:lnTo>
                  <a:pt x="156" y="231"/>
                </a:lnTo>
                <a:lnTo>
                  <a:pt x="135" y="231"/>
                </a:lnTo>
                <a:close/>
                <a:moveTo>
                  <a:pt x="388" y="0"/>
                </a:moveTo>
                <a:lnTo>
                  <a:pt x="0" y="0"/>
                </a:lnTo>
                <a:lnTo>
                  <a:pt x="0" y="269"/>
                </a:lnTo>
                <a:lnTo>
                  <a:pt x="38" y="269"/>
                </a:lnTo>
                <a:lnTo>
                  <a:pt x="38" y="381"/>
                </a:lnTo>
                <a:lnTo>
                  <a:pt x="156" y="269"/>
                </a:lnTo>
                <a:lnTo>
                  <a:pt x="156" y="347"/>
                </a:lnTo>
                <a:lnTo>
                  <a:pt x="388" y="347"/>
                </a:lnTo>
                <a:lnTo>
                  <a:pt x="503" y="459"/>
                </a:lnTo>
                <a:lnTo>
                  <a:pt x="503" y="347"/>
                </a:lnTo>
                <a:lnTo>
                  <a:pt x="544" y="347"/>
                </a:lnTo>
                <a:lnTo>
                  <a:pt x="544" y="75"/>
                </a:lnTo>
                <a:lnTo>
                  <a:pt x="388" y="75"/>
                </a:lnTo>
                <a:lnTo>
                  <a:pt x="388"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8" name="Freeform 10"/>
          <p:cNvSpPr>
            <a:spLocks noEditPoints="1"/>
          </p:cNvSpPr>
          <p:nvPr/>
        </p:nvSpPr>
        <p:spPr bwMode="auto">
          <a:xfrm>
            <a:off x="7399366" y="1816487"/>
            <a:ext cx="698688" cy="680453"/>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 name="Freeform 14"/>
          <p:cNvSpPr>
            <a:spLocks noEditPoints="1"/>
          </p:cNvSpPr>
          <p:nvPr/>
        </p:nvSpPr>
        <p:spPr bwMode="auto">
          <a:xfrm>
            <a:off x="7422682" y="4936646"/>
            <a:ext cx="583045" cy="56270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9" name="Group 28"/>
          <p:cNvGrpSpPr/>
          <p:nvPr/>
        </p:nvGrpSpPr>
        <p:grpSpPr>
          <a:xfrm>
            <a:off x="4159378" y="4680912"/>
            <a:ext cx="591319" cy="905079"/>
            <a:chOff x="9382125" y="2730501"/>
            <a:chExt cx="1011238" cy="1547812"/>
          </a:xfrm>
          <a:solidFill>
            <a:srgbClr val="001F50"/>
          </a:solidFill>
        </p:grpSpPr>
        <p:sp>
          <p:nvSpPr>
            <p:cNvPr id="24"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665964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42" presetClass="path" presetSubtype="0" decel="100000" fill="hold" grpId="1" nodeType="withEffect">
                                  <p:stCondLst>
                                    <p:cond delay="0"/>
                                  </p:stCondLst>
                                  <p:childTnLst>
                                    <p:animMotion origin="layout" path="M 4.16667E-6 4.44444E-6 L 4.16667E-6 0.25 " pathEditMode="relative" rAng="0" ptsTypes="AA">
                                      <p:cBhvr>
                                        <p:cTn id="9" dur="650" spd="-100000" fill="hold"/>
                                        <p:tgtEl>
                                          <p:spTgt spid="28"/>
                                        </p:tgtEl>
                                        <p:attrNameLst>
                                          <p:attrName>ppt_x</p:attrName>
                                          <p:attrName>ppt_y</p:attrName>
                                        </p:attrNameLst>
                                      </p:cBhvr>
                                      <p:rCtr x="0" y="12500"/>
                                    </p:animMotion>
                                  </p:childTnLst>
                                </p:cTn>
                              </p:par>
                              <p:par>
                                <p:cTn id="10" presetID="1" presetClass="entr" presetSubtype="0" fill="hold" grpId="0" nodeType="withEffect">
                                  <p:stCondLst>
                                    <p:cond delay="0"/>
                                  </p:stCondLst>
                                  <p:childTnLst>
                                    <p:set>
                                      <p:cBhvr>
                                        <p:cTn id="11" dur="1" fill="hold">
                                          <p:stCondLst>
                                            <p:cond delay="499"/>
                                          </p:stCondLst>
                                        </p:cTn>
                                        <p:tgtEl>
                                          <p:spTgt spid="69"/>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500" fill="hold"/>
                                        <p:tgtEl>
                                          <p:spTgt spid="69"/>
                                        </p:tgtEl>
                                      </p:cBhvr>
                                      <p:by x="0" y="0"/>
                                    </p:animScale>
                                  </p:childTnLst>
                                </p:cTn>
                              </p:par>
                              <p:par>
                                <p:cTn id="14" presetID="1" presetClass="entr" presetSubtype="0" fill="hold" grpId="0" nodeType="withEffect">
                                  <p:stCondLst>
                                    <p:cond delay="0"/>
                                  </p:stCondLst>
                                  <p:childTnLst>
                                    <p:set>
                                      <p:cBhvr>
                                        <p:cTn id="15" dur="1" fill="hold">
                                          <p:stCondLst>
                                            <p:cond delay="499"/>
                                          </p:stCondLst>
                                        </p:cTn>
                                        <p:tgtEl>
                                          <p:spTgt spid="7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500" fill="hold"/>
                                        <p:tgtEl>
                                          <p:spTgt spid="71"/>
                                        </p:tgtEl>
                                      </p:cBhvr>
                                      <p:by x="0" y="0"/>
                                    </p:animScale>
                                  </p:childTnLst>
                                </p:cTn>
                              </p:par>
                              <p:par>
                                <p:cTn id="18" presetID="1" presetClass="entr" presetSubtype="0" fill="hold" grpId="0" nodeType="withEffect">
                                  <p:stCondLst>
                                    <p:cond delay="0"/>
                                  </p:stCondLst>
                                  <p:childTnLst>
                                    <p:set>
                                      <p:cBhvr>
                                        <p:cTn id="19" dur="1" fill="hold">
                                          <p:stCondLst>
                                            <p:cond delay="499"/>
                                          </p:stCondLst>
                                        </p:cTn>
                                        <p:tgtEl>
                                          <p:spTgt spid="70"/>
                                        </p:tgtEl>
                                        <p:attrNameLst>
                                          <p:attrName>style.visibility</p:attrName>
                                        </p:attrNameLst>
                                      </p:cBhvr>
                                      <p:to>
                                        <p:strVal val="visible"/>
                                      </p:to>
                                    </p:set>
                                  </p:childTnLst>
                                </p:cTn>
                              </p:par>
                              <p:par>
                                <p:cTn id="20" presetID="6" presetClass="emph" presetSubtype="0" accel="100000" autoRev="1" fill="hold" grpId="1" nodeType="withEffect">
                                  <p:stCondLst>
                                    <p:cond delay="0"/>
                                  </p:stCondLst>
                                  <p:childTnLst>
                                    <p:animScale>
                                      <p:cBhvr>
                                        <p:cTn id="21" dur="500" fill="hold"/>
                                        <p:tgtEl>
                                          <p:spTgt spid="70"/>
                                        </p:tgtEl>
                                      </p:cBhvr>
                                      <p:by x="0" y="0"/>
                                    </p:animScale>
                                  </p:childTnLst>
                                </p:cTn>
                              </p:par>
                              <p:par>
                                <p:cTn id="22" presetID="1" presetClass="entr" presetSubtype="0" fill="hold" grpId="0" nodeType="withEffect">
                                  <p:stCondLst>
                                    <p:cond delay="0"/>
                                  </p:stCondLst>
                                  <p:childTnLst>
                                    <p:set>
                                      <p:cBhvr>
                                        <p:cTn id="23" dur="1" fill="hold">
                                          <p:stCondLst>
                                            <p:cond delay="499"/>
                                          </p:stCondLst>
                                        </p:cTn>
                                        <p:tgtEl>
                                          <p:spTgt spid="68"/>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500" fill="hold"/>
                                        <p:tgtEl>
                                          <p:spTgt spid="68"/>
                                        </p:tgtEl>
                                      </p:cBhvr>
                                      <p:by x="0" y="0"/>
                                    </p:animScale>
                                  </p:childTnLst>
                                </p:cTn>
                              </p:par>
                              <p:par>
                                <p:cTn id="26" presetID="16" presetClass="entr" presetSubtype="4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arn(outHorizontal)">
                                      <p:cBhvr>
                                        <p:cTn id="28" dur="500"/>
                                        <p:tgtEl>
                                          <p:spTgt spid="10"/>
                                        </p:tgtEl>
                                      </p:cBhvr>
                                    </p:animEffect>
                                  </p:childTnLst>
                                </p:cTn>
                              </p:par>
                              <p:par>
                                <p:cTn id="29" presetID="16" presetClass="entr" presetSubtype="37"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barn(outVertical)">
                                      <p:cBhvr>
                                        <p:cTn id="31" dur="500"/>
                                        <p:tgtEl>
                                          <p:spTgt spid="11"/>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nodeType="withEffect">
                                  <p:stCondLst>
                                    <p:cond delay="50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69" grpId="0"/>
      <p:bldP spid="69" grpId="1"/>
      <p:bldP spid="71" grpId="0"/>
      <p:bldP spid="71" grpId="1"/>
      <p:bldP spid="70" grpId="0"/>
      <p:bldP spid="70" grpId="1"/>
      <p:bldP spid="68" grpId="0"/>
      <p:bldP spid="68" grpId="1"/>
      <p:bldP spid="7" grpId="0" animBg="1"/>
      <p:bldP spid="8" grpId="0" animBg="1"/>
      <p:bldP spid="58"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latin typeface="Segoe UI Light"/>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5310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dirty="0"/>
              <a:t>Virtual Networking Services</a:t>
            </a:r>
          </a:p>
        </p:txBody>
      </p:sp>
      <p:pic>
        <p:nvPicPr>
          <p:cNvPr id="7" name="Picture Placeholder 6" descr="A picture containing scene, road, way&#10;&#10;Description generated with high confidence">
            <a:extLst>
              <a:ext uri="{FF2B5EF4-FFF2-40B4-BE49-F238E27FC236}">
                <a16:creationId xmlns:a16="http://schemas.microsoft.com/office/drawing/2014/main" id="{D947569C-CE1F-4E92-9DEA-5AB95DAE6F76}"/>
              </a:ext>
            </a:extLst>
          </p:cNvPr>
          <p:cNvPicPr>
            <a:picLocks noGrp="1" noChangeAspect="1"/>
          </p:cNvPicPr>
          <p:nvPr>
            <p:ph type="pic" sz="quarter" idx="10"/>
          </p:nvPr>
        </p:nvPicPr>
        <p:blipFill>
          <a:blip r:embed="rId3"/>
          <a:srcRect l="27775" r="27775"/>
          <a:stretch>
            <a:fillRect/>
          </a:stretch>
        </p:blipFill>
        <p:spPr/>
      </p:pic>
    </p:spTree>
    <p:extLst>
      <p:ext uri="{BB962C8B-B14F-4D97-AF65-F5344CB8AC3E}">
        <p14:creationId xmlns:p14="http://schemas.microsoft.com/office/powerpoint/2010/main" val="9897127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529605" y="1361404"/>
            <a:ext cx="11449272" cy="538104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505420"/>
            <a:ext cx="4392488" cy="4955203"/>
          </a:xfrm>
        </p:spPr>
        <p:txBody>
          <a:bodyPr/>
          <a:lstStyle/>
          <a:p>
            <a:pPr marL="0" indent="0">
              <a:spcAft>
                <a:spcPts val="1800"/>
              </a:spcAft>
              <a:buNone/>
            </a:pPr>
            <a:r>
              <a:rPr lang="en-GB" sz="2000" b="1">
                <a:latin typeface="+mn-lt"/>
                <a:cs typeface="Segoe UI Light" panose="020B0502040204020203" pitchFamily="34" charset="0"/>
              </a:rPr>
              <a:t>VNET</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Secure IPv4 / IPv6 private network</a:t>
            </a:r>
          </a:p>
          <a:p>
            <a:pPr marL="0" indent="0">
              <a:spcAft>
                <a:spcPts val="1800"/>
              </a:spcAft>
              <a:buNone/>
            </a:pPr>
            <a:r>
              <a:rPr lang="en-GB" sz="2000" b="1">
                <a:latin typeface="+mn-lt"/>
                <a:cs typeface="Segoe UI Light" panose="020B0502040204020203" pitchFamily="34" charset="0"/>
              </a:rPr>
              <a:t>NIC</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Network interface </a:t>
            </a:r>
            <a:br>
              <a:rPr lang="en-GB" sz="2000">
                <a:solidFill>
                  <a:schemeClr val="tx1"/>
                </a:solidFill>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with up to 25Gps throughput)</a:t>
            </a:r>
          </a:p>
          <a:p>
            <a:pPr marL="0" indent="0">
              <a:spcAft>
                <a:spcPts val="1800"/>
              </a:spcAft>
              <a:buNone/>
            </a:pPr>
            <a:r>
              <a:rPr lang="en-GB" sz="2000" b="1">
                <a:latin typeface="+mn-lt"/>
                <a:cs typeface="Segoe UI Light" panose="020B0502040204020203" pitchFamily="34" charset="0"/>
              </a:rPr>
              <a:t>Network Security Groups</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Firewall and ACL</a:t>
            </a:r>
            <a:br>
              <a:rPr lang="en-GB" sz="2000">
                <a:solidFill>
                  <a:schemeClr val="tx1"/>
                </a:solidFill>
                <a:latin typeface="Segoe UI Light" panose="020B0502040204020203" pitchFamily="34" charset="0"/>
                <a:cs typeface="Segoe UI Light" panose="020B0502040204020203" pitchFamily="34" charset="0"/>
              </a:rPr>
            </a:br>
            <a:endParaRPr lang="en-GB" sz="2000">
              <a:solidFill>
                <a:schemeClr val="tx1"/>
              </a:solidFill>
              <a:latin typeface="Segoe UI Light" panose="020B0502040204020203" pitchFamily="34" charset="0"/>
              <a:cs typeface="Segoe UI Light" panose="020B0502040204020203" pitchFamily="34" charset="0"/>
            </a:endParaRPr>
          </a:p>
          <a:p>
            <a:pPr marL="0" indent="0">
              <a:spcAft>
                <a:spcPts val="1800"/>
              </a:spcAft>
              <a:buNone/>
            </a:pPr>
            <a:r>
              <a:rPr lang="en-GB" sz="2000" b="1">
                <a:latin typeface="+mn-lt"/>
                <a:cs typeface="Segoe UI Light" panose="020B0502040204020203" pitchFamily="34" charset="0"/>
              </a:rPr>
              <a:t>Load Balancer</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Layer 4 load balancer with flexible NAT &amp; rules</a:t>
            </a:r>
          </a:p>
          <a:p>
            <a:pPr marL="0" indent="0">
              <a:spcAft>
                <a:spcPts val="1800"/>
              </a:spcAft>
              <a:buNone/>
            </a:pPr>
            <a:r>
              <a:rPr lang="en-GB" sz="2000" b="1">
                <a:latin typeface="+mn-lt"/>
              </a:rPr>
              <a:t>VPN Gateway</a:t>
            </a:r>
            <a:br>
              <a:rPr lang="en-GB" sz="2000"/>
            </a:br>
            <a:r>
              <a:rPr lang="en-GB" sz="2000"/>
              <a:t>Site to Site IPsec VPN tunnels</a:t>
            </a:r>
            <a:endParaRPr lang="en-GB" sz="2000">
              <a:solidFill>
                <a:schemeClr val="tx1"/>
              </a:solidFill>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p:txBody>
          <a:bodyPr/>
          <a:lstStyle/>
          <a:p>
            <a:r>
              <a:rPr lang="en-GB"/>
              <a:t>Azure Networking – Core Services</a:t>
            </a:r>
          </a:p>
        </p:txBody>
      </p:sp>
      <p:pic>
        <p:nvPicPr>
          <p:cNvPr id="4" name="Picture 3"/>
          <p:cNvPicPr>
            <a:picLocks noChangeAspect="1"/>
          </p:cNvPicPr>
          <p:nvPr/>
        </p:nvPicPr>
        <p:blipFill>
          <a:blip r:embed="rId3"/>
          <a:stretch>
            <a:fillRect/>
          </a:stretch>
        </p:blipFill>
        <p:spPr>
          <a:xfrm>
            <a:off x="960920" y="1590611"/>
            <a:ext cx="576000" cy="576000"/>
          </a:xfrm>
          <a:prstGeom prst="rect">
            <a:avLst/>
          </a:prstGeom>
        </p:spPr>
      </p:pic>
      <p:pic>
        <p:nvPicPr>
          <p:cNvPr id="5" name="Picture 4"/>
          <p:cNvPicPr>
            <a:picLocks noChangeAspect="1"/>
          </p:cNvPicPr>
          <p:nvPr/>
        </p:nvPicPr>
        <p:blipFill>
          <a:blip r:embed="rId4"/>
          <a:stretch>
            <a:fillRect/>
          </a:stretch>
        </p:blipFill>
        <p:spPr>
          <a:xfrm>
            <a:off x="960920" y="3641757"/>
            <a:ext cx="576000" cy="576000"/>
          </a:xfrm>
          <a:prstGeom prst="rect">
            <a:avLst/>
          </a:prstGeom>
        </p:spPr>
      </p:pic>
      <p:pic>
        <p:nvPicPr>
          <p:cNvPr id="6" name="Picture 5"/>
          <p:cNvPicPr>
            <a:picLocks noChangeAspect="1"/>
          </p:cNvPicPr>
          <p:nvPr/>
        </p:nvPicPr>
        <p:blipFill>
          <a:blip r:embed="rId5"/>
          <a:stretch>
            <a:fillRect/>
          </a:stretch>
        </p:blipFill>
        <p:spPr>
          <a:xfrm>
            <a:off x="960920" y="4736981"/>
            <a:ext cx="576000" cy="576000"/>
          </a:xfrm>
          <a:prstGeom prst="rect">
            <a:avLst/>
          </a:prstGeom>
        </p:spPr>
      </p:pic>
      <p:pic>
        <p:nvPicPr>
          <p:cNvPr id="13" name="Picture 12"/>
          <p:cNvPicPr>
            <a:picLocks noChangeAspect="1"/>
          </p:cNvPicPr>
          <p:nvPr/>
        </p:nvPicPr>
        <p:blipFill>
          <a:blip r:embed="rId6"/>
          <a:stretch>
            <a:fillRect/>
          </a:stretch>
        </p:blipFill>
        <p:spPr>
          <a:xfrm>
            <a:off x="990904" y="2605876"/>
            <a:ext cx="492186" cy="492186"/>
          </a:xfrm>
          <a:prstGeom prst="rect">
            <a:avLst/>
          </a:prstGeom>
        </p:spPr>
      </p:pic>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505420"/>
            <a:ext cx="4824536" cy="5232202"/>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a:t>Application Gateway</a:t>
            </a:r>
            <a:br>
              <a:rPr lang="en-GB"/>
            </a:br>
            <a:r>
              <a:rPr lang="en-GB">
                <a:latin typeface="+mj-lt"/>
              </a:rPr>
              <a:t>Layer 7 LB with SSL offloading &amp; affinity rules</a:t>
            </a:r>
          </a:p>
          <a:p>
            <a:r>
              <a:rPr lang="en-GB"/>
              <a:t>Traffic Manager</a:t>
            </a:r>
            <a:br>
              <a:rPr lang="en-GB"/>
            </a:br>
            <a:r>
              <a:rPr lang="en-GB">
                <a:latin typeface="+mj-lt"/>
              </a:rPr>
              <a:t>Globally distribute load across regions </a:t>
            </a:r>
          </a:p>
          <a:p>
            <a:br>
              <a:rPr lang="en-GB">
                <a:latin typeface="+mj-lt"/>
              </a:rPr>
            </a:br>
            <a:r>
              <a:rPr lang="en-GB"/>
              <a:t>Azure CDN</a:t>
            </a:r>
            <a:br>
              <a:rPr lang="en-GB"/>
            </a:br>
            <a:r>
              <a:rPr lang="en-GB">
                <a:latin typeface="+mj-lt"/>
              </a:rPr>
              <a:t>Scalable content caching from </a:t>
            </a:r>
            <a:r>
              <a:rPr lang="en-GB" err="1">
                <a:latin typeface="+mj-lt"/>
              </a:rPr>
              <a:t>Akami</a:t>
            </a:r>
            <a:r>
              <a:rPr lang="en-GB">
                <a:latin typeface="+mj-lt"/>
              </a:rPr>
              <a:t> &amp; Verizon</a:t>
            </a:r>
          </a:p>
          <a:p>
            <a:r>
              <a:rPr lang="en-GB"/>
              <a:t>Azure DNS</a:t>
            </a:r>
            <a:br>
              <a:rPr lang="en-GB"/>
            </a:br>
            <a:r>
              <a:rPr lang="en-GB">
                <a:latin typeface="+mj-lt"/>
              </a:rPr>
              <a:t>Name servers &amp; manageable DNS zones</a:t>
            </a:r>
          </a:p>
          <a:p>
            <a:r>
              <a:rPr lang="en-GB"/>
              <a:t>Express Route</a:t>
            </a:r>
            <a:br>
              <a:rPr lang="en-GB"/>
            </a:br>
            <a:r>
              <a:rPr lang="en-GB">
                <a:latin typeface="+mj-lt"/>
              </a:rPr>
              <a:t>Private L3 provider connection </a:t>
            </a:r>
            <a:br>
              <a:rPr lang="en-GB">
                <a:latin typeface="+mj-lt"/>
              </a:rPr>
            </a:br>
            <a:r>
              <a:rPr lang="en-GB">
                <a:latin typeface="+mj-lt"/>
              </a:rPr>
              <a:t>into Azure </a:t>
            </a:r>
            <a:r>
              <a:rPr lang="en-GB" err="1">
                <a:latin typeface="+mj-lt"/>
              </a:rPr>
              <a:t>datacenters</a:t>
            </a:r>
            <a:endParaRPr lang="en-GB">
              <a:latin typeface="+mj-lt"/>
            </a:endParaRPr>
          </a:p>
        </p:txBody>
      </p:sp>
      <p:pic>
        <p:nvPicPr>
          <p:cNvPr id="9" name="Picture 8">
            <a:extLst>
              <a:ext uri="{FF2B5EF4-FFF2-40B4-BE49-F238E27FC236}">
                <a16:creationId xmlns:a16="http://schemas.microsoft.com/office/drawing/2014/main" id="{58E00D3F-EDCE-445B-8BC2-3F3065535045}"/>
              </a:ext>
            </a:extLst>
          </p:cNvPr>
          <p:cNvPicPr>
            <a:picLocks noChangeAspect="1"/>
          </p:cNvPicPr>
          <p:nvPr/>
        </p:nvPicPr>
        <p:blipFill>
          <a:blip r:embed="rId7"/>
          <a:stretch>
            <a:fillRect/>
          </a:stretch>
        </p:blipFill>
        <p:spPr>
          <a:xfrm>
            <a:off x="6069439" y="1631346"/>
            <a:ext cx="576000" cy="576000"/>
          </a:xfrm>
          <a:prstGeom prst="rect">
            <a:avLst/>
          </a:prstGeom>
        </p:spPr>
      </p:pic>
      <p:pic>
        <p:nvPicPr>
          <p:cNvPr id="10" name="Picture 9">
            <a:extLst>
              <a:ext uri="{FF2B5EF4-FFF2-40B4-BE49-F238E27FC236}">
                <a16:creationId xmlns:a16="http://schemas.microsoft.com/office/drawing/2014/main" id="{6608B730-A35F-4332-80C4-B07CA56C6E26}"/>
              </a:ext>
            </a:extLst>
          </p:cNvPr>
          <p:cNvPicPr>
            <a:picLocks noChangeAspect="1"/>
          </p:cNvPicPr>
          <p:nvPr/>
        </p:nvPicPr>
        <p:blipFill>
          <a:blip r:embed="rId8"/>
          <a:stretch>
            <a:fillRect/>
          </a:stretch>
        </p:blipFill>
        <p:spPr>
          <a:xfrm>
            <a:off x="6069439" y="2721569"/>
            <a:ext cx="556393" cy="556393"/>
          </a:xfrm>
          <a:prstGeom prst="rect">
            <a:avLst/>
          </a:prstGeom>
        </p:spPr>
      </p:pic>
      <p:pic>
        <p:nvPicPr>
          <p:cNvPr id="11" name="Picture 10">
            <a:extLst>
              <a:ext uri="{FF2B5EF4-FFF2-40B4-BE49-F238E27FC236}">
                <a16:creationId xmlns:a16="http://schemas.microsoft.com/office/drawing/2014/main" id="{9D236B0B-495E-45A5-AE8E-34A7B740500D}"/>
              </a:ext>
            </a:extLst>
          </p:cNvPr>
          <p:cNvPicPr>
            <a:picLocks noChangeAspect="1"/>
          </p:cNvPicPr>
          <p:nvPr/>
        </p:nvPicPr>
        <p:blipFill>
          <a:blip r:embed="rId9"/>
          <a:stretch>
            <a:fillRect/>
          </a:stretch>
        </p:blipFill>
        <p:spPr>
          <a:xfrm>
            <a:off x="6049832" y="3894931"/>
            <a:ext cx="576000" cy="576000"/>
          </a:xfrm>
          <a:prstGeom prst="rect">
            <a:avLst/>
          </a:prstGeom>
        </p:spPr>
      </p:pic>
      <p:pic>
        <p:nvPicPr>
          <p:cNvPr id="12" name="Picture 11">
            <a:extLst>
              <a:ext uri="{FF2B5EF4-FFF2-40B4-BE49-F238E27FC236}">
                <a16:creationId xmlns:a16="http://schemas.microsoft.com/office/drawing/2014/main" id="{31723053-1DD1-4C1D-B660-5AF2C10E43E2}"/>
              </a:ext>
            </a:extLst>
          </p:cNvPr>
          <p:cNvPicPr>
            <a:picLocks noChangeAspect="1"/>
          </p:cNvPicPr>
          <p:nvPr/>
        </p:nvPicPr>
        <p:blipFill>
          <a:blip r:embed="rId10"/>
          <a:stretch>
            <a:fillRect/>
          </a:stretch>
        </p:blipFill>
        <p:spPr>
          <a:xfrm>
            <a:off x="6069439" y="4915342"/>
            <a:ext cx="576000" cy="576000"/>
          </a:xfrm>
          <a:prstGeom prst="rect">
            <a:avLst/>
          </a:prstGeom>
        </p:spPr>
      </p:pic>
      <p:pic>
        <p:nvPicPr>
          <p:cNvPr id="15" name="Picture 14">
            <a:extLst>
              <a:ext uri="{FF2B5EF4-FFF2-40B4-BE49-F238E27FC236}">
                <a16:creationId xmlns:a16="http://schemas.microsoft.com/office/drawing/2014/main" id="{A2160193-6070-4FDD-83E6-3E463652F334}"/>
              </a:ext>
            </a:extLst>
          </p:cNvPr>
          <p:cNvPicPr>
            <a:picLocks noChangeAspect="1"/>
          </p:cNvPicPr>
          <p:nvPr/>
        </p:nvPicPr>
        <p:blipFill>
          <a:blip r:embed="rId11"/>
          <a:stretch>
            <a:fillRect/>
          </a:stretch>
        </p:blipFill>
        <p:spPr>
          <a:xfrm>
            <a:off x="966533" y="5751646"/>
            <a:ext cx="561013" cy="561013"/>
          </a:xfrm>
          <a:prstGeom prst="rect">
            <a:avLst/>
          </a:prstGeom>
        </p:spPr>
      </p:pic>
      <p:pic>
        <p:nvPicPr>
          <p:cNvPr id="22" name="Graphic 21">
            <a:extLst>
              <a:ext uri="{FF2B5EF4-FFF2-40B4-BE49-F238E27FC236}">
                <a16:creationId xmlns:a16="http://schemas.microsoft.com/office/drawing/2014/main" id="{328BCA80-FDAB-4E79-B3AB-ED191766BB4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43122" y="5911091"/>
            <a:ext cx="628633" cy="628633"/>
          </a:xfrm>
          <a:prstGeom prst="rect">
            <a:avLst/>
          </a:prstGeom>
        </p:spPr>
      </p:pic>
    </p:spTree>
    <p:extLst>
      <p:ext uri="{BB962C8B-B14F-4D97-AF65-F5344CB8AC3E}">
        <p14:creationId xmlns:p14="http://schemas.microsoft.com/office/powerpoint/2010/main" val="9965141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Virtual Network</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216982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Private network address space(s)</a:t>
            </a:r>
          </a:p>
          <a:p>
            <a:pPr marL="285750" indent="-285750">
              <a:spcAft>
                <a:spcPts val="600"/>
              </a:spcAft>
              <a:buFont typeface="Arial" panose="020B0604020202020204" pitchFamily="34" charset="0"/>
              <a:buChar char="•"/>
            </a:pPr>
            <a:r>
              <a:rPr lang="en-GB" sz="2000"/>
              <a:t>Dedicated to the subscription</a:t>
            </a:r>
          </a:p>
          <a:p>
            <a:pPr marL="285750" indent="-285750">
              <a:spcAft>
                <a:spcPts val="600"/>
              </a:spcAft>
              <a:buFont typeface="Arial" panose="020B0604020202020204" pitchFamily="34" charset="0"/>
              <a:buChar char="•"/>
            </a:pPr>
            <a:r>
              <a:rPr lang="en-GB" sz="2000"/>
              <a:t>Isolated</a:t>
            </a:r>
          </a:p>
          <a:p>
            <a:pPr marL="285750" indent="-285750">
              <a:spcAft>
                <a:spcPts val="600"/>
              </a:spcAft>
              <a:buFont typeface="Arial" panose="020B0604020202020204" pitchFamily="34" charset="0"/>
              <a:buChar char="•"/>
            </a:pPr>
            <a:r>
              <a:rPr lang="en-GB" sz="2000"/>
              <a:t>CIDR notation</a:t>
            </a:r>
          </a:p>
        </p:txBody>
      </p:sp>
      <p:sp>
        <p:nvSpPr>
          <p:cNvPr id="10" name="TextBox 9">
            <a:extLst>
              <a:ext uri="{FF2B5EF4-FFF2-40B4-BE49-F238E27FC236}">
                <a16:creationId xmlns:a16="http://schemas.microsoft.com/office/drawing/2014/main" id="{49619E7B-1D00-43B7-BAAC-E2C49992DF82}"/>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7" name="TextBox 6">
            <a:extLst>
              <a:ext uri="{FF2B5EF4-FFF2-40B4-BE49-F238E27FC236}">
                <a16:creationId xmlns:a16="http://schemas.microsoft.com/office/drawing/2014/main" id="{F623520A-1A7C-419A-8DF0-7EC6204FCF5B}"/>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Tree>
    <p:extLst>
      <p:ext uri="{BB962C8B-B14F-4D97-AF65-F5344CB8AC3E}">
        <p14:creationId xmlns:p14="http://schemas.microsoft.com/office/powerpoint/2010/main" val="4163426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par>
                                <p:cTn id="8" presetID="10" presetClass="entr" presetSubtype="0" fill="hold" nodeType="withEffect">
                                  <p:stCondLst>
                                    <p:cond delay="1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2500"/>
                            </p:stCondLst>
                            <p:childTnLst>
                              <p:par>
                                <p:cTn id="19" presetID="10" presetClass="entr" presetSubtype="0" fill="hold" grpId="0" nodeType="afterEffect">
                                  <p:stCondLst>
                                    <p:cond delay="0"/>
                                  </p:stCondLst>
                                  <p:childTnLst>
                                    <p:set>
                                      <p:cBhvr>
                                        <p:cTn id="20" dur="1" fill="hold">
                                          <p:stCondLst>
                                            <p:cond delay="0"/>
                                          </p:stCondLst>
                                        </p:cTn>
                                        <p:tgtEl>
                                          <p:spTgt spid="9">
                                            <p:txEl>
                                              <p:pRg st="0" end="0"/>
                                            </p:txEl>
                                          </p:spTgt>
                                        </p:tgtEl>
                                        <p:attrNameLst>
                                          <p:attrName>style.visibility</p:attrName>
                                        </p:attrNameLst>
                                      </p:cBhvr>
                                      <p:to>
                                        <p:strVal val="visible"/>
                                      </p:to>
                                    </p:set>
                                    <p:animEffect transition="in" filter="fade">
                                      <p:cBhvr>
                                        <p:cTn id="21" dur="500"/>
                                        <p:tgtEl>
                                          <p:spTgt spid="9">
                                            <p:txEl>
                                              <p:pRg st="0" end="0"/>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1" end="1"/>
                                            </p:txEl>
                                          </p:spTgt>
                                        </p:tgtEl>
                                        <p:attrNameLst>
                                          <p:attrName>style.visibility</p:attrName>
                                        </p:attrNameLst>
                                      </p:cBhvr>
                                      <p:to>
                                        <p:strVal val="visible"/>
                                      </p:to>
                                    </p:set>
                                    <p:animEffect transition="in" filter="fade">
                                      <p:cBhvr>
                                        <p:cTn id="24" dur="500"/>
                                        <p:tgtEl>
                                          <p:spTgt spid="9">
                                            <p:txEl>
                                              <p:pRg st="1" end="1"/>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2" end="2"/>
                                            </p:txEl>
                                          </p:spTgt>
                                        </p:tgtEl>
                                        <p:attrNameLst>
                                          <p:attrName>style.visibility</p:attrName>
                                        </p:attrNameLst>
                                      </p:cBhvr>
                                      <p:to>
                                        <p:strVal val="visible"/>
                                      </p:to>
                                    </p:set>
                                    <p:animEffect transition="in" filter="fade">
                                      <p:cBhvr>
                                        <p:cTn id="27" dur="500"/>
                                        <p:tgtEl>
                                          <p:spTgt spid="9">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3" end="3"/>
                                            </p:txEl>
                                          </p:spTgt>
                                        </p:tgtEl>
                                        <p:attrNameLst>
                                          <p:attrName>style.visibility</p:attrName>
                                        </p:attrNameLst>
                                      </p:cBhvr>
                                      <p:to>
                                        <p:strVal val="visible"/>
                                      </p:to>
                                    </p:set>
                                    <p:animEffect transition="in" filter="fade">
                                      <p:cBhvr>
                                        <p:cTn id="30"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build="allAtOnce"/>
      <p:bldP spid="10" grpId="0"/>
      <p:bldP spid="7"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Subnet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347787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Subnets within the vNet address space </a:t>
            </a:r>
          </a:p>
          <a:p>
            <a:pPr marL="285750" indent="-285750">
              <a:spcAft>
                <a:spcPts val="600"/>
              </a:spcAft>
              <a:buFont typeface="Arial" panose="020B0604020202020204" pitchFamily="34" charset="0"/>
              <a:buChar char="•"/>
            </a:pPr>
            <a:r>
              <a:rPr lang="en-GB" sz="2000"/>
              <a:t>Non-overlapping</a:t>
            </a:r>
          </a:p>
          <a:p>
            <a:pPr marL="285750" indent="-285750">
              <a:spcAft>
                <a:spcPts val="600"/>
              </a:spcAft>
              <a:buFont typeface="Arial" panose="020B0604020202020204" pitchFamily="34" charset="0"/>
              <a:buChar char="•"/>
            </a:pPr>
            <a:r>
              <a:rPr lang="en-GB" sz="2000"/>
              <a:t>Do not need to be contiguous</a:t>
            </a:r>
          </a:p>
          <a:p>
            <a:pPr marL="285750" indent="-285750">
              <a:spcAft>
                <a:spcPts val="600"/>
              </a:spcAft>
              <a:buFont typeface="Arial" panose="020B0604020202020204" pitchFamily="34" charset="0"/>
              <a:buChar char="•"/>
            </a:pPr>
            <a:r>
              <a:rPr lang="en-GB" sz="2000"/>
              <a:t>Automatic route table between subnets</a:t>
            </a:r>
          </a:p>
          <a:p>
            <a:pPr marL="285750" indent="-285750">
              <a:spcAft>
                <a:spcPts val="600"/>
              </a:spcAft>
              <a:buFont typeface="Arial" panose="020B0604020202020204" pitchFamily="34" charset="0"/>
              <a:buChar char="•"/>
            </a:pPr>
            <a:r>
              <a:rPr lang="en-GB" sz="2000"/>
              <a:t>Default route out to internet</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73386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heel(1)">
                                      <p:cBhvr>
                                        <p:cTn id="7" dur="2000"/>
                                        <p:tgtEl>
                                          <p:spTgt spid="10"/>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3000"/>
                            </p:stCondLst>
                            <p:childTnLst>
                              <p:par>
                                <p:cTn id="17" presetID="21" presetClass="entr" presetSubtype="1"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heel(1)">
                                      <p:cBhvr>
                                        <p:cTn id="19" dur="2000"/>
                                        <p:tgtEl>
                                          <p:spTgt spid="8"/>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p:bldP spid="12" grpId="0"/>
      <p:bldP spid="14" grpId="0"/>
      <p:bldP spid="15"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Network Security Group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440120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Layer 4 security rules</a:t>
            </a:r>
          </a:p>
          <a:p>
            <a:pPr marL="285750" indent="-285750">
              <a:spcAft>
                <a:spcPts val="600"/>
              </a:spcAft>
              <a:buFont typeface="Arial" panose="020B0604020202020204" pitchFamily="34" charset="0"/>
              <a:buChar char="•"/>
            </a:pPr>
            <a:r>
              <a:rPr lang="en-GB" sz="2000"/>
              <a:t>Inbound &amp; outbound</a:t>
            </a:r>
          </a:p>
          <a:p>
            <a:pPr marL="285750" indent="-285750">
              <a:spcAft>
                <a:spcPts val="600"/>
              </a:spcAft>
              <a:buFont typeface="Arial" panose="020B0604020202020204" pitchFamily="34" charset="0"/>
              <a:buChar char="•"/>
            </a:pPr>
            <a:r>
              <a:rPr lang="en-GB" sz="2000"/>
              <a:t>Tuples – address, port, protocol</a:t>
            </a:r>
          </a:p>
          <a:p>
            <a:pPr marL="285750" indent="-285750">
              <a:spcAft>
                <a:spcPts val="600"/>
              </a:spcAft>
              <a:buFont typeface="Arial" panose="020B0604020202020204" pitchFamily="34" charset="0"/>
              <a:buChar char="•"/>
            </a:pPr>
            <a:r>
              <a:rPr lang="en-GB" sz="2000"/>
              <a:t>Subnets and NICs</a:t>
            </a:r>
          </a:p>
          <a:p>
            <a:pPr marL="285750" indent="-285750">
              <a:spcAft>
                <a:spcPts val="600"/>
              </a:spcAft>
              <a:buFont typeface="Arial" panose="020B0604020202020204" pitchFamily="34" charset="0"/>
              <a:buChar char="•"/>
            </a:pPr>
            <a:r>
              <a:rPr lang="en-GB" sz="2000"/>
              <a:t>Defaults</a:t>
            </a:r>
          </a:p>
          <a:p>
            <a:pPr marL="752121" lvl="1" indent="-285750">
              <a:spcAft>
                <a:spcPts val="600"/>
              </a:spcAft>
              <a:buFont typeface="Arial" panose="020B0604020202020204" pitchFamily="34" charset="0"/>
              <a:buChar char="•"/>
            </a:pPr>
            <a:r>
              <a:rPr lang="en-GB" sz="2000"/>
              <a:t>Within vNet</a:t>
            </a:r>
          </a:p>
          <a:p>
            <a:pPr marL="752121" lvl="1" indent="-285750">
              <a:spcAft>
                <a:spcPts val="600"/>
              </a:spcAft>
              <a:buFont typeface="Arial" panose="020B0604020202020204" pitchFamily="34" charset="0"/>
              <a:buChar char="•"/>
            </a:pPr>
            <a:r>
              <a:rPr lang="en-GB" sz="2000"/>
              <a:t>To the internet</a:t>
            </a:r>
          </a:p>
          <a:p>
            <a:pPr marL="752121" lvl="1" indent="-285750">
              <a:spcAft>
                <a:spcPts val="600"/>
              </a:spcAft>
              <a:buFont typeface="Arial" panose="020B0604020202020204" pitchFamily="34" charset="0"/>
              <a:buChar char="•"/>
            </a:pPr>
            <a:r>
              <a:rPr lang="en-GB" sz="2000"/>
              <a:t>Load balancer</a:t>
            </a:r>
          </a:p>
          <a:p>
            <a:pPr marL="752121" lvl="1" indent="-285750">
              <a:spcAft>
                <a:spcPts val="600"/>
              </a:spcAft>
              <a:buFont typeface="Arial" panose="020B0604020202020204" pitchFamily="34" charset="0"/>
              <a:buChar char="•"/>
            </a:pPr>
            <a:r>
              <a:rPr lang="en-GB" sz="2000"/>
              <a:t>RDP &amp; SSH</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Tree>
    <p:extLst>
      <p:ext uri="{BB962C8B-B14F-4D97-AF65-F5344CB8AC3E}">
        <p14:creationId xmlns:p14="http://schemas.microsoft.com/office/powerpoint/2010/main" val="2043587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circle(out)">
                                      <p:cBhvr>
                                        <p:cTn id="7" dur="2000"/>
                                        <p:tgtEl>
                                          <p:spTgt spid="17"/>
                                        </p:tgtEl>
                                      </p:cBhvr>
                                    </p:animEffect>
                                  </p:childTnLst>
                                </p:cTn>
                              </p:par>
                            </p:childTnLst>
                          </p:cTn>
                        </p:par>
                        <p:par>
                          <p:cTn id="8" fill="hold">
                            <p:stCondLst>
                              <p:cond delay="2000"/>
                            </p:stCondLst>
                            <p:childTnLst>
                              <p:par>
                                <p:cTn id="9" presetID="6" presetClass="entr" presetSubtype="32"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circle(out)">
                                      <p:cBhvr>
                                        <p:cTn id="11"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b="1" dirty="0">
                <a:solidFill>
                  <a:schemeClr val="tx1"/>
                </a:solidFill>
              </a:rPr>
              <a:t>Augmented Rules</a:t>
            </a:r>
            <a:endParaRPr lang="en-US" dirty="0"/>
          </a:p>
        </p:txBody>
      </p:sp>
      <p:sp>
        <p:nvSpPr>
          <p:cNvPr id="5" name="Text Placeholder 2">
            <a:extLst>
              <a:ext uri="{FF2B5EF4-FFF2-40B4-BE49-F238E27FC236}">
                <a16:creationId xmlns:a16="http://schemas.microsoft.com/office/drawing/2014/main" id="{F0792BFE-97AC-489E-A755-499637BA56A5}"/>
              </a:ext>
            </a:extLst>
          </p:cNvPr>
          <p:cNvSpPr>
            <a:spLocks noGrp="1"/>
          </p:cNvSpPr>
          <p:nvPr>
            <p:ph type="body" sz="quarter" idx="10"/>
          </p:nvPr>
        </p:nvSpPr>
        <p:spPr>
          <a:xfrm>
            <a:off x="29824" y="1122766"/>
            <a:ext cx="5971393" cy="5154744"/>
          </a:xfrm>
        </p:spPr>
        <p:txBody>
          <a:bodyPr/>
          <a:lstStyle/>
          <a:p>
            <a:pPr marL="457200" indent="-457200" defTabSz="914367">
              <a:spcBef>
                <a:spcPts val="2941"/>
              </a:spcBef>
              <a:buFont typeface="Arial" panose="020B0604020202020204" pitchFamily="34" charset="0"/>
              <a:buChar char="•"/>
              <a:defRPr/>
            </a:pPr>
            <a:r>
              <a:rPr lang="en-US" sz="3200" dirty="0">
                <a:solidFill>
                  <a:schemeClr val="tx1"/>
                </a:solidFill>
                <a:latin typeface="Segoe UI Semilight"/>
              </a:rPr>
              <a:t>Simplified security definition for larger and more complex network security policies with fewer rules.</a:t>
            </a:r>
          </a:p>
          <a:p>
            <a:pPr marL="457200" indent="-457200" defTabSz="914367">
              <a:spcBef>
                <a:spcPts val="2941"/>
              </a:spcBef>
              <a:buFont typeface="Arial" panose="020B0604020202020204" pitchFamily="34" charset="0"/>
              <a:buChar char="•"/>
              <a:defRPr/>
            </a:pPr>
            <a:r>
              <a:rPr lang="en-US" sz="3200" dirty="0">
                <a:solidFill>
                  <a:schemeClr val="tx1"/>
                </a:solidFill>
                <a:latin typeface="Segoe UI Semilight"/>
              </a:rPr>
              <a:t>Multiple source/destination IP ranges and multiple ports in a single rule to improve maintenance of network security policies.</a:t>
            </a:r>
          </a:p>
          <a:p>
            <a:endParaRPr lang="en-US" dirty="0"/>
          </a:p>
        </p:txBody>
      </p:sp>
      <p:pic>
        <p:nvPicPr>
          <p:cNvPr id="9" name="Picture 8">
            <a:extLst>
              <a:ext uri="{FF2B5EF4-FFF2-40B4-BE49-F238E27FC236}">
                <a16:creationId xmlns:a16="http://schemas.microsoft.com/office/drawing/2014/main" id="{E96BC392-7ABC-4DFC-B483-F143CAC612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1560" y="1370537"/>
            <a:ext cx="836061" cy="911168"/>
          </a:xfrm>
          <a:prstGeom prst="rect">
            <a:avLst/>
          </a:prstGeom>
        </p:spPr>
      </p:pic>
      <p:cxnSp>
        <p:nvCxnSpPr>
          <p:cNvPr id="10" name="Straight Connector 9">
            <a:extLst>
              <a:ext uri="{FF2B5EF4-FFF2-40B4-BE49-F238E27FC236}">
                <a16:creationId xmlns:a16="http://schemas.microsoft.com/office/drawing/2014/main" id="{43FEBEF3-A666-4E69-9277-0B3DB4EED286}"/>
              </a:ext>
            </a:extLst>
          </p:cNvPr>
          <p:cNvCxnSpPr/>
          <p:nvPr/>
        </p:nvCxnSpPr>
        <p:spPr>
          <a:xfrm flipV="1">
            <a:off x="0" y="1132747"/>
            <a:ext cx="6172200" cy="3903"/>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sp>
        <p:nvSpPr>
          <p:cNvPr id="11" name="Freeform: Shape 15">
            <a:extLst>
              <a:ext uri="{FF2B5EF4-FFF2-40B4-BE49-F238E27FC236}">
                <a16:creationId xmlns:a16="http://schemas.microsoft.com/office/drawing/2014/main" id="{CA9D3E5F-09C1-4B2B-BD9C-AC66D6D69D38}"/>
              </a:ext>
            </a:extLst>
          </p:cNvPr>
          <p:cNvSpPr/>
          <p:nvPr/>
        </p:nvSpPr>
        <p:spPr bwMode="auto">
          <a:xfrm>
            <a:off x="8575794" y="5861123"/>
            <a:ext cx="1430705" cy="825014"/>
          </a:xfrm>
          <a:custGeom>
            <a:avLst/>
            <a:gdLst>
              <a:gd name="connsiteX0" fmla="*/ 921462 w 2666999"/>
              <a:gd name="connsiteY0" fmla="*/ 0 h 1537922"/>
              <a:gd name="connsiteX1" fmla="*/ 1360789 w 2666999"/>
              <a:gd name="connsiteY1" fmla="*/ 181976 h 1537922"/>
              <a:gd name="connsiteX2" fmla="*/ 1425393 w 2666999"/>
              <a:gd name="connsiteY2" fmla="*/ 260276 h 1537922"/>
              <a:gd name="connsiteX3" fmla="*/ 1457522 w 2666999"/>
              <a:gd name="connsiteY3" fmla="*/ 233767 h 1537922"/>
              <a:gd name="connsiteX4" fmla="*/ 1733576 w 2666999"/>
              <a:gd name="connsiteY4" fmla="*/ 149444 h 1537922"/>
              <a:gd name="connsiteX5" fmla="*/ 2227315 w 2666999"/>
              <a:gd name="connsiteY5" fmla="*/ 643183 h 1537922"/>
              <a:gd name="connsiteX6" fmla="*/ 2224150 w 2666999"/>
              <a:gd name="connsiteY6" fmla="*/ 674580 h 1537922"/>
              <a:gd name="connsiteX7" fmla="*/ 2235328 w 2666999"/>
              <a:gd name="connsiteY7" fmla="*/ 674580 h 1537922"/>
              <a:gd name="connsiteX8" fmla="*/ 2666999 w 2666999"/>
              <a:gd name="connsiteY8" fmla="*/ 1106251 h 1537922"/>
              <a:gd name="connsiteX9" fmla="*/ 2235328 w 2666999"/>
              <a:gd name="connsiteY9" fmla="*/ 1537922 h 1537922"/>
              <a:gd name="connsiteX10" fmla="*/ 431671 w 2666999"/>
              <a:gd name="connsiteY10" fmla="*/ 1537922 h 1537922"/>
              <a:gd name="connsiteX11" fmla="*/ 0 w 2666999"/>
              <a:gd name="connsiteY11" fmla="*/ 1106251 h 1537922"/>
              <a:gd name="connsiteX12" fmla="*/ 263645 w 2666999"/>
              <a:gd name="connsiteY12" fmla="*/ 708503 h 1537922"/>
              <a:gd name="connsiteX13" fmla="*/ 307575 w 2666999"/>
              <a:gd name="connsiteY13" fmla="*/ 694867 h 1537922"/>
              <a:gd name="connsiteX14" fmla="*/ 300159 w 2666999"/>
              <a:gd name="connsiteY14" fmla="*/ 621303 h 1537922"/>
              <a:gd name="connsiteX15" fmla="*/ 921462 w 2666999"/>
              <a:gd name="connsiteY15" fmla="*/ 0 h 1537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66999" h="1537922">
                <a:moveTo>
                  <a:pt x="921462" y="0"/>
                </a:moveTo>
                <a:cubicBezTo>
                  <a:pt x="1093030" y="0"/>
                  <a:pt x="1248356" y="69542"/>
                  <a:pt x="1360789" y="181976"/>
                </a:cubicBezTo>
                <a:lnTo>
                  <a:pt x="1425393" y="260276"/>
                </a:lnTo>
                <a:lnTo>
                  <a:pt x="1457522" y="233767"/>
                </a:lnTo>
                <a:cubicBezTo>
                  <a:pt x="1536323" y="180530"/>
                  <a:pt x="1631319" y="149444"/>
                  <a:pt x="1733576" y="149444"/>
                </a:cubicBezTo>
                <a:cubicBezTo>
                  <a:pt x="2006261" y="149444"/>
                  <a:pt x="2227315" y="370498"/>
                  <a:pt x="2227315" y="643183"/>
                </a:cubicBezTo>
                <a:lnTo>
                  <a:pt x="2224150" y="674580"/>
                </a:lnTo>
                <a:lnTo>
                  <a:pt x="2235328" y="674580"/>
                </a:lnTo>
                <a:cubicBezTo>
                  <a:pt x="2473733" y="674580"/>
                  <a:pt x="2666999" y="867846"/>
                  <a:pt x="2666999" y="1106251"/>
                </a:cubicBezTo>
                <a:cubicBezTo>
                  <a:pt x="2666999" y="1344656"/>
                  <a:pt x="2473733" y="1537922"/>
                  <a:pt x="2235328" y="1537922"/>
                </a:cubicBezTo>
                <a:lnTo>
                  <a:pt x="431671" y="1537922"/>
                </a:lnTo>
                <a:cubicBezTo>
                  <a:pt x="193266" y="1537922"/>
                  <a:pt x="0" y="1344656"/>
                  <a:pt x="0" y="1106251"/>
                </a:cubicBezTo>
                <a:cubicBezTo>
                  <a:pt x="0" y="927448"/>
                  <a:pt x="108712" y="774034"/>
                  <a:pt x="263645" y="708503"/>
                </a:cubicBezTo>
                <a:lnTo>
                  <a:pt x="307575" y="694867"/>
                </a:lnTo>
                <a:lnTo>
                  <a:pt x="300159" y="621303"/>
                </a:lnTo>
                <a:cubicBezTo>
                  <a:pt x="300159" y="278167"/>
                  <a:pt x="578326" y="0"/>
                  <a:pt x="921462" y="0"/>
                </a:cubicBezTo>
                <a:close/>
              </a:path>
            </a:pathLst>
          </a:custGeom>
          <a:noFill/>
          <a:ln w="317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268927" numCol="1" spcCol="0" rtlCol="0" fromWordArt="0" anchor="b" anchorCtr="0" forceAA="0" compatLnSpc="1">
            <a:prstTxWarp prst="textNoShape">
              <a:avLst/>
            </a:prstTxWarp>
            <a:noAutofit/>
          </a:bodyPr>
          <a:lstStyle/>
          <a:p>
            <a:pPr defTabSz="914367">
              <a:lnSpc>
                <a:spcPct val="90000"/>
              </a:lnSpc>
              <a:spcAft>
                <a:spcPts val="588"/>
              </a:spcAft>
              <a:defRPr/>
            </a:pPr>
            <a:endParaRPr lang="en-US" sz="2353" dirty="0">
              <a:gradFill>
                <a:gsLst>
                  <a:gs pos="2917">
                    <a:srgbClr val="353535"/>
                  </a:gs>
                  <a:gs pos="30000">
                    <a:srgbClr val="353535"/>
                  </a:gs>
                </a:gsLst>
                <a:lin ang="5400000" scaled="0"/>
              </a:gradFill>
              <a:latin typeface="Segoe UI Semilight"/>
            </a:endParaRPr>
          </a:p>
        </p:txBody>
      </p:sp>
      <p:cxnSp>
        <p:nvCxnSpPr>
          <p:cNvPr id="13" name="Connector: Elbow 17">
            <a:extLst>
              <a:ext uri="{FF2B5EF4-FFF2-40B4-BE49-F238E27FC236}">
                <a16:creationId xmlns:a16="http://schemas.microsoft.com/office/drawing/2014/main" id="{9829E475-EA78-4C3D-9C34-540743F8431B}"/>
              </a:ext>
            </a:extLst>
          </p:cNvPr>
          <p:cNvCxnSpPr>
            <a:cxnSpLocks/>
          </p:cNvCxnSpPr>
          <p:nvPr/>
        </p:nvCxnSpPr>
        <p:spPr>
          <a:xfrm rot="5400000" flipH="1" flipV="1">
            <a:off x="8505249" y="3751283"/>
            <a:ext cx="4174236" cy="1154451"/>
          </a:xfrm>
          <a:prstGeom prst="bentConnector3">
            <a:avLst>
              <a:gd name="adj1" fmla="val 748"/>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 name="Connector: Elbow 18">
            <a:extLst>
              <a:ext uri="{FF2B5EF4-FFF2-40B4-BE49-F238E27FC236}">
                <a16:creationId xmlns:a16="http://schemas.microsoft.com/office/drawing/2014/main" id="{B7596B7F-3FA7-4741-85D9-657B062A4BBB}"/>
              </a:ext>
            </a:extLst>
          </p:cNvPr>
          <p:cNvCxnSpPr>
            <a:cxnSpLocks/>
            <a:endCxn id="12" idx="1"/>
          </p:cNvCxnSpPr>
          <p:nvPr/>
        </p:nvCxnSpPr>
        <p:spPr>
          <a:xfrm rot="16200000" flipH="1">
            <a:off x="5768947" y="3451100"/>
            <a:ext cx="4147659" cy="1448739"/>
          </a:xfrm>
          <a:prstGeom prst="bentConnector2">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aphicFrame>
        <p:nvGraphicFramePr>
          <p:cNvPr id="15" name="Table 14">
            <a:extLst>
              <a:ext uri="{FF2B5EF4-FFF2-40B4-BE49-F238E27FC236}">
                <a16:creationId xmlns:a16="http://schemas.microsoft.com/office/drawing/2014/main" id="{98EA3062-771B-4BAC-969C-22497E888DEA}"/>
              </a:ext>
            </a:extLst>
          </p:cNvPr>
          <p:cNvGraphicFramePr>
            <a:graphicFrameLocks noGrp="1"/>
          </p:cNvGraphicFramePr>
          <p:nvPr>
            <p:extLst/>
          </p:nvPr>
        </p:nvGraphicFramePr>
        <p:xfrm>
          <a:off x="6276314" y="3079151"/>
          <a:ext cx="5966370" cy="2915920"/>
        </p:xfrm>
        <a:graphic>
          <a:graphicData uri="http://schemas.openxmlformats.org/drawingml/2006/table">
            <a:tbl>
              <a:tblPr>
                <a:tableStyleId>{1E171933-4619-4E11-9A3F-F7608DF75F80}</a:tableStyleId>
              </a:tblPr>
              <a:tblGrid>
                <a:gridCol w="554194">
                  <a:extLst>
                    <a:ext uri="{9D8B030D-6E8A-4147-A177-3AD203B41FA5}">
                      <a16:colId xmlns:a16="http://schemas.microsoft.com/office/drawing/2014/main" val="878956919"/>
                    </a:ext>
                  </a:extLst>
                </a:gridCol>
                <a:gridCol w="1642387">
                  <a:extLst>
                    <a:ext uri="{9D8B030D-6E8A-4147-A177-3AD203B41FA5}">
                      <a16:colId xmlns:a16="http://schemas.microsoft.com/office/drawing/2014/main" val="1546973202"/>
                    </a:ext>
                  </a:extLst>
                </a:gridCol>
                <a:gridCol w="1246380">
                  <a:extLst>
                    <a:ext uri="{9D8B030D-6E8A-4147-A177-3AD203B41FA5}">
                      <a16:colId xmlns:a16="http://schemas.microsoft.com/office/drawing/2014/main" val="236321253"/>
                    </a:ext>
                  </a:extLst>
                </a:gridCol>
                <a:gridCol w="1894723">
                  <a:extLst>
                    <a:ext uri="{9D8B030D-6E8A-4147-A177-3AD203B41FA5}">
                      <a16:colId xmlns:a16="http://schemas.microsoft.com/office/drawing/2014/main" val="2021927125"/>
                    </a:ext>
                  </a:extLst>
                </a:gridCol>
                <a:gridCol w="628686">
                  <a:extLst>
                    <a:ext uri="{9D8B030D-6E8A-4147-A177-3AD203B41FA5}">
                      <a16:colId xmlns:a16="http://schemas.microsoft.com/office/drawing/2014/main" val="414589496"/>
                    </a:ext>
                  </a:extLst>
                </a:gridCol>
              </a:tblGrid>
              <a:tr h="238760">
                <a:tc gridSpan="5">
                  <a:txBody>
                    <a:bodyPr/>
                    <a:lstStyle/>
                    <a:p>
                      <a:pPr marL="0" marR="0" algn="ctr" fontAlgn="t">
                        <a:spcBef>
                          <a:spcPts val="0"/>
                        </a:spcBef>
                        <a:spcAft>
                          <a:spcPts val="0"/>
                        </a:spcAft>
                      </a:pPr>
                      <a:r>
                        <a:rPr lang="en-US" sz="1400" b="1" dirty="0">
                          <a:effectLst/>
                        </a:rPr>
                        <a:t>Network Security Group NSG</a:t>
                      </a:r>
                      <a:endParaRPr lang="en-US" sz="14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238760">
                <a:tc>
                  <a:txBody>
                    <a:bodyPr/>
                    <a:lstStyle/>
                    <a:p>
                      <a:pPr marL="0" marR="0" fontAlgn="t">
                        <a:spcBef>
                          <a:spcPts val="0"/>
                        </a:spcBef>
                        <a:spcAft>
                          <a:spcPts val="0"/>
                        </a:spcAft>
                      </a:pPr>
                      <a:r>
                        <a:rPr lang="en-US" sz="1200" b="1" dirty="0">
                          <a:effectLst/>
                        </a:rPr>
                        <a:t>Action</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Name</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Source</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Destination</a:t>
                      </a:r>
                      <a:endParaRPr lang="en-US" sz="12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b="1" dirty="0">
                          <a:effectLst/>
                        </a:rPr>
                        <a:t>Port</a:t>
                      </a:r>
                      <a:endParaRPr lang="en-US" sz="1200" b="1" dirty="0">
                        <a:solidFill>
                          <a:srgbClr val="222222"/>
                        </a:solidFill>
                        <a:effectLst/>
                        <a:latin typeface="+mn-lt"/>
                      </a:endParaRPr>
                    </a:p>
                  </a:txBody>
                  <a:tcPr marL="50800" marR="50800" marT="50800" marB="50800"/>
                </a:tc>
                <a:extLst>
                  <a:ext uri="{0D108BD9-81ED-4DB2-BD59-A6C34878D82A}">
                    <a16:rowId xmlns:a16="http://schemas.microsoft.com/office/drawing/2014/main" val="819426849"/>
                  </a:ext>
                </a:extLst>
              </a:tr>
              <a:tr h="0">
                <a:tc>
                  <a:txBody>
                    <a:bodyPr/>
                    <a:lstStyle/>
                    <a:p>
                      <a:pPr marL="0" marR="0" fontAlgn="t">
                        <a:spcBef>
                          <a:spcPts val="0"/>
                        </a:spcBef>
                        <a:spcAft>
                          <a:spcPts val="0"/>
                        </a:spcAft>
                      </a:pPr>
                      <a:r>
                        <a:rPr lang="en-US" sz="1200" b="1" dirty="0">
                          <a:solidFill>
                            <a:srgbClr val="00B050"/>
                          </a:solidFill>
                          <a:effectLst/>
                          <a:latin typeface="+mn-lt"/>
                        </a:rPr>
                        <a:t>Allow</a:t>
                      </a:r>
                      <a:endParaRPr lang="en-US" sz="12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solidFill>
                            <a:srgbClr val="222222"/>
                          </a:solidFill>
                          <a:effectLst/>
                          <a:latin typeface="+mn-lt"/>
                        </a:rPr>
                        <a:t>AllowMyOnPremises</a:t>
                      </a:r>
                    </a:p>
                  </a:txBody>
                  <a:tcPr marL="50800" marR="50800" marT="50800" marB="50800" anchor="ctr"/>
                </a:tc>
                <a:tc>
                  <a:txBody>
                    <a:bodyPr/>
                    <a:lstStyle/>
                    <a:p>
                      <a:pPr marL="0" marR="0" fontAlgn="t">
                        <a:spcBef>
                          <a:spcPts val="0"/>
                        </a:spcBef>
                        <a:spcAft>
                          <a:spcPts val="0"/>
                        </a:spcAft>
                      </a:pPr>
                      <a:r>
                        <a:rPr lang="en-US" sz="1200" dirty="0">
                          <a:effectLst/>
                        </a:rPr>
                        <a:t>10.100.1.0/24,</a:t>
                      </a:r>
                    </a:p>
                    <a:p>
                      <a:pPr marL="0" marR="0" fontAlgn="t">
                        <a:spcBef>
                          <a:spcPts val="0"/>
                        </a:spcBef>
                        <a:spcAft>
                          <a:spcPts val="0"/>
                        </a:spcAft>
                      </a:pPr>
                      <a:r>
                        <a:rPr lang="en-US" sz="1200" dirty="0">
                          <a:effectLst/>
                        </a:rPr>
                        <a:t>192.168.24.128/25,</a:t>
                      </a: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200.1.0/24,</a:t>
                      </a:r>
                      <a:endParaRPr lang="en-US" sz="1200" dirty="0">
                        <a:solidFill>
                          <a:srgbClr val="222222"/>
                        </a:solidFill>
                        <a:effectLst/>
                        <a:latin typeface="+mn-lt"/>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30.14.0/26</a:t>
                      </a: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113.68.120.64/28, 17.116.1.0/25,</a:t>
                      </a:r>
                    </a:p>
                    <a:p>
                      <a:pPr marL="0" marR="0" fontAlgn="t">
                        <a:spcBef>
                          <a:spcPts val="0"/>
                        </a:spcBef>
                        <a:spcAft>
                          <a:spcPts val="0"/>
                        </a:spcAft>
                      </a:pPr>
                      <a:r>
                        <a:rPr lang="en-US" sz="1200" dirty="0">
                          <a:solidFill>
                            <a:srgbClr val="222222"/>
                          </a:solidFill>
                          <a:effectLst/>
                          <a:latin typeface="+mn-lt"/>
                        </a:rPr>
                        <a:t>19.27.160.224/28</a:t>
                      </a:r>
                    </a:p>
                    <a:p>
                      <a:pPr marL="0" marR="0" fontAlgn="t">
                        <a:spcBef>
                          <a:spcPts val="0"/>
                        </a:spcBef>
                        <a:spcAft>
                          <a:spcPts val="0"/>
                        </a:spcAft>
                      </a:pP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80,</a:t>
                      </a:r>
                    </a:p>
                    <a:p>
                      <a:pPr marL="0" marR="0" fontAlgn="t">
                        <a:spcBef>
                          <a:spcPts val="0"/>
                        </a:spcBef>
                        <a:spcAft>
                          <a:spcPts val="0"/>
                        </a:spcAft>
                      </a:pPr>
                      <a:r>
                        <a:rPr lang="en-US" sz="1200" dirty="0">
                          <a:solidFill>
                            <a:srgbClr val="222222"/>
                          </a:solidFill>
                          <a:effectLst/>
                          <a:latin typeface="+mn-lt"/>
                        </a:rPr>
                        <a:t>8080, 443,</a:t>
                      </a:r>
                    </a:p>
                    <a:p>
                      <a:pPr marL="0" marR="0" fontAlgn="t">
                        <a:spcBef>
                          <a:spcPts val="0"/>
                        </a:spcBef>
                        <a:spcAft>
                          <a:spcPts val="0"/>
                        </a:spcAft>
                      </a:pPr>
                      <a:r>
                        <a:rPr lang="en-US" sz="1200" dirty="0">
                          <a:solidFill>
                            <a:srgbClr val="222222"/>
                          </a:solidFill>
                          <a:effectLst/>
                          <a:latin typeface="+mn-lt"/>
                        </a:rPr>
                        <a:t>22</a:t>
                      </a:r>
                    </a:p>
                  </a:txBody>
                  <a:tcPr marL="50800" marR="50800" marT="50800" marB="50800" anchor="ctr"/>
                </a:tc>
                <a:extLst>
                  <a:ext uri="{0D108BD9-81ED-4DB2-BD59-A6C34878D82A}">
                    <a16:rowId xmlns:a16="http://schemas.microsoft.com/office/drawing/2014/main" val="1048954723"/>
                  </a:ext>
                </a:extLst>
              </a:tr>
              <a:tr h="0">
                <a:tc>
                  <a:txBody>
                    <a:bodyPr/>
                    <a:lstStyle/>
                    <a:p>
                      <a:pPr marL="0" marR="0" fontAlgn="t">
                        <a:spcBef>
                          <a:spcPts val="0"/>
                        </a:spcBef>
                        <a:spcAft>
                          <a:spcPts val="0"/>
                        </a:spcAft>
                      </a:pPr>
                      <a:r>
                        <a:rPr lang="en-US" sz="1200" b="1" dirty="0">
                          <a:solidFill>
                            <a:srgbClr val="00B050"/>
                          </a:solidFill>
                          <a:effectLst/>
                          <a:latin typeface="+mn-lt"/>
                        </a:rPr>
                        <a:t>Allow</a:t>
                      </a: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AllowMyExternalRanges</a:t>
                      </a:r>
                    </a:p>
                  </a:txBody>
                  <a:tcPr marL="50800" marR="50800" marT="50800" marB="50800" anchor="ctr"/>
                </a:tc>
                <a:tc>
                  <a:txBody>
                    <a:bodyPr/>
                    <a:lstStyle/>
                    <a:p>
                      <a:pPr marL="0" marR="0" fontAlgn="t">
                        <a:spcBef>
                          <a:spcPts val="0"/>
                        </a:spcBef>
                        <a:spcAft>
                          <a:spcPts val="0"/>
                        </a:spcAft>
                      </a:pPr>
                      <a:r>
                        <a:rPr lang="en-US" sz="1200" dirty="0">
                          <a:effectLst/>
                        </a:rPr>
                        <a:t>10.1.1.0/24,</a:t>
                      </a:r>
                    </a:p>
                    <a:p>
                      <a:pPr marL="0" marR="0" lvl="0" indent="0" algn="l" defTabSz="932742" rtl="0" eaLnBrk="1" fontAlgn="t" latinLnBrk="0" hangingPunct="1">
                        <a:lnSpc>
                          <a:spcPct val="100000"/>
                        </a:lnSpc>
                        <a:spcBef>
                          <a:spcPts val="0"/>
                        </a:spcBef>
                        <a:spcAft>
                          <a:spcPts val="0"/>
                        </a:spcAft>
                        <a:buClrTx/>
                        <a:buSzTx/>
                        <a:buFontTx/>
                        <a:buNone/>
                        <a:tabLst/>
                        <a:defRPr/>
                      </a:pPr>
                      <a:r>
                        <a:rPr lang="en-US" sz="1200" dirty="0">
                          <a:effectLst/>
                        </a:rPr>
                        <a:t>10.20.1.0/24,</a:t>
                      </a:r>
                    </a:p>
                    <a:p>
                      <a:pPr marL="0" marR="0" fontAlgn="t">
                        <a:spcBef>
                          <a:spcPts val="0"/>
                        </a:spcBef>
                        <a:spcAft>
                          <a:spcPts val="0"/>
                        </a:spcAft>
                      </a:pPr>
                      <a:r>
                        <a:rPr lang="en-US" sz="1200" dirty="0">
                          <a:effectLst/>
                        </a:rPr>
                        <a:t>192.168.24.128/25</a:t>
                      </a:r>
                      <a:endParaRPr lang="en-US" sz="12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13.68.120.64/28, 137.116.1.0/25,</a:t>
                      </a:r>
                    </a:p>
                    <a:p>
                      <a:pPr marL="0" marR="0" fontAlgn="t">
                        <a:spcBef>
                          <a:spcPts val="0"/>
                        </a:spcBef>
                        <a:spcAft>
                          <a:spcPts val="0"/>
                        </a:spcAft>
                      </a:pPr>
                      <a:r>
                        <a:rPr lang="en-US" sz="1200" dirty="0">
                          <a:solidFill>
                            <a:srgbClr val="222222"/>
                          </a:solidFill>
                          <a:effectLst/>
                          <a:latin typeface="+mn-lt"/>
                        </a:rPr>
                        <a:t>191.237.160.224/28</a:t>
                      </a:r>
                    </a:p>
                  </a:txBody>
                  <a:tcPr marL="50800" marR="50800" marT="50800" marB="50800" anchor="ctr"/>
                </a:tc>
                <a:tc>
                  <a:txBody>
                    <a:bodyPr/>
                    <a:lstStyle/>
                    <a:p>
                      <a:pPr marL="0" marR="0" fontAlgn="t">
                        <a:spcBef>
                          <a:spcPts val="0"/>
                        </a:spcBef>
                        <a:spcAft>
                          <a:spcPts val="0"/>
                        </a:spcAft>
                      </a:pPr>
                      <a:r>
                        <a:rPr lang="en-US" sz="1200" dirty="0">
                          <a:solidFill>
                            <a:srgbClr val="222222"/>
                          </a:solidFill>
                          <a:effectLst/>
                          <a:latin typeface="+mn-lt"/>
                        </a:rPr>
                        <a:t>80,</a:t>
                      </a:r>
                    </a:p>
                    <a:p>
                      <a:pPr marL="0" marR="0" fontAlgn="t">
                        <a:spcBef>
                          <a:spcPts val="0"/>
                        </a:spcBef>
                        <a:spcAft>
                          <a:spcPts val="0"/>
                        </a:spcAft>
                      </a:pPr>
                      <a:r>
                        <a:rPr lang="en-US" sz="1200" dirty="0">
                          <a:solidFill>
                            <a:srgbClr val="222222"/>
                          </a:solidFill>
                          <a:effectLst/>
                          <a:latin typeface="+mn-lt"/>
                        </a:rPr>
                        <a:t>8080, 443</a:t>
                      </a:r>
                    </a:p>
                  </a:txBody>
                  <a:tcPr marL="50800" marR="50800" marT="50800" marB="50800" anchor="ctr"/>
                </a:tc>
                <a:extLst>
                  <a:ext uri="{0D108BD9-81ED-4DB2-BD59-A6C34878D82A}">
                    <a16:rowId xmlns:a16="http://schemas.microsoft.com/office/drawing/2014/main" val="940694489"/>
                  </a:ext>
                </a:extLst>
              </a:tr>
              <a:tr h="0">
                <a:tc>
                  <a:txBody>
                    <a:bodyPr/>
                    <a:lstStyle/>
                    <a:p>
                      <a:pPr marL="0" marR="0" fontAlgn="t">
                        <a:spcBef>
                          <a:spcPts val="0"/>
                        </a:spcBef>
                        <a:spcAft>
                          <a:spcPts val="0"/>
                        </a:spcAft>
                      </a:pPr>
                      <a:r>
                        <a:rPr lang="en-US" sz="1200" b="1"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1200" dirty="0">
                          <a:effectLst/>
                        </a:rPr>
                        <a:t>DenyAllOutBound</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200" dirty="0">
                          <a:effectLst/>
                        </a:rPr>
                        <a:t>Any</a:t>
                      </a:r>
                      <a:endParaRPr lang="en-US" sz="12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16"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35873AB0-056B-4DF9-8599-3FE072926E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3220" y="2503816"/>
            <a:ext cx="350378" cy="33492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04A064AD-BC53-4729-AE43-DB3A64E06B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94402" y="2509303"/>
            <a:ext cx="350378" cy="334924"/>
          </a:xfrm>
          <a:prstGeom prst="rect">
            <a:avLst/>
          </a:prstGeom>
          <a:noFill/>
          <a:extLst>
            <a:ext uri="{909E8E84-426E-40DD-AFC4-6F175D3DCCD1}">
              <a14:hiddenFill xmlns:a14="http://schemas.microsoft.com/office/drawing/2010/main">
                <a:solidFill>
                  <a:srgbClr val="FFFFFF"/>
                </a:solidFill>
              </a14:hiddenFill>
            </a:ext>
          </a:extLst>
        </p:spPr>
      </p:pic>
      <p:sp>
        <p:nvSpPr>
          <p:cNvPr id="18" name="AutoShape 3">
            <a:extLst>
              <a:ext uri="{FF2B5EF4-FFF2-40B4-BE49-F238E27FC236}">
                <a16:creationId xmlns:a16="http://schemas.microsoft.com/office/drawing/2014/main" id="{0746E95D-73A6-451D-937F-37D64521F6B5}"/>
              </a:ext>
            </a:extLst>
          </p:cNvPr>
          <p:cNvSpPr>
            <a:spLocks noChangeAspect="1" noChangeArrowheads="1" noTextEdit="1"/>
          </p:cNvSpPr>
          <p:nvPr/>
        </p:nvSpPr>
        <p:spPr bwMode="auto">
          <a:xfrm>
            <a:off x="6100307" y="730338"/>
            <a:ext cx="2308193" cy="1583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9" name="Rectangle 5">
            <a:extLst>
              <a:ext uri="{FF2B5EF4-FFF2-40B4-BE49-F238E27FC236}">
                <a16:creationId xmlns:a16="http://schemas.microsoft.com/office/drawing/2014/main" id="{787D636D-565B-4D66-9DBF-16BCEA11E662}"/>
              </a:ext>
            </a:extLst>
          </p:cNvPr>
          <p:cNvSpPr>
            <a:spLocks noChangeArrowheads="1"/>
          </p:cNvSpPr>
          <p:nvPr/>
        </p:nvSpPr>
        <p:spPr bwMode="auto">
          <a:xfrm>
            <a:off x="7938314" y="1342126"/>
            <a:ext cx="470188" cy="96384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0" name="Rectangle 6">
            <a:extLst>
              <a:ext uri="{FF2B5EF4-FFF2-40B4-BE49-F238E27FC236}">
                <a16:creationId xmlns:a16="http://schemas.microsoft.com/office/drawing/2014/main" id="{6477F42F-6FA3-4DE3-B47E-3E0421506FF1}"/>
              </a:ext>
            </a:extLst>
          </p:cNvPr>
          <p:cNvSpPr>
            <a:spLocks noChangeArrowheads="1"/>
          </p:cNvSpPr>
          <p:nvPr/>
        </p:nvSpPr>
        <p:spPr bwMode="auto">
          <a:xfrm>
            <a:off x="8307470" y="1421013"/>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1" name="Rectangle 7">
            <a:extLst>
              <a:ext uri="{FF2B5EF4-FFF2-40B4-BE49-F238E27FC236}">
                <a16:creationId xmlns:a16="http://schemas.microsoft.com/office/drawing/2014/main" id="{F6D12539-8207-4D1B-BCCA-D675948197A2}"/>
              </a:ext>
            </a:extLst>
          </p:cNvPr>
          <p:cNvSpPr>
            <a:spLocks noChangeArrowheads="1"/>
          </p:cNvSpPr>
          <p:nvPr/>
        </p:nvSpPr>
        <p:spPr bwMode="auto">
          <a:xfrm>
            <a:off x="8204496" y="1421013"/>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2" name="Rectangle 8">
            <a:extLst>
              <a:ext uri="{FF2B5EF4-FFF2-40B4-BE49-F238E27FC236}">
                <a16:creationId xmlns:a16="http://schemas.microsoft.com/office/drawing/2014/main" id="{96D959BC-2E5E-4EBC-B5C2-5A1E761A8706}"/>
              </a:ext>
            </a:extLst>
          </p:cNvPr>
          <p:cNvSpPr>
            <a:spLocks noChangeArrowheads="1"/>
          </p:cNvSpPr>
          <p:nvPr/>
        </p:nvSpPr>
        <p:spPr bwMode="auto">
          <a:xfrm>
            <a:off x="8101519" y="1421013"/>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3" name="Rectangle 9">
            <a:extLst>
              <a:ext uri="{FF2B5EF4-FFF2-40B4-BE49-F238E27FC236}">
                <a16:creationId xmlns:a16="http://schemas.microsoft.com/office/drawing/2014/main" id="{B80BB856-F20C-43C4-8F23-F819EF44613B}"/>
              </a:ext>
            </a:extLst>
          </p:cNvPr>
          <p:cNvSpPr>
            <a:spLocks noChangeArrowheads="1"/>
          </p:cNvSpPr>
          <p:nvPr/>
        </p:nvSpPr>
        <p:spPr bwMode="auto">
          <a:xfrm>
            <a:off x="7998544" y="1421013"/>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4" name="Rectangle 10">
            <a:extLst>
              <a:ext uri="{FF2B5EF4-FFF2-40B4-BE49-F238E27FC236}">
                <a16:creationId xmlns:a16="http://schemas.microsoft.com/office/drawing/2014/main" id="{D865EBFF-E4EB-40C5-B2B7-92820E369B54}"/>
              </a:ext>
            </a:extLst>
          </p:cNvPr>
          <p:cNvSpPr>
            <a:spLocks noChangeArrowheads="1"/>
          </p:cNvSpPr>
          <p:nvPr/>
        </p:nvSpPr>
        <p:spPr bwMode="auto">
          <a:xfrm>
            <a:off x="8307470" y="1521999"/>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5" name="Rectangle 11">
            <a:extLst>
              <a:ext uri="{FF2B5EF4-FFF2-40B4-BE49-F238E27FC236}">
                <a16:creationId xmlns:a16="http://schemas.microsoft.com/office/drawing/2014/main" id="{BCCAA872-C136-4894-A552-B80ABA4F1125}"/>
              </a:ext>
            </a:extLst>
          </p:cNvPr>
          <p:cNvSpPr>
            <a:spLocks noChangeArrowheads="1"/>
          </p:cNvSpPr>
          <p:nvPr/>
        </p:nvSpPr>
        <p:spPr bwMode="auto">
          <a:xfrm>
            <a:off x="8204496" y="1521999"/>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6" name="Rectangle 12">
            <a:extLst>
              <a:ext uri="{FF2B5EF4-FFF2-40B4-BE49-F238E27FC236}">
                <a16:creationId xmlns:a16="http://schemas.microsoft.com/office/drawing/2014/main" id="{7E2C3D7A-E283-4521-B07C-118FB4548216}"/>
              </a:ext>
            </a:extLst>
          </p:cNvPr>
          <p:cNvSpPr>
            <a:spLocks noChangeArrowheads="1"/>
          </p:cNvSpPr>
          <p:nvPr/>
        </p:nvSpPr>
        <p:spPr bwMode="auto">
          <a:xfrm>
            <a:off x="8101519" y="1521999"/>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7" name="Rectangle 13">
            <a:extLst>
              <a:ext uri="{FF2B5EF4-FFF2-40B4-BE49-F238E27FC236}">
                <a16:creationId xmlns:a16="http://schemas.microsoft.com/office/drawing/2014/main" id="{D523560D-E432-412A-81D1-D8CE155538DF}"/>
              </a:ext>
            </a:extLst>
          </p:cNvPr>
          <p:cNvSpPr>
            <a:spLocks noChangeArrowheads="1"/>
          </p:cNvSpPr>
          <p:nvPr/>
        </p:nvSpPr>
        <p:spPr bwMode="auto">
          <a:xfrm>
            <a:off x="7998544" y="1521999"/>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8" name="Rectangle 14">
            <a:extLst>
              <a:ext uri="{FF2B5EF4-FFF2-40B4-BE49-F238E27FC236}">
                <a16:creationId xmlns:a16="http://schemas.microsoft.com/office/drawing/2014/main" id="{92A80776-599F-4FE5-BCEB-5A27F533618D}"/>
              </a:ext>
            </a:extLst>
          </p:cNvPr>
          <p:cNvSpPr>
            <a:spLocks noChangeArrowheads="1"/>
          </p:cNvSpPr>
          <p:nvPr/>
        </p:nvSpPr>
        <p:spPr bwMode="auto">
          <a:xfrm>
            <a:off x="8307470" y="1624996"/>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29" name="Rectangle 15">
            <a:extLst>
              <a:ext uri="{FF2B5EF4-FFF2-40B4-BE49-F238E27FC236}">
                <a16:creationId xmlns:a16="http://schemas.microsoft.com/office/drawing/2014/main" id="{C6D4F44A-08DC-4486-B700-DA86B722657F}"/>
              </a:ext>
            </a:extLst>
          </p:cNvPr>
          <p:cNvSpPr>
            <a:spLocks noChangeArrowheads="1"/>
          </p:cNvSpPr>
          <p:nvPr/>
        </p:nvSpPr>
        <p:spPr bwMode="auto">
          <a:xfrm>
            <a:off x="8204496" y="1624996"/>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0" name="Rectangle 16">
            <a:extLst>
              <a:ext uri="{FF2B5EF4-FFF2-40B4-BE49-F238E27FC236}">
                <a16:creationId xmlns:a16="http://schemas.microsoft.com/office/drawing/2014/main" id="{1E217632-53FA-4C30-ABAA-697B8655C0FC}"/>
              </a:ext>
            </a:extLst>
          </p:cNvPr>
          <p:cNvSpPr>
            <a:spLocks noChangeArrowheads="1"/>
          </p:cNvSpPr>
          <p:nvPr/>
        </p:nvSpPr>
        <p:spPr bwMode="auto">
          <a:xfrm>
            <a:off x="8101519" y="1624996"/>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1" name="Rectangle 17">
            <a:extLst>
              <a:ext uri="{FF2B5EF4-FFF2-40B4-BE49-F238E27FC236}">
                <a16:creationId xmlns:a16="http://schemas.microsoft.com/office/drawing/2014/main" id="{D2E0F0A5-88C6-4033-9D2B-8A9BA7D519F9}"/>
              </a:ext>
            </a:extLst>
          </p:cNvPr>
          <p:cNvSpPr>
            <a:spLocks noChangeArrowheads="1"/>
          </p:cNvSpPr>
          <p:nvPr/>
        </p:nvSpPr>
        <p:spPr bwMode="auto">
          <a:xfrm>
            <a:off x="7998544" y="1624996"/>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2" name="Rectangle 18">
            <a:extLst>
              <a:ext uri="{FF2B5EF4-FFF2-40B4-BE49-F238E27FC236}">
                <a16:creationId xmlns:a16="http://schemas.microsoft.com/office/drawing/2014/main" id="{8C870088-F88F-437D-964B-24F610C1FD8E}"/>
              </a:ext>
            </a:extLst>
          </p:cNvPr>
          <p:cNvSpPr>
            <a:spLocks noChangeArrowheads="1"/>
          </p:cNvSpPr>
          <p:nvPr/>
        </p:nvSpPr>
        <p:spPr bwMode="auto">
          <a:xfrm>
            <a:off x="8307470" y="1726028"/>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3" name="Rectangle 19">
            <a:extLst>
              <a:ext uri="{FF2B5EF4-FFF2-40B4-BE49-F238E27FC236}">
                <a16:creationId xmlns:a16="http://schemas.microsoft.com/office/drawing/2014/main" id="{67DE1988-1F3D-4287-AF19-F98D01DCC856}"/>
              </a:ext>
            </a:extLst>
          </p:cNvPr>
          <p:cNvSpPr>
            <a:spLocks noChangeArrowheads="1"/>
          </p:cNvSpPr>
          <p:nvPr/>
        </p:nvSpPr>
        <p:spPr bwMode="auto">
          <a:xfrm>
            <a:off x="8204496" y="1726028"/>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4" name="Rectangle 20">
            <a:extLst>
              <a:ext uri="{FF2B5EF4-FFF2-40B4-BE49-F238E27FC236}">
                <a16:creationId xmlns:a16="http://schemas.microsoft.com/office/drawing/2014/main" id="{DFC58754-7441-49B1-98B3-25EFC327478D}"/>
              </a:ext>
            </a:extLst>
          </p:cNvPr>
          <p:cNvSpPr>
            <a:spLocks noChangeArrowheads="1"/>
          </p:cNvSpPr>
          <p:nvPr/>
        </p:nvSpPr>
        <p:spPr bwMode="auto">
          <a:xfrm>
            <a:off x="8101519" y="1726028"/>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5" name="Rectangle 21">
            <a:extLst>
              <a:ext uri="{FF2B5EF4-FFF2-40B4-BE49-F238E27FC236}">
                <a16:creationId xmlns:a16="http://schemas.microsoft.com/office/drawing/2014/main" id="{D831965A-0832-46CE-9964-CB1B2FD53371}"/>
              </a:ext>
            </a:extLst>
          </p:cNvPr>
          <p:cNvSpPr>
            <a:spLocks noChangeArrowheads="1"/>
          </p:cNvSpPr>
          <p:nvPr/>
        </p:nvSpPr>
        <p:spPr bwMode="auto">
          <a:xfrm>
            <a:off x="7998544" y="1726028"/>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6" name="Rectangle 22">
            <a:extLst>
              <a:ext uri="{FF2B5EF4-FFF2-40B4-BE49-F238E27FC236}">
                <a16:creationId xmlns:a16="http://schemas.microsoft.com/office/drawing/2014/main" id="{0F090705-21BD-4C9B-8FC8-9B84869C080A}"/>
              </a:ext>
            </a:extLst>
          </p:cNvPr>
          <p:cNvSpPr>
            <a:spLocks noChangeArrowheads="1"/>
          </p:cNvSpPr>
          <p:nvPr/>
        </p:nvSpPr>
        <p:spPr bwMode="auto">
          <a:xfrm>
            <a:off x="8307470" y="1830970"/>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7" name="Rectangle 23">
            <a:extLst>
              <a:ext uri="{FF2B5EF4-FFF2-40B4-BE49-F238E27FC236}">
                <a16:creationId xmlns:a16="http://schemas.microsoft.com/office/drawing/2014/main" id="{4DC5222A-35AA-4672-B867-96522EBB6EFF}"/>
              </a:ext>
            </a:extLst>
          </p:cNvPr>
          <p:cNvSpPr>
            <a:spLocks noChangeArrowheads="1"/>
          </p:cNvSpPr>
          <p:nvPr/>
        </p:nvSpPr>
        <p:spPr bwMode="auto">
          <a:xfrm>
            <a:off x="8204496" y="1830970"/>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8" name="Rectangle 24">
            <a:extLst>
              <a:ext uri="{FF2B5EF4-FFF2-40B4-BE49-F238E27FC236}">
                <a16:creationId xmlns:a16="http://schemas.microsoft.com/office/drawing/2014/main" id="{70578688-1FDF-4A59-A023-60A4CE869A50}"/>
              </a:ext>
            </a:extLst>
          </p:cNvPr>
          <p:cNvSpPr>
            <a:spLocks noChangeArrowheads="1"/>
          </p:cNvSpPr>
          <p:nvPr/>
        </p:nvSpPr>
        <p:spPr bwMode="auto">
          <a:xfrm>
            <a:off x="8101519" y="1830970"/>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39" name="Rectangle 25">
            <a:extLst>
              <a:ext uri="{FF2B5EF4-FFF2-40B4-BE49-F238E27FC236}">
                <a16:creationId xmlns:a16="http://schemas.microsoft.com/office/drawing/2014/main" id="{966B2A94-A179-48BF-A43C-AEEF4C7E880B}"/>
              </a:ext>
            </a:extLst>
          </p:cNvPr>
          <p:cNvSpPr>
            <a:spLocks noChangeArrowheads="1"/>
          </p:cNvSpPr>
          <p:nvPr/>
        </p:nvSpPr>
        <p:spPr bwMode="auto">
          <a:xfrm>
            <a:off x="7998544" y="1830970"/>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0" name="Rectangle 26">
            <a:extLst>
              <a:ext uri="{FF2B5EF4-FFF2-40B4-BE49-F238E27FC236}">
                <a16:creationId xmlns:a16="http://schemas.microsoft.com/office/drawing/2014/main" id="{7A34DE85-6FA0-4693-B962-C1287951F5AD}"/>
              </a:ext>
            </a:extLst>
          </p:cNvPr>
          <p:cNvSpPr>
            <a:spLocks noChangeArrowheads="1"/>
          </p:cNvSpPr>
          <p:nvPr/>
        </p:nvSpPr>
        <p:spPr bwMode="auto">
          <a:xfrm>
            <a:off x="8307470" y="1932002"/>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1" name="Rectangle 27">
            <a:extLst>
              <a:ext uri="{FF2B5EF4-FFF2-40B4-BE49-F238E27FC236}">
                <a16:creationId xmlns:a16="http://schemas.microsoft.com/office/drawing/2014/main" id="{443CA25C-B379-435A-9BFB-98C20F156C6B}"/>
              </a:ext>
            </a:extLst>
          </p:cNvPr>
          <p:cNvSpPr>
            <a:spLocks noChangeArrowheads="1"/>
          </p:cNvSpPr>
          <p:nvPr/>
        </p:nvSpPr>
        <p:spPr bwMode="auto">
          <a:xfrm>
            <a:off x="8204496" y="1932002"/>
            <a:ext cx="36916"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2" name="Rectangle 28">
            <a:extLst>
              <a:ext uri="{FF2B5EF4-FFF2-40B4-BE49-F238E27FC236}">
                <a16:creationId xmlns:a16="http://schemas.microsoft.com/office/drawing/2014/main" id="{ADB4089A-EF93-4C3D-A1BE-F47073402F70}"/>
              </a:ext>
            </a:extLst>
          </p:cNvPr>
          <p:cNvSpPr>
            <a:spLocks noChangeArrowheads="1"/>
          </p:cNvSpPr>
          <p:nvPr/>
        </p:nvSpPr>
        <p:spPr bwMode="auto">
          <a:xfrm>
            <a:off x="8101519" y="1932002"/>
            <a:ext cx="38858"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3" name="Rectangle 29">
            <a:extLst>
              <a:ext uri="{FF2B5EF4-FFF2-40B4-BE49-F238E27FC236}">
                <a16:creationId xmlns:a16="http://schemas.microsoft.com/office/drawing/2014/main" id="{A6CDC068-2F83-4C49-BD51-1F463572DE8D}"/>
              </a:ext>
            </a:extLst>
          </p:cNvPr>
          <p:cNvSpPr>
            <a:spLocks noChangeArrowheads="1"/>
          </p:cNvSpPr>
          <p:nvPr/>
        </p:nvSpPr>
        <p:spPr bwMode="auto">
          <a:xfrm>
            <a:off x="7998544" y="1932002"/>
            <a:ext cx="40802" cy="697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4" name="Rectangle 30">
            <a:extLst>
              <a:ext uri="{FF2B5EF4-FFF2-40B4-BE49-F238E27FC236}">
                <a16:creationId xmlns:a16="http://schemas.microsoft.com/office/drawing/2014/main" id="{05A0E72B-FF29-41E3-A219-230DFEBEAB13}"/>
              </a:ext>
            </a:extLst>
          </p:cNvPr>
          <p:cNvSpPr>
            <a:spLocks noChangeArrowheads="1"/>
          </p:cNvSpPr>
          <p:nvPr/>
        </p:nvSpPr>
        <p:spPr bwMode="auto">
          <a:xfrm>
            <a:off x="8307470" y="2034953"/>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5" name="Rectangle 31">
            <a:extLst>
              <a:ext uri="{FF2B5EF4-FFF2-40B4-BE49-F238E27FC236}">
                <a16:creationId xmlns:a16="http://schemas.microsoft.com/office/drawing/2014/main" id="{CB618A2F-7D33-48A5-BEC6-172524CF6E0D}"/>
              </a:ext>
            </a:extLst>
          </p:cNvPr>
          <p:cNvSpPr>
            <a:spLocks noChangeArrowheads="1"/>
          </p:cNvSpPr>
          <p:nvPr/>
        </p:nvSpPr>
        <p:spPr bwMode="auto">
          <a:xfrm>
            <a:off x="8204496" y="2034953"/>
            <a:ext cx="36916"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6" name="Rectangle 32">
            <a:extLst>
              <a:ext uri="{FF2B5EF4-FFF2-40B4-BE49-F238E27FC236}">
                <a16:creationId xmlns:a16="http://schemas.microsoft.com/office/drawing/2014/main" id="{186D6CCF-EE21-4F61-BC36-8472BC5376DB}"/>
              </a:ext>
            </a:extLst>
          </p:cNvPr>
          <p:cNvSpPr>
            <a:spLocks noChangeArrowheads="1"/>
          </p:cNvSpPr>
          <p:nvPr/>
        </p:nvSpPr>
        <p:spPr bwMode="auto">
          <a:xfrm>
            <a:off x="8101519" y="2034953"/>
            <a:ext cx="38858"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7" name="Rectangle 33">
            <a:extLst>
              <a:ext uri="{FF2B5EF4-FFF2-40B4-BE49-F238E27FC236}">
                <a16:creationId xmlns:a16="http://schemas.microsoft.com/office/drawing/2014/main" id="{B7378E5C-03D9-4B1F-9FDE-88A6BF77C0BC}"/>
              </a:ext>
            </a:extLst>
          </p:cNvPr>
          <p:cNvSpPr>
            <a:spLocks noChangeArrowheads="1"/>
          </p:cNvSpPr>
          <p:nvPr/>
        </p:nvSpPr>
        <p:spPr bwMode="auto">
          <a:xfrm>
            <a:off x="7998544" y="2034953"/>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8" name="Rectangle 34">
            <a:extLst>
              <a:ext uri="{FF2B5EF4-FFF2-40B4-BE49-F238E27FC236}">
                <a16:creationId xmlns:a16="http://schemas.microsoft.com/office/drawing/2014/main" id="{33CE2532-9494-4262-A8E0-755ECA03972E}"/>
              </a:ext>
            </a:extLst>
          </p:cNvPr>
          <p:cNvSpPr>
            <a:spLocks noChangeArrowheads="1"/>
          </p:cNvSpPr>
          <p:nvPr/>
        </p:nvSpPr>
        <p:spPr bwMode="auto">
          <a:xfrm>
            <a:off x="8307470" y="2135963"/>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49" name="Rectangle 35">
            <a:extLst>
              <a:ext uri="{FF2B5EF4-FFF2-40B4-BE49-F238E27FC236}">
                <a16:creationId xmlns:a16="http://schemas.microsoft.com/office/drawing/2014/main" id="{AFC91074-133D-4E90-8262-55FAC61609E5}"/>
              </a:ext>
            </a:extLst>
          </p:cNvPr>
          <p:cNvSpPr>
            <a:spLocks noChangeArrowheads="1"/>
          </p:cNvSpPr>
          <p:nvPr/>
        </p:nvSpPr>
        <p:spPr bwMode="auto">
          <a:xfrm>
            <a:off x="8204496" y="2135963"/>
            <a:ext cx="36916"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0" name="Rectangle 36">
            <a:extLst>
              <a:ext uri="{FF2B5EF4-FFF2-40B4-BE49-F238E27FC236}">
                <a16:creationId xmlns:a16="http://schemas.microsoft.com/office/drawing/2014/main" id="{9EB348E8-E714-4E84-BD16-128D1B37B34B}"/>
              </a:ext>
            </a:extLst>
          </p:cNvPr>
          <p:cNvSpPr>
            <a:spLocks noChangeArrowheads="1"/>
          </p:cNvSpPr>
          <p:nvPr/>
        </p:nvSpPr>
        <p:spPr bwMode="auto">
          <a:xfrm>
            <a:off x="8101519" y="2135963"/>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1" name="Rectangle 37">
            <a:extLst>
              <a:ext uri="{FF2B5EF4-FFF2-40B4-BE49-F238E27FC236}">
                <a16:creationId xmlns:a16="http://schemas.microsoft.com/office/drawing/2014/main" id="{8CA2FFF7-420A-4673-B5B0-F7655585D934}"/>
              </a:ext>
            </a:extLst>
          </p:cNvPr>
          <p:cNvSpPr>
            <a:spLocks noChangeArrowheads="1"/>
          </p:cNvSpPr>
          <p:nvPr/>
        </p:nvSpPr>
        <p:spPr bwMode="auto">
          <a:xfrm>
            <a:off x="7998544" y="2135963"/>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2" name="Rectangle 38">
            <a:extLst>
              <a:ext uri="{FF2B5EF4-FFF2-40B4-BE49-F238E27FC236}">
                <a16:creationId xmlns:a16="http://schemas.microsoft.com/office/drawing/2014/main" id="{91253E16-F0F1-493A-ADFD-F55E0473AEE9}"/>
              </a:ext>
            </a:extLst>
          </p:cNvPr>
          <p:cNvSpPr>
            <a:spLocks noChangeArrowheads="1"/>
          </p:cNvSpPr>
          <p:nvPr/>
        </p:nvSpPr>
        <p:spPr bwMode="auto">
          <a:xfrm>
            <a:off x="6931878" y="1806378"/>
            <a:ext cx="273953" cy="4938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3" name="Rectangle 39">
            <a:extLst>
              <a:ext uri="{FF2B5EF4-FFF2-40B4-BE49-F238E27FC236}">
                <a16:creationId xmlns:a16="http://schemas.microsoft.com/office/drawing/2014/main" id="{25071D37-062A-401C-8685-F2CDA9D48914}"/>
              </a:ext>
            </a:extLst>
          </p:cNvPr>
          <p:cNvSpPr>
            <a:spLocks noChangeArrowheads="1"/>
          </p:cNvSpPr>
          <p:nvPr/>
        </p:nvSpPr>
        <p:spPr bwMode="auto">
          <a:xfrm>
            <a:off x="7744020" y="1548679"/>
            <a:ext cx="273953" cy="75474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4" name="Rectangle 40">
            <a:extLst>
              <a:ext uri="{FF2B5EF4-FFF2-40B4-BE49-F238E27FC236}">
                <a16:creationId xmlns:a16="http://schemas.microsoft.com/office/drawing/2014/main" id="{08C6043D-C7F5-4E94-88EB-C3533EE49CC8}"/>
              </a:ext>
            </a:extLst>
          </p:cNvPr>
          <p:cNvSpPr>
            <a:spLocks noChangeArrowheads="1"/>
          </p:cNvSpPr>
          <p:nvPr/>
        </p:nvSpPr>
        <p:spPr bwMode="auto">
          <a:xfrm>
            <a:off x="7085370" y="1555179"/>
            <a:ext cx="460474" cy="38035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5" name="Freeform 41">
            <a:extLst>
              <a:ext uri="{FF2B5EF4-FFF2-40B4-BE49-F238E27FC236}">
                <a16:creationId xmlns:a16="http://schemas.microsoft.com/office/drawing/2014/main" id="{64E0EC1A-2109-4D35-967E-1B5E73742E53}"/>
              </a:ext>
            </a:extLst>
          </p:cNvPr>
          <p:cNvSpPr>
            <a:spLocks/>
          </p:cNvSpPr>
          <p:nvPr/>
        </p:nvSpPr>
        <p:spPr bwMode="auto">
          <a:xfrm>
            <a:off x="7349609" y="870006"/>
            <a:ext cx="394414" cy="1441782"/>
          </a:xfrm>
          <a:custGeom>
            <a:avLst/>
            <a:gdLst>
              <a:gd name="T0" fmla="*/ 0 w 203"/>
              <a:gd name="T1" fmla="*/ 0 h 724"/>
              <a:gd name="T2" fmla="*/ 203 w 203"/>
              <a:gd name="T3" fmla="*/ 0 h 724"/>
              <a:gd name="T4" fmla="*/ 203 w 203"/>
              <a:gd name="T5" fmla="*/ 724 h 724"/>
              <a:gd name="T6" fmla="*/ 0 w 203"/>
              <a:gd name="T7" fmla="*/ 724 h 724"/>
              <a:gd name="T8" fmla="*/ 0 w 203"/>
              <a:gd name="T9" fmla="*/ 472 h 724"/>
              <a:gd name="T10" fmla="*/ 0 w 203"/>
              <a:gd name="T11" fmla="*/ 0 h 724"/>
            </a:gdLst>
            <a:ahLst/>
            <a:cxnLst>
              <a:cxn ang="0">
                <a:pos x="T0" y="T1"/>
              </a:cxn>
              <a:cxn ang="0">
                <a:pos x="T2" y="T3"/>
              </a:cxn>
              <a:cxn ang="0">
                <a:pos x="T4" y="T5"/>
              </a:cxn>
              <a:cxn ang="0">
                <a:pos x="T6" y="T7"/>
              </a:cxn>
              <a:cxn ang="0">
                <a:pos x="T8" y="T9"/>
              </a:cxn>
              <a:cxn ang="0">
                <a:pos x="T10" y="T11"/>
              </a:cxn>
            </a:cxnLst>
            <a:rect l="0" t="0" r="r" b="b"/>
            <a:pathLst>
              <a:path w="203" h="724">
                <a:moveTo>
                  <a:pt x="0" y="0"/>
                </a:moveTo>
                <a:lnTo>
                  <a:pt x="203" y="0"/>
                </a:lnTo>
                <a:lnTo>
                  <a:pt x="203" y="724"/>
                </a:lnTo>
                <a:lnTo>
                  <a:pt x="0" y="724"/>
                </a:lnTo>
                <a:lnTo>
                  <a:pt x="0" y="472"/>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6" name="Freeform 42">
            <a:extLst>
              <a:ext uri="{FF2B5EF4-FFF2-40B4-BE49-F238E27FC236}">
                <a16:creationId xmlns:a16="http://schemas.microsoft.com/office/drawing/2014/main" id="{8AA3C272-2EA9-4EB5-B3FB-6F15E9B99FDA}"/>
              </a:ext>
            </a:extLst>
          </p:cNvPr>
          <p:cNvSpPr>
            <a:spLocks/>
          </p:cNvSpPr>
          <p:nvPr/>
        </p:nvSpPr>
        <p:spPr bwMode="auto">
          <a:xfrm>
            <a:off x="7085370" y="1556548"/>
            <a:ext cx="264238" cy="746778"/>
          </a:xfrm>
          <a:custGeom>
            <a:avLst/>
            <a:gdLst>
              <a:gd name="T0" fmla="*/ 0 w 136"/>
              <a:gd name="T1" fmla="*/ 188 h 375"/>
              <a:gd name="T2" fmla="*/ 0 w 136"/>
              <a:gd name="T3" fmla="*/ 375 h 375"/>
              <a:gd name="T4" fmla="*/ 136 w 136"/>
              <a:gd name="T5" fmla="*/ 375 h 375"/>
              <a:gd name="T6" fmla="*/ 136 w 136"/>
              <a:gd name="T7" fmla="*/ 0 h 375"/>
              <a:gd name="T8" fmla="*/ 0 w 136"/>
              <a:gd name="T9" fmla="*/ 188 h 375"/>
            </a:gdLst>
            <a:ahLst/>
            <a:cxnLst>
              <a:cxn ang="0">
                <a:pos x="T0" y="T1"/>
              </a:cxn>
              <a:cxn ang="0">
                <a:pos x="T2" y="T3"/>
              </a:cxn>
              <a:cxn ang="0">
                <a:pos x="T4" y="T5"/>
              </a:cxn>
              <a:cxn ang="0">
                <a:pos x="T6" y="T7"/>
              </a:cxn>
              <a:cxn ang="0">
                <a:pos x="T8" y="T9"/>
              </a:cxn>
            </a:cxnLst>
            <a:rect l="0" t="0" r="r" b="b"/>
            <a:pathLst>
              <a:path w="136" h="375">
                <a:moveTo>
                  <a:pt x="0" y="188"/>
                </a:moveTo>
                <a:lnTo>
                  <a:pt x="0" y="375"/>
                </a:lnTo>
                <a:lnTo>
                  <a:pt x="136" y="375"/>
                </a:lnTo>
                <a:lnTo>
                  <a:pt x="136" y="0"/>
                </a:lnTo>
                <a:lnTo>
                  <a:pt x="0" y="188"/>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7" name="Rectangle 43">
            <a:extLst>
              <a:ext uri="{FF2B5EF4-FFF2-40B4-BE49-F238E27FC236}">
                <a16:creationId xmlns:a16="http://schemas.microsoft.com/office/drawing/2014/main" id="{28D55F0E-03EE-4648-9F08-AF858379E528}"/>
              </a:ext>
            </a:extLst>
          </p:cNvPr>
          <p:cNvSpPr>
            <a:spLocks noChangeArrowheads="1"/>
          </p:cNvSpPr>
          <p:nvPr/>
        </p:nvSpPr>
        <p:spPr bwMode="auto">
          <a:xfrm>
            <a:off x="7398180" y="96435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8" name="Rectangle 44">
            <a:extLst>
              <a:ext uri="{FF2B5EF4-FFF2-40B4-BE49-F238E27FC236}">
                <a16:creationId xmlns:a16="http://schemas.microsoft.com/office/drawing/2014/main" id="{3F0D59EB-6AEB-42BA-8BA4-2835019D9815}"/>
              </a:ext>
            </a:extLst>
          </p:cNvPr>
          <p:cNvSpPr>
            <a:spLocks noChangeArrowheads="1"/>
          </p:cNvSpPr>
          <p:nvPr/>
        </p:nvSpPr>
        <p:spPr bwMode="auto">
          <a:xfrm>
            <a:off x="7485612"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59" name="Rectangle 45">
            <a:extLst>
              <a:ext uri="{FF2B5EF4-FFF2-40B4-BE49-F238E27FC236}">
                <a16:creationId xmlns:a16="http://schemas.microsoft.com/office/drawing/2014/main" id="{0493E148-3257-4251-A11A-A758A22985DE}"/>
              </a:ext>
            </a:extLst>
          </p:cNvPr>
          <p:cNvSpPr>
            <a:spLocks noChangeArrowheads="1"/>
          </p:cNvSpPr>
          <p:nvPr/>
        </p:nvSpPr>
        <p:spPr bwMode="auto">
          <a:xfrm>
            <a:off x="7569157"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0" name="Rectangle 46">
            <a:extLst>
              <a:ext uri="{FF2B5EF4-FFF2-40B4-BE49-F238E27FC236}">
                <a16:creationId xmlns:a16="http://schemas.microsoft.com/office/drawing/2014/main" id="{EA268C5B-B848-4D30-B611-5316178B564F}"/>
              </a:ext>
            </a:extLst>
          </p:cNvPr>
          <p:cNvSpPr>
            <a:spLocks noChangeArrowheads="1"/>
          </p:cNvSpPr>
          <p:nvPr/>
        </p:nvSpPr>
        <p:spPr bwMode="auto">
          <a:xfrm>
            <a:off x="7654646" y="96435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1" name="Rectangle 47">
            <a:extLst>
              <a:ext uri="{FF2B5EF4-FFF2-40B4-BE49-F238E27FC236}">
                <a16:creationId xmlns:a16="http://schemas.microsoft.com/office/drawing/2014/main" id="{D3F7EF8E-A320-4CE6-970C-A3E2B3FDFF36}"/>
              </a:ext>
            </a:extLst>
          </p:cNvPr>
          <p:cNvSpPr>
            <a:spLocks noChangeArrowheads="1"/>
          </p:cNvSpPr>
          <p:nvPr/>
        </p:nvSpPr>
        <p:spPr bwMode="auto">
          <a:xfrm>
            <a:off x="7398180" y="1075127"/>
            <a:ext cx="40802"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2" name="Rectangle 48">
            <a:extLst>
              <a:ext uri="{FF2B5EF4-FFF2-40B4-BE49-F238E27FC236}">
                <a16:creationId xmlns:a16="http://schemas.microsoft.com/office/drawing/2014/main" id="{3ADB5864-F419-4BB2-93CB-5B83A4EACA84}"/>
              </a:ext>
            </a:extLst>
          </p:cNvPr>
          <p:cNvSpPr>
            <a:spLocks noChangeArrowheads="1"/>
          </p:cNvSpPr>
          <p:nvPr/>
        </p:nvSpPr>
        <p:spPr bwMode="auto">
          <a:xfrm>
            <a:off x="7485612"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3" name="Rectangle 49">
            <a:extLst>
              <a:ext uri="{FF2B5EF4-FFF2-40B4-BE49-F238E27FC236}">
                <a16:creationId xmlns:a16="http://schemas.microsoft.com/office/drawing/2014/main" id="{52844C09-E477-42C2-8139-80DE06D02F7E}"/>
              </a:ext>
            </a:extLst>
          </p:cNvPr>
          <p:cNvSpPr>
            <a:spLocks noChangeArrowheads="1"/>
          </p:cNvSpPr>
          <p:nvPr/>
        </p:nvSpPr>
        <p:spPr bwMode="auto">
          <a:xfrm>
            <a:off x="7569157"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4" name="Rectangle 50">
            <a:extLst>
              <a:ext uri="{FF2B5EF4-FFF2-40B4-BE49-F238E27FC236}">
                <a16:creationId xmlns:a16="http://schemas.microsoft.com/office/drawing/2014/main" id="{E75180BA-D436-46CC-9F52-110CA04C54F0}"/>
              </a:ext>
            </a:extLst>
          </p:cNvPr>
          <p:cNvSpPr>
            <a:spLocks noChangeArrowheads="1"/>
          </p:cNvSpPr>
          <p:nvPr/>
        </p:nvSpPr>
        <p:spPr bwMode="auto">
          <a:xfrm>
            <a:off x="7654646" y="1075127"/>
            <a:ext cx="38858"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5" name="Rectangle 51">
            <a:extLst>
              <a:ext uri="{FF2B5EF4-FFF2-40B4-BE49-F238E27FC236}">
                <a16:creationId xmlns:a16="http://schemas.microsoft.com/office/drawing/2014/main" id="{E32B7907-239A-4067-9C65-CD134E3661A6}"/>
              </a:ext>
            </a:extLst>
          </p:cNvPr>
          <p:cNvSpPr>
            <a:spLocks noChangeArrowheads="1"/>
          </p:cNvSpPr>
          <p:nvPr/>
        </p:nvSpPr>
        <p:spPr bwMode="auto">
          <a:xfrm>
            <a:off x="7398180" y="118390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6" name="Rectangle 52">
            <a:extLst>
              <a:ext uri="{FF2B5EF4-FFF2-40B4-BE49-F238E27FC236}">
                <a16:creationId xmlns:a16="http://schemas.microsoft.com/office/drawing/2014/main" id="{41BCF4C9-5712-459B-9A1C-8AC91052E130}"/>
              </a:ext>
            </a:extLst>
          </p:cNvPr>
          <p:cNvSpPr>
            <a:spLocks noChangeArrowheads="1"/>
          </p:cNvSpPr>
          <p:nvPr/>
        </p:nvSpPr>
        <p:spPr bwMode="auto">
          <a:xfrm>
            <a:off x="7485612"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7" name="Rectangle 53">
            <a:extLst>
              <a:ext uri="{FF2B5EF4-FFF2-40B4-BE49-F238E27FC236}">
                <a16:creationId xmlns:a16="http://schemas.microsoft.com/office/drawing/2014/main" id="{C88566C1-7A3C-49D6-89AE-5F528F577B14}"/>
              </a:ext>
            </a:extLst>
          </p:cNvPr>
          <p:cNvSpPr>
            <a:spLocks noChangeArrowheads="1"/>
          </p:cNvSpPr>
          <p:nvPr/>
        </p:nvSpPr>
        <p:spPr bwMode="auto">
          <a:xfrm>
            <a:off x="7569157"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8" name="Rectangle 54">
            <a:extLst>
              <a:ext uri="{FF2B5EF4-FFF2-40B4-BE49-F238E27FC236}">
                <a16:creationId xmlns:a16="http://schemas.microsoft.com/office/drawing/2014/main" id="{1F5E232D-53BA-4B71-AC21-29D9083722F5}"/>
              </a:ext>
            </a:extLst>
          </p:cNvPr>
          <p:cNvSpPr>
            <a:spLocks noChangeArrowheads="1"/>
          </p:cNvSpPr>
          <p:nvPr/>
        </p:nvSpPr>
        <p:spPr bwMode="auto">
          <a:xfrm>
            <a:off x="7654646" y="118390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69" name="Rectangle 55">
            <a:extLst>
              <a:ext uri="{FF2B5EF4-FFF2-40B4-BE49-F238E27FC236}">
                <a16:creationId xmlns:a16="http://schemas.microsoft.com/office/drawing/2014/main" id="{4BA5B211-C389-4A0D-847D-B1BBD2EDC6CB}"/>
              </a:ext>
            </a:extLst>
          </p:cNvPr>
          <p:cNvSpPr>
            <a:spLocks noChangeArrowheads="1"/>
          </p:cNvSpPr>
          <p:nvPr/>
        </p:nvSpPr>
        <p:spPr bwMode="auto">
          <a:xfrm>
            <a:off x="7398180" y="129465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0" name="Rectangle 56">
            <a:extLst>
              <a:ext uri="{FF2B5EF4-FFF2-40B4-BE49-F238E27FC236}">
                <a16:creationId xmlns:a16="http://schemas.microsoft.com/office/drawing/2014/main" id="{4FDD9D54-758E-4A43-8805-DC07B524101D}"/>
              </a:ext>
            </a:extLst>
          </p:cNvPr>
          <p:cNvSpPr>
            <a:spLocks noChangeArrowheads="1"/>
          </p:cNvSpPr>
          <p:nvPr/>
        </p:nvSpPr>
        <p:spPr bwMode="auto">
          <a:xfrm>
            <a:off x="7485612"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1" name="Rectangle 57">
            <a:extLst>
              <a:ext uri="{FF2B5EF4-FFF2-40B4-BE49-F238E27FC236}">
                <a16:creationId xmlns:a16="http://schemas.microsoft.com/office/drawing/2014/main" id="{45F49739-0E83-4E27-AB73-417A1AF8B263}"/>
              </a:ext>
            </a:extLst>
          </p:cNvPr>
          <p:cNvSpPr>
            <a:spLocks noChangeArrowheads="1"/>
          </p:cNvSpPr>
          <p:nvPr/>
        </p:nvSpPr>
        <p:spPr bwMode="auto">
          <a:xfrm>
            <a:off x="7569157"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2" name="Rectangle 58">
            <a:extLst>
              <a:ext uri="{FF2B5EF4-FFF2-40B4-BE49-F238E27FC236}">
                <a16:creationId xmlns:a16="http://schemas.microsoft.com/office/drawing/2014/main" id="{676DB481-A6A3-4B14-9153-82C641A8F0D6}"/>
              </a:ext>
            </a:extLst>
          </p:cNvPr>
          <p:cNvSpPr>
            <a:spLocks noChangeArrowheads="1"/>
          </p:cNvSpPr>
          <p:nvPr/>
        </p:nvSpPr>
        <p:spPr bwMode="auto">
          <a:xfrm>
            <a:off x="7654646" y="129465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3" name="Rectangle 59">
            <a:extLst>
              <a:ext uri="{FF2B5EF4-FFF2-40B4-BE49-F238E27FC236}">
                <a16:creationId xmlns:a16="http://schemas.microsoft.com/office/drawing/2014/main" id="{B73EB78C-338A-49D0-9128-860CF2F3ECF7}"/>
              </a:ext>
            </a:extLst>
          </p:cNvPr>
          <p:cNvSpPr>
            <a:spLocks noChangeArrowheads="1"/>
          </p:cNvSpPr>
          <p:nvPr/>
        </p:nvSpPr>
        <p:spPr bwMode="auto">
          <a:xfrm>
            <a:off x="7398180" y="1405400"/>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4" name="Rectangle 60">
            <a:extLst>
              <a:ext uri="{FF2B5EF4-FFF2-40B4-BE49-F238E27FC236}">
                <a16:creationId xmlns:a16="http://schemas.microsoft.com/office/drawing/2014/main" id="{1421A0AC-50F3-4E8C-86FC-1BD5DE91132E}"/>
              </a:ext>
            </a:extLst>
          </p:cNvPr>
          <p:cNvSpPr>
            <a:spLocks noChangeArrowheads="1"/>
          </p:cNvSpPr>
          <p:nvPr/>
        </p:nvSpPr>
        <p:spPr bwMode="auto">
          <a:xfrm>
            <a:off x="7485612"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5" name="Rectangle 61">
            <a:extLst>
              <a:ext uri="{FF2B5EF4-FFF2-40B4-BE49-F238E27FC236}">
                <a16:creationId xmlns:a16="http://schemas.microsoft.com/office/drawing/2014/main" id="{6BAD61EE-37EE-4C35-9652-8C9D84763872}"/>
              </a:ext>
            </a:extLst>
          </p:cNvPr>
          <p:cNvSpPr>
            <a:spLocks noChangeArrowheads="1"/>
          </p:cNvSpPr>
          <p:nvPr/>
        </p:nvSpPr>
        <p:spPr bwMode="auto">
          <a:xfrm>
            <a:off x="7569157"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6" name="Rectangle 62">
            <a:extLst>
              <a:ext uri="{FF2B5EF4-FFF2-40B4-BE49-F238E27FC236}">
                <a16:creationId xmlns:a16="http://schemas.microsoft.com/office/drawing/2014/main" id="{ABB952C7-D6CA-4F38-91A9-41833C1D471E}"/>
              </a:ext>
            </a:extLst>
          </p:cNvPr>
          <p:cNvSpPr>
            <a:spLocks noChangeArrowheads="1"/>
          </p:cNvSpPr>
          <p:nvPr/>
        </p:nvSpPr>
        <p:spPr bwMode="auto">
          <a:xfrm>
            <a:off x="7654646" y="1405400"/>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7" name="Rectangle 63">
            <a:extLst>
              <a:ext uri="{FF2B5EF4-FFF2-40B4-BE49-F238E27FC236}">
                <a16:creationId xmlns:a16="http://schemas.microsoft.com/office/drawing/2014/main" id="{F162D483-613F-44D8-8530-46E270F4BC87}"/>
              </a:ext>
            </a:extLst>
          </p:cNvPr>
          <p:cNvSpPr>
            <a:spLocks noChangeArrowheads="1"/>
          </p:cNvSpPr>
          <p:nvPr/>
        </p:nvSpPr>
        <p:spPr bwMode="auto">
          <a:xfrm>
            <a:off x="7398180" y="151614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8" name="Rectangle 64">
            <a:extLst>
              <a:ext uri="{FF2B5EF4-FFF2-40B4-BE49-F238E27FC236}">
                <a16:creationId xmlns:a16="http://schemas.microsoft.com/office/drawing/2014/main" id="{11A04E99-5540-4288-ADE0-1500655C1926}"/>
              </a:ext>
            </a:extLst>
          </p:cNvPr>
          <p:cNvSpPr>
            <a:spLocks noChangeArrowheads="1"/>
          </p:cNvSpPr>
          <p:nvPr/>
        </p:nvSpPr>
        <p:spPr bwMode="auto">
          <a:xfrm>
            <a:off x="7485612"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79" name="Rectangle 65">
            <a:extLst>
              <a:ext uri="{FF2B5EF4-FFF2-40B4-BE49-F238E27FC236}">
                <a16:creationId xmlns:a16="http://schemas.microsoft.com/office/drawing/2014/main" id="{8EAA805F-D45F-46A7-AB0D-DBAE418BB8F4}"/>
              </a:ext>
            </a:extLst>
          </p:cNvPr>
          <p:cNvSpPr>
            <a:spLocks noChangeArrowheads="1"/>
          </p:cNvSpPr>
          <p:nvPr/>
        </p:nvSpPr>
        <p:spPr bwMode="auto">
          <a:xfrm>
            <a:off x="7569157"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0" name="Rectangle 66">
            <a:extLst>
              <a:ext uri="{FF2B5EF4-FFF2-40B4-BE49-F238E27FC236}">
                <a16:creationId xmlns:a16="http://schemas.microsoft.com/office/drawing/2014/main" id="{FEFA1BA0-46AB-4F19-8CCA-C9A24F978F25}"/>
              </a:ext>
            </a:extLst>
          </p:cNvPr>
          <p:cNvSpPr>
            <a:spLocks noChangeArrowheads="1"/>
          </p:cNvSpPr>
          <p:nvPr/>
        </p:nvSpPr>
        <p:spPr bwMode="auto">
          <a:xfrm>
            <a:off x="7654646" y="151614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1" name="Rectangle 67">
            <a:extLst>
              <a:ext uri="{FF2B5EF4-FFF2-40B4-BE49-F238E27FC236}">
                <a16:creationId xmlns:a16="http://schemas.microsoft.com/office/drawing/2014/main" id="{DF37E4A8-D6E7-47EA-8881-DDEC03F03633}"/>
              </a:ext>
            </a:extLst>
          </p:cNvPr>
          <p:cNvSpPr>
            <a:spLocks noChangeArrowheads="1"/>
          </p:cNvSpPr>
          <p:nvPr/>
        </p:nvSpPr>
        <p:spPr bwMode="auto">
          <a:xfrm>
            <a:off x="7398180"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2" name="Rectangle 68">
            <a:extLst>
              <a:ext uri="{FF2B5EF4-FFF2-40B4-BE49-F238E27FC236}">
                <a16:creationId xmlns:a16="http://schemas.microsoft.com/office/drawing/2014/main" id="{250B574A-6EC7-4836-8DC3-F684144B4FBB}"/>
              </a:ext>
            </a:extLst>
          </p:cNvPr>
          <p:cNvSpPr>
            <a:spLocks noChangeArrowheads="1"/>
          </p:cNvSpPr>
          <p:nvPr/>
        </p:nvSpPr>
        <p:spPr bwMode="auto">
          <a:xfrm>
            <a:off x="7485612"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3" name="Rectangle 69">
            <a:extLst>
              <a:ext uri="{FF2B5EF4-FFF2-40B4-BE49-F238E27FC236}">
                <a16:creationId xmlns:a16="http://schemas.microsoft.com/office/drawing/2014/main" id="{6FF2C248-EEB7-47D5-9D46-A4D5627D4E4B}"/>
              </a:ext>
            </a:extLst>
          </p:cNvPr>
          <p:cNvSpPr>
            <a:spLocks noChangeArrowheads="1"/>
          </p:cNvSpPr>
          <p:nvPr/>
        </p:nvSpPr>
        <p:spPr bwMode="auto">
          <a:xfrm>
            <a:off x="7569157"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4" name="Rectangle 70">
            <a:extLst>
              <a:ext uri="{FF2B5EF4-FFF2-40B4-BE49-F238E27FC236}">
                <a16:creationId xmlns:a16="http://schemas.microsoft.com/office/drawing/2014/main" id="{08F91A47-4F3B-4089-BEB2-B11185536B9D}"/>
              </a:ext>
            </a:extLst>
          </p:cNvPr>
          <p:cNvSpPr>
            <a:spLocks noChangeArrowheads="1"/>
          </p:cNvSpPr>
          <p:nvPr/>
        </p:nvSpPr>
        <p:spPr bwMode="auto">
          <a:xfrm>
            <a:off x="7654646" y="1626893"/>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5" name="Rectangle 71">
            <a:extLst>
              <a:ext uri="{FF2B5EF4-FFF2-40B4-BE49-F238E27FC236}">
                <a16:creationId xmlns:a16="http://schemas.microsoft.com/office/drawing/2014/main" id="{FC2FC08E-CD1A-4C9B-9A65-8C51FD55600E}"/>
              </a:ext>
            </a:extLst>
          </p:cNvPr>
          <p:cNvSpPr>
            <a:spLocks noChangeArrowheads="1"/>
          </p:cNvSpPr>
          <p:nvPr/>
        </p:nvSpPr>
        <p:spPr bwMode="auto">
          <a:xfrm>
            <a:off x="7398180" y="184255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6" name="Rectangle 72">
            <a:extLst>
              <a:ext uri="{FF2B5EF4-FFF2-40B4-BE49-F238E27FC236}">
                <a16:creationId xmlns:a16="http://schemas.microsoft.com/office/drawing/2014/main" id="{EBFA38EE-A3B5-4C11-9E46-090DFA18A49C}"/>
              </a:ext>
            </a:extLst>
          </p:cNvPr>
          <p:cNvSpPr>
            <a:spLocks noChangeArrowheads="1"/>
          </p:cNvSpPr>
          <p:nvPr/>
        </p:nvSpPr>
        <p:spPr bwMode="auto">
          <a:xfrm>
            <a:off x="7485612"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7" name="Rectangle 73">
            <a:extLst>
              <a:ext uri="{FF2B5EF4-FFF2-40B4-BE49-F238E27FC236}">
                <a16:creationId xmlns:a16="http://schemas.microsoft.com/office/drawing/2014/main" id="{1E2BBB39-0345-410C-A7CF-86909E804C2D}"/>
              </a:ext>
            </a:extLst>
          </p:cNvPr>
          <p:cNvSpPr>
            <a:spLocks noChangeArrowheads="1"/>
          </p:cNvSpPr>
          <p:nvPr/>
        </p:nvSpPr>
        <p:spPr bwMode="auto">
          <a:xfrm>
            <a:off x="7569157"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8" name="Rectangle 74">
            <a:extLst>
              <a:ext uri="{FF2B5EF4-FFF2-40B4-BE49-F238E27FC236}">
                <a16:creationId xmlns:a16="http://schemas.microsoft.com/office/drawing/2014/main" id="{7F2D0183-E795-497D-879C-2FC4401212D7}"/>
              </a:ext>
            </a:extLst>
          </p:cNvPr>
          <p:cNvSpPr>
            <a:spLocks noChangeArrowheads="1"/>
          </p:cNvSpPr>
          <p:nvPr/>
        </p:nvSpPr>
        <p:spPr bwMode="auto">
          <a:xfrm>
            <a:off x="7654646" y="1842557"/>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89" name="Rectangle 75">
            <a:extLst>
              <a:ext uri="{FF2B5EF4-FFF2-40B4-BE49-F238E27FC236}">
                <a16:creationId xmlns:a16="http://schemas.microsoft.com/office/drawing/2014/main" id="{3237CEF7-DF61-4A37-8CC6-5143320D5E67}"/>
              </a:ext>
            </a:extLst>
          </p:cNvPr>
          <p:cNvSpPr>
            <a:spLocks noChangeArrowheads="1"/>
          </p:cNvSpPr>
          <p:nvPr/>
        </p:nvSpPr>
        <p:spPr bwMode="auto">
          <a:xfrm>
            <a:off x="7398180" y="1729868"/>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0" name="Rectangle 76">
            <a:extLst>
              <a:ext uri="{FF2B5EF4-FFF2-40B4-BE49-F238E27FC236}">
                <a16:creationId xmlns:a16="http://schemas.microsoft.com/office/drawing/2014/main" id="{62BBE6CE-E46B-4B1A-B6C1-744EB4251FA3}"/>
              </a:ext>
            </a:extLst>
          </p:cNvPr>
          <p:cNvSpPr>
            <a:spLocks noChangeArrowheads="1"/>
          </p:cNvSpPr>
          <p:nvPr/>
        </p:nvSpPr>
        <p:spPr bwMode="auto">
          <a:xfrm>
            <a:off x="7485612"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1" name="Rectangle 77">
            <a:extLst>
              <a:ext uri="{FF2B5EF4-FFF2-40B4-BE49-F238E27FC236}">
                <a16:creationId xmlns:a16="http://schemas.microsoft.com/office/drawing/2014/main" id="{49F1E75A-55ED-419A-831B-220EC3BC98FA}"/>
              </a:ext>
            </a:extLst>
          </p:cNvPr>
          <p:cNvSpPr>
            <a:spLocks noChangeArrowheads="1"/>
          </p:cNvSpPr>
          <p:nvPr/>
        </p:nvSpPr>
        <p:spPr bwMode="auto">
          <a:xfrm>
            <a:off x="7569157"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2" name="Rectangle 78">
            <a:extLst>
              <a:ext uri="{FF2B5EF4-FFF2-40B4-BE49-F238E27FC236}">
                <a16:creationId xmlns:a16="http://schemas.microsoft.com/office/drawing/2014/main" id="{20AB922D-C74C-4A8A-B4BA-64864D8FAA5A}"/>
              </a:ext>
            </a:extLst>
          </p:cNvPr>
          <p:cNvSpPr>
            <a:spLocks noChangeArrowheads="1"/>
          </p:cNvSpPr>
          <p:nvPr/>
        </p:nvSpPr>
        <p:spPr bwMode="auto">
          <a:xfrm>
            <a:off x="7654646" y="1729868"/>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3" name="Rectangle 79">
            <a:extLst>
              <a:ext uri="{FF2B5EF4-FFF2-40B4-BE49-F238E27FC236}">
                <a16:creationId xmlns:a16="http://schemas.microsoft.com/office/drawing/2014/main" id="{0C8C0280-3AA6-4B73-BDB6-39F522D058DD}"/>
              </a:ext>
            </a:extLst>
          </p:cNvPr>
          <p:cNvSpPr>
            <a:spLocks noChangeArrowheads="1"/>
          </p:cNvSpPr>
          <p:nvPr/>
        </p:nvSpPr>
        <p:spPr bwMode="auto">
          <a:xfrm>
            <a:off x="7398180" y="1953304"/>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4" name="Rectangle 80">
            <a:extLst>
              <a:ext uri="{FF2B5EF4-FFF2-40B4-BE49-F238E27FC236}">
                <a16:creationId xmlns:a16="http://schemas.microsoft.com/office/drawing/2014/main" id="{FD8955B2-0594-4171-A6FA-B6213B5DD0CA}"/>
              </a:ext>
            </a:extLst>
          </p:cNvPr>
          <p:cNvSpPr>
            <a:spLocks noChangeArrowheads="1"/>
          </p:cNvSpPr>
          <p:nvPr/>
        </p:nvSpPr>
        <p:spPr bwMode="auto">
          <a:xfrm>
            <a:off x="7485612"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5" name="Rectangle 81">
            <a:extLst>
              <a:ext uri="{FF2B5EF4-FFF2-40B4-BE49-F238E27FC236}">
                <a16:creationId xmlns:a16="http://schemas.microsoft.com/office/drawing/2014/main" id="{CC09F45F-452D-40A9-AF89-83526914FE1C}"/>
              </a:ext>
            </a:extLst>
          </p:cNvPr>
          <p:cNvSpPr>
            <a:spLocks noChangeArrowheads="1"/>
          </p:cNvSpPr>
          <p:nvPr/>
        </p:nvSpPr>
        <p:spPr bwMode="auto">
          <a:xfrm>
            <a:off x="7569157"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6" name="Rectangle 82">
            <a:extLst>
              <a:ext uri="{FF2B5EF4-FFF2-40B4-BE49-F238E27FC236}">
                <a16:creationId xmlns:a16="http://schemas.microsoft.com/office/drawing/2014/main" id="{BFD4E438-4B4D-4A1B-B7A0-DE90BE330BD6}"/>
              </a:ext>
            </a:extLst>
          </p:cNvPr>
          <p:cNvSpPr>
            <a:spLocks noChangeArrowheads="1"/>
          </p:cNvSpPr>
          <p:nvPr/>
        </p:nvSpPr>
        <p:spPr bwMode="auto">
          <a:xfrm>
            <a:off x="7654646" y="195330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7" name="Rectangle 83">
            <a:extLst>
              <a:ext uri="{FF2B5EF4-FFF2-40B4-BE49-F238E27FC236}">
                <a16:creationId xmlns:a16="http://schemas.microsoft.com/office/drawing/2014/main" id="{8325C925-3BCB-4617-BF2E-49F0A0C4286B}"/>
              </a:ext>
            </a:extLst>
          </p:cNvPr>
          <p:cNvSpPr>
            <a:spLocks noChangeArrowheads="1"/>
          </p:cNvSpPr>
          <p:nvPr/>
        </p:nvSpPr>
        <p:spPr bwMode="auto">
          <a:xfrm>
            <a:off x="7398180" y="2067936"/>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8" name="Rectangle 84">
            <a:extLst>
              <a:ext uri="{FF2B5EF4-FFF2-40B4-BE49-F238E27FC236}">
                <a16:creationId xmlns:a16="http://schemas.microsoft.com/office/drawing/2014/main" id="{5C8DEB33-3377-4610-BF82-5CBFC15A0E36}"/>
              </a:ext>
            </a:extLst>
          </p:cNvPr>
          <p:cNvSpPr>
            <a:spLocks noChangeArrowheads="1"/>
          </p:cNvSpPr>
          <p:nvPr/>
        </p:nvSpPr>
        <p:spPr bwMode="auto">
          <a:xfrm>
            <a:off x="7485612"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99" name="Rectangle 85">
            <a:extLst>
              <a:ext uri="{FF2B5EF4-FFF2-40B4-BE49-F238E27FC236}">
                <a16:creationId xmlns:a16="http://schemas.microsoft.com/office/drawing/2014/main" id="{8B9976EE-AABD-4302-8042-CFB94C01AE5A}"/>
              </a:ext>
            </a:extLst>
          </p:cNvPr>
          <p:cNvSpPr>
            <a:spLocks noChangeArrowheads="1"/>
          </p:cNvSpPr>
          <p:nvPr/>
        </p:nvSpPr>
        <p:spPr bwMode="auto">
          <a:xfrm>
            <a:off x="7569157"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0" name="Rectangle 86">
            <a:extLst>
              <a:ext uri="{FF2B5EF4-FFF2-40B4-BE49-F238E27FC236}">
                <a16:creationId xmlns:a16="http://schemas.microsoft.com/office/drawing/2014/main" id="{F6AA3115-C097-4182-8FAF-220197CE491E}"/>
              </a:ext>
            </a:extLst>
          </p:cNvPr>
          <p:cNvSpPr>
            <a:spLocks noChangeArrowheads="1"/>
          </p:cNvSpPr>
          <p:nvPr/>
        </p:nvSpPr>
        <p:spPr bwMode="auto">
          <a:xfrm>
            <a:off x="7654646" y="2067936"/>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1" name="Rectangle 87">
            <a:extLst>
              <a:ext uri="{FF2B5EF4-FFF2-40B4-BE49-F238E27FC236}">
                <a16:creationId xmlns:a16="http://schemas.microsoft.com/office/drawing/2014/main" id="{11FD7ADB-D166-4346-BBFA-D385EC873D32}"/>
              </a:ext>
            </a:extLst>
          </p:cNvPr>
          <p:cNvSpPr>
            <a:spLocks noChangeArrowheads="1"/>
          </p:cNvSpPr>
          <p:nvPr/>
        </p:nvSpPr>
        <p:spPr bwMode="auto">
          <a:xfrm>
            <a:off x="7398180" y="2178684"/>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2" name="Rectangle 88">
            <a:extLst>
              <a:ext uri="{FF2B5EF4-FFF2-40B4-BE49-F238E27FC236}">
                <a16:creationId xmlns:a16="http://schemas.microsoft.com/office/drawing/2014/main" id="{926D9F0C-DF3E-47A0-8A3B-C999B4D25EC0}"/>
              </a:ext>
            </a:extLst>
          </p:cNvPr>
          <p:cNvSpPr>
            <a:spLocks noChangeArrowheads="1"/>
          </p:cNvSpPr>
          <p:nvPr/>
        </p:nvSpPr>
        <p:spPr bwMode="auto">
          <a:xfrm>
            <a:off x="7485612"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3" name="Rectangle 89">
            <a:extLst>
              <a:ext uri="{FF2B5EF4-FFF2-40B4-BE49-F238E27FC236}">
                <a16:creationId xmlns:a16="http://schemas.microsoft.com/office/drawing/2014/main" id="{3B3523D3-F0EE-4377-9E93-8D33CF104DBE}"/>
              </a:ext>
            </a:extLst>
          </p:cNvPr>
          <p:cNvSpPr>
            <a:spLocks noChangeArrowheads="1"/>
          </p:cNvSpPr>
          <p:nvPr/>
        </p:nvSpPr>
        <p:spPr bwMode="auto">
          <a:xfrm>
            <a:off x="7569157"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4" name="Rectangle 90">
            <a:extLst>
              <a:ext uri="{FF2B5EF4-FFF2-40B4-BE49-F238E27FC236}">
                <a16:creationId xmlns:a16="http://schemas.microsoft.com/office/drawing/2014/main" id="{5F5622A4-928F-4C06-B89E-727C1BE8857F}"/>
              </a:ext>
            </a:extLst>
          </p:cNvPr>
          <p:cNvSpPr>
            <a:spLocks noChangeArrowheads="1"/>
          </p:cNvSpPr>
          <p:nvPr/>
        </p:nvSpPr>
        <p:spPr bwMode="auto">
          <a:xfrm>
            <a:off x="7654646" y="2178684"/>
            <a:ext cx="38858"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5" name="Rectangle 91">
            <a:extLst>
              <a:ext uri="{FF2B5EF4-FFF2-40B4-BE49-F238E27FC236}">
                <a16:creationId xmlns:a16="http://schemas.microsoft.com/office/drawing/2014/main" id="{26CA11A5-0B47-4C6D-A1C9-C3D2AD2FD119}"/>
              </a:ext>
            </a:extLst>
          </p:cNvPr>
          <p:cNvSpPr>
            <a:spLocks noChangeArrowheads="1"/>
          </p:cNvSpPr>
          <p:nvPr/>
        </p:nvSpPr>
        <p:spPr bwMode="auto">
          <a:xfrm>
            <a:off x="7112571"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6" name="Rectangle 92">
            <a:extLst>
              <a:ext uri="{FF2B5EF4-FFF2-40B4-BE49-F238E27FC236}">
                <a16:creationId xmlns:a16="http://schemas.microsoft.com/office/drawing/2014/main" id="{A106527A-260D-4888-98A6-40155EF8F7C2}"/>
              </a:ext>
            </a:extLst>
          </p:cNvPr>
          <p:cNvSpPr>
            <a:spLocks noChangeArrowheads="1"/>
          </p:cNvSpPr>
          <p:nvPr/>
        </p:nvSpPr>
        <p:spPr bwMode="auto">
          <a:xfrm>
            <a:off x="7198061" y="1626893"/>
            <a:ext cx="36916"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7" name="Rectangle 93">
            <a:extLst>
              <a:ext uri="{FF2B5EF4-FFF2-40B4-BE49-F238E27FC236}">
                <a16:creationId xmlns:a16="http://schemas.microsoft.com/office/drawing/2014/main" id="{36C47076-08F8-425E-9100-95D6CCDE72CB}"/>
              </a:ext>
            </a:extLst>
          </p:cNvPr>
          <p:cNvSpPr>
            <a:spLocks noChangeArrowheads="1"/>
          </p:cNvSpPr>
          <p:nvPr/>
        </p:nvSpPr>
        <p:spPr bwMode="auto">
          <a:xfrm>
            <a:off x="7281605" y="1626893"/>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8" name="Rectangle 94">
            <a:extLst>
              <a:ext uri="{FF2B5EF4-FFF2-40B4-BE49-F238E27FC236}">
                <a16:creationId xmlns:a16="http://schemas.microsoft.com/office/drawing/2014/main" id="{986EF941-B225-4F3F-8E5B-95192918ED25}"/>
              </a:ext>
            </a:extLst>
          </p:cNvPr>
          <p:cNvSpPr>
            <a:spLocks noChangeArrowheads="1"/>
          </p:cNvSpPr>
          <p:nvPr/>
        </p:nvSpPr>
        <p:spPr bwMode="auto">
          <a:xfrm>
            <a:off x="7112571" y="1737639"/>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09" name="Rectangle 95">
            <a:extLst>
              <a:ext uri="{FF2B5EF4-FFF2-40B4-BE49-F238E27FC236}">
                <a16:creationId xmlns:a16="http://schemas.microsoft.com/office/drawing/2014/main" id="{DDD43BA5-635E-4DB8-94F0-EF1D211B59B0}"/>
              </a:ext>
            </a:extLst>
          </p:cNvPr>
          <p:cNvSpPr>
            <a:spLocks noChangeArrowheads="1"/>
          </p:cNvSpPr>
          <p:nvPr/>
        </p:nvSpPr>
        <p:spPr bwMode="auto">
          <a:xfrm>
            <a:off x="7198061" y="1737639"/>
            <a:ext cx="36916"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0" name="Rectangle 96">
            <a:extLst>
              <a:ext uri="{FF2B5EF4-FFF2-40B4-BE49-F238E27FC236}">
                <a16:creationId xmlns:a16="http://schemas.microsoft.com/office/drawing/2014/main" id="{AF9345F1-B6A2-4433-935A-115FFDC6B97D}"/>
              </a:ext>
            </a:extLst>
          </p:cNvPr>
          <p:cNvSpPr>
            <a:spLocks noChangeArrowheads="1"/>
          </p:cNvSpPr>
          <p:nvPr/>
        </p:nvSpPr>
        <p:spPr bwMode="auto">
          <a:xfrm>
            <a:off x="7281605" y="1737639"/>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1" name="Rectangle 97">
            <a:extLst>
              <a:ext uri="{FF2B5EF4-FFF2-40B4-BE49-F238E27FC236}">
                <a16:creationId xmlns:a16="http://schemas.microsoft.com/office/drawing/2014/main" id="{ED78A014-DA58-47FE-8F1E-1FA3C72B0747}"/>
              </a:ext>
            </a:extLst>
          </p:cNvPr>
          <p:cNvSpPr>
            <a:spLocks noChangeArrowheads="1"/>
          </p:cNvSpPr>
          <p:nvPr/>
        </p:nvSpPr>
        <p:spPr bwMode="auto">
          <a:xfrm>
            <a:off x="7112571" y="1840615"/>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2" name="Rectangle 98">
            <a:extLst>
              <a:ext uri="{FF2B5EF4-FFF2-40B4-BE49-F238E27FC236}">
                <a16:creationId xmlns:a16="http://schemas.microsoft.com/office/drawing/2014/main" id="{6D83D8E8-0DE6-4A82-810D-A1F14705D2E7}"/>
              </a:ext>
            </a:extLst>
          </p:cNvPr>
          <p:cNvSpPr>
            <a:spLocks noChangeArrowheads="1"/>
          </p:cNvSpPr>
          <p:nvPr/>
        </p:nvSpPr>
        <p:spPr bwMode="auto">
          <a:xfrm>
            <a:off x="7198061" y="1840615"/>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3" name="Rectangle 99">
            <a:extLst>
              <a:ext uri="{FF2B5EF4-FFF2-40B4-BE49-F238E27FC236}">
                <a16:creationId xmlns:a16="http://schemas.microsoft.com/office/drawing/2014/main" id="{C4A52500-EE86-4D67-A221-405CA358BD88}"/>
              </a:ext>
            </a:extLst>
          </p:cNvPr>
          <p:cNvSpPr>
            <a:spLocks noChangeArrowheads="1"/>
          </p:cNvSpPr>
          <p:nvPr/>
        </p:nvSpPr>
        <p:spPr bwMode="auto">
          <a:xfrm>
            <a:off x="7281605" y="1840615"/>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4" name="Rectangle 100">
            <a:extLst>
              <a:ext uri="{FF2B5EF4-FFF2-40B4-BE49-F238E27FC236}">
                <a16:creationId xmlns:a16="http://schemas.microsoft.com/office/drawing/2014/main" id="{CDF0C244-49F1-469E-9110-4D0B9A11A7E7}"/>
              </a:ext>
            </a:extLst>
          </p:cNvPr>
          <p:cNvSpPr>
            <a:spLocks noChangeArrowheads="1"/>
          </p:cNvSpPr>
          <p:nvPr/>
        </p:nvSpPr>
        <p:spPr bwMode="auto">
          <a:xfrm>
            <a:off x="7112571" y="194164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5" name="Rectangle 101">
            <a:extLst>
              <a:ext uri="{FF2B5EF4-FFF2-40B4-BE49-F238E27FC236}">
                <a16:creationId xmlns:a16="http://schemas.microsoft.com/office/drawing/2014/main" id="{63CEDD11-11D5-4330-9822-E568E4FB9EED}"/>
              </a:ext>
            </a:extLst>
          </p:cNvPr>
          <p:cNvSpPr>
            <a:spLocks noChangeArrowheads="1"/>
          </p:cNvSpPr>
          <p:nvPr/>
        </p:nvSpPr>
        <p:spPr bwMode="auto">
          <a:xfrm>
            <a:off x="7198061" y="1941647"/>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6" name="Rectangle 102">
            <a:extLst>
              <a:ext uri="{FF2B5EF4-FFF2-40B4-BE49-F238E27FC236}">
                <a16:creationId xmlns:a16="http://schemas.microsoft.com/office/drawing/2014/main" id="{112A6B24-DC80-4EC7-972A-F801DCA01485}"/>
              </a:ext>
            </a:extLst>
          </p:cNvPr>
          <p:cNvSpPr>
            <a:spLocks noChangeArrowheads="1"/>
          </p:cNvSpPr>
          <p:nvPr/>
        </p:nvSpPr>
        <p:spPr bwMode="auto">
          <a:xfrm>
            <a:off x="7281605" y="1941647"/>
            <a:ext cx="40802" cy="7567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7" name="Rectangle 103">
            <a:extLst>
              <a:ext uri="{FF2B5EF4-FFF2-40B4-BE49-F238E27FC236}">
                <a16:creationId xmlns:a16="http://schemas.microsoft.com/office/drawing/2014/main" id="{66F544E0-7B2E-4B77-A028-BCD2E1ADDCA2}"/>
              </a:ext>
            </a:extLst>
          </p:cNvPr>
          <p:cNvSpPr>
            <a:spLocks noChangeArrowheads="1"/>
          </p:cNvSpPr>
          <p:nvPr/>
        </p:nvSpPr>
        <p:spPr bwMode="auto">
          <a:xfrm>
            <a:off x="7112571" y="2046611"/>
            <a:ext cx="40802"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8" name="Rectangle 104">
            <a:extLst>
              <a:ext uri="{FF2B5EF4-FFF2-40B4-BE49-F238E27FC236}">
                <a16:creationId xmlns:a16="http://schemas.microsoft.com/office/drawing/2014/main" id="{0A76B35A-7A3B-42F7-9155-14C97CB8A31B}"/>
              </a:ext>
            </a:extLst>
          </p:cNvPr>
          <p:cNvSpPr>
            <a:spLocks noChangeArrowheads="1"/>
          </p:cNvSpPr>
          <p:nvPr/>
        </p:nvSpPr>
        <p:spPr bwMode="auto">
          <a:xfrm>
            <a:off x="7198061" y="2046611"/>
            <a:ext cx="36916"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19" name="Rectangle 105">
            <a:extLst>
              <a:ext uri="{FF2B5EF4-FFF2-40B4-BE49-F238E27FC236}">
                <a16:creationId xmlns:a16="http://schemas.microsoft.com/office/drawing/2014/main" id="{EFE3F6B1-8540-4DCA-9636-B4DF73EA0DA4}"/>
              </a:ext>
            </a:extLst>
          </p:cNvPr>
          <p:cNvSpPr>
            <a:spLocks noChangeArrowheads="1"/>
          </p:cNvSpPr>
          <p:nvPr/>
        </p:nvSpPr>
        <p:spPr bwMode="auto">
          <a:xfrm>
            <a:off x="7281605" y="2046611"/>
            <a:ext cx="40802"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0" name="Rectangle 106">
            <a:extLst>
              <a:ext uri="{FF2B5EF4-FFF2-40B4-BE49-F238E27FC236}">
                <a16:creationId xmlns:a16="http://schemas.microsoft.com/office/drawing/2014/main" id="{42AEF7A5-A04E-4A99-85B1-B31141E9B067}"/>
              </a:ext>
            </a:extLst>
          </p:cNvPr>
          <p:cNvSpPr>
            <a:spLocks noChangeArrowheads="1"/>
          </p:cNvSpPr>
          <p:nvPr/>
        </p:nvSpPr>
        <p:spPr bwMode="auto">
          <a:xfrm>
            <a:off x="7112571" y="214759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1" name="Rectangle 107">
            <a:extLst>
              <a:ext uri="{FF2B5EF4-FFF2-40B4-BE49-F238E27FC236}">
                <a16:creationId xmlns:a16="http://schemas.microsoft.com/office/drawing/2014/main" id="{44F6AFAA-69D5-4882-A208-F1C920C65E6E}"/>
              </a:ext>
            </a:extLst>
          </p:cNvPr>
          <p:cNvSpPr>
            <a:spLocks noChangeArrowheads="1"/>
          </p:cNvSpPr>
          <p:nvPr/>
        </p:nvSpPr>
        <p:spPr bwMode="auto">
          <a:xfrm>
            <a:off x="7198061" y="2147597"/>
            <a:ext cx="36916"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2" name="Rectangle 108">
            <a:extLst>
              <a:ext uri="{FF2B5EF4-FFF2-40B4-BE49-F238E27FC236}">
                <a16:creationId xmlns:a16="http://schemas.microsoft.com/office/drawing/2014/main" id="{EB0EA769-5FC9-45A9-BD3C-653429FF6DCD}"/>
              </a:ext>
            </a:extLst>
          </p:cNvPr>
          <p:cNvSpPr>
            <a:spLocks noChangeArrowheads="1"/>
          </p:cNvSpPr>
          <p:nvPr/>
        </p:nvSpPr>
        <p:spPr bwMode="auto">
          <a:xfrm>
            <a:off x="7281605" y="2147597"/>
            <a:ext cx="40802"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3" name="Rectangle 109">
            <a:extLst>
              <a:ext uri="{FF2B5EF4-FFF2-40B4-BE49-F238E27FC236}">
                <a16:creationId xmlns:a16="http://schemas.microsoft.com/office/drawing/2014/main" id="{F463B485-CBB6-431B-9090-BCBD48CF4841}"/>
              </a:ext>
            </a:extLst>
          </p:cNvPr>
          <p:cNvSpPr>
            <a:spLocks noChangeArrowheads="1"/>
          </p:cNvSpPr>
          <p:nvPr/>
        </p:nvSpPr>
        <p:spPr bwMode="auto">
          <a:xfrm>
            <a:off x="7569157" y="812808"/>
            <a:ext cx="124347" cy="7567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4" name="Rectangle 110">
            <a:extLst>
              <a:ext uri="{FF2B5EF4-FFF2-40B4-BE49-F238E27FC236}">
                <a16:creationId xmlns:a16="http://schemas.microsoft.com/office/drawing/2014/main" id="{1CC80DF8-02DB-4791-AF7C-1641898486F1}"/>
              </a:ext>
            </a:extLst>
          </p:cNvPr>
          <p:cNvSpPr>
            <a:spLocks noChangeArrowheads="1"/>
          </p:cNvSpPr>
          <p:nvPr/>
        </p:nvSpPr>
        <p:spPr bwMode="auto">
          <a:xfrm>
            <a:off x="7438982" y="765596"/>
            <a:ext cx="25259" cy="12346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5" name="Freeform 111">
            <a:extLst>
              <a:ext uri="{FF2B5EF4-FFF2-40B4-BE49-F238E27FC236}">
                <a16:creationId xmlns:a16="http://schemas.microsoft.com/office/drawing/2014/main" id="{97A4667B-918C-4404-9D1C-8D4D9754E7A6}"/>
              </a:ext>
            </a:extLst>
          </p:cNvPr>
          <p:cNvSpPr>
            <a:spLocks/>
          </p:cNvSpPr>
          <p:nvPr/>
        </p:nvSpPr>
        <p:spPr bwMode="auto">
          <a:xfrm>
            <a:off x="6654480" y="1170983"/>
            <a:ext cx="285610" cy="1137096"/>
          </a:xfrm>
          <a:custGeom>
            <a:avLst/>
            <a:gdLst>
              <a:gd name="T0" fmla="*/ 0 w 147"/>
              <a:gd name="T1" fmla="*/ 95 h 571"/>
              <a:gd name="T2" fmla="*/ 147 w 147"/>
              <a:gd name="T3" fmla="*/ 0 h 571"/>
              <a:gd name="T4" fmla="*/ 147 w 147"/>
              <a:gd name="T5" fmla="*/ 571 h 571"/>
              <a:gd name="T6" fmla="*/ 0 w 147"/>
              <a:gd name="T7" fmla="*/ 571 h 571"/>
              <a:gd name="T8" fmla="*/ 0 w 147"/>
              <a:gd name="T9" fmla="*/ 95 h 571"/>
            </a:gdLst>
            <a:ahLst/>
            <a:cxnLst>
              <a:cxn ang="0">
                <a:pos x="T0" y="T1"/>
              </a:cxn>
              <a:cxn ang="0">
                <a:pos x="T2" y="T3"/>
              </a:cxn>
              <a:cxn ang="0">
                <a:pos x="T4" y="T5"/>
              </a:cxn>
              <a:cxn ang="0">
                <a:pos x="T6" y="T7"/>
              </a:cxn>
              <a:cxn ang="0">
                <a:pos x="T8" y="T9"/>
              </a:cxn>
            </a:cxnLst>
            <a:rect l="0" t="0" r="r" b="b"/>
            <a:pathLst>
              <a:path w="147" h="571">
                <a:moveTo>
                  <a:pt x="0" y="95"/>
                </a:moveTo>
                <a:lnTo>
                  <a:pt x="147" y="0"/>
                </a:lnTo>
                <a:lnTo>
                  <a:pt x="147" y="571"/>
                </a:lnTo>
                <a:lnTo>
                  <a:pt x="0" y="571"/>
                </a:lnTo>
                <a:lnTo>
                  <a:pt x="0" y="9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6" name="Rectangle 112">
            <a:extLst>
              <a:ext uri="{FF2B5EF4-FFF2-40B4-BE49-F238E27FC236}">
                <a16:creationId xmlns:a16="http://schemas.microsoft.com/office/drawing/2014/main" id="{91A167EA-DE04-4DA5-B9B4-4CBDBE7AD5CD}"/>
              </a:ext>
            </a:extLst>
          </p:cNvPr>
          <p:cNvSpPr>
            <a:spLocks noChangeArrowheads="1"/>
          </p:cNvSpPr>
          <p:nvPr/>
        </p:nvSpPr>
        <p:spPr bwMode="auto">
          <a:xfrm>
            <a:off x="6289210" y="1586054"/>
            <a:ext cx="153492" cy="71691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7" name="Rectangle 113">
            <a:extLst>
              <a:ext uri="{FF2B5EF4-FFF2-40B4-BE49-F238E27FC236}">
                <a16:creationId xmlns:a16="http://schemas.microsoft.com/office/drawing/2014/main" id="{4F482DF2-728C-45C6-8BA2-6B77EDE65FC9}"/>
              </a:ext>
            </a:extLst>
          </p:cNvPr>
          <p:cNvSpPr>
            <a:spLocks noChangeArrowheads="1"/>
          </p:cNvSpPr>
          <p:nvPr/>
        </p:nvSpPr>
        <p:spPr bwMode="auto">
          <a:xfrm>
            <a:off x="6366925" y="1182788"/>
            <a:ext cx="303096" cy="1125146"/>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8" name="Freeform 114">
            <a:extLst>
              <a:ext uri="{FF2B5EF4-FFF2-40B4-BE49-F238E27FC236}">
                <a16:creationId xmlns:a16="http://schemas.microsoft.com/office/drawing/2014/main" id="{3AF6F669-BDC6-4BA6-B4B6-DD82B2E0CBC8}"/>
              </a:ext>
            </a:extLst>
          </p:cNvPr>
          <p:cNvSpPr>
            <a:spLocks/>
          </p:cNvSpPr>
          <p:nvPr/>
        </p:nvSpPr>
        <p:spPr bwMode="auto">
          <a:xfrm>
            <a:off x="6440756" y="1084356"/>
            <a:ext cx="155434" cy="113510"/>
          </a:xfrm>
          <a:custGeom>
            <a:avLst/>
            <a:gdLst>
              <a:gd name="T0" fmla="*/ 60 w 80"/>
              <a:gd name="T1" fmla="*/ 0 h 57"/>
              <a:gd name="T2" fmla="*/ 20 w 80"/>
              <a:gd name="T3" fmla="*/ 0 h 57"/>
              <a:gd name="T4" fmla="*/ 0 w 80"/>
              <a:gd name="T5" fmla="*/ 57 h 57"/>
              <a:gd name="T6" fmla="*/ 80 w 80"/>
              <a:gd name="T7" fmla="*/ 57 h 57"/>
              <a:gd name="T8" fmla="*/ 60 w 80"/>
              <a:gd name="T9" fmla="*/ 0 h 57"/>
            </a:gdLst>
            <a:ahLst/>
            <a:cxnLst>
              <a:cxn ang="0">
                <a:pos x="T0" y="T1"/>
              </a:cxn>
              <a:cxn ang="0">
                <a:pos x="T2" y="T3"/>
              </a:cxn>
              <a:cxn ang="0">
                <a:pos x="T4" y="T5"/>
              </a:cxn>
              <a:cxn ang="0">
                <a:pos x="T6" y="T7"/>
              </a:cxn>
              <a:cxn ang="0">
                <a:pos x="T8" y="T9"/>
              </a:cxn>
            </a:cxnLst>
            <a:rect l="0" t="0" r="r" b="b"/>
            <a:pathLst>
              <a:path w="80" h="57">
                <a:moveTo>
                  <a:pt x="60" y="0"/>
                </a:moveTo>
                <a:lnTo>
                  <a:pt x="20" y="0"/>
                </a:lnTo>
                <a:lnTo>
                  <a:pt x="0" y="57"/>
                </a:lnTo>
                <a:lnTo>
                  <a:pt x="80" y="57"/>
                </a:lnTo>
                <a:lnTo>
                  <a:pt x="6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29" name="Rectangle 115">
            <a:extLst>
              <a:ext uri="{FF2B5EF4-FFF2-40B4-BE49-F238E27FC236}">
                <a16:creationId xmlns:a16="http://schemas.microsoft.com/office/drawing/2014/main" id="{B64E3146-648B-459C-A6A2-F94AF26FEA76}"/>
              </a:ext>
            </a:extLst>
          </p:cNvPr>
          <p:cNvSpPr>
            <a:spLocks noChangeArrowheads="1"/>
          </p:cNvSpPr>
          <p:nvPr/>
        </p:nvSpPr>
        <p:spPr bwMode="auto">
          <a:xfrm flipH="1">
            <a:off x="6483835" y="858724"/>
            <a:ext cx="55955" cy="27898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0" name="Rectangle 116">
            <a:extLst>
              <a:ext uri="{FF2B5EF4-FFF2-40B4-BE49-F238E27FC236}">
                <a16:creationId xmlns:a16="http://schemas.microsoft.com/office/drawing/2014/main" id="{BFA1FAFB-7592-42EE-869F-4C1C1B9BF8F0}"/>
              </a:ext>
            </a:extLst>
          </p:cNvPr>
          <p:cNvSpPr>
            <a:spLocks noChangeArrowheads="1"/>
          </p:cNvSpPr>
          <p:nvPr/>
        </p:nvSpPr>
        <p:spPr bwMode="auto">
          <a:xfrm>
            <a:off x="6405783"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1" name="Rectangle 117">
            <a:extLst>
              <a:ext uri="{FF2B5EF4-FFF2-40B4-BE49-F238E27FC236}">
                <a16:creationId xmlns:a16="http://schemas.microsoft.com/office/drawing/2014/main" id="{16A91866-A147-4565-AA7F-D5CE11C29FD3}"/>
              </a:ext>
            </a:extLst>
          </p:cNvPr>
          <p:cNvSpPr>
            <a:spLocks noChangeArrowheads="1"/>
          </p:cNvSpPr>
          <p:nvPr/>
        </p:nvSpPr>
        <p:spPr bwMode="auto">
          <a:xfrm>
            <a:off x="6469901"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2" name="Rectangle 118">
            <a:extLst>
              <a:ext uri="{FF2B5EF4-FFF2-40B4-BE49-F238E27FC236}">
                <a16:creationId xmlns:a16="http://schemas.microsoft.com/office/drawing/2014/main" id="{C314EEC3-0C5F-4BB7-815D-A198AFFE1E48}"/>
              </a:ext>
            </a:extLst>
          </p:cNvPr>
          <p:cNvSpPr>
            <a:spLocks noChangeArrowheads="1"/>
          </p:cNvSpPr>
          <p:nvPr/>
        </p:nvSpPr>
        <p:spPr bwMode="auto">
          <a:xfrm>
            <a:off x="6535960" y="1232503"/>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3" name="Rectangle 119">
            <a:extLst>
              <a:ext uri="{FF2B5EF4-FFF2-40B4-BE49-F238E27FC236}">
                <a16:creationId xmlns:a16="http://schemas.microsoft.com/office/drawing/2014/main" id="{D25B269A-478E-4EE4-BA3C-68DC9946F9AC}"/>
              </a:ext>
            </a:extLst>
          </p:cNvPr>
          <p:cNvSpPr>
            <a:spLocks noChangeArrowheads="1"/>
          </p:cNvSpPr>
          <p:nvPr/>
        </p:nvSpPr>
        <p:spPr bwMode="auto">
          <a:xfrm>
            <a:off x="6600076" y="1232503"/>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4" name="Rectangle 120">
            <a:extLst>
              <a:ext uri="{FF2B5EF4-FFF2-40B4-BE49-F238E27FC236}">
                <a16:creationId xmlns:a16="http://schemas.microsoft.com/office/drawing/2014/main" id="{E7759683-050C-4A5F-BA5E-0ED5B7A3D22C}"/>
              </a:ext>
            </a:extLst>
          </p:cNvPr>
          <p:cNvSpPr>
            <a:spLocks noChangeArrowheads="1"/>
          </p:cNvSpPr>
          <p:nvPr/>
        </p:nvSpPr>
        <p:spPr bwMode="auto">
          <a:xfrm>
            <a:off x="6405783"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5" name="Rectangle 121">
            <a:extLst>
              <a:ext uri="{FF2B5EF4-FFF2-40B4-BE49-F238E27FC236}">
                <a16:creationId xmlns:a16="http://schemas.microsoft.com/office/drawing/2014/main" id="{D007A8CF-9382-47CC-8060-8F0336DBE365}"/>
              </a:ext>
            </a:extLst>
          </p:cNvPr>
          <p:cNvSpPr>
            <a:spLocks noChangeArrowheads="1"/>
          </p:cNvSpPr>
          <p:nvPr/>
        </p:nvSpPr>
        <p:spPr bwMode="auto">
          <a:xfrm>
            <a:off x="6469901" y="1333535"/>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6" name="Rectangle 122">
            <a:extLst>
              <a:ext uri="{FF2B5EF4-FFF2-40B4-BE49-F238E27FC236}">
                <a16:creationId xmlns:a16="http://schemas.microsoft.com/office/drawing/2014/main" id="{F12FE0A8-F94A-446F-88DD-1F29959B38B7}"/>
              </a:ext>
            </a:extLst>
          </p:cNvPr>
          <p:cNvSpPr>
            <a:spLocks noChangeArrowheads="1"/>
          </p:cNvSpPr>
          <p:nvPr/>
        </p:nvSpPr>
        <p:spPr bwMode="auto">
          <a:xfrm>
            <a:off x="6535960"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7" name="Rectangle 123">
            <a:extLst>
              <a:ext uri="{FF2B5EF4-FFF2-40B4-BE49-F238E27FC236}">
                <a16:creationId xmlns:a16="http://schemas.microsoft.com/office/drawing/2014/main" id="{4B1B61A1-0D52-4E36-B10F-A6D60D66AB24}"/>
              </a:ext>
            </a:extLst>
          </p:cNvPr>
          <p:cNvSpPr>
            <a:spLocks noChangeArrowheads="1"/>
          </p:cNvSpPr>
          <p:nvPr/>
        </p:nvSpPr>
        <p:spPr bwMode="auto">
          <a:xfrm>
            <a:off x="6600076" y="1333535"/>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8" name="Rectangle 124">
            <a:extLst>
              <a:ext uri="{FF2B5EF4-FFF2-40B4-BE49-F238E27FC236}">
                <a16:creationId xmlns:a16="http://schemas.microsoft.com/office/drawing/2014/main" id="{33AD4BCD-31F2-41E7-AB24-7B2FD8EE78A0}"/>
              </a:ext>
            </a:extLst>
          </p:cNvPr>
          <p:cNvSpPr>
            <a:spLocks noChangeArrowheads="1"/>
          </p:cNvSpPr>
          <p:nvPr/>
        </p:nvSpPr>
        <p:spPr bwMode="auto">
          <a:xfrm>
            <a:off x="6405783"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39" name="Rectangle 125">
            <a:extLst>
              <a:ext uri="{FF2B5EF4-FFF2-40B4-BE49-F238E27FC236}">
                <a16:creationId xmlns:a16="http://schemas.microsoft.com/office/drawing/2014/main" id="{1D0EF998-696E-4119-AA4F-ADFB68063929}"/>
              </a:ext>
            </a:extLst>
          </p:cNvPr>
          <p:cNvSpPr>
            <a:spLocks noChangeArrowheads="1"/>
          </p:cNvSpPr>
          <p:nvPr/>
        </p:nvSpPr>
        <p:spPr bwMode="auto">
          <a:xfrm>
            <a:off x="6469901"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0" name="Rectangle 126">
            <a:extLst>
              <a:ext uri="{FF2B5EF4-FFF2-40B4-BE49-F238E27FC236}">
                <a16:creationId xmlns:a16="http://schemas.microsoft.com/office/drawing/2014/main" id="{E690B277-A6B8-48E0-B0FE-FD5F724725C5}"/>
              </a:ext>
            </a:extLst>
          </p:cNvPr>
          <p:cNvSpPr>
            <a:spLocks noChangeArrowheads="1"/>
          </p:cNvSpPr>
          <p:nvPr/>
        </p:nvSpPr>
        <p:spPr bwMode="auto">
          <a:xfrm>
            <a:off x="6535960" y="1436533"/>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1" name="Rectangle 127">
            <a:extLst>
              <a:ext uri="{FF2B5EF4-FFF2-40B4-BE49-F238E27FC236}">
                <a16:creationId xmlns:a16="http://schemas.microsoft.com/office/drawing/2014/main" id="{1C1861E7-BB2E-4C4C-8C9E-343B5097BBD7}"/>
              </a:ext>
            </a:extLst>
          </p:cNvPr>
          <p:cNvSpPr>
            <a:spLocks noChangeArrowheads="1"/>
          </p:cNvSpPr>
          <p:nvPr/>
        </p:nvSpPr>
        <p:spPr bwMode="auto">
          <a:xfrm>
            <a:off x="6600076" y="1436533"/>
            <a:ext cx="31087" cy="716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2" name="Rectangle 128">
            <a:extLst>
              <a:ext uri="{FF2B5EF4-FFF2-40B4-BE49-F238E27FC236}">
                <a16:creationId xmlns:a16="http://schemas.microsoft.com/office/drawing/2014/main" id="{26086759-A291-4D90-84B8-4E4AB4AB9399}"/>
              </a:ext>
            </a:extLst>
          </p:cNvPr>
          <p:cNvSpPr>
            <a:spLocks noChangeArrowheads="1"/>
          </p:cNvSpPr>
          <p:nvPr/>
        </p:nvSpPr>
        <p:spPr bwMode="auto">
          <a:xfrm>
            <a:off x="6405783" y="153754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3" name="Rectangle 129">
            <a:extLst>
              <a:ext uri="{FF2B5EF4-FFF2-40B4-BE49-F238E27FC236}">
                <a16:creationId xmlns:a16="http://schemas.microsoft.com/office/drawing/2014/main" id="{3076B989-02D5-47C7-9D24-E5B4DE9038ED}"/>
              </a:ext>
            </a:extLst>
          </p:cNvPr>
          <p:cNvSpPr>
            <a:spLocks noChangeArrowheads="1"/>
          </p:cNvSpPr>
          <p:nvPr/>
        </p:nvSpPr>
        <p:spPr bwMode="auto">
          <a:xfrm>
            <a:off x="6469901" y="153754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4" name="Rectangle 130">
            <a:extLst>
              <a:ext uri="{FF2B5EF4-FFF2-40B4-BE49-F238E27FC236}">
                <a16:creationId xmlns:a16="http://schemas.microsoft.com/office/drawing/2014/main" id="{5CA95A17-9543-4724-A163-DF7BA9A28458}"/>
              </a:ext>
            </a:extLst>
          </p:cNvPr>
          <p:cNvSpPr>
            <a:spLocks noChangeArrowheads="1"/>
          </p:cNvSpPr>
          <p:nvPr/>
        </p:nvSpPr>
        <p:spPr bwMode="auto">
          <a:xfrm>
            <a:off x="6535960" y="153754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5" name="Rectangle 131">
            <a:extLst>
              <a:ext uri="{FF2B5EF4-FFF2-40B4-BE49-F238E27FC236}">
                <a16:creationId xmlns:a16="http://schemas.microsoft.com/office/drawing/2014/main" id="{361062AD-CE1D-424E-A185-7C4EDCA99986}"/>
              </a:ext>
            </a:extLst>
          </p:cNvPr>
          <p:cNvSpPr>
            <a:spLocks noChangeArrowheads="1"/>
          </p:cNvSpPr>
          <p:nvPr/>
        </p:nvSpPr>
        <p:spPr bwMode="auto">
          <a:xfrm>
            <a:off x="6600076" y="153754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6" name="Rectangle 132">
            <a:extLst>
              <a:ext uri="{FF2B5EF4-FFF2-40B4-BE49-F238E27FC236}">
                <a16:creationId xmlns:a16="http://schemas.microsoft.com/office/drawing/2014/main" id="{A902981C-0955-407C-9644-520451AAA39B}"/>
              </a:ext>
            </a:extLst>
          </p:cNvPr>
          <p:cNvSpPr>
            <a:spLocks noChangeArrowheads="1"/>
          </p:cNvSpPr>
          <p:nvPr/>
        </p:nvSpPr>
        <p:spPr bwMode="auto">
          <a:xfrm>
            <a:off x="6405783"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7" name="Rectangle 133">
            <a:extLst>
              <a:ext uri="{FF2B5EF4-FFF2-40B4-BE49-F238E27FC236}">
                <a16:creationId xmlns:a16="http://schemas.microsoft.com/office/drawing/2014/main" id="{F32A75A6-8785-418B-BCD7-3D05A9C92FD7}"/>
              </a:ext>
            </a:extLst>
          </p:cNvPr>
          <p:cNvSpPr>
            <a:spLocks noChangeArrowheads="1"/>
          </p:cNvSpPr>
          <p:nvPr/>
        </p:nvSpPr>
        <p:spPr bwMode="auto">
          <a:xfrm>
            <a:off x="6469901" y="1642460"/>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8" name="Rectangle 134">
            <a:extLst>
              <a:ext uri="{FF2B5EF4-FFF2-40B4-BE49-F238E27FC236}">
                <a16:creationId xmlns:a16="http://schemas.microsoft.com/office/drawing/2014/main" id="{BEC7C993-63E6-4FF6-8E0E-C8E34E590095}"/>
              </a:ext>
            </a:extLst>
          </p:cNvPr>
          <p:cNvSpPr>
            <a:spLocks noChangeArrowheads="1"/>
          </p:cNvSpPr>
          <p:nvPr/>
        </p:nvSpPr>
        <p:spPr bwMode="auto">
          <a:xfrm>
            <a:off x="6535960"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49" name="Rectangle 135">
            <a:extLst>
              <a:ext uri="{FF2B5EF4-FFF2-40B4-BE49-F238E27FC236}">
                <a16:creationId xmlns:a16="http://schemas.microsoft.com/office/drawing/2014/main" id="{03262B7B-DBAF-4E65-BD5E-2DFB57D77374}"/>
              </a:ext>
            </a:extLst>
          </p:cNvPr>
          <p:cNvSpPr>
            <a:spLocks noChangeArrowheads="1"/>
          </p:cNvSpPr>
          <p:nvPr/>
        </p:nvSpPr>
        <p:spPr bwMode="auto">
          <a:xfrm>
            <a:off x="6600076" y="1642460"/>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0" name="Rectangle 136">
            <a:extLst>
              <a:ext uri="{FF2B5EF4-FFF2-40B4-BE49-F238E27FC236}">
                <a16:creationId xmlns:a16="http://schemas.microsoft.com/office/drawing/2014/main" id="{4045AE6A-C2EF-44D0-87ED-2BF8FBDB42DC}"/>
              </a:ext>
            </a:extLst>
          </p:cNvPr>
          <p:cNvSpPr>
            <a:spLocks noChangeArrowheads="1"/>
          </p:cNvSpPr>
          <p:nvPr/>
        </p:nvSpPr>
        <p:spPr bwMode="auto">
          <a:xfrm>
            <a:off x="6405783"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1" name="Rectangle 137">
            <a:extLst>
              <a:ext uri="{FF2B5EF4-FFF2-40B4-BE49-F238E27FC236}">
                <a16:creationId xmlns:a16="http://schemas.microsoft.com/office/drawing/2014/main" id="{05B3FCD5-5269-458A-80FF-D1ECE2D7B200}"/>
              </a:ext>
            </a:extLst>
          </p:cNvPr>
          <p:cNvSpPr>
            <a:spLocks noChangeArrowheads="1"/>
          </p:cNvSpPr>
          <p:nvPr/>
        </p:nvSpPr>
        <p:spPr bwMode="auto">
          <a:xfrm>
            <a:off x="6469901"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2" name="Rectangle 138">
            <a:extLst>
              <a:ext uri="{FF2B5EF4-FFF2-40B4-BE49-F238E27FC236}">
                <a16:creationId xmlns:a16="http://schemas.microsoft.com/office/drawing/2014/main" id="{3098C63B-051E-40D0-B3BE-B3FBE2ACBF47}"/>
              </a:ext>
            </a:extLst>
          </p:cNvPr>
          <p:cNvSpPr>
            <a:spLocks noChangeArrowheads="1"/>
          </p:cNvSpPr>
          <p:nvPr/>
        </p:nvSpPr>
        <p:spPr bwMode="auto">
          <a:xfrm>
            <a:off x="6535960" y="1743492"/>
            <a:ext cx="31087" cy="7368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3" name="Rectangle 139">
            <a:extLst>
              <a:ext uri="{FF2B5EF4-FFF2-40B4-BE49-F238E27FC236}">
                <a16:creationId xmlns:a16="http://schemas.microsoft.com/office/drawing/2014/main" id="{4BB3ABB5-0F6B-4E29-B383-F49DE47081A8}"/>
              </a:ext>
            </a:extLst>
          </p:cNvPr>
          <p:cNvSpPr>
            <a:spLocks noChangeArrowheads="1"/>
          </p:cNvSpPr>
          <p:nvPr/>
        </p:nvSpPr>
        <p:spPr bwMode="auto">
          <a:xfrm>
            <a:off x="6600076" y="1743492"/>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4" name="Rectangle 140">
            <a:extLst>
              <a:ext uri="{FF2B5EF4-FFF2-40B4-BE49-F238E27FC236}">
                <a16:creationId xmlns:a16="http://schemas.microsoft.com/office/drawing/2014/main" id="{EC8F0487-13FA-48A9-BF49-CFACF1C9D363}"/>
              </a:ext>
            </a:extLst>
          </p:cNvPr>
          <p:cNvSpPr>
            <a:spLocks noChangeArrowheads="1"/>
          </p:cNvSpPr>
          <p:nvPr/>
        </p:nvSpPr>
        <p:spPr bwMode="auto">
          <a:xfrm>
            <a:off x="6405783"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5" name="Rectangle 141">
            <a:extLst>
              <a:ext uri="{FF2B5EF4-FFF2-40B4-BE49-F238E27FC236}">
                <a16:creationId xmlns:a16="http://schemas.microsoft.com/office/drawing/2014/main" id="{9B2F42C9-03B3-43B9-93F5-B909245EBBBD}"/>
              </a:ext>
            </a:extLst>
          </p:cNvPr>
          <p:cNvSpPr>
            <a:spLocks noChangeArrowheads="1"/>
          </p:cNvSpPr>
          <p:nvPr/>
        </p:nvSpPr>
        <p:spPr bwMode="auto">
          <a:xfrm>
            <a:off x="6469901"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6" name="Rectangle 142">
            <a:extLst>
              <a:ext uri="{FF2B5EF4-FFF2-40B4-BE49-F238E27FC236}">
                <a16:creationId xmlns:a16="http://schemas.microsoft.com/office/drawing/2014/main" id="{5C3E9EAD-CC74-45BD-B612-ED6D9B7BD74C}"/>
              </a:ext>
            </a:extLst>
          </p:cNvPr>
          <p:cNvSpPr>
            <a:spLocks noChangeArrowheads="1"/>
          </p:cNvSpPr>
          <p:nvPr/>
        </p:nvSpPr>
        <p:spPr bwMode="auto">
          <a:xfrm>
            <a:off x="6535960"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7" name="Rectangle 143">
            <a:extLst>
              <a:ext uri="{FF2B5EF4-FFF2-40B4-BE49-F238E27FC236}">
                <a16:creationId xmlns:a16="http://schemas.microsoft.com/office/drawing/2014/main" id="{F5EB1465-E047-4AA6-89FB-B7D7FFEC413E}"/>
              </a:ext>
            </a:extLst>
          </p:cNvPr>
          <p:cNvSpPr>
            <a:spLocks noChangeArrowheads="1"/>
          </p:cNvSpPr>
          <p:nvPr/>
        </p:nvSpPr>
        <p:spPr bwMode="auto">
          <a:xfrm>
            <a:off x="6600076" y="1846489"/>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8" name="Rectangle 144">
            <a:extLst>
              <a:ext uri="{FF2B5EF4-FFF2-40B4-BE49-F238E27FC236}">
                <a16:creationId xmlns:a16="http://schemas.microsoft.com/office/drawing/2014/main" id="{BEB5A9CA-CD40-443B-919A-55ADC98D5371}"/>
              </a:ext>
            </a:extLst>
          </p:cNvPr>
          <p:cNvSpPr>
            <a:spLocks noChangeArrowheads="1"/>
          </p:cNvSpPr>
          <p:nvPr/>
        </p:nvSpPr>
        <p:spPr bwMode="auto">
          <a:xfrm>
            <a:off x="6405783"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59" name="Rectangle 145">
            <a:extLst>
              <a:ext uri="{FF2B5EF4-FFF2-40B4-BE49-F238E27FC236}">
                <a16:creationId xmlns:a16="http://schemas.microsoft.com/office/drawing/2014/main" id="{A35D342E-B6DA-49D5-B833-3AC3C27F71D3}"/>
              </a:ext>
            </a:extLst>
          </p:cNvPr>
          <p:cNvSpPr>
            <a:spLocks noChangeArrowheads="1"/>
          </p:cNvSpPr>
          <p:nvPr/>
        </p:nvSpPr>
        <p:spPr bwMode="auto">
          <a:xfrm>
            <a:off x="6469901"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0" name="Rectangle 146">
            <a:extLst>
              <a:ext uri="{FF2B5EF4-FFF2-40B4-BE49-F238E27FC236}">
                <a16:creationId xmlns:a16="http://schemas.microsoft.com/office/drawing/2014/main" id="{0B357F7F-2FE2-4A2A-9F31-47B0F459EDFC}"/>
              </a:ext>
            </a:extLst>
          </p:cNvPr>
          <p:cNvSpPr>
            <a:spLocks noChangeArrowheads="1"/>
          </p:cNvSpPr>
          <p:nvPr/>
        </p:nvSpPr>
        <p:spPr bwMode="auto">
          <a:xfrm>
            <a:off x="6535960"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1" name="Rectangle 147">
            <a:extLst>
              <a:ext uri="{FF2B5EF4-FFF2-40B4-BE49-F238E27FC236}">
                <a16:creationId xmlns:a16="http://schemas.microsoft.com/office/drawing/2014/main" id="{DBB7C0FC-CF5B-4085-8AEE-5C02F9CDA427}"/>
              </a:ext>
            </a:extLst>
          </p:cNvPr>
          <p:cNvSpPr>
            <a:spLocks noChangeArrowheads="1"/>
          </p:cNvSpPr>
          <p:nvPr/>
        </p:nvSpPr>
        <p:spPr bwMode="auto">
          <a:xfrm>
            <a:off x="6600076" y="1947499"/>
            <a:ext cx="31087" cy="7368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2" name="Rectangle 148">
            <a:extLst>
              <a:ext uri="{FF2B5EF4-FFF2-40B4-BE49-F238E27FC236}">
                <a16:creationId xmlns:a16="http://schemas.microsoft.com/office/drawing/2014/main" id="{71FF0E02-D2C9-461B-B23F-6E2B487E8A8D}"/>
              </a:ext>
            </a:extLst>
          </p:cNvPr>
          <p:cNvSpPr>
            <a:spLocks noChangeArrowheads="1"/>
          </p:cNvSpPr>
          <p:nvPr/>
        </p:nvSpPr>
        <p:spPr bwMode="auto">
          <a:xfrm>
            <a:off x="6405783"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3" name="Rectangle 149">
            <a:extLst>
              <a:ext uri="{FF2B5EF4-FFF2-40B4-BE49-F238E27FC236}">
                <a16:creationId xmlns:a16="http://schemas.microsoft.com/office/drawing/2014/main" id="{8946B7E0-366A-4A18-871E-1D8686D69AC6}"/>
              </a:ext>
            </a:extLst>
          </p:cNvPr>
          <p:cNvSpPr>
            <a:spLocks noChangeArrowheads="1"/>
          </p:cNvSpPr>
          <p:nvPr/>
        </p:nvSpPr>
        <p:spPr bwMode="auto">
          <a:xfrm>
            <a:off x="6469901"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4" name="Rectangle 150">
            <a:extLst>
              <a:ext uri="{FF2B5EF4-FFF2-40B4-BE49-F238E27FC236}">
                <a16:creationId xmlns:a16="http://schemas.microsoft.com/office/drawing/2014/main" id="{8BD15256-6EFB-4BDE-9AD6-55EBEC40A26F}"/>
              </a:ext>
            </a:extLst>
          </p:cNvPr>
          <p:cNvSpPr>
            <a:spLocks noChangeArrowheads="1"/>
          </p:cNvSpPr>
          <p:nvPr/>
        </p:nvSpPr>
        <p:spPr bwMode="auto">
          <a:xfrm>
            <a:off x="6535960"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5" name="Rectangle 151">
            <a:extLst>
              <a:ext uri="{FF2B5EF4-FFF2-40B4-BE49-F238E27FC236}">
                <a16:creationId xmlns:a16="http://schemas.microsoft.com/office/drawing/2014/main" id="{999DBA0E-4DA9-4984-831D-6A68C6DAE9D8}"/>
              </a:ext>
            </a:extLst>
          </p:cNvPr>
          <p:cNvSpPr>
            <a:spLocks noChangeArrowheads="1"/>
          </p:cNvSpPr>
          <p:nvPr/>
        </p:nvSpPr>
        <p:spPr bwMode="auto">
          <a:xfrm>
            <a:off x="6600076" y="2050497"/>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6" name="Rectangle 152">
            <a:extLst>
              <a:ext uri="{FF2B5EF4-FFF2-40B4-BE49-F238E27FC236}">
                <a16:creationId xmlns:a16="http://schemas.microsoft.com/office/drawing/2014/main" id="{B7358F92-FB35-4746-9145-B22914C30CEF}"/>
              </a:ext>
            </a:extLst>
          </p:cNvPr>
          <p:cNvSpPr>
            <a:spLocks noChangeArrowheads="1"/>
          </p:cNvSpPr>
          <p:nvPr/>
        </p:nvSpPr>
        <p:spPr bwMode="auto">
          <a:xfrm>
            <a:off x="6405783"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7" name="Rectangle 153">
            <a:extLst>
              <a:ext uri="{FF2B5EF4-FFF2-40B4-BE49-F238E27FC236}">
                <a16:creationId xmlns:a16="http://schemas.microsoft.com/office/drawing/2014/main" id="{A1DD9080-62B3-434F-B88A-DC04DF1EDD79}"/>
              </a:ext>
            </a:extLst>
          </p:cNvPr>
          <p:cNvSpPr>
            <a:spLocks noChangeArrowheads="1"/>
          </p:cNvSpPr>
          <p:nvPr/>
        </p:nvSpPr>
        <p:spPr bwMode="auto">
          <a:xfrm>
            <a:off x="6469901"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8" name="Rectangle 154">
            <a:extLst>
              <a:ext uri="{FF2B5EF4-FFF2-40B4-BE49-F238E27FC236}">
                <a16:creationId xmlns:a16="http://schemas.microsoft.com/office/drawing/2014/main" id="{D30037C4-0C85-4431-9E4B-3DA63A4B15D2}"/>
              </a:ext>
            </a:extLst>
          </p:cNvPr>
          <p:cNvSpPr>
            <a:spLocks noChangeArrowheads="1"/>
          </p:cNvSpPr>
          <p:nvPr/>
        </p:nvSpPr>
        <p:spPr bwMode="auto">
          <a:xfrm>
            <a:off x="6535960"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69" name="Rectangle 155">
            <a:extLst>
              <a:ext uri="{FF2B5EF4-FFF2-40B4-BE49-F238E27FC236}">
                <a16:creationId xmlns:a16="http://schemas.microsoft.com/office/drawing/2014/main" id="{2705B40F-C175-40DD-89CA-1DB4184011F0}"/>
              </a:ext>
            </a:extLst>
          </p:cNvPr>
          <p:cNvSpPr>
            <a:spLocks noChangeArrowheads="1"/>
          </p:cNvSpPr>
          <p:nvPr/>
        </p:nvSpPr>
        <p:spPr bwMode="auto">
          <a:xfrm>
            <a:off x="6600076" y="2155415"/>
            <a:ext cx="31087" cy="7169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0" name="Line 156">
            <a:extLst>
              <a:ext uri="{FF2B5EF4-FFF2-40B4-BE49-F238E27FC236}">
                <a16:creationId xmlns:a16="http://schemas.microsoft.com/office/drawing/2014/main" id="{83D4F0F8-413D-40F3-835D-77E8F5E2257B}"/>
              </a:ext>
            </a:extLst>
          </p:cNvPr>
          <p:cNvSpPr>
            <a:spLocks noChangeShapeType="1"/>
          </p:cNvSpPr>
          <p:nvPr/>
        </p:nvSpPr>
        <p:spPr bwMode="auto">
          <a:xfrm>
            <a:off x="6897344"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1" name="Line 157">
            <a:extLst>
              <a:ext uri="{FF2B5EF4-FFF2-40B4-BE49-F238E27FC236}">
                <a16:creationId xmlns:a16="http://schemas.microsoft.com/office/drawing/2014/main" id="{F4EF810C-A659-4746-83E1-3C6902A6ACFA}"/>
              </a:ext>
            </a:extLst>
          </p:cNvPr>
          <p:cNvSpPr>
            <a:spLocks noChangeShapeType="1"/>
          </p:cNvSpPr>
          <p:nvPr/>
        </p:nvSpPr>
        <p:spPr bwMode="auto">
          <a:xfrm>
            <a:off x="6844884"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2" name="Line 158">
            <a:extLst>
              <a:ext uri="{FF2B5EF4-FFF2-40B4-BE49-F238E27FC236}">
                <a16:creationId xmlns:a16="http://schemas.microsoft.com/office/drawing/2014/main" id="{62FABB99-E439-467C-A739-26580FA88F1A}"/>
              </a:ext>
            </a:extLst>
          </p:cNvPr>
          <p:cNvSpPr>
            <a:spLocks noChangeShapeType="1"/>
          </p:cNvSpPr>
          <p:nvPr/>
        </p:nvSpPr>
        <p:spPr bwMode="auto">
          <a:xfrm>
            <a:off x="6796312"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3" name="Line 159">
            <a:extLst>
              <a:ext uri="{FF2B5EF4-FFF2-40B4-BE49-F238E27FC236}">
                <a16:creationId xmlns:a16="http://schemas.microsoft.com/office/drawing/2014/main" id="{7EDA80CE-DBD2-421D-8651-2AFB5CF150C9}"/>
              </a:ext>
            </a:extLst>
          </p:cNvPr>
          <p:cNvSpPr>
            <a:spLocks noChangeShapeType="1"/>
          </p:cNvSpPr>
          <p:nvPr/>
        </p:nvSpPr>
        <p:spPr bwMode="auto">
          <a:xfrm>
            <a:off x="6743852"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4" name="Line 160">
            <a:extLst>
              <a:ext uri="{FF2B5EF4-FFF2-40B4-BE49-F238E27FC236}">
                <a16:creationId xmlns:a16="http://schemas.microsoft.com/office/drawing/2014/main" id="{6FB9B2EA-A22B-4ED5-B406-324B727C5C5D}"/>
              </a:ext>
            </a:extLst>
          </p:cNvPr>
          <p:cNvSpPr>
            <a:spLocks noChangeShapeType="1"/>
          </p:cNvSpPr>
          <p:nvPr/>
        </p:nvSpPr>
        <p:spPr bwMode="auto">
          <a:xfrm>
            <a:off x="6695280" y="1170983"/>
            <a:ext cx="0" cy="1137096"/>
          </a:xfrm>
          <a:prstGeom prst="line">
            <a:avLst/>
          </a:prstGeom>
          <a:noFill/>
          <a:ln w="17463"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5" name="Rectangle 161">
            <a:extLst>
              <a:ext uri="{FF2B5EF4-FFF2-40B4-BE49-F238E27FC236}">
                <a16:creationId xmlns:a16="http://schemas.microsoft.com/office/drawing/2014/main" id="{619A1027-A958-4D75-9BB5-F5BDEBC13EA3}"/>
              </a:ext>
            </a:extLst>
          </p:cNvPr>
          <p:cNvSpPr>
            <a:spLocks noChangeArrowheads="1"/>
          </p:cNvSpPr>
          <p:nvPr/>
        </p:nvSpPr>
        <p:spPr bwMode="auto">
          <a:xfrm>
            <a:off x="7744020" y="1594057"/>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6" name="Rectangle 162">
            <a:extLst>
              <a:ext uri="{FF2B5EF4-FFF2-40B4-BE49-F238E27FC236}">
                <a16:creationId xmlns:a16="http://schemas.microsoft.com/office/drawing/2014/main" id="{9B29BCC6-2CB8-4DA1-B277-6D06CBA3FAD0}"/>
              </a:ext>
            </a:extLst>
          </p:cNvPr>
          <p:cNvSpPr>
            <a:spLocks noChangeArrowheads="1"/>
          </p:cNvSpPr>
          <p:nvPr/>
        </p:nvSpPr>
        <p:spPr bwMode="auto">
          <a:xfrm>
            <a:off x="7744020" y="1695089"/>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7" name="Rectangle 163">
            <a:extLst>
              <a:ext uri="{FF2B5EF4-FFF2-40B4-BE49-F238E27FC236}">
                <a16:creationId xmlns:a16="http://schemas.microsoft.com/office/drawing/2014/main" id="{DEA8EAA2-4C1D-4DE8-B710-F2A970647B8E}"/>
              </a:ext>
            </a:extLst>
          </p:cNvPr>
          <p:cNvSpPr>
            <a:spLocks noChangeArrowheads="1"/>
          </p:cNvSpPr>
          <p:nvPr/>
        </p:nvSpPr>
        <p:spPr bwMode="auto">
          <a:xfrm>
            <a:off x="7744020" y="1800031"/>
            <a:ext cx="273953" cy="577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8" name="Rectangle 164">
            <a:extLst>
              <a:ext uri="{FF2B5EF4-FFF2-40B4-BE49-F238E27FC236}">
                <a16:creationId xmlns:a16="http://schemas.microsoft.com/office/drawing/2014/main" id="{2B4B5F74-CC25-47DF-B39D-36DFD0BE1F6B}"/>
              </a:ext>
            </a:extLst>
          </p:cNvPr>
          <p:cNvSpPr>
            <a:spLocks noChangeArrowheads="1"/>
          </p:cNvSpPr>
          <p:nvPr/>
        </p:nvSpPr>
        <p:spPr bwMode="auto">
          <a:xfrm>
            <a:off x="7744020" y="1901012"/>
            <a:ext cx="273953" cy="6173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79" name="Rectangle 165">
            <a:extLst>
              <a:ext uri="{FF2B5EF4-FFF2-40B4-BE49-F238E27FC236}">
                <a16:creationId xmlns:a16="http://schemas.microsoft.com/office/drawing/2014/main" id="{771EFDB0-3881-4BE6-9B18-3FC62BE3C5D4}"/>
              </a:ext>
            </a:extLst>
          </p:cNvPr>
          <p:cNvSpPr>
            <a:spLocks noChangeArrowheads="1"/>
          </p:cNvSpPr>
          <p:nvPr/>
        </p:nvSpPr>
        <p:spPr bwMode="auto">
          <a:xfrm>
            <a:off x="7744020" y="2004014"/>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80" name="Rectangle 166">
            <a:extLst>
              <a:ext uri="{FF2B5EF4-FFF2-40B4-BE49-F238E27FC236}">
                <a16:creationId xmlns:a16="http://schemas.microsoft.com/office/drawing/2014/main" id="{2403714E-AAFA-4954-BEB6-BDD3FFA8FE39}"/>
              </a:ext>
            </a:extLst>
          </p:cNvPr>
          <p:cNvSpPr>
            <a:spLocks noChangeArrowheads="1"/>
          </p:cNvSpPr>
          <p:nvPr/>
        </p:nvSpPr>
        <p:spPr bwMode="auto">
          <a:xfrm>
            <a:off x="7744020" y="2105046"/>
            <a:ext cx="273953" cy="597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sp>
        <p:nvSpPr>
          <p:cNvPr id="181" name="Rectangle 167">
            <a:extLst>
              <a:ext uri="{FF2B5EF4-FFF2-40B4-BE49-F238E27FC236}">
                <a16:creationId xmlns:a16="http://schemas.microsoft.com/office/drawing/2014/main" id="{9D727091-C226-4798-8961-945390CC92AA}"/>
              </a:ext>
            </a:extLst>
          </p:cNvPr>
          <p:cNvSpPr>
            <a:spLocks noChangeArrowheads="1"/>
          </p:cNvSpPr>
          <p:nvPr/>
        </p:nvSpPr>
        <p:spPr bwMode="auto">
          <a:xfrm>
            <a:off x="7744020" y="2209988"/>
            <a:ext cx="273953" cy="577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912" tIns="55956" rIns="111912" bIns="5595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03" b="0" i="0" u="none" strike="noStrike" kern="0" cap="none" spc="0" normalizeH="0" baseline="0" noProof="0" dirty="0">
              <a:ln>
                <a:noFill/>
              </a:ln>
              <a:solidFill>
                <a:sysClr val="windowText" lastClr="000000"/>
              </a:solidFill>
              <a:effectLst/>
              <a:uLnTx/>
              <a:uFillTx/>
            </a:endParaRPr>
          </a:p>
        </p:txBody>
      </p:sp>
      <p:pic>
        <p:nvPicPr>
          <p:cNvPr id="182" name="Picture 181">
            <a:extLst>
              <a:ext uri="{FF2B5EF4-FFF2-40B4-BE49-F238E27FC236}">
                <a16:creationId xmlns:a16="http://schemas.microsoft.com/office/drawing/2014/main" id="{941B6985-21E7-4E65-98B1-F19985F7084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90369" y="6240438"/>
            <a:ext cx="440352" cy="539637"/>
          </a:xfrm>
          <a:prstGeom prst="rect">
            <a:avLst/>
          </a:prstGeom>
        </p:spPr>
      </p:pic>
      <p:sp>
        <p:nvSpPr>
          <p:cNvPr id="12" name="TextBox 11">
            <a:extLst>
              <a:ext uri="{FF2B5EF4-FFF2-40B4-BE49-F238E27FC236}">
                <a16:creationId xmlns:a16="http://schemas.microsoft.com/office/drawing/2014/main" id="{36BA804E-E2D1-4BA6-8EBE-F5FEAE3105DD}"/>
              </a:ext>
            </a:extLst>
          </p:cNvPr>
          <p:cNvSpPr txBox="1"/>
          <p:nvPr/>
        </p:nvSpPr>
        <p:spPr>
          <a:xfrm>
            <a:off x="8567146" y="6152350"/>
            <a:ext cx="1447995" cy="193899"/>
          </a:xfrm>
          <a:prstGeom prst="rect">
            <a:avLst/>
          </a:prstGeom>
          <a:solidFill>
            <a:schemeClr val="tx2">
              <a:lumMod val="10000"/>
            </a:schemeClr>
          </a:solidFill>
        </p:spPr>
        <p:txBody>
          <a:bodyPr wrap="square" lIns="0" tIns="0" rIns="0" bIns="0" rtlCol="0" anchor="ctr" anchorCtr="0">
            <a:spAutoFit/>
          </a:bodyPr>
          <a:lstStyle/>
          <a:p>
            <a:pPr algn="ctr" defTabSz="914367">
              <a:lnSpc>
                <a:spcPct val="90000"/>
              </a:lnSpc>
              <a:spcAft>
                <a:spcPts val="588"/>
              </a:spcAft>
              <a:defRPr/>
            </a:pPr>
            <a:r>
              <a:rPr lang="en-US" sz="1400" dirty="0">
                <a:latin typeface="Segoe UI" panose="020B0502040204020203" pitchFamily="34" charset="0"/>
                <a:cs typeface="Segoe UI" panose="020B0502040204020203" pitchFamily="34" charset="0"/>
              </a:rPr>
              <a:t>Azure Network</a:t>
            </a:r>
          </a:p>
        </p:txBody>
      </p:sp>
    </p:spTree>
    <p:extLst>
      <p:ext uri="{BB962C8B-B14F-4D97-AF65-F5344CB8AC3E}">
        <p14:creationId xmlns:p14="http://schemas.microsoft.com/office/powerpoint/2010/main" val="261519048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Service Tags (Public Preview)</a:t>
            </a:r>
          </a:p>
        </p:txBody>
      </p:sp>
      <p:sp>
        <p:nvSpPr>
          <p:cNvPr id="3" name="Text Placeholder 2">
            <a:extLst>
              <a:ext uri="{FF2B5EF4-FFF2-40B4-BE49-F238E27FC236}">
                <a16:creationId xmlns:a16="http://schemas.microsoft.com/office/drawing/2014/main" id="{79983016-872B-48D3-B492-433C571DA216}"/>
              </a:ext>
            </a:extLst>
          </p:cNvPr>
          <p:cNvSpPr>
            <a:spLocks noGrp="1"/>
          </p:cNvSpPr>
          <p:nvPr>
            <p:ph type="body" sz="quarter" idx="10"/>
          </p:nvPr>
        </p:nvSpPr>
        <p:spPr>
          <a:xfrm>
            <a:off x="29824" y="1122766"/>
            <a:ext cx="6250037" cy="5620000"/>
          </a:xfrm>
        </p:spPr>
        <p:txBody>
          <a:bodyPr/>
          <a:lstStyle/>
          <a:p>
            <a:pPr marL="457200" indent="-457200">
              <a:buFont typeface="Arial" panose="020B0604020202020204" pitchFamily="34" charset="0"/>
              <a:buChar char="•"/>
            </a:pPr>
            <a:r>
              <a:rPr lang="en-US" sz="3200" dirty="0">
                <a:latin typeface="+mn-lt"/>
              </a:rPr>
              <a:t>Define security policies to Azure Services</a:t>
            </a:r>
          </a:p>
          <a:p>
            <a:pPr marL="457200" indent="-457200">
              <a:buFont typeface="Arial" panose="020B0604020202020204" pitchFamily="34" charset="0"/>
              <a:buChar char="•"/>
            </a:pPr>
            <a:r>
              <a:rPr lang="en-US" sz="3200" dirty="0">
                <a:latin typeface="+mn-lt"/>
              </a:rPr>
              <a:t>Maintenance of tags will be perform by azure</a:t>
            </a:r>
          </a:p>
          <a:p>
            <a:pPr marL="457200" indent="-457200">
              <a:buFont typeface="Arial" panose="020B0604020202020204" pitchFamily="34" charset="0"/>
              <a:buChar char="•"/>
            </a:pPr>
            <a:r>
              <a:rPr lang="en-US" sz="3200" dirty="0">
                <a:latin typeface="+mn-lt"/>
              </a:rPr>
              <a:t>Restrict network access to just the Azure services you use.</a:t>
            </a:r>
          </a:p>
          <a:p>
            <a:pPr marL="457200" indent="-457200">
              <a:buFont typeface="Arial" panose="020B0604020202020204" pitchFamily="34" charset="0"/>
              <a:buChar char="•"/>
            </a:pPr>
            <a:r>
              <a:rPr lang="en-US" sz="3200" dirty="0">
                <a:latin typeface="+mn-lt"/>
              </a:rPr>
              <a:t>Maintenance of IP addresses for each tag provided by Azure</a:t>
            </a:r>
          </a:p>
          <a:p>
            <a:pPr marL="457200" indent="-457200">
              <a:buFont typeface="Arial" panose="020B0604020202020204" pitchFamily="34" charset="0"/>
              <a:buChar char="•"/>
            </a:pPr>
            <a:r>
              <a:rPr lang="en-US" sz="3200" dirty="0">
                <a:latin typeface="+mn-lt"/>
              </a:rPr>
              <a:t>Support for global and regional tags (varies by service)</a:t>
            </a:r>
          </a:p>
          <a:p>
            <a:endParaRPr lang="en-US" dirty="0"/>
          </a:p>
        </p:txBody>
      </p:sp>
      <p:graphicFrame>
        <p:nvGraphicFramePr>
          <p:cNvPr id="6" name="Table 5">
            <a:extLst>
              <a:ext uri="{FF2B5EF4-FFF2-40B4-BE49-F238E27FC236}">
                <a16:creationId xmlns:a16="http://schemas.microsoft.com/office/drawing/2014/main" id="{2F1E9C96-AE20-445A-97F1-B18B6BF17B0E}"/>
              </a:ext>
            </a:extLst>
          </p:cNvPr>
          <p:cNvGraphicFramePr>
            <a:graphicFrameLocks noGrp="1"/>
          </p:cNvGraphicFramePr>
          <p:nvPr>
            <p:extLst/>
          </p:nvPr>
        </p:nvGraphicFramePr>
        <p:xfrm>
          <a:off x="6312958" y="4919971"/>
          <a:ext cx="6081125" cy="1849120"/>
        </p:xfrm>
        <a:graphic>
          <a:graphicData uri="http://schemas.openxmlformats.org/drawingml/2006/table">
            <a:tbl>
              <a:tblPr>
                <a:tableStyleId>{1E171933-4619-4E11-9A3F-F7608DF75F80}</a:tableStyleId>
              </a:tblPr>
              <a:tblGrid>
                <a:gridCol w="595030">
                  <a:extLst>
                    <a:ext uri="{9D8B030D-6E8A-4147-A177-3AD203B41FA5}">
                      <a16:colId xmlns:a16="http://schemas.microsoft.com/office/drawing/2014/main" val="878956919"/>
                    </a:ext>
                  </a:extLst>
                </a:gridCol>
                <a:gridCol w="1546342">
                  <a:extLst>
                    <a:ext uri="{9D8B030D-6E8A-4147-A177-3AD203B41FA5}">
                      <a16:colId xmlns:a16="http://schemas.microsoft.com/office/drawing/2014/main" val="1546973202"/>
                    </a:ext>
                  </a:extLst>
                </a:gridCol>
                <a:gridCol w="1432748">
                  <a:extLst>
                    <a:ext uri="{9D8B030D-6E8A-4147-A177-3AD203B41FA5}">
                      <a16:colId xmlns:a16="http://schemas.microsoft.com/office/drawing/2014/main" val="236321253"/>
                    </a:ext>
                  </a:extLst>
                </a:gridCol>
                <a:gridCol w="1757032">
                  <a:extLst>
                    <a:ext uri="{9D8B030D-6E8A-4147-A177-3AD203B41FA5}">
                      <a16:colId xmlns:a16="http://schemas.microsoft.com/office/drawing/2014/main" val="2021927125"/>
                    </a:ext>
                  </a:extLst>
                </a:gridCol>
                <a:gridCol w="749973">
                  <a:extLst>
                    <a:ext uri="{9D8B030D-6E8A-4147-A177-3AD203B41FA5}">
                      <a16:colId xmlns:a16="http://schemas.microsoft.com/office/drawing/2014/main" val="414589496"/>
                    </a:ext>
                  </a:extLst>
                </a:gridCol>
              </a:tblGrid>
              <a:tr h="340454">
                <a:tc gridSpan="5">
                  <a:txBody>
                    <a:bodyPr/>
                    <a:lstStyle/>
                    <a:p>
                      <a:pPr marL="0" marR="0" algn="ctr" fontAlgn="t">
                        <a:spcBef>
                          <a:spcPts val="0"/>
                        </a:spcBef>
                        <a:spcAft>
                          <a:spcPts val="0"/>
                        </a:spcAft>
                      </a:pPr>
                      <a:r>
                        <a:rPr lang="en-US" sz="1800" b="1" dirty="0">
                          <a:effectLst/>
                        </a:rPr>
                        <a:t>Network Security Group (NSG)</a:t>
                      </a:r>
                      <a:endParaRPr lang="en-US" sz="18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312097">
                <a:tc>
                  <a:txBody>
                    <a:bodyPr/>
                    <a:lstStyle/>
                    <a:p>
                      <a:pPr marL="0" marR="0" fontAlgn="t">
                        <a:spcBef>
                          <a:spcPts val="0"/>
                        </a:spcBef>
                        <a:spcAft>
                          <a:spcPts val="0"/>
                        </a:spcAft>
                      </a:pPr>
                      <a:r>
                        <a:rPr lang="en-US" sz="1400" b="1" dirty="0">
                          <a:effectLst/>
                        </a:rPr>
                        <a:t>Action</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Name</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Source</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Destination</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tc>
                  <a:txBody>
                    <a:bodyPr/>
                    <a:lstStyle/>
                    <a:p>
                      <a:pPr marL="0" marR="0" fontAlgn="t">
                        <a:spcBef>
                          <a:spcPts val="0"/>
                        </a:spcBef>
                        <a:spcAft>
                          <a:spcPts val="0"/>
                        </a:spcAft>
                      </a:pPr>
                      <a:r>
                        <a:rPr lang="en-US" sz="1400" b="1" dirty="0">
                          <a:effectLst/>
                        </a:rPr>
                        <a:t>Port</a:t>
                      </a:r>
                      <a:endParaRPr lang="en-US" sz="1400" b="1" dirty="0">
                        <a:solidFill>
                          <a:srgbClr val="222222"/>
                        </a:solidFill>
                        <a:effectLst/>
                        <a:latin typeface="+mn-lt"/>
                      </a:endParaRPr>
                    </a:p>
                  </a:txBody>
                  <a:tcPr marL="50800" marR="50800" marT="50800" marB="50800">
                    <a:solidFill>
                      <a:schemeClr val="accent4">
                        <a:lumMod val="20000"/>
                        <a:lumOff val="80000"/>
                      </a:schemeClr>
                    </a:solidFill>
                  </a:tcPr>
                </a:tc>
                <a:extLst>
                  <a:ext uri="{0D108BD9-81ED-4DB2-BD59-A6C34878D82A}">
                    <a16:rowId xmlns:a16="http://schemas.microsoft.com/office/drawing/2014/main" val="819426849"/>
                  </a:ext>
                </a:extLst>
              </a:tr>
              <a:tr h="312097">
                <a:tc>
                  <a:txBody>
                    <a:bodyPr/>
                    <a:lstStyle/>
                    <a:p>
                      <a:pPr marL="0" marR="0" fontAlgn="t">
                        <a:spcBef>
                          <a:spcPts val="0"/>
                        </a:spcBef>
                        <a:spcAft>
                          <a:spcPts val="0"/>
                        </a:spcAft>
                      </a:pPr>
                      <a:r>
                        <a:rPr lang="en-US" sz="1400" b="0" dirty="0">
                          <a:solidFill>
                            <a:srgbClr val="00B050"/>
                          </a:solidFill>
                          <a:effectLst/>
                          <a:latin typeface="+mn-lt"/>
                        </a:rPr>
                        <a:t>Allow</a:t>
                      </a:r>
                      <a:endParaRPr lang="en-US" sz="1400" b="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llowStorage</a:t>
                      </a:r>
                      <a:endParaRPr lang="en-US" sz="14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dirty="0">
                          <a:effectLst/>
                        </a:rPr>
                        <a:t>VirtualNetwork</a:t>
                      </a:r>
                      <a:endParaRPr lang="en-US" sz="14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b="1" dirty="0">
                          <a:solidFill>
                            <a:schemeClr val="bg2"/>
                          </a:solidFill>
                          <a:effectLst/>
                        </a:rPr>
                        <a:t>Storage</a:t>
                      </a:r>
                      <a:endParaRPr lang="en-US" sz="1400" b="1" dirty="0">
                        <a:solidFill>
                          <a:schemeClr val="bg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48954723"/>
                  </a:ext>
                </a:extLst>
              </a:tr>
              <a:tr h="312097">
                <a:tc>
                  <a:txBody>
                    <a:bodyPr/>
                    <a:lstStyle/>
                    <a:p>
                      <a:pPr marL="0" marR="0" fontAlgn="t">
                        <a:spcBef>
                          <a:spcPts val="0"/>
                        </a:spcBef>
                        <a:spcAft>
                          <a:spcPts val="0"/>
                        </a:spcAft>
                      </a:pPr>
                      <a:r>
                        <a:rPr lang="en-US" sz="1400" b="0" dirty="0">
                          <a:solidFill>
                            <a:srgbClr val="00B050"/>
                          </a:solidFill>
                          <a:effectLst/>
                          <a:latin typeface="+mn-lt"/>
                        </a:rPr>
                        <a:t>Allow</a:t>
                      </a:r>
                      <a:endParaRPr lang="en-US" sz="1400" b="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AllowSQL</a:t>
                      </a:r>
                      <a:endParaRPr lang="en-US" sz="14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1400" dirty="0">
                          <a:effectLst/>
                        </a:rPr>
                        <a:t>VirtualNetwork</a:t>
                      </a:r>
                      <a:endParaRPr lang="en-US" sz="14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1" dirty="0">
                          <a:solidFill>
                            <a:schemeClr val="bg2"/>
                          </a:solidFill>
                          <a:effectLst/>
                          <a:latin typeface="+mn-lt"/>
                        </a:rPr>
                        <a:t>Sql.EastUS</a:t>
                      </a:r>
                    </a:p>
                  </a:txBody>
                  <a:tcPr marL="50800" marR="50800" marT="50800" marB="50800" anchor="ctr"/>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86708437"/>
                  </a:ext>
                </a:extLst>
              </a:tr>
              <a:tr h="312097">
                <a:tc>
                  <a:txBody>
                    <a:bodyPr/>
                    <a:lstStyle/>
                    <a:p>
                      <a:pPr marL="0" marR="0" fontAlgn="t">
                        <a:spcBef>
                          <a:spcPts val="0"/>
                        </a:spcBef>
                        <a:spcAft>
                          <a:spcPts val="0"/>
                        </a:spcAft>
                      </a:pPr>
                      <a:r>
                        <a:rPr lang="en-US" sz="1400" b="0"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1400" dirty="0">
                          <a:effectLst/>
                        </a:rPr>
                        <a:t>DenyAllOutBound</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1400" dirty="0">
                          <a:effectLst/>
                        </a:rPr>
                        <a:t>Any</a:t>
                      </a:r>
                      <a:endParaRPr lang="en-US" sz="14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9" name="Picture 8">
            <a:extLst>
              <a:ext uri="{FF2B5EF4-FFF2-40B4-BE49-F238E27FC236}">
                <a16:creationId xmlns:a16="http://schemas.microsoft.com/office/drawing/2014/main" id="{7CF603DC-3226-4ECE-8260-B619942FA9D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3704" y="2789245"/>
            <a:ext cx="1380643" cy="1691933"/>
          </a:xfrm>
          <a:prstGeom prst="rect">
            <a:avLst/>
          </a:prstGeom>
        </p:spPr>
      </p:pic>
      <p:sp>
        <p:nvSpPr>
          <p:cNvPr id="10" name="Rectangle 9">
            <a:extLst>
              <a:ext uri="{FF2B5EF4-FFF2-40B4-BE49-F238E27FC236}">
                <a16:creationId xmlns:a16="http://schemas.microsoft.com/office/drawing/2014/main" id="{9E4276D2-6565-4ABC-AD59-23E01E73CA75}"/>
              </a:ext>
            </a:extLst>
          </p:cNvPr>
          <p:cNvSpPr/>
          <p:nvPr/>
        </p:nvSpPr>
        <p:spPr>
          <a:xfrm>
            <a:off x="9886981" y="1369086"/>
            <a:ext cx="2277734" cy="2561574"/>
          </a:xfrm>
          <a:prstGeom prst="rect">
            <a:avLst/>
          </a:prstGeom>
          <a:noFill/>
          <a:ln>
            <a:solidFill>
              <a:schemeClr val="accent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D8ED0D34-90FD-417F-8EE4-9E325638CB98}"/>
              </a:ext>
            </a:extLst>
          </p:cNvPr>
          <p:cNvSpPr txBox="1"/>
          <p:nvPr/>
        </p:nvSpPr>
        <p:spPr>
          <a:xfrm>
            <a:off x="10161747" y="3588573"/>
            <a:ext cx="1728203" cy="481749"/>
          </a:xfrm>
          <a:prstGeom prst="rect">
            <a:avLst/>
          </a:prstGeom>
          <a:solidFill>
            <a:schemeClr val="bg2"/>
          </a:solidFill>
        </p:spPr>
        <p:txBody>
          <a:bodyPr wrap="square" rtlCol="0">
            <a:spAutoFit/>
          </a:bodyPr>
          <a:lstStyle/>
          <a:p>
            <a:r>
              <a:rPr lang="en-US" sz="1600" b="1" dirty="0"/>
              <a:t>   Azure Services</a:t>
            </a:r>
          </a:p>
        </p:txBody>
      </p:sp>
      <p:pic>
        <p:nvPicPr>
          <p:cNvPr id="12" name="Picture 11">
            <a:extLst>
              <a:ext uri="{FF2B5EF4-FFF2-40B4-BE49-F238E27FC236}">
                <a16:creationId xmlns:a16="http://schemas.microsoft.com/office/drawing/2014/main" id="{4BEE554B-F7D6-43A6-B01B-F8D0DB63836E}"/>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10509622" y="1676025"/>
            <a:ext cx="721399" cy="720967"/>
          </a:xfrm>
          <a:prstGeom prst="rect">
            <a:avLst/>
          </a:prstGeom>
          <a:solidFill>
            <a:srgbClr val="002060"/>
          </a:solidFill>
          <a:ln>
            <a:solidFill>
              <a:srgbClr val="0070C0"/>
            </a:solidFill>
            <a:tailEnd type="triangle"/>
          </a:ln>
        </p:spPr>
      </p:pic>
      <p:pic>
        <p:nvPicPr>
          <p:cNvPr id="13" name="Picture 12">
            <a:extLst>
              <a:ext uri="{FF2B5EF4-FFF2-40B4-BE49-F238E27FC236}">
                <a16:creationId xmlns:a16="http://schemas.microsoft.com/office/drawing/2014/main" id="{6FF434FB-E316-4776-9072-D28C4BB54F7E}"/>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10127424" y="2443110"/>
            <a:ext cx="704818" cy="616627"/>
          </a:xfrm>
          <a:prstGeom prst="rect">
            <a:avLst/>
          </a:prstGeom>
          <a:solidFill>
            <a:srgbClr val="002060"/>
          </a:solidFill>
          <a:ln>
            <a:solidFill>
              <a:srgbClr val="0070C0"/>
            </a:solidFill>
            <a:tailEnd type="triangle"/>
          </a:ln>
        </p:spPr>
      </p:pic>
      <p:pic>
        <p:nvPicPr>
          <p:cNvPr id="14"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677AA823-A9B9-4176-B9BC-4AB66FF022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1697" y="3305582"/>
            <a:ext cx="624860" cy="64317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C5754618-9A14-4C1A-9055-7FFBAFDC7DB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08971" y="1089891"/>
            <a:ext cx="836061" cy="911168"/>
          </a:xfrm>
          <a:prstGeom prst="rect">
            <a:avLst/>
          </a:prstGeom>
        </p:spPr>
      </p:pic>
      <p:sp>
        <p:nvSpPr>
          <p:cNvPr id="16" name="Up Arrow 11">
            <a:extLst>
              <a:ext uri="{FF2B5EF4-FFF2-40B4-BE49-F238E27FC236}">
                <a16:creationId xmlns:a16="http://schemas.microsoft.com/office/drawing/2014/main" id="{402682FF-AD8D-4D8E-8B56-E7CF0DE61499}"/>
              </a:ext>
            </a:extLst>
          </p:cNvPr>
          <p:cNvSpPr/>
          <p:nvPr/>
        </p:nvSpPr>
        <p:spPr bwMode="auto">
          <a:xfrm>
            <a:off x="7766196" y="1935778"/>
            <a:ext cx="321612" cy="1388256"/>
          </a:xfrm>
          <a:prstGeom prst="up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Up Arrow 78">
            <a:extLst>
              <a:ext uri="{FF2B5EF4-FFF2-40B4-BE49-F238E27FC236}">
                <a16:creationId xmlns:a16="http://schemas.microsoft.com/office/drawing/2014/main" id="{CDB63D5F-672D-492B-AA8D-85CD1F65AF3A}"/>
              </a:ext>
            </a:extLst>
          </p:cNvPr>
          <p:cNvSpPr/>
          <p:nvPr/>
        </p:nvSpPr>
        <p:spPr bwMode="auto">
          <a:xfrm rot="5400000">
            <a:off x="8878268" y="2820735"/>
            <a:ext cx="350504" cy="1666921"/>
          </a:xfrm>
          <a:prstGeom prst="up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Multiply 79">
            <a:extLst>
              <a:ext uri="{FF2B5EF4-FFF2-40B4-BE49-F238E27FC236}">
                <a16:creationId xmlns:a16="http://schemas.microsoft.com/office/drawing/2014/main" id="{14D94390-F46B-4608-BE6E-5E0127749F3E}"/>
              </a:ext>
            </a:extLst>
          </p:cNvPr>
          <p:cNvSpPr/>
          <p:nvPr/>
        </p:nvSpPr>
        <p:spPr bwMode="auto">
          <a:xfrm>
            <a:off x="7607987" y="2385507"/>
            <a:ext cx="612280" cy="736057"/>
          </a:xfrm>
          <a:prstGeom prst="mathMultiply">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9" name="Freeform 6">
            <a:extLst>
              <a:ext uri="{FF2B5EF4-FFF2-40B4-BE49-F238E27FC236}">
                <a16:creationId xmlns:a16="http://schemas.microsoft.com/office/drawing/2014/main" id="{ECE40A77-B7C8-4330-8C9C-646D639D3DDA}"/>
              </a:ext>
            </a:extLst>
          </p:cNvPr>
          <p:cNvSpPr>
            <a:spLocks/>
          </p:cNvSpPr>
          <p:nvPr/>
        </p:nvSpPr>
        <p:spPr bwMode="auto">
          <a:xfrm>
            <a:off x="8386212" y="3430882"/>
            <a:ext cx="443454" cy="448807"/>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ysClr val="windowText" lastClr="000000"/>
              </a:solidFill>
              <a:latin typeface="Segoe UI"/>
            </a:endParaRPr>
          </a:p>
        </p:txBody>
      </p:sp>
      <p:sp>
        <p:nvSpPr>
          <p:cNvPr id="20" name="TextBox 19">
            <a:extLst>
              <a:ext uri="{FF2B5EF4-FFF2-40B4-BE49-F238E27FC236}">
                <a16:creationId xmlns:a16="http://schemas.microsoft.com/office/drawing/2014/main" id="{C0B1381C-F530-4BB7-9E04-FDAF393CB8FD}"/>
              </a:ext>
            </a:extLst>
          </p:cNvPr>
          <p:cNvSpPr txBox="1"/>
          <p:nvPr/>
        </p:nvSpPr>
        <p:spPr>
          <a:xfrm>
            <a:off x="7975140" y="1826241"/>
            <a:ext cx="1278568" cy="563515"/>
          </a:xfrm>
          <a:prstGeom prst="rect">
            <a:avLst/>
          </a:prstGeom>
          <a:noFill/>
        </p:spPr>
        <p:txBody>
          <a:bodyPr wrap="square" lIns="182880" tIns="146304" rIns="182880" bIns="146304" rtlCol="0">
            <a:spAutoFit/>
          </a:bodyPr>
          <a:lstStyle/>
          <a:p>
            <a:pPr>
              <a:lnSpc>
                <a:spcPct val="90000"/>
              </a:lnSpc>
              <a:spcAft>
                <a:spcPts val="600"/>
              </a:spcAft>
            </a:pPr>
            <a:r>
              <a:rPr lang="en-US" sz="1600" b="1" dirty="0">
                <a:solidFill>
                  <a:schemeClr val="bg1"/>
                </a:solidFill>
              </a:rPr>
              <a:t>Internet</a:t>
            </a:r>
          </a:p>
        </p:txBody>
      </p:sp>
      <p:sp>
        <p:nvSpPr>
          <p:cNvPr id="21" name="TextBox 20">
            <a:extLst>
              <a:ext uri="{FF2B5EF4-FFF2-40B4-BE49-F238E27FC236}">
                <a16:creationId xmlns:a16="http://schemas.microsoft.com/office/drawing/2014/main" id="{114A1817-B1BC-43FE-BAB6-DCAFCB033220}"/>
              </a:ext>
            </a:extLst>
          </p:cNvPr>
          <p:cNvSpPr txBox="1"/>
          <p:nvPr/>
        </p:nvSpPr>
        <p:spPr>
          <a:xfrm>
            <a:off x="8164059" y="3735708"/>
            <a:ext cx="2072726" cy="74464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bg1"/>
                </a:solidFill>
              </a:rPr>
              <a:t>Allow only Azure service traffic</a:t>
            </a:r>
          </a:p>
        </p:txBody>
      </p:sp>
      <p:sp>
        <p:nvSpPr>
          <p:cNvPr id="22" name="TextBox 21">
            <a:extLst>
              <a:ext uri="{FF2B5EF4-FFF2-40B4-BE49-F238E27FC236}">
                <a16:creationId xmlns:a16="http://schemas.microsoft.com/office/drawing/2014/main" id="{5DC13D6F-0182-4D3C-AB8C-BB71B21E6638}"/>
              </a:ext>
            </a:extLst>
          </p:cNvPr>
          <p:cNvSpPr txBox="1"/>
          <p:nvPr/>
        </p:nvSpPr>
        <p:spPr>
          <a:xfrm>
            <a:off x="7975140" y="2359663"/>
            <a:ext cx="2072726" cy="74464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bg1"/>
                </a:solidFill>
              </a:rPr>
              <a:t>Deny Internet outbound</a:t>
            </a:r>
          </a:p>
        </p:txBody>
      </p:sp>
      <p:pic>
        <p:nvPicPr>
          <p:cNvPr id="23" name="Picture 22">
            <a:extLst>
              <a:ext uri="{FF2B5EF4-FFF2-40B4-BE49-F238E27FC236}">
                <a16:creationId xmlns:a16="http://schemas.microsoft.com/office/drawing/2014/main" id="{C5164BBC-EE92-4D79-8C4E-38E22710C149}"/>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10931830" y="2949878"/>
            <a:ext cx="497075" cy="541729"/>
          </a:xfrm>
          <a:prstGeom prst="rect">
            <a:avLst/>
          </a:prstGeom>
          <a:solidFill>
            <a:srgbClr val="002060"/>
          </a:solidFill>
          <a:ln>
            <a:solidFill>
              <a:srgbClr val="0070C0"/>
            </a:solidFill>
          </a:ln>
        </p:spPr>
      </p:pic>
      <p:pic>
        <p:nvPicPr>
          <p:cNvPr id="24" name="Picture 23">
            <a:extLst>
              <a:ext uri="{FF2B5EF4-FFF2-40B4-BE49-F238E27FC236}">
                <a16:creationId xmlns:a16="http://schemas.microsoft.com/office/drawing/2014/main" id="{2FB76616-F8D0-47EE-A297-D7C82EE5D11C}"/>
              </a:ext>
            </a:extLst>
          </p:cNvPr>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a:off x="11290582" y="2253990"/>
            <a:ext cx="780290" cy="850387"/>
          </a:xfrm>
          <a:prstGeom prst="rect">
            <a:avLst/>
          </a:prstGeom>
          <a:solidFill>
            <a:srgbClr val="002060"/>
          </a:solidFill>
          <a:ln>
            <a:solidFill>
              <a:srgbClr val="0070C0"/>
            </a:solidFill>
          </a:ln>
        </p:spPr>
      </p:pic>
      <p:cxnSp>
        <p:nvCxnSpPr>
          <p:cNvPr id="25" name="Straight Connector 24">
            <a:extLst>
              <a:ext uri="{FF2B5EF4-FFF2-40B4-BE49-F238E27FC236}">
                <a16:creationId xmlns:a16="http://schemas.microsoft.com/office/drawing/2014/main" id="{8B6AB749-6E39-47FC-9FB8-59CC975EE98A}"/>
              </a:ext>
            </a:extLst>
          </p:cNvPr>
          <p:cNvCxnSpPr/>
          <p:nvPr/>
        </p:nvCxnSpPr>
        <p:spPr>
          <a:xfrm flipV="1">
            <a:off x="0" y="1132747"/>
            <a:ext cx="6172200" cy="3903"/>
          </a:xfrm>
          <a:prstGeom prst="line">
            <a:avLst/>
          </a:prstGeom>
          <a:ln>
            <a:headEnd type="none"/>
            <a:tailEnd type="none"/>
          </a:ln>
        </p:spPr>
        <p:style>
          <a:lnRef idx="1">
            <a:schemeClr val="accent5"/>
          </a:lnRef>
          <a:fillRef idx="0">
            <a:schemeClr val="accent5"/>
          </a:fillRef>
          <a:effectRef idx="0">
            <a:schemeClr val="accent5"/>
          </a:effectRef>
          <a:fontRef idx="minor">
            <a:schemeClr val="tx1"/>
          </a:fontRef>
        </p:style>
      </p:cxnSp>
      <p:sp>
        <p:nvSpPr>
          <p:cNvPr id="26" name="TextBox 25">
            <a:extLst>
              <a:ext uri="{FF2B5EF4-FFF2-40B4-BE49-F238E27FC236}">
                <a16:creationId xmlns:a16="http://schemas.microsoft.com/office/drawing/2014/main" id="{6E9992C9-7B5D-4A0A-904B-565038F6DC47}"/>
              </a:ext>
            </a:extLst>
          </p:cNvPr>
          <p:cNvSpPr txBox="1"/>
          <p:nvPr/>
        </p:nvSpPr>
        <p:spPr>
          <a:xfrm>
            <a:off x="6185811" y="4296427"/>
            <a:ext cx="654386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t>Preview: Azure Storage, SQL, TrafficManager</a:t>
            </a:r>
          </a:p>
        </p:txBody>
      </p:sp>
    </p:spTree>
    <p:extLst>
      <p:ext uri="{BB962C8B-B14F-4D97-AF65-F5344CB8AC3E}">
        <p14:creationId xmlns:p14="http://schemas.microsoft.com/office/powerpoint/2010/main" val="30087704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1" grpId="0"/>
      <p:bldP spid="22" grpId="0"/>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pplication Security groups (Public Preview)</a:t>
            </a:r>
          </a:p>
        </p:txBody>
      </p:sp>
      <p:sp>
        <p:nvSpPr>
          <p:cNvPr id="3" name="Text Placeholder 2">
            <a:extLst>
              <a:ext uri="{FF2B5EF4-FFF2-40B4-BE49-F238E27FC236}">
                <a16:creationId xmlns:a16="http://schemas.microsoft.com/office/drawing/2014/main" id="{79983016-872B-48D3-B492-433C571DA216}"/>
              </a:ext>
            </a:extLst>
          </p:cNvPr>
          <p:cNvSpPr>
            <a:spLocks noGrp="1"/>
          </p:cNvSpPr>
          <p:nvPr>
            <p:ph type="body" sz="quarter" idx="10"/>
          </p:nvPr>
        </p:nvSpPr>
        <p:spPr>
          <a:xfrm>
            <a:off x="29825" y="1122766"/>
            <a:ext cx="6027616" cy="5546939"/>
          </a:xfrm>
        </p:spPr>
        <p:txBody>
          <a:bodyPr/>
          <a:lstStyle/>
          <a:p>
            <a:pPr marL="457200" indent="-457200">
              <a:buFont typeface="Arial" panose="020B0604020202020204" pitchFamily="34" charset="0"/>
              <a:buChar char="•"/>
            </a:pPr>
            <a:r>
              <a:rPr lang="en-US" sz="2800" dirty="0">
                <a:latin typeface="+mn-lt"/>
              </a:rPr>
              <a:t>Group VM/NICs hiding the complexity of subnets and IP addresses</a:t>
            </a:r>
          </a:p>
          <a:p>
            <a:pPr marL="457200" indent="-457200">
              <a:buFont typeface="Arial" panose="020B0604020202020204" pitchFamily="34" charset="0"/>
              <a:buChar char="•"/>
            </a:pPr>
            <a:r>
              <a:rPr lang="en-US" sz="2800" dirty="0">
                <a:latin typeface="+mn-lt"/>
              </a:rPr>
              <a:t>Abstract security policies definition, based on customer abstractions like applications, jobs, roles, etc.</a:t>
            </a:r>
          </a:p>
          <a:p>
            <a:pPr marL="457200" indent="-457200">
              <a:buFont typeface="Arial" panose="020B0604020202020204" pitchFamily="34" charset="0"/>
              <a:buChar char="•"/>
            </a:pPr>
            <a:r>
              <a:rPr lang="en-US" sz="2800" dirty="0">
                <a:latin typeface="+mn-lt"/>
              </a:rPr>
              <a:t>Security Management improved define once, reused at scale</a:t>
            </a:r>
          </a:p>
        </p:txBody>
      </p:sp>
      <p:sp>
        <p:nvSpPr>
          <p:cNvPr id="6" name="Rectangle 5">
            <a:extLst>
              <a:ext uri="{FF2B5EF4-FFF2-40B4-BE49-F238E27FC236}">
                <a16:creationId xmlns:a16="http://schemas.microsoft.com/office/drawing/2014/main" id="{C63C6D47-56B6-4C3D-B537-CF6286A2CD9A}"/>
              </a:ext>
            </a:extLst>
          </p:cNvPr>
          <p:cNvSpPr/>
          <p:nvPr/>
        </p:nvSpPr>
        <p:spPr bwMode="auto">
          <a:xfrm>
            <a:off x="6460592" y="1168437"/>
            <a:ext cx="5637819" cy="1328950"/>
          </a:xfrm>
          <a:prstGeom prst="rect">
            <a:avLst/>
          </a:prstGeom>
          <a:solidFill>
            <a:schemeClr val="tx1">
              <a:lumMod val="85000"/>
            </a:schemeClr>
          </a:solidFill>
          <a:ln w="28575">
            <a:solidFill>
              <a:schemeClr val="accent4"/>
            </a:solidFill>
            <a:prstDash val="sysDot"/>
            <a:headEnd type="none" w="med" len="med"/>
            <a:tailEnd type="none" w="med" len="med"/>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8" name="Rectangle: Rounded Corners 7">
            <a:extLst>
              <a:ext uri="{FF2B5EF4-FFF2-40B4-BE49-F238E27FC236}">
                <a16:creationId xmlns:a16="http://schemas.microsoft.com/office/drawing/2014/main" id="{07153C01-8D71-40BF-8395-6F7D13BF1A19}"/>
              </a:ext>
            </a:extLst>
          </p:cNvPr>
          <p:cNvSpPr/>
          <p:nvPr/>
        </p:nvSpPr>
        <p:spPr>
          <a:xfrm>
            <a:off x="6545258" y="1262139"/>
            <a:ext cx="1298093"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WebServers</a:t>
            </a:r>
          </a:p>
        </p:txBody>
      </p:sp>
      <p:graphicFrame>
        <p:nvGraphicFramePr>
          <p:cNvPr id="9" name="Table 8">
            <a:extLst>
              <a:ext uri="{FF2B5EF4-FFF2-40B4-BE49-F238E27FC236}">
                <a16:creationId xmlns:a16="http://schemas.microsoft.com/office/drawing/2014/main" id="{F99FF0BB-E7EA-405B-ABFE-A7A5238A52A2}"/>
              </a:ext>
            </a:extLst>
          </p:cNvPr>
          <p:cNvGraphicFramePr>
            <a:graphicFrameLocks noGrp="1"/>
          </p:cNvGraphicFramePr>
          <p:nvPr>
            <p:extLst/>
          </p:nvPr>
        </p:nvGraphicFramePr>
        <p:xfrm>
          <a:off x="6443912" y="2568887"/>
          <a:ext cx="5654499" cy="1986280"/>
        </p:xfrm>
        <a:graphic>
          <a:graphicData uri="http://schemas.openxmlformats.org/drawingml/2006/table">
            <a:tbl>
              <a:tblPr>
                <a:tableStyleId>{1E171933-4619-4E11-9A3F-F7608DF75F80}</a:tableStyleId>
              </a:tblPr>
              <a:tblGrid>
                <a:gridCol w="553286">
                  <a:extLst>
                    <a:ext uri="{9D8B030D-6E8A-4147-A177-3AD203B41FA5}">
                      <a16:colId xmlns:a16="http://schemas.microsoft.com/office/drawing/2014/main" val="878956919"/>
                    </a:ext>
                  </a:extLst>
                </a:gridCol>
                <a:gridCol w="1632405">
                  <a:extLst>
                    <a:ext uri="{9D8B030D-6E8A-4147-A177-3AD203B41FA5}">
                      <a16:colId xmlns:a16="http://schemas.microsoft.com/office/drawing/2014/main" val="1546973202"/>
                    </a:ext>
                  </a:extLst>
                </a:gridCol>
                <a:gridCol w="1137684">
                  <a:extLst>
                    <a:ext uri="{9D8B030D-6E8A-4147-A177-3AD203B41FA5}">
                      <a16:colId xmlns:a16="http://schemas.microsoft.com/office/drawing/2014/main" val="236321253"/>
                    </a:ext>
                  </a:extLst>
                </a:gridCol>
                <a:gridCol w="1414130">
                  <a:extLst>
                    <a:ext uri="{9D8B030D-6E8A-4147-A177-3AD203B41FA5}">
                      <a16:colId xmlns:a16="http://schemas.microsoft.com/office/drawing/2014/main" val="2021927125"/>
                    </a:ext>
                  </a:extLst>
                </a:gridCol>
                <a:gridCol w="916994">
                  <a:extLst>
                    <a:ext uri="{9D8B030D-6E8A-4147-A177-3AD203B41FA5}">
                      <a16:colId xmlns:a16="http://schemas.microsoft.com/office/drawing/2014/main" val="414589496"/>
                    </a:ext>
                  </a:extLst>
                </a:gridCol>
              </a:tblGrid>
              <a:tr h="238760">
                <a:tc gridSpan="5">
                  <a:txBody>
                    <a:bodyPr/>
                    <a:lstStyle/>
                    <a:p>
                      <a:pPr marL="0" marR="0" algn="ctr" fontAlgn="t">
                        <a:spcBef>
                          <a:spcPts val="0"/>
                        </a:spcBef>
                        <a:spcAft>
                          <a:spcPts val="0"/>
                        </a:spcAft>
                      </a:pPr>
                      <a:r>
                        <a:rPr lang="en-US" sz="1400" b="1" dirty="0">
                          <a:effectLst/>
                        </a:rPr>
                        <a:t>Network Security Group NSG</a:t>
                      </a:r>
                      <a:endParaRPr lang="en-US" sz="1400" b="1" dirty="0">
                        <a:solidFill>
                          <a:srgbClr val="222222"/>
                        </a:solidFill>
                        <a:effectLst/>
                        <a:latin typeface="+mn-lt"/>
                      </a:endParaRPr>
                    </a:p>
                  </a:txBody>
                  <a:tcPr marL="50800" marR="50800" marT="50800" marB="50800">
                    <a:solidFill>
                      <a:schemeClr val="accent4">
                        <a:lumMod val="40000"/>
                        <a:lumOff val="60000"/>
                      </a:schemeClr>
                    </a:solidFill>
                  </a:tcPr>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tc hMerge="1">
                  <a:txBody>
                    <a:bodyPr/>
                    <a:lstStyle/>
                    <a:p>
                      <a:pPr marL="0" marR="0" fontAlgn="t">
                        <a:spcBef>
                          <a:spcPts val="0"/>
                        </a:spcBef>
                        <a:spcAft>
                          <a:spcPts val="0"/>
                        </a:spcAft>
                      </a:pPr>
                      <a:endParaRPr lang="en-US" sz="900" b="1">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r h="238760">
                <a:tc>
                  <a:txBody>
                    <a:bodyPr/>
                    <a:lstStyle/>
                    <a:p>
                      <a:pPr marL="0" marR="0" fontAlgn="t">
                        <a:spcBef>
                          <a:spcPts val="0"/>
                        </a:spcBef>
                        <a:spcAft>
                          <a:spcPts val="0"/>
                        </a:spcAft>
                      </a:pPr>
                      <a:r>
                        <a:rPr lang="en-US" sz="900" b="1" dirty="0">
                          <a:effectLst/>
                        </a:rPr>
                        <a:t>Action</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Name</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Source</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Destination</a:t>
                      </a:r>
                      <a:endParaRPr lang="en-US" sz="900" b="1"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b="1" dirty="0">
                          <a:effectLst/>
                        </a:rPr>
                        <a:t>Port</a:t>
                      </a:r>
                      <a:endParaRPr lang="en-US" sz="900" b="1" dirty="0">
                        <a:solidFill>
                          <a:srgbClr val="222222"/>
                        </a:solidFill>
                        <a:effectLst/>
                        <a:latin typeface="+mn-lt"/>
                      </a:endParaRPr>
                    </a:p>
                  </a:txBody>
                  <a:tcPr marL="50800" marR="50800" marT="50800" marB="50800"/>
                </a:tc>
                <a:extLst>
                  <a:ext uri="{0D108BD9-81ED-4DB2-BD59-A6C34878D82A}">
                    <a16:rowId xmlns:a16="http://schemas.microsoft.com/office/drawing/2014/main" val="819426849"/>
                  </a:ext>
                </a:extLst>
              </a:tr>
              <a:tr h="0">
                <a:tc>
                  <a:txBody>
                    <a:bodyPr/>
                    <a:lstStyle/>
                    <a:p>
                      <a:pPr marL="0" marR="0" fontAlgn="t">
                        <a:spcBef>
                          <a:spcPts val="0"/>
                        </a:spcBef>
                        <a:spcAft>
                          <a:spcPts val="0"/>
                        </a:spcAft>
                      </a:pPr>
                      <a:r>
                        <a:rPr lang="en-US" sz="900" b="1" dirty="0">
                          <a:solidFill>
                            <a:srgbClr val="FF0000"/>
                          </a:solidFill>
                          <a:effectLst/>
                          <a:latin typeface="+mn-lt"/>
                        </a:rPr>
                        <a:t>Deny</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BlockQuarantineVMs</a:t>
                      </a: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solidFill>
                            <a:srgbClr val="222222"/>
                          </a:solidFill>
                          <a:effectLst/>
                          <a:latin typeface="+mn-lt"/>
                        </a:rPr>
                        <a:t>Any</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QuarantineVMs</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ny</a:t>
                      </a:r>
                    </a:p>
                  </a:txBody>
                  <a:tcPr marL="50800" marR="50800" marT="50800" marB="50800" anchor="ctr"/>
                </a:tc>
                <a:extLst>
                  <a:ext uri="{0D108BD9-81ED-4DB2-BD59-A6C34878D82A}">
                    <a16:rowId xmlns:a16="http://schemas.microsoft.com/office/drawing/2014/main" val="2431182223"/>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InternetToWeb</a:t>
                      </a:r>
                      <a:endParaRPr lang="en-US" sz="9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effectLst/>
                        </a:rPr>
                        <a:t>Internet</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WebServers</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80,8080 (HTTP)</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48954723"/>
                  </a:ext>
                </a:extLst>
              </a:tr>
              <a:tr h="160016">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WebToApp</a:t>
                      </a:r>
                      <a:endParaRPr lang="en-US" sz="900" dirty="0">
                        <a:solidFill>
                          <a:srgbClr val="222222"/>
                        </a:solidFill>
                        <a:effectLst/>
                        <a:latin typeface="+mn-lt"/>
                      </a:endParaRPr>
                    </a:p>
                  </a:txBody>
                  <a:tcPr marL="50800" marR="50800" marT="50800" marB="508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900" dirty="0">
                          <a:effectLst/>
                        </a:rPr>
                        <a:t>WebServers</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ppServers</a:t>
                      </a:r>
                    </a:p>
                  </a:txBody>
                  <a:tcPr marL="50800" marR="50800" marT="50800" marB="50800" anchor="ctr"/>
                </a:tc>
                <a:tc>
                  <a:txBody>
                    <a:bodyPr/>
                    <a:lstStyle/>
                    <a:p>
                      <a:pPr marL="0" marR="0" fontAlgn="t">
                        <a:spcBef>
                          <a:spcPts val="0"/>
                        </a:spcBef>
                        <a:spcAft>
                          <a:spcPts val="0"/>
                        </a:spcAft>
                      </a:pPr>
                      <a:r>
                        <a:rPr lang="en-US" sz="900" dirty="0">
                          <a:effectLst/>
                        </a:rPr>
                        <a:t>443       (HTTPS)</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2308255462"/>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llowAppToDb</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effectLst/>
                        </a:rPr>
                        <a:t>AppServers</a:t>
                      </a:r>
                      <a:endParaRPr lang="en-US" sz="900" dirty="0">
                        <a:solidFill>
                          <a:srgbClr val="222222"/>
                        </a:solidFill>
                        <a:effectLst/>
                        <a:latin typeface="+mn-lt"/>
                      </a:endParaRPr>
                    </a:p>
                  </a:txBody>
                  <a:tcPr marL="50800" marR="50800" marT="50800" marB="50800" anchor="ct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dirty="0">
                          <a:solidFill>
                            <a:srgbClr val="222222"/>
                          </a:solidFill>
                          <a:effectLst/>
                          <a:latin typeface="+mn-lt"/>
                        </a:rPr>
                        <a:t>DatabaseServers</a:t>
                      </a:r>
                    </a:p>
                  </a:txBody>
                  <a:tcPr marL="50800" marR="50800" marT="50800" marB="50800" anchor="ctr"/>
                </a:tc>
                <a:tc>
                  <a:txBody>
                    <a:bodyPr/>
                    <a:lstStyle/>
                    <a:p>
                      <a:pPr marL="0" marR="0" fontAlgn="t">
                        <a:spcBef>
                          <a:spcPts val="0"/>
                        </a:spcBef>
                        <a:spcAft>
                          <a:spcPts val="0"/>
                        </a:spcAft>
                      </a:pPr>
                      <a:r>
                        <a:rPr lang="en-US" sz="900" dirty="0">
                          <a:effectLst/>
                        </a:rPr>
                        <a:t>3306    (MySQL)</a:t>
                      </a:r>
                      <a:endParaRPr lang="en-US" sz="900" dirty="0">
                        <a:solidFill>
                          <a:srgbClr val="222222"/>
                        </a:solidFill>
                        <a:effectLst/>
                        <a:latin typeface="+mn-lt"/>
                      </a:endParaRPr>
                    </a:p>
                  </a:txBody>
                  <a:tcPr marL="50800" marR="50800" marT="50800" marB="50800" anchor="ctr"/>
                </a:tc>
                <a:extLst>
                  <a:ext uri="{0D108BD9-81ED-4DB2-BD59-A6C34878D82A}">
                    <a16:rowId xmlns:a16="http://schemas.microsoft.com/office/drawing/2014/main" val="1086708437"/>
                  </a:ext>
                </a:extLst>
              </a:tr>
              <a:tr h="0">
                <a:tc>
                  <a:txBody>
                    <a:bodyPr/>
                    <a:lstStyle/>
                    <a:p>
                      <a:pPr marL="0" marR="0" fontAlgn="t">
                        <a:spcBef>
                          <a:spcPts val="0"/>
                        </a:spcBef>
                        <a:spcAft>
                          <a:spcPts val="0"/>
                        </a:spcAft>
                      </a:pPr>
                      <a:r>
                        <a:rPr lang="en-US" sz="900" b="1" dirty="0">
                          <a:solidFill>
                            <a:srgbClr val="00B050"/>
                          </a:solidFill>
                          <a:effectLst/>
                          <a:latin typeface="+mn-lt"/>
                        </a:rPr>
                        <a:t>Allow</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AllowInternetToJumpboxes</a:t>
                      </a:r>
                    </a:p>
                  </a:txBody>
                  <a:tcPr marL="50800" marR="50800" marT="50800" marB="50800" anchor="ctr"/>
                </a:tc>
                <a:tc>
                  <a:txBody>
                    <a:bodyPr/>
                    <a:lstStyle/>
                    <a:p>
                      <a:pPr marL="0" marR="0" fontAlgn="t">
                        <a:spcBef>
                          <a:spcPts val="0"/>
                        </a:spcBef>
                        <a:spcAft>
                          <a:spcPts val="0"/>
                        </a:spcAft>
                      </a:pPr>
                      <a:r>
                        <a:rPr lang="en-US" sz="900" dirty="0">
                          <a:effectLst/>
                        </a:rPr>
                        <a:t>Internet</a:t>
                      </a:r>
                      <a:endParaRPr lang="en-US" sz="900" dirty="0">
                        <a:solidFill>
                          <a:srgbClr val="222222"/>
                        </a:solidFill>
                        <a:effectLst/>
                        <a:latin typeface="+mn-lt"/>
                      </a:endParaRP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Jumpboxes</a:t>
                      </a:r>
                    </a:p>
                  </a:txBody>
                  <a:tcPr marL="50800" marR="50800" marT="50800" marB="50800" anchor="ctr"/>
                </a:tc>
                <a:tc>
                  <a:txBody>
                    <a:bodyPr/>
                    <a:lstStyle/>
                    <a:p>
                      <a:pPr marL="0" marR="0" fontAlgn="t">
                        <a:spcBef>
                          <a:spcPts val="0"/>
                        </a:spcBef>
                        <a:spcAft>
                          <a:spcPts val="0"/>
                        </a:spcAft>
                      </a:pPr>
                      <a:r>
                        <a:rPr lang="en-US" sz="900" dirty="0">
                          <a:solidFill>
                            <a:srgbClr val="222222"/>
                          </a:solidFill>
                          <a:effectLst/>
                          <a:latin typeface="+mn-lt"/>
                        </a:rPr>
                        <a:t>22          (SSH)</a:t>
                      </a:r>
                    </a:p>
                  </a:txBody>
                  <a:tcPr marL="50800" marR="50800" marT="50800" marB="50800" anchor="ctr"/>
                </a:tc>
                <a:extLst>
                  <a:ext uri="{0D108BD9-81ED-4DB2-BD59-A6C34878D82A}">
                    <a16:rowId xmlns:a16="http://schemas.microsoft.com/office/drawing/2014/main" val="3021479718"/>
                  </a:ext>
                </a:extLst>
              </a:tr>
              <a:tr h="0">
                <a:tc>
                  <a:txBody>
                    <a:bodyPr/>
                    <a:lstStyle/>
                    <a:p>
                      <a:pPr marL="0" marR="0" fontAlgn="t">
                        <a:spcBef>
                          <a:spcPts val="0"/>
                        </a:spcBef>
                        <a:spcAft>
                          <a:spcPts val="0"/>
                        </a:spcAft>
                      </a:pPr>
                      <a:r>
                        <a:rPr lang="en-US" sz="900" b="1" dirty="0">
                          <a:solidFill>
                            <a:srgbClr val="FF0000"/>
                          </a:solidFill>
                          <a:effectLst/>
                          <a:latin typeface="+mn-lt"/>
                        </a:rPr>
                        <a:t>Deny</a:t>
                      </a:r>
                    </a:p>
                  </a:txBody>
                  <a:tcPr marL="50800" marR="50800" marT="50800" marB="50800"/>
                </a:tc>
                <a:tc>
                  <a:txBody>
                    <a:bodyPr/>
                    <a:lstStyle/>
                    <a:p>
                      <a:pPr marL="0" marR="0" fontAlgn="t">
                        <a:spcBef>
                          <a:spcPts val="0"/>
                        </a:spcBef>
                        <a:spcAft>
                          <a:spcPts val="0"/>
                        </a:spcAft>
                      </a:pPr>
                      <a:r>
                        <a:rPr lang="en-US" sz="900" dirty="0">
                          <a:effectLst/>
                        </a:rPr>
                        <a:t>DenyAllOutBound</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tc>
                  <a:txBody>
                    <a:bodyPr/>
                    <a:lstStyle/>
                    <a:p>
                      <a:pPr marL="0" marR="0" fontAlgn="t">
                        <a:spcBef>
                          <a:spcPts val="0"/>
                        </a:spcBef>
                        <a:spcAft>
                          <a:spcPts val="0"/>
                        </a:spcAft>
                      </a:pPr>
                      <a:r>
                        <a:rPr lang="en-US" sz="900" dirty="0">
                          <a:effectLst/>
                        </a:rPr>
                        <a:t>Any</a:t>
                      </a:r>
                      <a:endParaRPr lang="en-US" sz="900" dirty="0">
                        <a:solidFill>
                          <a:srgbClr val="222222"/>
                        </a:solidFill>
                        <a:effectLst/>
                        <a:latin typeface="+mn-lt"/>
                      </a:endParaRPr>
                    </a:p>
                  </a:txBody>
                  <a:tcPr marL="50800" marR="50800" marT="50800" marB="50800"/>
                </a:tc>
                <a:extLst>
                  <a:ext uri="{0D108BD9-81ED-4DB2-BD59-A6C34878D82A}">
                    <a16:rowId xmlns:a16="http://schemas.microsoft.com/office/drawing/2014/main" val="2578999077"/>
                  </a:ext>
                </a:extLst>
              </a:tr>
            </a:tbl>
          </a:graphicData>
        </a:graphic>
      </p:graphicFrame>
      <p:pic>
        <p:nvPicPr>
          <p:cNvPr id="10" name="Picture 9">
            <a:extLst>
              <a:ext uri="{FF2B5EF4-FFF2-40B4-BE49-F238E27FC236}">
                <a16:creationId xmlns:a16="http://schemas.microsoft.com/office/drawing/2014/main" id="{C4BC6398-44DF-46ED-891B-0F3C90D8FFC0}"/>
              </a:ext>
            </a:extLst>
          </p:cNvPr>
          <p:cNvPicPr>
            <a:picLocks noChangeAspect="1"/>
          </p:cNvPicPr>
          <p:nvPr/>
        </p:nvPicPr>
        <p:blipFill>
          <a:blip r:embed="rId3"/>
          <a:stretch>
            <a:fillRect/>
          </a:stretch>
        </p:blipFill>
        <p:spPr>
          <a:xfrm>
            <a:off x="10733746" y="1758496"/>
            <a:ext cx="1362064" cy="659391"/>
          </a:xfrm>
          <a:prstGeom prst="rect">
            <a:avLst/>
          </a:prstGeom>
        </p:spPr>
      </p:pic>
      <p:pic>
        <p:nvPicPr>
          <p:cNvPr id="11" name="Picture 1" descr="https://106c4.wpc.azureedge.net/80106C4/Gallery-Prod/cdn/2015-02-24/prod20161101-microsoft-windowsazure-gallery/Microsoft.NetworkSecurityGroup-ARM.1.0.5/Icons/Small.png">
            <a:extLst>
              <a:ext uri="{FF2B5EF4-FFF2-40B4-BE49-F238E27FC236}">
                <a16:creationId xmlns:a16="http://schemas.microsoft.com/office/drawing/2014/main" id="{0506688C-A581-463A-A5AB-40FD82194B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4115" y="2142519"/>
            <a:ext cx="309068" cy="30906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Table 11">
            <a:extLst>
              <a:ext uri="{FF2B5EF4-FFF2-40B4-BE49-F238E27FC236}">
                <a16:creationId xmlns:a16="http://schemas.microsoft.com/office/drawing/2014/main" id="{4D7CC084-8412-4426-8038-9388015C0D92}"/>
              </a:ext>
            </a:extLst>
          </p:cNvPr>
          <p:cNvGraphicFramePr>
            <a:graphicFrameLocks noGrp="1"/>
          </p:cNvGraphicFramePr>
          <p:nvPr>
            <p:extLst/>
          </p:nvPr>
        </p:nvGraphicFramePr>
        <p:xfrm>
          <a:off x="6555572" y="6618319"/>
          <a:ext cx="5654499" cy="357305"/>
        </p:xfrm>
        <a:graphic>
          <a:graphicData uri="http://schemas.openxmlformats.org/drawingml/2006/table">
            <a:tbl>
              <a:tblPr>
                <a:tableStyleId>{1E171933-4619-4E11-9A3F-F7608DF75F80}</a:tableStyleId>
              </a:tblPr>
              <a:tblGrid>
                <a:gridCol w="5654499">
                  <a:extLst>
                    <a:ext uri="{9D8B030D-6E8A-4147-A177-3AD203B41FA5}">
                      <a16:colId xmlns:a16="http://schemas.microsoft.com/office/drawing/2014/main" val="878956919"/>
                    </a:ext>
                  </a:extLst>
                </a:gridCol>
              </a:tblGrid>
              <a:tr h="357305">
                <a:tc>
                  <a:txBody>
                    <a:bodyPr/>
                    <a:lstStyle/>
                    <a:p>
                      <a:pPr marL="0" marR="0" algn="ctr" fontAlgn="t">
                        <a:spcBef>
                          <a:spcPts val="0"/>
                        </a:spcBef>
                        <a:spcAft>
                          <a:spcPts val="0"/>
                        </a:spcAft>
                      </a:pPr>
                      <a:r>
                        <a:rPr lang="en-US" sz="1600" b="1" dirty="0">
                          <a:effectLst/>
                        </a:rPr>
                        <a:t>Application Security Groups</a:t>
                      </a:r>
                      <a:endParaRPr lang="en-US" sz="1600" b="1" dirty="0">
                        <a:solidFill>
                          <a:srgbClr val="222222"/>
                        </a:solidFill>
                        <a:effectLst/>
                        <a:latin typeface="+mn-lt"/>
                      </a:endParaRPr>
                    </a:p>
                  </a:txBody>
                  <a:tcPr marL="50800" marR="50800" marT="50800" marB="50800"/>
                </a:tc>
                <a:extLst>
                  <a:ext uri="{0D108BD9-81ED-4DB2-BD59-A6C34878D82A}">
                    <a16:rowId xmlns:a16="http://schemas.microsoft.com/office/drawing/2014/main" val="399366424"/>
                  </a:ext>
                </a:extLst>
              </a:tr>
            </a:tbl>
          </a:graphicData>
        </a:graphic>
      </p:graphicFrame>
      <p:sp>
        <p:nvSpPr>
          <p:cNvPr id="13" name="Rectangle: Rounded Corners 19">
            <a:extLst>
              <a:ext uri="{FF2B5EF4-FFF2-40B4-BE49-F238E27FC236}">
                <a16:creationId xmlns:a16="http://schemas.microsoft.com/office/drawing/2014/main" id="{2DA97D5E-9999-494F-9144-051CA82E2612}"/>
              </a:ext>
            </a:extLst>
          </p:cNvPr>
          <p:cNvSpPr/>
          <p:nvPr/>
        </p:nvSpPr>
        <p:spPr>
          <a:xfrm>
            <a:off x="7976664" y="1261854"/>
            <a:ext cx="1313328"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AppServers</a:t>
            </a:r>
          </a:p>
        </p:txBody>
      </p:sp>
      <p:sp>
        <p:nvSpPr>
          <p:cNvPr id="14" name="Rectangle: Rounded Corners 19">
            <a:extLst>
              <a:ext uri="{FF2B5EF4-FFF2-40B4-BE49-F238E27FC236}">
                <a16:creationId xmlns:a16="http://schemas.microsoft.com/office/drawing/2014/main" id="{7584323B-E350-4993-9FEF-6A9C1E188C6E}"/>
              </a:ext>
            </a:extLst>
          </p:cNvPr>
          <p:cNvSpPr/>
          <p:nvPr/>
        </p:nvSpPr>
        <p:spPr>
          <a:xfrm>
            <a:off x="9423305" y="1258607"/>
            <a:ext cx="1543590"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DatabaseServers</a:t>
            </a:r>
          </a:p>
        </p:txBody>
      </p:sp>
      <p:sp>
        <p:nvSpPr>
          <p:cNvPr id="15" name="Rectangle: Rounded Corners 19">
            <a:extLst>
              <a:ext uri="{FF2B5EF4-FFF2-40B4-BE49-F238E27FC236}">
                <a16:creationId xmlns:a16="http://schemas.microsoft.com/office/drawing/2014/main" id="{0BB812D7-9AA0-44A2-A737-05AE13B0C686}"/>
              </a:ext>
            </a:extLst>
          </p:cNvPr>
          <p:cNvSpPr/>
          <p:nvPr/>
        </p:nvSpPr>
        <p:spPr>
          <a:xfrm>
            <a:off x="7114367" y="1815590"/>
            <a:ext cx="1290882"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Jumpboxes</a:t>
            </a:r>
          </a:p>
        </p:txBody>
      </p:sp>
      <p:sp>
        <p:nvSpPr>
          <p:cNvPr id="16" name="Rectangle: Rounded Corners 19">
            <a:extLst>
              <a:ext uri="{FF2B5EF4-FFF2-40B4-BE49-F238E27FC236}">
                <a16:creationId xmlns:a16="http://schemas.microsoft.com/office/drawing/2014/main" id="{55EE44F6-DBBC-4947-B54D-799FD69E2301}"/>
              </a:ext>
            </a:extLst>
          </p:cNvPr>
          <p:cNvSpPr/>
          <p:nvPr/>
        </p:nvSpPr>
        <p:spPr>
          <a:xfrm>
            <a:off x="8738549" y="1815590"/>
            <a:ext cx="1462302" cy="471072"/>
          </a:xfrm>
          <a:prstGeom prst="roundRect">
            <a:avLst>
              <a:gd name="adj" fmla="val 28521"/>
            </a:avLst>
          </a:prstGeom>
          <a:ln>
            <a:solidFill>
              <a:schemeClr val="accent4"/>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QuarantineVMs</a:t>
            </a:r>
          </a:p>
        </p:txBody>
      </p:sp>
      <p:pic>
        <p:nvPicPr>
          <p:cNvPr id="18" name="Picture 4" descr="Image result for azure container service">
            <a:extLst>
              <a:ext uri="{FF2B5EF4-FFF2-40B4-BE49-F238E27FC236}">
                <a16:creationId xmlns:a16="http://schemas.microsoft.com/office/drawing/2014/main" id="{A9B8DFBA-3A9A-4183-A1CA-53D779AD585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6457596" y="5033678"/>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19" name="Left Brace 18">
            <a:extLst>
              <a:ext uri="{FF2B5EF4-FFF2-40B4-BE49-F238E27FC236}">
                <a16:creationId xmlns:a16="http://schemas.microsoft.com/office/drawing/2014/main" id="{F7D99CB2-687A-4B39-9498-05F193FDDD1D}"/>
              </a:ext>
            </a:extLst>
          </p:cNvPr>
          <p:cNvSpPr/>
          <p:nvPr/>
        </p:nvSpPr>
        <p:spPr>
          <a:xfrm>
            <a:off x="7318656" y="5037141"/>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0" name="TextBox 19">
            <a:extLst>
              <a:ext uri="{FF2B5EF4-FFF2-40B4-BE49-F238E27FC236}">
                <a16:creationId xmlns:a16="http://schemas.microsoft.com/office/drawing/2014/main" id="{2DB56F52-E17A-4E76-967F-B2BCFA275F71}"/>
              </a:ext>
            </a:extLst>
          </p:cNvPr>
          <p:cNvSpPr txBox="1"/>
          <p:nvPr/>
        </p:nvSpPr>
        <p:spPr>
          <a:xfrm>
            <a:off x="7361978" y="4975435"/>
            <a:ext cx="129885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WebServers</a:t>
            </a:r>
          </a:p>
        </p:txBody>
      </p:sp>
      <p:pic>
        <p:nvPicPr>
          <p:cNvPr id="21" name="Picture 4" descr="Image result for azure container service">
            <a:extLst>
              <a:ext uri="{FF2B5EF4-FFF2-40B4-BE49-F238E27FC236}">
                <a16:creationId xmlns:a16="http://schemas.microsoft.com/office/drawing/2014/main" id="{5C7074A7-1F29-494D-86B3-751EC244A8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6457596" y="5916563"/>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2" name="Left Brace 21">
            <a:extLst>
              <a:ext uri="{FF2B5EF4-FFF2-40B4-BE49-F238E27FC236}">
                <a16:creationId xmlns:a16="http://schemas.microsoft.com/office/drawing/2014/main" id="{8A023A6A-7D24-442F-BFF1-89E2E60B845C}"/>
              </a:ext>
            </a:extLst>
          </p:cNvPr>
          <p:cNvSpPr/>
          <p:nvPr/>
        </p:nvSpPr>
        <p:spPr>
          <a:xfrm>
            <a:off x="7318656" y="5920026"/>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3" name="TextBox 22">
            <a:extLst>
              <a:ext uri="{FF2B5EF4-FFF2-40B4-BE49-F238E27FC236}">
                <a16:creationId xmlns:a16="http://schemas.microsoft.com/office/drawing/2014/main" id="{5322AB04-12F0-4AF9-A5C9-DC159FFC1B73}"/>
              </a:ext>
            </a:extLst>
          </p:cNvPr>
          <p:cNvSpPr txBox="1"/>
          <p:nvPr/>
        </p:nvSpPr>
        <p:spPr>
          <a:xfrm>
            <a:off x="7361978" y="5858320"/>
            <a:ext cx="1298857"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Web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Jumboxes</a:t>
            </a:r>
          </a:p>
        </p:txBody>
      </p:sp>
      <p:pic>
        <p:nvPicPr>
          <p:cNvPr id="24" name="Picture 4" descr="Image result for azure container service">
            <a:extLst>
              <a:ext uri="{FF2B5EF4-FFF2-40B4-BE49-F238E27FC236}">
                <a16:creationId xmlns:a16="http://schemas.microsoft.com/office/drawing/2014/main" id="{910CC905-844B-42DA-931A-B4C4E126971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8395642" y="5033678"/>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5" name="Left Brace 24">
            <a:extLst>
              <a:ext uri="{FF2B5EF4-FFF2-40B4-BE49-F238E27FC236}">
                <a16:creationId xmlns:a16="http://schemas.microsoft.com/office/drawing/2014/main" id="{E4528D4D-2BCF-4E87-890A-967D3B1D2C3B}"/>
              </a:ext>
            </a:extLst>
          </p:cNvPr>
          <p:cNvSpPr/>
          <p:nvPr/>
        </p:nvSpPr>
        <p:spPr>
          <a:xfrm>
            <a:off x="9256702" y="5037141"/>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6" name="TextBox 25">
            <a:extLst>
              <a:ext uri="{FF2B5EF4-FFF2-40B4-BE49-F238E27FC236}">
                <a16:creationId xmlns:a16="http://schemas.microsoft.com/office/drawing/2014/main" id="{CAA6CCA8-01AD-4C5B-9DDB-7EC2EA0352D2}"/>
              </a:ext>
            </a:extLst>
          </p:cNvPr>
          <p:cNvSpPr txBox="1"/>
          <p:nvPr/>
        </p:nvSpPr>
        <p:spPr>
          <a:xfrm>
            <a:off x="9300024" y="4975435"/>
            <a:ext cx="129885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ppServers</a:t>
            </a:r>
          </a:p>
        </p:txBody>
      </p:sp>
      <p:pic>
        <p:nvPicPr>
          <p:cNvPr id="27" name="Picture 4" descr="Image result for azure container service">
            <a:extLst>
              <a:ext uri="{FF2B5EF4-FFF2-40B4-BE49-F238E27FC236}">
                <a16:creationId xmlns:a16="http://schemas.microsoft.com/office/drawing/2014/main" id="{8FAF9A14-9D44-4E35-B5B6-4C989329021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10322172" y="5007676"/>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28" name="Left Brace 27">
            <a:extLst>
              <a:ext uri="{FF2B5EF4-FFF2-40B4-BE49-F238E27FC236}">
                <a16:creationId xmlns:a16="http://schemas.microsoft.com/office/drawing/2014/main" id="{8C54D21F-4F7B-4F82-87C8-F7DC676804DF}"/>
              </a:ext>
            </a:extLst>
          </p:cNvPr>
          <p:cNvSpPr/>
          <p:nvPr/>
        </p:nvSpPr>
        <p:spPr>
          <a:xfrm>
            <a:off x="11183232" y="5011139"/>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9" name="TextBox 28">
            <a:extLst>
              <a:ext uri="{FF2B5EF4-FFF2-40B4-BE49-F238E27FC236}">
                <a16:creationId xmlns:a16="http://schemas.microsoft.com/office/drawing/2014/main" id="{14B65DE9-B0B2-4B9B-BAFD-1F0D0053C295}"/>
              </a:ext>
            </a:extLst>
          </p:cNvPr>
          <p:cNvSpPr txBox="1"/>
          <p:nvPr/>
        </p:nvSpPr>
        <p:spPr>
          <a:xfrm>
            <a:off x="11226554" y="4949433"/>
            <a:ext cx="1453237"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DatabaseServers</a:t>
            </a:r>
          </a:p>
        </p:txBody>
      </p:sp>
      <p:pic>
        <p:nvPicPr>
          <p:cNvPr id="30" name="Picture 4" descr="Image result for azure container service">
            <a:extLst>
              <a:ext uri="{FF2B5EF4-FFF2-40B4-BE49-F238E27FC236}">
                <a16:creationId xmlns:a16="http://schemas.microsoft.com/office/drawing/2014/main" id="{B0F4A8BD-6113-46E8-A1A0-E3A30BA2F1F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2388" t="53635"/>
          <a:stretch/>
        </p:blipFill>
        <p:spPr bwMode="auto">
          <a:xfrm>
            <a:off x="8413732" y="5916563"/>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31" name="Left Brace 30">
            <a:extLst>
              <a:ext uri="{FF2B5EF4-FFF2-40B4-BE49-F238E27FC236}">
                <a16:creationId xmlns:a16="http://schemas.microsoft.com/office/drawing/2014/main" id="{FC03B89F-44B9-4EDC-8A0E-688DE3127FC1}"/>
              </a:ext>
            </a:extLst>
          </p:cNvPr>
          <p:cNvSpPr/>
          <p:nvPr/>
        </p:nvSpPr>
        <p:spPr>
          <a:xfrm>
            <a:off x="9274792" y="5920026"/>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2" name="TextBox 31">
            <a:extLst>
              <a:ext uri="{FF2B5EF4-FFF2-40B4-BE49-F238E27FC236}">
                <a16:creationId xmlns:a16="http://schemas.microsoft.com/office/drawing/2014/main" id="{AD40886D-B52C-407D-82FA-E641BBC42AAE}"/>
              </a:ext>
            </a:extLst>
          </p:cNvPr>
          <p:cNvSpPr txBox="1"/>
          <p:nvPr/>
        </p:nvSpPr>
        <p:spPr>
          <a:xfrm>
            <a:off x="9318114" y="5858320"/>
            <a:ext cx="1540058"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pp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Jumpboxes</a:t>
            </a:r>
          </a:p>
        </p:txBody>
      </p:sp>
      <p:pic>
        <p:nvPicPr>
          <p:cNvPr id="33" name="Picture 4" descr="Image result for azure container service">
            <a:extLst>
              <a:ext uri="{FF2B5EF4-FFF2-40B4-BE49-F238E27FC236}">
                <a16:creationId xmlns:a16="http://schemas.microsoft.com/office/drawing/2014/main" id="{1650B2BE-2AFC-4955-8723-C7597E402EE2}"/>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PencilGrayscale/>
                    </a14:imgEffect>
                  </a14:imgLayer>
                </a14:imgProps>
              </a:ext>
              <a:ext uri="{28A0092B-C50C-407E-A947-70E740481C1C}">
                <a14:useLocalDpi xmlns:a14="http://schemas.microsoft.com/office/drawing/2010/main" val="0"/>
              </a:ext>
            </a:extLst>
          </a:blip>
          <a:srcRect l="72388" t="53635"/>
          <a:stretch/>
        </p:blipFill>
        <p:spPr bwMode="auto">
          <a:xfrm>
            <a:off x="10340262" y="5890561"/>
            <a:ext cx="850677" cy="779144"/>
          </a:xfrm>
          <a:prstGeom prst="rect">
            <a:avLst/>
          </a:prstGeom>
          <a:noFill/>
          <a:extLst>
            <a:ext uri="{909E8E84-426E-40DD-AFC4-6F175D3DCCD1}">
              <a14:hiddenFill xmlns:a14="http://schemas.microsoft.com/office/drawing/2010/main">
                <a:solidFill>
                  <a:srgbClr val="FFFFFF"/>
                </a:solidFill>
              </a14:hiddenFill>
            </a:ext>
          </a:extLst>
        </p:spPr>
      </p:pic>
      <p:sp>
        <p:nvSpPr>
          <p:cNvPr id="34" name="Left Brace 33">
            <a:extLst>
              <a:ext uri="{FF2B5EF4-FFF2-40B4-BE49-F238E27FC236}">
                <a16:creationId xmlns:a16="http://schemas.microsoft.com/office/drawing/2014/main" id="{A815C8EE-4824-4C72-97DC-A7ED4D68FFDA}"/>
              </a:ext>
            </a:extLst>
          </p:cNvPr>
          <p:cNvSpPr/>
          <p:nvPr/>
        </p:nvSpPr>
        <p:spPr>
          <a:xfrm>
            <a:off x="11201322" y="5894024"/>
            <a:ext cx="242469" cy="60267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5" name="TextBox 34">
            <a:extLst>
              <a:ext uri="{FF2B5EF4-FFF2-40B4-BE49-F238E27FC236}">
                <a16:creationId xmlns:a16="http://schemas.microsoft.com/office/drawing/2014/main" id="{4DDBC212-B60E-4C52-B206-6D374DC586DD}"/>
              </a:ext>
            </a:extLst>
          </p:cNvPr>
          <p:cNvSpPr txBox="1"/>
          <p:nvPr/>
        </p:nvSpPr>
        <p:spPr>
          <a:xfrm>
            <a:off x="11244644" y="5832318"/>
            <a:ext cx="1453237" cy="6771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DatabaseServ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QuarantineVMs</a:t>
            </a:r>
          </a:p>
        </p:txBody>
      </p:sp>
    </p:spTree>
    <p:extLst>
      <p:ext uri="{BB962C8B-B14F-4D97-AF65-F5344CB8AC3E}">
        <p14:creationId xmlns:p14="http://schemas.microsoft.com/office/powerpoint/2010/main" val="9733982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Gateway Subnet and Virtual Network Gateway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2246769"/>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Special case</a:t>
            </a:r>
          </a:p>
          <a:p>
            <a:pPr marL="285750" indent="-285750">
              <a:spcAft>
                <a:spcPts val="600"/>
              </a:spcAft>
              <a:buFont typeface="Arial" panose="020B0604020202020204" pitchFamily="34" charset="0"/>
              <a:buChar char="•"/>
            </a:pPr>
            <a:r>
              <a:rPr lang="en-GB" sz="2000"/>
              <a:t>Virtual Network Gateways</a:t>
            </a:r>
          </a:p>
          <a:p>
            <a:pPr marL="752121" lvl="1" indent="-285750">
              <a:spcAft>
                <a:spcPts val="600"/>
              </a:spcAft>
              <a:buFont typeface="Arial" panose="020B0604020202020204" pitchFamily="34" charset="0"/>
              <a:buChar char="•"/>
            </a:pPr>
            <a:r>
              <a:rPr lang="en-GB" sz="2000"/>
              <a:t>VPN Gateway</a:t>
            </a:r>
          </a:p>
          <a:p>
            <a:pPr marL="752121" lvl="1" indent="-285750">
              <a:spcAft>
                <a:spcPts val="600"/>
              </a:spcAft>
              <a:buFont typeface="Arial" panose="020B0604020202020204" pitchFamily="34" charset="0"/>
              <a:buChar char="•"/>
            </a:pPr>
            <a:r>
              <a:rPr lang="en-GB" sz="2000"/>
              <a:t>ExpressRoute</a:t>
            </a:r>
          </a:p>
          <a:p>
            <a:pPr marL="285750" indent="-285750">
              <a:spcAft>
                <a:spcPts val="600"/>
              </a:spcAft>
              <a:buFont typeface="Arial" panose="020B0604020202020204" pitchFamily="34" charset="0"/>
              <a:buChar char="•"/>
            </a:pPr>
            <a:r>
              <a:rPr lang="en-GB" sz="2000"/>
              <a:t>No NSG</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
        <p:nvSpPr>
          <p:cNvPr id="16" name="Rectangle: Rounded Corners 15">
            <a:extLst>
              <a:ext uri="{FF2B5EF4-FFF2-40B4-BE49-F238E27FC236}">
                <a16:creationId xmlns:a16="http://schemas.microsoft.com/office/drawing/2014/main" id="{FA5F451D-D9F6-458F-9CAA-B838D493CB32}"/>
              </a:ext>
            </a:extLst>
          </p:cNvPr>
          <p:cNvSpPr/>
          <p:nvPr/>
        </p:nvSpPr>
        <p:spPr bwMode="auto">
          <a:xfrm>
            <a:off x="1762200" y="1845270"/>
            <a:ext cx="1976028" cy="4168080"/>
          </a:xfrm>
          <a:prstGeom prst="roundRect">
            <a:avLst/>
          </a:prstGeom>
          <a:noFill/>
          <a:ln w="38100" cap="flat" cmpd="sng" algn="ctr">
            <a:solidFill>
              <a:srgbClr val="92D050"/>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240855E0-E68E-4CF8-8AB4-801ECBE9AA8F}"/>
              </a:ext>
            </a:extLst>
          </p:cNvPr>
          <p:cNvSpPr txBox="1"/>
          <p:nvPr/>
        </p:nvSpPr>
        <p:spPr>
          <a:xfrm>
            <a:off x="2329727" y="1818737"/>
            <a:ext cx="1518010" cy="461665"/>
          </a:xfrm>
          <a:prstGeom prst="rect">
            <a:avLst/>
          </a:prstGeom>
          <a:noFill/>
        </p:spPr>
        <p:txBody>
          <a:bodyPr wrap="square" lIns="182880" tIns="146304" rIns="182880" bIns="146304" rtlCol="0">
            <a:spAutoFit/>
          </a:bodyPr>
          <a:lstStyle/>
          <a:p>
            <a:pPr>
              <a:lnSpc>
                <a:spcPct val="90000"/>
              </a:lnSpc>
              <a:spcAft>
                <a:spcPts val="600"/>
              </a:spcAft>
            </a:pPr>
            <a:r>
              <a:rPr lang="en-GB" sz="1200" err="1">
                <a:solidFill>
                  <a:srgbClr val="92D050"/>
                </a:solidFill>
              </a:rPr>
              <a:t>GatewaySubnet</a:t>
            </a:r>
            <a:endParaRPr lang="en-GB" sz="1600">
              <a:solidFill>
                <a:srgbClr val="92D050"/>
              </a:solidFill>
            </a:endParaRPr>
          </a:p>
        </p:txBody>
      </p:sp>
      <p:sp>
        <p:nvSpPr>
          <p:cNvPr id="21" name="TextBox 20">
            <a:extLst>
              <a:ext uri="{FF2B5EF4-FFF2-40B4-BE49-F238E27FC236}">
                <a16:creationId xmlns:a16="http://schemas.microsoft.com/office/drawing/2014/main" id="{3421AAA2-7D8F-4739-AC26-A604FF055857}"/>
              </a:ext>
            </a:extLst>
          </p:cNvPr>
          <p:cNvSpPr txBox="1"/>
          <p:nvPr/>
        </p:nvSpPr>
        <p:spPr>
          <a:xfrm>
            <a:off x="2593976" y="5616611"/>
            <a:ext cx="1368154" cy="461665"/>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92D050"/>
                </a:solidFill>
              </a:rPr>
              <a:t>10.4.0.0/27</a:t>
            </a:r>
            <a:endParaRPr lang="en-GB" sz="1600">
              <a:solidFill>
                <a:srgbClr val="92D050"/>
              </a:solidFill>
            </a:endParaRPr>
          </a:p>
        </p:txBody>
      </p:sp>
      <p:sp>
        <p:nvSpPr>
          <p:cNvPr id="24" name="TextBox 23">
            <a:extLst>
              <a:ext uri="{FF2B5EF4-FFF2-40B4-BE49-F238E27FC236}">
                <a16:creationId xmlns:a16="http://schemas.microsoft.com/office/drawing/2014/main" id="{CB7662D0-4EF0-4EFB-9358-0C25D47B72DF}"/>
              </a:ext>
            </a:extLst>
          </p:cNvPr>
          <p:cNvSpPr txBox="1"/>
          <p:nvPr/>
        </p:nvSpPr>
        <p:spPr>
          <a:xfrm>
            <a:off x="2005808" y="3217135"/>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rgbClr val="72BFDF"/>
                </a:solidFill>
              </a:rPr>
              <a:t>VPN Gateway</a:t>
            </a:r>
            <a:endParaRPr lang="en-GB" sz="1600">
              <a:solidFill>
                <a:srgbClr val="72BFDF"/>
              </a:solidFill>
            </a:endParaRPr>
          </a:p>
        </p:txBody>
      </p:sp>
      <p:sp>
        <p:nvSpPr>
          <p:cNvPr id="25" name="TextBox 24">
            <a:extLst>
              <a:ext uri="{FF2B5EF4-FFF2-40B4-BE49-F238E27FC236}">
                <a16:creationId xmlns:a16="http://schemas.microsoft.com/office/drawing/2014/main" id="{869CA9B1-A9FA-4D1D-BDE6-B443C66DF005}"/>
              </a:ext>
            </a:extLst>
          </p:cNvPr>
          <p:cNvSpPr txBox="1"/>
          <p:nvPr/>
        </p:nvSpPr>
        <p:spPr>
          <a:xfrm>
            <a:off x="2041773" y="4763789"/>
            <a:ext cx="1518010" cy="704808"/>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p>
          <a:p>
            <a:pPr algn="ctr">
              <a:lnSpc>
                <a:spcPct val="90000"/>
              </a:lnSpc>
              <a:spcAft>
                <a:spcPts val="600"/>
              </a:spcAft>
            </a:pPr>
            <a:r>
              <a:rPr lang="en-GB" sz="1200">
                <a:solidFill>
                  <a:schemeClr val="accent5">
                    <a:lumMod val="40000"/>
                    <a:lumOff val="60000"/>
                  </a:schemeClr>
                </a:solidFill>
              </a:rPr>
              <a:t>Gateway</a:t>
            </a:r>
            <a:endParaRPr lang="en-GB" sz="1600">
              <a:solidFill>
                <a:schemeClr val="accent5">
                  <a:lumMod val="40000"/>
                  <a:lumOff val="60000"/>
                </a:schemeClr>
              </a:solidFill>
            </a:endParaRPr>
          </a:p>
        </p:txBody>
      </p:sp>
      <p:cxnSp>
        <p:nvCxnSpPr>
          <p:cNvPr id="27" name="Straight Connector 26">
            <a:extLst>
              <a:ext uri="{FF2B5EF4-FFF2-40B4-BE49-F238E27FC236}">
                <a16:creationId xmlns:a16="http://schemas.microsoft.com/office/drawing/2014/main" id="{546BBBEA-91A1-44A2-95C5-78CF5982C0F8}"/>
              </a:ext>
            </a:extLst>
          </p:cNvPr>
          <p:cNvCxnSpPr>
            <a:cxnSpLocks/>
          </p:cNvCxnSpPr>
          <p:nvPr/>
        </p:nvCxnSpPr>
        <p:spPr>
          <a:xfrm>
            <a:off x="-49141" y="3037321"/>
            <a:ext cx="2522962" cy="1"/>
          </a:xfrm>
          <a:prstGeom prst="line">
            <a:avLst/>
          </a:prstGeom>
          <a:ln w="38100">
            <a:solidFill>
              <a:srgbClr val="72BFD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871F455-1939-4E6C-8937-52A62BBDB9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4495" y="2495550"/>
            <a:ext cx="770806" cy="770806"/>
          </a:xfrm>
          <a:prstGeom prst="rect">
            <a:avLst/>
          </a:prstGeom>
        </p:spPr>
      </p:pic>
      <p:sp>
        <p:nvSpPr>
          <p:cNvPr id="29" name="TextBox 28">
            <a:extLst>
              <a:ext uri="{FF2B5EF4-FFF2-40B4-BE49-F238E27FC236}">
                <a16:creationId xmlns:a16="http://schemas.microsoft.com/office/drawing/2014/main" id="{CA7B1ECB-FD7B-497F-998A-E64BB93F5F54}"/>
              </a:ext>
            </a:extLst>
          </p:cNvPr>
          <p:cNvSpPr txBox="1"/>
          <p:nvPr/>
        </p:nvSpPr>
        <p:spPr>
          <a:xfrm>
            <a:off x="-124031" y="2979364"/>
            <a:ext cx="1518010" cy="461665"/>
          </a:xfrm>
          <a:prstGeom prst="rect">
            <a:avLst/>
          </a:prstGeom>
          <a:noFill/>
          <a:ln>
            <a:noFill/>
          </a:ln>
        </p:spPr>
        <p:txBody>
          <a:bodyPr wrap="square" lIns="182880" tIns="146304" rIns="182880" bIns="146304" rtlCol="0">
            <a:spAutoFit/>
          </a:bodyPr>
          <a:lstStyle/>
          <a:p>
            <a:pPr algn="ctr">
              <a:lnSpc>
                <a:spcPct val="90000"/>
              </a:lnSpc>
              <a:spcAft>
                <a:spcPts val="600"/>
              </a:spcAft>
            </a:pPr>
            <a:r>
              <a:rPr lang="en-GB" sz="1200">
                <a:solidFill>
                  <a:srgbClr val="72BFDF"/>
                </a:solidFill>
              </a:rPr>
              <a:t>S2S VPN</a:t>
            </a:r>
            <a:endParaRPr lang="en-GB" sz="1600">
              <a:solidFill>
                <a:srgbClr val="72BFDF"/>
              </a:solidFill>
            </a:endParaRPr>
          </a:p>
        </p:txBody>
      </p:sp>
      <p:cxnSp>
        <p:nvCxnSpPr>
          <p:cNvPr id="30" name="Straight Connector 29">
            <a:extLst>
              <a:ext uri="{FF2B5EF4-FFF2-40B4-BE49-F238E27FC236}">
                <a16:creationId xmlns:a16="http://schemas.microsoft.com/office/drawing/2014/main" id="{ABB56A34-85E5-4453-A3FC-C44EA77DCF2C}"/>
              </a:ext>
            </a:extLst>
          </p:cNvPr>
          <p:cNvCxnSpPr>
            <a:cxnSpLocks/>
          </p:cNvCxnSpPr>
          <p:nvPr/>
        </p:nvCxnSpPr>
        <p:spPr>
          <a:xfrm>
            <a:off x="-190475" y="4491323"/>
            <a:ext cx="2731277" cy="0"/>
          </a:xfrm>
          <a:prstGeom prst="line">
            <a:avLst/>
          </a:prstGeom>
          <a:ln w="38100">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44EE71-5FC1-48C4-A67A-513F6E1E1ACC}"/>
              </a:ext>
            </a:extLst>
          </p:cNvPr>
          <p:cNvSpPr txBox="1"/>
          <p:nvPr/>
        </p:nvSpPr>
        <p:spPr>
          <a:xfrm>
            <a:off x="-118467" y="4433366"/>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endParaRPr lang="en-GB" sz="1600">
              <a:solidFill>
                <a:schemeClr val="accent5">
                  <a:lumMod val="40000"/>
                  <a:lumOff val="60000"/>
                </a:schemeClr>
              </a:solidFill>
            </a:endParaRPr>
          </a:p>
        </p:txBody>
      </p:sp>
      <p:pic>
        <p:nvPicPr>
          <p:cNvPr id="23" name="Graphic 22">
            <a:extLst>
              <a:ext uri="{FF2B5EF4-FFF2-40B4-BE49-F238E27FC236}">
                <a16:creationId xmlns:a16="http://schemas.microsoft.com/office/drawing/2014/main" id="{FBC2DA30-FECB-428A-AF4D-9C254357E0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21723" y="3975893"/>
            <a:ext cx="950491" cy="950491"/>
          </a:xfrm>
          <a:prstGeom prst="rect">
            <a:avLst/>
          </a:prstGeom>
        </p:spPr>
      </p:pic>
    </p:spTree>
    <p:extLst>
      <p:ext uri="{BB962C8B-B14F-4D97-AF65-F5344CB8AC3E}">
        <p14:creationId xmlns:p14="http://schemas.microsoft.com/office/powerpoint/2010/main" val="1309280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3000"/>
                            </p:stCondLst>
                            <p:childTnLst>
                              <p:par>
                                <p:cTn id="17" presetID="4" presetClass="entr" presetSubtype="32"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ox(out)">
                                      <p:cBhvr>
                                        <p:cTn id="19" dur="20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par>
                          <p:cTn id="23" fill="hold">
                            <p:stCondLst>
                              <p:cond delay="5000"/>
                            </p:stCondLst>
                            <p:childTnLst>
                              <p:par>
                                <p:cTn id="24" presetID="2" presetClass="entr" presetSubtype="8" fill="hold" grpId="0" nodeType="afterEffect">
                                  <p:stCondLst>
                                    <p:cond delay="0"/>
                                  </p:stCondLst>
                                  <p:childTnLst>
                                    <p:set>
                                      <p:cBhvr>
                                        <p:cTn id="25" dur="1" fill="hold">
                                          <p:stCondLst>
                                            <p:cond delay="0"/>
                                          </p:stCondLst>
                                        </p:cTn>
                                        <p:tgtEl>
                                          <p:spTgt spid="29"/>
                                        </p:tgtEl>
                                        <p:attrNameLst>
                                          <p:attrName>style.visibility</p:attrName>
                                        </p:attrNameLst>
                                      </p:cBhvr>
                                      <p:to>
                                        <p:strVal val="visible"/>
                                      </p:to>
                                    </p:set>
                                    <p:anim calcmode="lin" valueType="num">
                                      <p:cBhvr additive="base">
                                        <p:cTn id="26" dur="500" fill="hold"/>
                                        <p:tgtEl>
                                          <p:spTgt spid="29"/>
                                        </p:tgtEl>
                                        <p:attrNameLst>
                                          <p:attrName>ppt_x</p:attrName>
                                        </p:attrNameLst>
                                      </p:cBhvr>
                                      <p:tavLst>
                                        <p:tav tm="0">
                                          <p:val>
                                            <p:strVal val="0-#ppt_w/2"/>
                                          </p:val>
                                        </p:tav>
                                        <p:tav tm="100000">
                                          <p:val>
                                            <p:strVal val="#ppt_x"/>
                                          </p:val>
                                        </p:tav>
                                      </p:tavLst>
                                    </p:anim>
                                    <p:anim calcmode="lin" valueType="num">
                                      <p:cBhvr additive="base">
                                        <p:cTn id="27" dur="500" fill="hold"/>
                                        <p:tgtEl>
                                          <p:spTgt spid="29"/>
                                        </p:tgtEl>
                                        <p:attrNameLst>
                                          <p:attrName>ppt_y</p:attrName>
                                        </p:attrNameLst>
                                      </p:cBhvr>
                                      <p:tavLst>
                                        <p:tav tm="0">
                                          <p:val>
                                            <p:strVal val="#ppt_y"/>
                                          </p:val>
                                        </p:tav>
                                        <p:tav tm="100000">
                                          <p:val>
                                            <p:strVal val="#ppt_y"/>
                                          </p:val>
                                        </p:tav>
                                      </p:tavLst>
                                    </p:anim>
                                  </p:childTnLst>
                                </p:cTn>
                              </p:par>
                              <p:par>
                                <p:cTn id="28" presetID="2" presetClass="entr" presetSubtype="8" fill="hold" nodeType="withEffect">
                                  <p:stCondLst>
                                    <p:cond delay="0"/>
                                  </p:stCondLst>
                                  <p:childTnLst>
                                    <p:set>
                                      <p:cBhvr>
                                        <p:cTn id="29" dur="1" fill="hold">
                                          <p:stCondLst>
                                            <p:cond delay="0"/>
                                          </p:stCondLst>
                                        </p:cTn>
                                        <p:tgtEl>
                                          <p:spTgt spid="27"/>
                                        </p:tgtEl>
                                        <p:attrNameLst>
                                          <p:attrName>style.visibility</p:attrName>
                                        </p:attrNameLst>
                                      </p:cBhvr>
                                      <p:to>
                                        <p:strVal val="visible"/>
                                      </p:to>
                                    </p:set>
                                    <p:anim calcmode="lin" valueType="num">
                                      <p:cBhvr additive="base">
                                        <p:cTn id="30" dur="500" fill="hold"/>
                                        <p:tgtEl>
                                          <p:spTgt spid="27"/>
                                        </p:tgtEl>
                                        <p:attrNameLst>
                                          <p:attrName>ppt_x</p:attrName>
                                        </p:attrNameLst>
                                      </p:cBhvr>
                                      <p:tavLst>
                                        <p:tav tm="0">
                                          <p:val>
                                            <p:strVal val="0-#ppt_w/2"/>
                                          </p:val>
                                        </p:tav>
                                        <p:tav tm="100000">
                                          <p:val>
                                            <p:strVal val="#ppt_x"/>
                                          </p:val>
                                        </p:tav>
                                      </p:tavLst>
                                    </p:anim>
                                    <p:anim calcmode="lin" valueType="num">
                                      <p:cBhvr additive="base">
                                        <p:cTn id="31" dur="500" fill="hold"/>
                                        <p:tgtEl>
                                          <p:spTgt spid="27"/>
                                        </p:tgtEl>
                                        <p:attrNameLst>
                                          <p:attrName>ppt_y</p:attrName>
                                        </p:attrNameLst>
                                      </p:cBhvr>
                                      <p:tavLst>
                                        <p:tav tm="0">
                                          <p:val>
                                            <p:strVal val="#ppt_y"/>
                                          </p:val>
                                        </p:tav>
                                        <p:tav tm="100000">
                                          <p:val>
                                            <p:strVal val="#ppt_y"/>
                                          </p:val>
                                        </p:tav>
                                      </p:tavLst>
                                    </p:anim>
                                  </p:childTnLst>
                                </p:cTn>
                              </p:par>
                            </p:childTnLst>
                          </p:cTn>
                        </p:par>
                        <p:par>
                          <p:cTn id="32" fill="hold">
                            <p:stCondLst>
                              <p:cond delay="5500"/>
                            </p:stCondLst>
                            <p:childTnLst>
                              <p:par>
                                <p:cTn id="33" presetID="6" presetClass="entr" presetSubtype="32" fill="hold"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circle(out)">
                                      <p:cBhvr>
                                        <p:cTn id="35" dur="2000"/>
                                        <p:tgtEl>
                                          <p:spTgt spid="2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7500"/>
                            </p:stCondLst>
                            <p:childTnLst>
                              <p:par>
                                <p:cTn id="40" presetID="2" presetClass="entr" presetSubtype="8" fill="hold" grpId="0" nodeType="afterEffect">
                                  <p:stCondLst>
                                    <p:cond delay="0"/>
                                  </p:stCondLst>
                                  <p:childTnLst>
                                    <p:set>
                                      <p:cBhvr>
                                        <p:cTn id="41" dur="1" fill="hold">
                                          <p:stCondLst>
                                            <p:cond delay="0"/>
                                          </p:stCondLst>
                                        </p:cTn>
                                        <p:tgtEl>
                                          <p:spTgt spid="31"/>
                                        </p:tgtEl>
                                        <p:attrNameLst>
                                          <p:attrName>style.visibility</p:attrName>
                                        </p:attrNameLst>
                                      </p:cBhvr>
                                      <p:to>
                                        <p:strVal val="visible"/>
                                      </p:to>
                                    </p:set>
                                    <p:anim calcmode="lin" valueType="num">
                                      <p:cBhvr additive="base">
                                        <p:cTn id="42" dur="500" fill="hold"/>
                                        <p:tgtEl>
                                          <p:spTgt spid="31"/>
                                        </p:tgtEl>
                                        <p:attrNameLst>
                                          <p:attrName>ppt_x</p:attrName>
                                        </p:attrNameLst>
                                      </p:cBhvr>
                                      <p:tavLst>
                                        <p:tav tm="0">
                                          <p:val>
                                            <p:strVal val="0-#ppt_w/2"/>
                                          </p:val>
                                        </p:tav>
                                        <p:tav tm="100000">
                                          <p:val>
                                            <p:strVal val="#ppt_x"/>
                                          </p:val>
                                        </p:tav>
                                      </p:tavLst>
                                    </p:anim>
                                    <p:anim calcmode="lin" valueType="num">
                                      <p:cBhvr additive="base">
                                        <p:cTn id="43" dur="500" fill="hold"/>
                                        <p:tgtEl>
                                          <p:spTgt spid="31"/>
                                        </p:tgtEl>
                                        <p:attrNameLst>
                                          <p:attrName>ppt_y</p:attrName>
                                        </p:attrNameLst>
                                      </p:cBhvr>
                                      <p:tavLst>
                                        <p:tav tm="0">
                                          <p:val>
                                            <p:strVal val="#ppt_y"/>
                                          </p:val>
                                        </p:tav>
                                        <p:tav tm="100000">
                                          <p:val>
                                            <p:strVal val="#ppt_y"/>
                                          </p:val>
                                        </p:tav>
                                      </p:tavLst>
                                    </p:anim>
                                  </p:childTnLst>
                                </p:cTn>
                              </p:par>
                              <p:par>
                                <p:cTn id="44" presetID="2" presetClass="entr" presetSubtype="8" fill="hold" nodeType="withEffect">
                                  <p:stCondLst>
                                    <p:cond delay="0"/>
                                  </p:stCondLst>
                                  <p:childTnLst>
                                    <p:set>
                                      <p:cBhvr>
                                        <p:cTn id="45" dur="1" fill="hold">
                                          <p:stCondLst>
                                            <p:cond delay="0"/>
                                          </p:stCondLst>
                                        </p:cTn>
                                        <p:tgtEl>
                                          <p:spTgt spid="30"/>
                                        </p:tgtEl>
                                        <p:attrNameLst>
                                          <p:attrName>style.visibility</p:attrName>
                                        </p:attrNameLst>
                                      </p:cBhvr>
                                      <p:to>
                                        <p:strVal val="visible"/>
                                      </p:to>
                                    </p:set>
                                    <p:anim calcmode="lin" valueType="num">
                                      <p:cBhvr additive="base">
                                        <p:cTn id="46" dur="500" fill="hold"/>
                                        <p:tgtEl>
                                          <p:spTgt spid="30"/>
                                        </p:tgtEl>
                                        <p:attrNameLst>
                                          <p:attrName>ppt_x</p:attrName>
                                        </p:attrNameLst>
                                      </p:cBhvr>
                                      <p:tavLst>
                                        <p:tav tm="0">
                                          <p:val>
                                            <p:strVal val="0-#ppt_w/2"/>
                                          </p:val>
                                        </p:tav>
                                        <p:tav tm="100000">
                                          <p:val>
                                            <p:strVal val="#ppt_x"/>
                                          </p:val>
                                        </p:tav>
                                      </p:tavLst>
                                    </p:anim>
                                    <p:anim calcmode="lin" valueType="num">
                                      <p:cBhvr additive="base">
                                        <p:cTn id="47"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p:bldP spid="21" grpId="0"/>
      <p:bldP spid="24" grpId="0"/>
      <p:bldP spid="25" grpId="0"/>
      <p:bldP spid="29" grpId="0"/>
      <p:bldP spid="3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0">
            <a:extLst>
              <a:ext uri="{FF2B5EF4-FFF2-40B4-BE49-F238E27FC236}">
                <a16:creationId xmlns:a16="http://schemas.microsoft.com/office/drawing/2014/main" id="{896338E4-5E15-43CE-8AF9-7CEA7FF4CEDC}"/>
              </a:ext>
            </a:extLst>
          </p:cNvPr>
          <p:cNvSpPr txBox="1"/>
          <p:nvPr/>
        </p:nvSpPr>
        <p:spPr>
          <a:xfrm>
            <a:off x="9330272"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Trusted</a:t>
            </a:r>
          </a:p>
        </p:txBody>
      </p:sp>
      <p:sp>
        <p:nvSpPr>
          <p:cNvPr id="19" name="TextBox 10">
            <a:extLst>
              <a:ext uri="{FF2B5EF4-FFF2-40B4-BE49-F238E27FC236}">
                <a16:creationId xmlns:a16="http://schemas.microsoft.com/office/drawing/2014/main" id="{8BD8644E-02C1-4F61-928F-E8902B1F0AC2}"/>
              </a:ext>
            </a:extLst>
          </p:cNvPr>
          <p:cNvSpPr txBox="1"/>
          <p:nvPr/>
        </p:nvSpPr>
        <p:spPr>
          <a:xfrm>
            <a:off x="1106625"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dirty="0">
                <a:solidFill>
                  <a:srgbClr val="0078D7"/>
                </a:solidFill>
                <a:latin typeface="Segoe UI Light"/>
                <a:cs typeface="Segoe UI" pitchFamily="34" charset="0"/>
              </a:rPr>
              <a:t>Productive</a:t>
            </a:r>
          </a:p>
        </p:txBody>
      </p:sp>
      <p:sp>
        <p:nvSpPr>
          <p:cNvPr id="20" name="TextBox 10">
            <a:extLst>
              <a:ext uri="{FF2B5EF4-FFF2-40B4-BE49-F238E27FC236}">
                <a16:creationId xmlns:a16="http://schemas.microsoft.com/office/drawing/2014/main" id="{FF250B0B-16D0-4242-B609-FCD6071403FF}"/>
              </a:ext>
            </a:extLst>
          </p:cNvPr>
          <p:cNvSpPr txBox="1"/>
          <p:nvPr/>
        </p:nvSpPr>
        <p:spPr>
          <a:xfrm>
            <a:off x="6585916"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Intelligent</a:t>
            </a:r>
          </a:p>
        </p:txBody>
      </p:sp>
      <p:sp>
        <p:nvSpPr>
          <p:cNvPr id="21" name="TextBox 10">
            <a:extLst>
              <a:ext uri="{FF2B5EF4-FFF2-40B4-BE49-F238E27FC236}">
                <a16:creationId xmlns:a16="http://schemas.microsoft.com/office/drawing/2014/main" id="{2F69F83B-0A06-4322-8678-085D0848E284}"/>
              </a:ext>
            </a:extLst>
          </p:cNvPr>
          <p:cNvSpPr txBox="1"/>
          <p:nvPr/>
        </p:nvSpPr>
        <p:spPr>
          <a:xfrm>
            <a:off x="3851101"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Hybrid</a:t>
            </a:r>
          </a:p>
        </p:txBody>
      </p:sp>
      <p:sp>
        <p:nvSpPr>
          <p:cNvPr id="22" name="Oval 21">
            <a:extLst>
              <a:ext uri="{FF2B5EF4-FFF2-40B4-BE49-F238E27FC236}">
                <a16:creationId xmlns:a16="http://schemas.microsoft.com/office/drawing/2014/main" id="{8356B447-D388-4785-B3F6-4488C99BB77B}"/>
              </a:ext>
            </a:extLst>
          </p:cNvPr>
          <p:cNvSpPr/>
          <p:nvPr/>
        </p:nvSpPr>
        <p:spPr bwMode="auto">
          <a:xfrm rot="16200000">
            <a:off x="2087583" y="3765867"/>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23" name="Straight Connector 22">
            <a:extLst>
              <a:ext uri="{FF2B5EF4-FFF2-40B4-BE49-F238E27FC236}">
                <a16:creationId xmlns:a16="http://schemas.microsoft.com/office/drawing/2014/main" id="{0E56090D-DF36-436E-BAD8-6044593294A5}"/>
              </a:ext>
            </a:extLst>
          </p:cNvPr>
          <p:cNvCxnSpPr/>
          <p:nvPr/>
        </p:nvCxnSpPr>
        <p:spPr>
          <a:xfrm>
            <a:off x="2349526"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8356B447-D388-4785-B3F6-4488C99BB77B}"/>
              </a:ext>
            </a:extLst>
          </p:cNvPr>
          <p:cNvSpPr/>
          <p:nvPr/>
        </p:nvSpPr>
        <p:spPr bwMode="auto">
          <a:xfrm rot="16200000">
            <a:off x="4833583" y="3765868"/>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5" name="Oval 24">
            <a:extLst>
              <a:ext uri="{FF2B5EF4-FFF2-40B4-BE49-F238E27FC236}">
                <a16:creationId xmlns:a16="http://schemas.microsoft.com/office/drawing/2014/main" id="{8356B447-D388-4785-B3F6-4488C99BB77B}"/>
              </a:ext>
            </a:extLst>
          </p:cNvPr>
          <p:cNvSpPr/>
          <p:nvPr/>
        </p:nvSpPr>
        <p:spPr bwMode="auto">
          <a:xfrm rot="16200000">
            <a:off x="7566629" y="3765868"/>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8356B447-D388-4785-B3F6-4488C99BB77B}"/>
              </a:ext>
            </a:extLst>
          </p:cNvPr>
          <p:cNvSpPr/>
          <p:nvPr/>
        </p:nvSpPr>
        <p:spPr bwMode="auto">
          <a:xfrm rot="16200000">
            <a:off x="10312628" y="3765869"/>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27" name="Straight Connector 26">
            <a:extLst>
              <a:ext uri="{FF2B5EF4-FFF2-40B4-BE49-F238E27FC236}">
                <a16:creationId xmlns:a16="http://schemas.microsoft.com/office/drawing/2014/main" id="{0E56090D-DF36-436E-BAD8-6044593294A5}"/>
              </a:ext>
            </a:extLst>
          </p:cNvPr>
          <p:cNvCxnSpPr/>
          <p:nvPr/>
        </p:nvCxnSpPr>
        <p:spPr>
          <a:xfrm>
            <a:off x="5043713"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E56090D-DF36-436E-BAD8-6044593294A5}"/>
              </a:ext>
            </a:extLst>
          </p:cNvPr>
          <p:cNvCxnSpPr/>
          <p:nvPr/>
        </p:nvCxnSpPr>
        <p:spPr>
          <a:xfrm>
            <a:off x="7828570"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9"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687697" y="2358928"/>
            <a:ext cx="969627" cy="969624"/>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81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0" name="Group 29">
            <a:extLst>
              <a:ext uri="{FF2B5EF4-FFF2-40B4-BE49-F238E27FC236}">
                <a16:creationId xmlns:a16="http://schemas.microsoft.com/office/drawing/2014/main" id="{77AD9DD7-EB86-45CE-9B27-089347C7D079}"/>
              </a:ext>
            </a:extLst>
          </p:cNvPr>
          <p:cNvGrpSpPr/>
          <p:nvPr/>
        </p:nvGrpSpPr>
        <p:grpSpPr>
          <a:xfrm>
            <a:off x="4472238" y="2407852"/>
            <a:ext cx="892544" cy="871776"/>
            <a:chOff x="2088630" y="3287843"/>
            <a:chExt cx="429718" cy="419725"/>
          </a:xfrm>
          <a:noFill/>
        </p:grpSpPr>
        <p:sp>
          <p:nvSpPr>
            <p:cNvPr id="31" name="Rectangle 30">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81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2" name="Rectangle 31">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81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3"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326019" y="2350897"/>
            <a:ext cx="663915" cy="98568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81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4" name="Freeform 33"/>
          <p:cNvSpPr>
            <a:spLocks noChangeArrowheads="1"/>
          </p:cNvSpPr>
          <p:nvPr/>
        </p:nvSpPr>
        <p:spPr bwMode="auto">
          <a:xfrm>
            <a:off x="9877399" y="2352498"/>
            <a:ext cx="1046245" cy="1035260"/>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8100"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3254493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Click="0" advTm="1000">
        <p159:morph option="byObject"/>
      </p:transition>
    </mc:Choice>
    <mc:Fallback xmlns="">
      <p:transition spd="slow" advClick="0"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anim calcmode="lin" valueType="num">
                                      <p:cBhvr>
                                        <p:cTn id="8" dur="500" fill="hold"/>
                                        <p:tgtEl>
                                          <p:spTgt spid="19"/>
                                        </p:tgtEl>
                                        <p:attrNameLst>
                                          <p:attrName>ppt_x</p:attrName>
                                        </p:attrNameLst>
                                      </p:cBhvr>
                                      <p:tavLst>
                                        <p:tav tm="0">
                                          <p:val>
                                            <p:strVal val="#ppt_x"/>
                                          </p:val>
                                        </p:tav>
                                        <p:tav tm="100000">
                                          <p:val>
                                            <p:strVal val="#ppt_x"/>
                                          </p:val>
                                        </p:tav>
                                      </p:tavLst>
                                    </p:anim>
                                    <p:anim calcmode="lin" valueType="num">
                                      <p:cBhvr>
                                        <p:cTn id="9" dur="500" fill="hold"/>
                                        <p:tgtEl>
                                          <p:spTgt spid="19"/>
                                        </p:tgtEl>
                                        <p:attrNameLst>
                                          <p:attrName>ppt_y</p:attrName>
                                        </p:attrNameLst>
                                      </p:cBhvr>
                                      <p:tavLst>
                                        <p:tav tm="0">
                                          <p:val>
                                            <p:strVal val="#ppt_y-.1"/>
                                          </p:val>
                                        </p:tav>
                                        <p:tav tm="100000">
                                          <p:val>
                                            <p:strVal val="#ppt_y"/>
                                          </p:val>
                                        </p:tav>
                                      </p:tavLst>
                                    </p:anim>
                                  </p:childTnLst>
                                </p:cTn>
                              </p:par>
                              <p:par>
                                <p:cTn id="10" presetID="23" presetClass="entr" presetSubtype="272"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500" fill="hold"/>
                                        <p:tgtEl>
                                          <p:spTgt spid="22"/>
                                        </p:tgtEl>
                                        <p:attrNameLst>
                                          <p:attrName>ppt_w</p:attrName>
                                        </p:attrNameLst>
                                      </p:cBhvr>
                                      <p:tavLst>
                                        <p:tav tm="0">
                                          <p:val>
                                            <p:strVal val="2/3*#ppt_w"/>
                                          </p:val>
                                        </p:tav>
                                        <p:tav tm="100000">
                                          <p:val>
                                            <p:strVal val="#ppt_w"/>
                                          </p:val>
                                        </p:tav>
                                      </p:tavLst>
                                    </p:anim>
                                    <p:anim calcmode="lin" valueType="num">
                                      <p:cBhvr>
                                        <p:cTn id="13" dur="500" fill="hold"/>
                                        <p:tgtEl>
                                          <p:spTgt spid="22"/>
                                        </p:tgtEl>
                                        <p:attrNameLst>
                                          <p:attrName>ppt_h</p:attrName>
                                        </p:attrNameLst>
                                      </p:cBhvr>
                                      <p:tavLst>
                                        <p:tav tm="0">
                                          <p:val>
                                            <p:strVal val="2/3*#ppt_h"/>
                                          </p:val>
                                        </p:tav>
                                        <p:tav tm="100000">
                                          <p:val>
                                            <p:strVal val="#ppt_h"/>
                                          </p:val>
                                        </p:tav>
                                      </p:tavLst>
                                    </p:anim>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47" presetClass="entr" presetSubtype="0" fill="hold" grpId="0" nodeType="withEffect">
                                  <p:stCondLst>
                                    <p:cond delay="2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anim calcmode="lin" valueType="num">
                                      <p:cBhvr>
                                        <p:cTn id="20" dur="500" fill="hold"/>
                                        <p:tgtEl>
                                          <p:spTgt spid="21"/>
                                        </p:tgtEl>
                                        <p:attrNameLst>
                                          <p:attrName>ppt_x</p:attrName>
                                        </p:attrNameLst>
                                      </p:cBhvr>
                                      <p:tavLst>
                                        <p:tav tm="0">
                                          <p:val>
                                            <p:strVal val="#ppt_x"/>
                                          </p:val>
                                        </p:tav>
                                        <p:tav tm="100000">
                                          <p:val>
                                            <p:strVal val="#ppt_x"/>
                                          </p:val>
                                        </p:tav>
                                      </p:tavLst>
                                    </p:anim>
                                    <p:anim calcmode="lin" valueType="num">
                                      <p:cBhvr>
                                        <p:cTn id="21" dur="500" fill="hold"/>
                                        <p:tgtEl>
                                          <p:spTgt spid="21"/>
                                        </p:tgtEl>
                                        <p:attrNameLst>
                                          <p:attrName>ppt_y</p:attrName>
                                        </p:attrNameLst>
                                      </p:cBhvr>
                                      <p:tavLst>
                                        <p:tav tm="0">
                                          <p:val>
                                            <p:strVal val="#ppt_y-.1"/>
                                          </p:val>
                                        </p:tav>
                                        <p:tav tm="100000">
                                          <p:val>
                                            <p:strVal val="#ppt_y"/>
                                          </p:val>
                                        </p:tav>
                                      </p:tavLst>
                                    </p:anim>
                                  </p:childTnLst>
                                </p:cTn>
                              </p:par>
                              <p:par>
                                <p:cTn id="22" presetID="23" presetClass="entr" presetSubtype="272" fill="hold" grpId="0" nodeType="withEffect">
                                  <p:stCondLst>
                                    <p:cond delay="200"/>
                                  </p:stCondLst>
                                  <p:childTnLst>
                                    <p:set>
                                      <p:cBhvr>
                                        <p:cTn id="23" dur="1" fill="hold">
                                          <p:stCondLst>
                                            <p:cond delay="0"/>
                                          </p:stCondLst>
                                        </p:cTn>
                                        <p:tgtEl>
                                          <p:spTgt spid="24"/>
                                        </p:tgtEl>
                                        <p:attrNameLst>
                                          <p:attrName>style.visibility</p:attrName>
                                        </p:attrNameLst>
                                      </p:cBhvr>
                                      <p:to>
                                        <p:strVal val="visible"/>
                                      </p:to>
                                    </p:set>
                                    <p:anim calcmode="lin" valueType="num">
                                      <p:cBhvr>
                                        <p:cTn id="24" dur="500" fill="hold"/>
                                        <p:tgtEl>
                                          <p:spTgt spid="24"/>
                                        </p:tgtEl>
                                        <p:attrNameLst>
                                          <p:attrName>ppt_w</p:attrName>
                                        </p:attrNameLst>
                                      </p:cBhvr>
                                      <p:tavLst>
                                        <p:tav tm="0">
                                          <p:val>
                                            <p:strVal val="2/3*#ppt_w"/>
                                          </p:val>
                                        </p:tav>
                                        <p:tav tm="100000">
                                          <p:val>
                                            <p:strVal val="#ppt_w"/>
                                          </p:val>
                                        </p:tav>
                                      </p:tavLst>
                                    </p:anim>
                                    <p:anim calcmode="lin" valueType="num">
                                      <p:cBhvr>
                                        <p:cTn id="25" dur="500" fill="hold"/>
                                        <p:tgtEl>
                                          <p:spTgt spid="24"/>
                                        </p:tgtEl>
                                        <p:attrNameLst>
                                          <p:attrName>ppt_h</p:attrName>
                                        </p:attrNameLst>
                                      </p:cBhvr>
                                      <p:tavLst>
                                        <p:tav tm="0">
                                          <p:val>
                                            <p:strVal val="2/3*#ppt_h"/>
                                          </p:val>
                                        </p:tav>
                                        <p:tav tm="100000">
                                          <p:val>
                                            <p:strVal val="#ppt_h"/>
                                          </p:val>
                                        </p:tav>
                                      </p:tavLst>
                                    </p:anim>
                                  </p:childTnLst>
                                </p:cTn>
                              </p:par>
                              <p:par>
                                <p:cTn id="26" presetID="10" presetClass="entr" presetSubtype="0" fill="hold" nodeType="withEffect">
                                  <p:stCondLst>
                                    <p:cond delay="20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47" presetClass="entr" presetSubtype="0" fill="hold" grpId="0" nodeType="withEffect">
                                  <p:stCondLst>
                                    <p:cond delay="4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anim calcmode="lin" valueType="num">
                                      <p:cBhvr>
                                        <p:cTn id="32" dur="500" fill="hold"/>
                                        <p:tgtEl>
                                          <p:spTgt spid="20"/>
                                        </p:tgtEl>
                                        <p:attrNameLst>
                                          <p:attrName>ppt_x</p:attrName>
                                        </p:attrNameLst>
                                      </p:cBhvr>
                                      <p:tavLst>
                                        <p:tav tm="0">
                                          <p:val>
                                            <p:strVal val="#ppt_x"/>
                                          </p:val>
                                        </p:tav>
                                        <p:tav tm="100000">
                                          <p:val>
                                            <p:strVal val="#ppt_x"/>
                                          </p:val>
                                        </p:tav>
                                      </p:tavLst>
                                    </p:anim>
                                    <p:anim calcmode="lin" valueType="num">
                                      <p:cBhvr>
                                        <p:cTn id="33" dur="500" fill="hold"/>
                                        <p:tgtEl>
                                          <p:spTgt spid="20"/>
                                        </p:tgtEl>
                                        <p:attrNameLst>
                                          <p:attrName>ppt_y</p:attrName>
                                        </p:attrNameLst>
                                      </p:cBhvr>
                                      <p:tavLst>
                                        <p:tav tm="0">
                                          <p:val>
                                            <p:strVal val="#ppt_y-.1"/>
                                          </p:val>
                                        </p:tav>
                                        <p:tav tm="100000">
                                          <p:val>
                                            <p:strVal val="#ppt_y"/>
                                          </p:val>
                                        </p:tav>
                                      </p:tavLst>
                                    </p:anim>
                                  </p:childTnLst>
                                </p:cTn>
                              </p:par>
                              <p:par>
                                <p:cTn id="34" presetID="23" presetClass="entr" presetSubtype="272" fill="hold" grpId="0" nodeType="withEffect">
                                  <p:stCondLst>
                                    <p:cond delay="40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strVal val="2/3*#ppt_w"/>
                                          </p:val>
                                        </p:tav>
                                        <p:tav tm="100000">
                                          <p:val>
                                            <p:strVal val="#ppt_w"/>
                                          </p:val>
                                        </p:tav>
                                      </p:tavLst>
                                    </p:anim>
                                    <p:anim calcmode="lin" valueType="num">
                                      <p:cBhvr>
                                        <p:cTn id="37" dur="500" fill="hold"/>
                                        <p:tgtEl>
                                          <p:spTgt spid="25"/>
                                        </p:tgtEl>
                                        <p:attrNameLst>
                                          <p:attrName>ppt_h</p:attrName>
                                        </p:attrNameLst>
                                      </p:cBhvr>
                                      <p:tavLst>
                                        <p:tav tm="0">
                                          <p:val>
                                            <p:strVal val="2/3*#ppt_h"/>
                                          </p:val>
                                        </p:tav>
                                        <p:tav tm="100000">
                                          <p:val>
                                            <p:strVal val="#ppt_h"/>
                                          </p:val>
                                        </p:tav>
                                      </p:tavLst>
                                    </p:anim>
                                  </p:childTnLst>
                                </p:cTn>
                              </p:par>
                              <p:par>
                                <p:cTn id="38" presetID="10" presetClass="entr" presetSubtype="0" fill="hold" grpId="0" nodeType="withEffect">
                                  <p:stCondLst>
                                    <p:cond delay="40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47" presetClass="entr" presetSubtype="0" fill="hold" grpId="0" nodeType="withEffect">
                                  <p:stCondLst>
                                    <p:cond delay="40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anim calcmode="lin" valueType="num">
                                      <p:cBhvr>
                                        <p:cTn id="44" dur="500" fill="hold"/>
                                        <p:tgtEl>
                                          <p:spTgt spid="18"/>
                                        </p:tgtEl>
                                        <p:attrNameLst>
                                          <p:attrName>ppt_x</p:attrName>
                                        </p:attrNameLst>
                                      </p:cBhvr>
                                      <p:tavLst>
                                        <p:tav tm="0">
                                          <p:val>
                                            <p:strVal val="#ppt_x"/>
                                          </p:val>
                                        </p:tav>
                                        <p:tav tm="100000">
                                          <p:val>
                                            <p:strVal val="#ppt_x"/>
                                          </p:val>
                                        </p:tav>
                                      </p:tavLst>
                                    </p:anim>
                                    <p:anim calcmode="lin" valueType="num">
                                      <p:cBhvr>
                                        <p:cTn id="45" dur="500" fill="hold"/>
                                        <p:tgtEl>
                                          <p:spTgt spid="18"/>
                                        </p:tgtEl>
                                        <p:attrNameLst>
                                          <p:attrName>ppt_y</p:attrName>
                                        </p:attrNameLst>
                                      </p:cBhvr>
                                      <p:tavLst>
                                        <p:tav tm="0">
                                          <p:val>
                                            <p:strVal val="#ppt_y-.1"/>
                                          </p:val>
                                        </p:tav>
                                        <p:tav tm="100000">
                                          <p:val>
                                            <p:strVal val="#ppt_y"/>
                                          </p:val>
                                        </p:tav>
                                      </p:tavLst>
                                    </p:anim>
                                  </p:childTnLst>
                                </p:cTn>
                              </p:par>
                              <p:par>
                                <p:cTn id="46" presetID="23" presetClass="entr" presetSubtype="272" fill="hold" grpId="0" nodeType="withEffect">
                                  <p:stCondLst>
                                    <p:cond delay="600"/>
                                  </p:stCondLst>
                                  <p:childTnLst>
                                    <p:set>
                                      <p:cBhvr>
                                        <p:cTn id="47" dur="1" fill="hold">
                                          <p:stCondLst>
                                            <p:cond delay="0"/>
                                          </p:stCondLst>
                                        </p:cTn>
                                        <p:tgtEl>
                                          <p:spTgt spid="26"/>
                                        </p:tgtEl>
                                        <p:attrNameLst>
                                          <p:attrName>style.visibility</p:attrName>
                                        </p:attrNameLst>
                                      </p:cBhvr>
                                      <p:to>
                                        <p:strVal val="visible"/>
                                      </p:to>
                                    </p:set>
                                    <p:anim calcmode="lin" valueType="num">
                                      <p:cBhvr>
                                        <p:cTn id="48" dur="500" fill="hold"/>
                                        <p:tgtEl>
                                          <p:spTgt spid="26"/>
                                        </p:tgtEl>
                                        <p:attrNameLst>
                                          <p:attrName>ppt_w</p:attrName>
                                        </p:attrNameLst>
                                      </p:cBhvr>
                                      <p:tavLst>
                                        <p:tav tm="0">
                                          <p:val>
                                            <p:strVal val="2/3*#ppt_w"/>
                                          </p:val>
                                        </p:tav>
                                        <p:tav tm="100000">
                                          <p:val>
                                            <p:strVal val="#ppt_w"/>
                                          </p:val>
                                        </p:tav>
                                      </p:tavLst>
                                    </p:anim>
                                    <p:anim calcmode="lin" valueType="num">
                                      <p:cBhvr>
                                        <p:cTn id="49" dur="500" fill="hold"/>
                                        <p:tgtEl>
                                          <p:spTgt spid="26"/>
                                        </p:tgtEl>
                                        <p:attrNameLst>
                                          <p:attrName>ppt_h</p:attrName>
                                        </p:attrNameLst>
                                      </p:cBhvr>
                                      <p:tavLst>
                                        <p:tav tm="0">
                                          <p:val>
                                            <p:strVal val="2/3*#ppt_h"/>
                                          </p:val>
                                        </p:tav>
                                        <p:tav tm="100000">
                                          <p:val>
                                            <p:strVal val="#ppt_h"/>
                                          </p:val>
                                        </p:tav>
                                      </p:tavLst>
                                    </p:anim>
                                  </p:childTnLst>
                                </p:cTn>
                              </p:par>
                              <p:par>
                                <p:cTn id="50" presetID="10" presetClass="entr" presetSubtype="0" fill="hold" grpId="0" nodeType="withEffect">
                                  <p:stCondLst>
                                    <p:cond delay="6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6" presetClass="entr" presetSubtype="37" fill="hold" nodeType="withEffect">
                                  <p:stCondLst>
                                    <p:cond delay="600"/>
                                  </p:stCondLst>
                                  <p:childTnLst>
                                    <p:set>
                                      <p:cBhvr>
                                        <p:cTn id="54" dur="1" fill="hold">
                                          <p:stCondLst>
                                            <p:cond delay="0"/>
                                          </p:stCondLst>
                                        </p:cTn>
                                        <p:tgtEl>
                                          <p:spTgt spid="23"/>
                                        </p:tgtEl>
                                        <p:attrNameLst>
                                          <p:attrName>style.visibility</p:attrName>
                                        </p:attrNameLst>
                                      </p:cBhvr>
                                      <p:to>
                                        <p:strVal val="visible"/>
                                      </p:to>
                                    </p:set>
                                    <p:animEffect transition="in" filter="barn(outVertical)">
                                      <p:cBhvr>
                                        <p:cTn id="55" dur="500"/>
                                        <p:tgtEl>
                                          <p:spTgt spid="23"/>
                                        </p:tgtEl>
                                      </p:cBhvr>
                                    </p:animEffect>
                                  </p:childTnLst>
                                </p:cTn>
                              </p:par>
                              <p:par>
                                <p:cTn id="56" presetID="16" presetClass="entr" presetSubtype="37" fill="hold" nodeType="withEffect">
                                  <p:stCondLst>
                                    <p:cond delay="600"/>
                                  </p:stCondLst>
                                  <p:childTnLst>
                                    <p:set>
                                      <p:cBhvr>
                                        <p:cTn id="57" dur="1" fill="hold">
                                          <p:stCondLst>
                                            <p:cond delay="0"/>
                                          </p:stCondLst>
                                        </p:cTn>
                                        <p:tgtEl>
                                          <p:spTgt spid="27"/>
                                        </p:tgtEl>
                                        <p:attrNameLst>
                                          <p:attrName>style.visibility</p:attrName>
                                        </p:attrNameLst>
                                      </p:cBhvr>
                                      <p:to>
                                        <p:strVal val="visible"/>
                                      </p:to>
                                    </p:set>
                                    <p:animEffect transition="in" filter="barn(outVertical)">
                                      <p:cBhvr>
                                        <p:cTn id="58" dur="500"/>
                                        <p:tgtEl>
                                          <p:spTgt spid="27"/>
                                        </p:tgtEl>
                                      </p:cBhvr>
                                    </p:animEffect>
                                  </p:childTnLst>
                                </p:cTn>
                              </p:par>
                              <p:par>
                                <p:cTn id="59" presetID="16" presetClass="entr" presetSubtype="37" fill="hold" nodeType="withEffect">
                                  <p:stCondLst>
                                    <p:cond delay="600"/>
                                  </p:stCondLst>
                                  <p:childTnLst>
                                    <p:set>
                                      <p:cBhvr>
                                        <p:cTn id="60" dur="1" fill="hold">
                                          <p:stCondLst>
                                            <p:cond delay="0"/>
                                          </p:stCondLst>
                                        </p:cTn>
                                        <p:tgtEl>
                                          <p:spTgt spid="28"/>
                                        </p:tgtEl>
                                        <p:attrNameLst>
                                          <p:attrName>style.visibility</p:attrName>
                                        </p:attrNameLst>
                                      </p:cBhvr>
                                      <p:to>
                                        <p:strVal val="visible"/>
                                      </p:to>
                                    </p:set>
                                    <p:animEffect transition="in" filter="barn(outVertical)">
                                      <p:cBhvr>
                                        <p:cTn id="6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animBg="1"/>
      <p:bldP spid="24" grpId="0" animBg="1"/>
      <p:bldP spid="25" grpId="0" animBg="1"/>
      <p:bldP spid="26" grpId="0" animBg="1"/>
      <p:bldP spid="29" grpId="0" animBg="1"/>
      <p:bldP spid="33" grpId="0" animBg="1"/>
      <p:bldP spid="3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NICs and PIP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952328" cy="1862048"/>
          </a:xfrm>
          <a:prstGeom prst="rect">
            <a:avLst/>
          </a:prstGeom>
        </p:spPr>
        <p:txBody>
          <a:bodyPr wrap="square">
            <a:spAutoFit/>
          </a:bodyPr>
          <a:lstStyle/>
          <a:p>
            <a:pPr marL="342900" indent="-342900">
              <a:spcAft>
                <a:spcPts val="600"/>
              </a:spcAft>
              <a:buFont typeface="Arial" panose="020B0604020202020204" pitchFamily="34" charset="0"/>
              <a:buChar char="•"/>
            </a:pPr>
            <a:r>
              <a:rPr lang="en-GB" sz="2000"/>
              <a:t>One NIC by default</a:t>
            </a:r>
          </a:p>
          <a:p>
            <a:pPr marL="342900" indent="-342900">
              <a:spcAft>
                <a:spcPts val="600"/>
              </a:spcAft>
              <a:buFont typeface="Arial" panose="020B0604020202020204" pitchFamily="34" charset="0"/>
              <a:buChar char="•"/>
            </a:pPr>
            <a:r>
              <a:rPr lang="en-GB" sz="2000"/>
              <a:t>IP allocated, may be reserved</a:t>
            </a:r>
          </a:p>
          <a:p>
            <a:pPr marL="342900" indent="-342900">
              <a:spcAft>
                <a:spcPts val="600"/>
              </a:spcAft>
              <a:buFont typeface="Arial" panose="020B0604020202020204" pitchFamily="34" charset="0"/>
              <a:buChar char="•"/>
            </a:pPr>
            <a:r>
              <a:rPr lang="en-GB" sz="2000"/>
              <a:t>Multiple NICs</a:t>
            </a:r>
          </a:p>
          <a:p>
            <a:pPr marL="342900" indent="-342900">
              <a:spcAft>
                <a:spcPts val="600"/>
              </a:spcAft>
              <a:buFont typeface="Arial" panose="020B0604020202020204" pitchFamily="34" charset="0"/>
              <a:buChar char="•"/>
            </a:pPr>
            <a:r>
              <a:rPr lang="en-GB" sz="2000"/>
              <a:t>Multiple IPs</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
        <p:nvSpPr>
          <p:cNvPr id="16" name="Rectangle: Rounded Corners 15">
            <a:extLst>
              <a:ext uri="{FF2B5EF4-FFF2-40B4-BE49-F238E27FC236}">
                <a16:creationId xmlns:a16="http://schemas.microsoft.com/office/drawing/2014/main" id="{FA5F451D-D9F6-458F-9CAA-B838D493CB32}"/>
              </a:ext>
            </a:extLst>
          </p:cNvPr>
          <p:cNvSpPr/>
          <p:nvPr/>
        </p:nvSpPr>
        <p:spPr bwMode="auto">
          <a:xfrm>
            <a:off x="1762200" y="1845270"/>
            <a:ext cx="1976028" cy="4168080"/>
          </a:xfrm>
          <a:prstGeom prst="roundRect">
            <a:avLst/>
          </a:prstGeom>
          <a:noFill/>
          <a:ln w="38100" cap="flat" cmpd="sng" algn="ctr">
            <a:solidFill>
              <a:srgbClr val="92D050"/>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240855E0-E68E-4CF8-8AB4-801ECBE9AA8F}"/>
              </a:ext>
            </a:extLst>
          </p:cNvPr>
          <p:cNvSpPr txBox="1"/>
          <p:nvPr/>
        </p:nvSpPr>
        <p:spPr>
          <a:xfrm>
            <a:off x="2329727" y="1818737"/>
            <a:ext cx="1518010" cy="461665"/>
          </a:xfrm>
          <a:prstGeom prst="rect">
            <a:avLst/>
          </a:prstGeom>
          <a:noFill/>
        </p:spPr>
        <p:txBody>
          <a:bodyPr wrap="square" lIns="182880" tIns="146304" rIns="182880" bIns="146304" rtlCol="0">
            <a:spAutoFit/>
          </a:bodyPr>
          <a:lstStyle/>
          <a:p>
            <a:pPr>
              <a:lnSpc>
                <a:spcPct val="90000"/>
              </a:lnSpc>
              <a:spcAft>
                <a:spcPts val="600"/>
              </a:spcAft>
            </a:pPr>
            <a:r>
              <a:rPr lang="en-GB" sz="1200" err="1">
                <a:solidFill>
                  <a:srgbClr val="92D050"/>
                </a:solidFill>
              </a:rPr>
              <a:t>GatewaySubnet</a:t>
            </a:r>
            <a:endParaRPr lang="en-GB" sz="1600">
              <a:solidFill>
                <a:srgbClr val="92D050"/>
              </a:solidFill>
            </a:endParaRPr>
          </a:p>
        </p:txBody>
      </p:sp>
      <p:sp>
        <p:nvSpPr>
          <p:cNvPr id="21" name="TextBox 20">
            <a:extLst>
              <a:ext uri="{FF2B5EF4-FFF2-40B4-BE49-F238E27FC236}">
                <a16:creationId xmlns:a16="http://schemas.microsoft.com/office/drawing/2014/main" id="{3421AAA2-7D8F-4739-AC26-A604FF055857}"/>
              </a:ext>
            </a:extLst>
          </p:cNvPr>
          <p:cNvSpPr txBox="1"/>
          <p:nvPr/>
        </p:nvSpPr>
        <p:spPr>
          <a:xfrm>
            <a:off x="2593976" y="5616611"/>
            <a:ext cx="1368154" cy="461665"/>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92D050"/>
                </a:solidFill>
              </a:rPr>
              <a:t>10.4.0.0/27</a:t>
            </a:r>
            <a:endParaRPr lang="en-GB" sz="1600">
              <a:solidFill>
                <a:srgbClr val="92D050"/>
              </a:solidFill>
            </a:endParaRPr>
          </a:p>
        </p:txBody>
      </p:sp>
      <p:sp>
        <p:nvSpPr>
          <p:cNvPr id="24" name="TextBox 23">
            <a:extLst>
              <a:ext uri="{FF2B5EF4-FFF2-40B4-BE49-F238E27FC236}">
                <a16:creationId xmlns:a16="http://schemas.microsoft.com/office/drawing/2014/main" id="{CB7662D0-4EF0-4EFB-9358-0C25D47B72DF}"/>
              </a:ext>
            </a:extLst>
          </p:cNvPr>
          <p:cNvSpPr txBox="1"/>
          <p:nvPr/>
        </p:nvSpPr>
        <p:spPr>
          <a:xfrm>
            <a:off x="2005808" y="3217135"/>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rgbClr val="72BFDF"/>
                </a:solidFill>
              </a:rPr>
              <a:t>VPN Gateway</a:t>
            </a:r>
            <a:endParaRPr lang="en-GB" sz="1600">
              <a:solidFill>
                <a:srgbClr val="72BFDF"/>
              </a:solidFill>
            </a:endParaRPr>
          </a:p>
        </p:txBody>
      </p:sp>
      <p:sp>
        <p:nvSpPr>
          <p:cNvPr id="25" name="TextBox 24">
            <a:extLst>
              <a:ext uri="{FF2B5EF4-FFF2-40B4-BE49-F238E27FC236}">
                <a16:creationId xmlns:a16="http://schemas.microsoft.com/office/drawing/2014/main" id="{869CA9B1-A9FA-4D1D-BDE6-B443C66DF005}"/>
              </a:ext>
            </a:extLst>
          </p:cNvPr>
          <p:cNvSpPr txBox="1"/>
          <p:nvPr/>
        </p:nvSpPr>
        <p:spPr>
          <a:xfrm>
            <a:off x="2041773" y="4763789"/>
            <a:ext cx="1518010" cy="704808"/>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p>
          <a:p>
            <a:pPr algn="ctr">
              <a:lnSpc>
                <a:spcPct val="90000"/>
              </a:lnSpc>
              <a:spcAft>
                <a:spcPts val="600"/>
              </a:spcAft>
            </a:pPr>
            <a:r>
              <a:rPr lang="en-GB" sz="1200">
                <a:solidFill>
                  <a:schemeClr val="accent5">
                    <a:lumMod val="40000"/>
                    <a:lumOff val="60000"/>
                  </a:schemeClr>
                </a:solidFill>
              </a:rPr>
              <a:t>Gateway</a:t>
            </a:r>
            <a:endParaRPr lang="en-GB" sz="1600">
              <a:solidFill>
                <a:schemeClr val="accent5">
                  <a:lumMod val="40000"/>
                  <a:lumOff val="60000"/>
                </a:schemeClr>
              </a:solidFill>
            </a:endParaRPr>
          </a:p>
        </p:txBody>
      </p:sp>
      <p:cxnSp>
        <p:nvCxnSpPr>
          <p:cNvPr id="27" name="Straight Connector 26">
            <a:extLst>
              <a:ext uri="{FF2B5EF4-FFF2-40B4-BE49-F238E27FC236}">
                <a16:creationId xmlns:a16="http://schemas.microsoft.com/office/drawing/2014/main" id="{546BBBEA-91A1-44A2-95C5-78CF5982C0F8}"/>
              </a:ext>
            </a:extLst>
          </p:cNvPr>
          <p:cNvCxnSpPr>
            <a:cxnSpLocks/>
          </p:cNvCxnSpPr>
          <p:nvPr/>
        </p:nvCxnSpPr>
        <p:spPr>
          <a:xfrm>
            <a:off x="-49141" y="3037321"/>
            <a:ext cx="2522962" cy="1"/>
          </a:xfrm>
          <a:prstGeom prst="line">
            <a:avLst/>
          </a:prstGeom>
          <a:ln w="38100">
            <a:solidFill>
              <a:srgbClr val="72BFD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871F455-1939-4E6C-8937-52A62BBDB9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4495" y="2495550"/>
            <a:ext cx="770806" cy="770806"/>
          </a:xfrm>
          <a:prstGeom prst="rect">
            <a:avLst/>
          </a:prstGeom>
        </p:spPr>
      </p:pic>
      <p:sp>
        <p:nvSpPr>
          <p:cNvPr id="29" name="TextBox 28">
            <a:extLst>
              <a:ext uri="{FF2B5EF4-FFF2-40B4-BE49-F238E27FC236}">
                <a16:creationId xmlns:a16="http://schemas.microsoft.com/office/drawing/2014/main" id="{CA7B1ECB-FD7B-497F-998A-E64BB93F5F54}"/>
              </a:ext>
            </a:extLst>
          </p:cNvPr>
          <p:cNvSpPr txBox="1"/>
          <p:nvPr/>
        </p:nvSpPr>
        <p:spPr>
          <a:xfrm>
            <a:off x="-124031" y="2979364"/>
            <a:ext cx="1518010" cy="461665"/>
          </a:xfrm>
          <a:prstGeom prst="rect">
            <a:avLst/>
          </a:prstGeom>
          <a:noFill/>
          <a:ln>
            <a:noFill/>
          </a:ln>
        </p:spPr>
        <p:txBody>
          <a:bodyPr wrap="square" lIns="182880" tIns="146304" rIns="182880" bIns="146304" rtlCol="0">
            <a:spAutoFit/>
          </a:bodyPr>
          <a:lstStyle/>
          <a:p>
            <a:pPr algn="ctr">
              <a:lnSpc>
                <a:spcPct val="90000"/>
              </a:lnSpc>
              <a:spcAft>
                <a:spcPts val="600"/>
              </a:spcAft>
            </a:pPr>
            <a:r>
              <a:rPr lang="en-GB" sz="1200">
                <a:solidFill>
                  <a:srgbClr val="72BFDF"/>
                </a:solidFill>
              </a:rPr>
              <a:t>S2S VPN</a:t>
            </a:r>
            <a:endParaRPr lang="en-GB" sz="1600">
              <a:solidFill>
                <a:srgbClr val="72BFDF"/>
              </a:solidFill>
            </a:endParaRPr>
          </a:p>
        </p:txBody>
      </p:sp>
      <p:cxnSp>
        <p:nvCxnSpPr>
          <p:cNvPr id="30" name="Straight Connector 29">
            <a:extLst>
              <a:ext uri="{FF2B5EF4-FFF2-40B4-BE49-F238E27FC236}">
                <a16:creationId xmlns:a16="http://schemas.microsoft.com/office/drawing/2014/main" id="{ABB56A34-85E5-4453-A3FC-C44EA77DCF2C}"/>
              </a:ext>
            </a:extLst>
          </p:cNvPr>
          <p:cNvCxnSpPr>
            <a:cxnSpLocks/>
          </p:cNvCxnSpPr>
          <p:nvPr/>
        </p:nvCxnSpPr>
        <p:spPr>
          <a:xfrm>
            <a:off x="-190475" y="4491323"/>
            <a:ext cx="2731277" cy="0"/>
          </a:xfrm>
          <a:prstGeom prst="line">
            <a:avLst/>
          </a:prstGeom>
          <a:ln w="38100">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44EE71-5FC1-48C4-A67A-513F6E1E1ACC}"/>
              </a:ext>
            </a:extLst>
          </p:cNvPr>
          <p:cNvSpPr txBox="1"/>
          <p:nvPr/>
        </p:nvSpPr>
        <p:spPr>
          <a:xfrm>
            <a:off x="-118467" y="4433366"/>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endParaRPr lang="en-GB" sz="1600">
              <a:solidFill>
                <a:schemeClr val="accent5">
                  <a:lumMod val="40000"/>
                  <a:lumOff val="60000"/>
                </a:schemeClr>
              </a:solidFill>
            </a:endParaRPr>
          </a:p>
        </p:txBody>
      </p:sp>
      <p:pic>
        <p:nvPicPr>
          <p:cNvPr id="23" name="Graphic 22">
            <a:extLst>
              <a:ext uri="{FF2B5EF4-FFF2-40B4-BE49-F238E27FC236}">
                <a16:creationId xmlns:a16="http://schemas.microsoft.com/office/drawing/2014/main" id="{FBC2DA30-FECB-428A-AF4D-9C254357E0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21723" y="3975893"/>
            <a:ext cx="950491" cy="950491"/>
          </a:xfrm>
          <a:prstGeom prst="rect">
            <a:avLst/>
          </a:prstGeom>
        </p:spPr>
      </p:pic>
      <p:sp>
        <p:nvSpPr>
          <p:cNvPr id="35" name="Rectangle 34">
            <a:extLst>
              <a:ext uri="{FF2B5EF4-FFF2-40B4-BE49-F238E27FC236}">
                <a16:creationId xmlns:a16="http://schemas.microsoft.com/office/drawing/2014/main" id="{038D6D98-A189-4ACF-ACCC-642D9BEC5396}"/>
              </a:ext>
            </a:extLst>
          </p:cNvPr>
          <p:cNvSpPr/>
          <p:nvPr/>
        </p:nvSpPr>
        <p:spPr>
          <a:xfrm>
            <a:off x="9032345" y="4419232"/>
            <a:ext cx="3131857" cy="784830"/>
          </a:xfrm>
          <a:prstGeom prst="rect">
            <a:avLst/>
          </a:prstGeom>
        </p:spPr>
        <p:txBody>
          <a:bodyPr wrap="square">
            <a:spAutoFit/>
          </a:bodyPr>
          <a:lstStyle/>
          <a:p>
            <a:pPr marL="342900" indent="-342900">
              <a:spcAft>
                <a:spcPts val="600"/>
              </a:spcAft>
              <a:buFont typeface="Arial" panose="020B0604020202020204" pitchFamily="34" charset="0"/>
              <a:buChar char="•"/>
            </a:pPr>
            <a:r>
              <a:rPr lang="en-GB" sz="2000"/>
              <a:t>Public IP (PIP)</a:t>
            </a:r>
          </a:p>
          <a:p>
            <a:pPr marL="342900" indent="-342900">
              <a:spcAft>
                <a:spcPts val="600"/>
              </a:spcAft>
              <a:buFont typeface="Arial" panose="020B0604020202020204" pitchFamily="34" charset="0"/>
              <a:buChar char="•"/>
            </a:pPr>
            <a:r>
              <a:rPr lang="en-GB" sz="2000"/>
              <a:t>Azure DNS name</a:t>
            </a:r>
          </a:p>
        </p:txBody>
      </p:sp>
      <p:cxnSp>
        <p:nvCxnSpPr>
          <p:cNvPr id="39" name="Straight Connector 38">
            <a:extLst>
              <a:ext uri="{FF2B5EF4-FFF2-40B4-BE49-F238E27FC236}">
                <a16:creationId xmlns:a16="http://schemas.microsoft.com/office/drawing/2014/main" id="{CFFE8A37-55EC-4818-8DD2-39696232371D}"/>
              </a:ext>
            </a:extLst>
          </p:cNvPr>
          <p:cNvCxnSpPr>
            <a:cxnSpLocks/>
          </p:cNvCxnSpPr>
          <p:nvPr/>
        </p:nvCxnSpPr>
        <p:spPr>
          <a:xfrm>
            <a:off x="4701013" y="5257693"/>
            <a:ext cx="0" cy="13386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8F282CEE-815E-467C-B19D-17B1E79D9060}"/>
              </a:ext>
            </a:extLst>
          </p:cNvPr>
          <p:cNvGrpSpPr/>
          <p:nvPr/>
        </p:nvGrpSpPr>
        <p:grpSpPr>
          <a:xfrm>
            <a:off x="4384239" y="4565124"/>
            <a:ext cx="656270" cy="818414"/>
            <a:chOff x="4384239" y="4565124"/>
            <a:chExt cx="656270" cy="818414"/>
          </a:xfrm>
        </p:grpSpPr>
        <p:pic>
          <p:nvPicPr>
            <p:cNvPr id="34" name="Graphic 33">
              <a:extLst>
                <a:ext uri="{FF2B5EF4-FFF2-40B4-BE49-F238E27FC236}">
                  <a16:creationId xmlns:a16="http://schemas.microsoft.com/office/drawing/2014/main" id="{07E4B251-6EC1-4C81-9497-EACBABC61C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40541" y="4565124"/>
              <a:ext cx="351782" cy="213285"/>
            </a:xfrm>
            <a:prstGeom prst="rect">
              <a:avLst/>
            </a:prstGeom>
          </p:spPr>
        </p:pic>
        <p:pic>
          <p:nvPicPr>
            <p:cNvPr id="19" name="Graphic 18">
              <a:extLst>
                <a:ext uri="{FF2B5EF4-FFF2-40B4-BE49-F238E27FC236}">
                  <a16:creationId xmlns:a16="http://schemas.microsoft.com/office/drawing/2014/main" id="{FF23E206-3463-4B08-B84C-B784D89368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84239" y="4727268"/>
              <a:ext cx="656270" cy="656270"/>
            </a:xfrm>
            <a:prstGeom prst="rect">
              <a:avLst/>
            </a:prstGeom>
          </p:spPr>
        </p:pic>
      </p:grpSp>
      <p:sp>
        <p:nvSpPr>
          <p:cNvPr id="33" name="TextBox 32">
            <a:extLst>
              <a:ext uri="{FF2B5EF4-FFF2-40B4-BE49-F238E27FC236}">
                <a16:creationId xmlns:a16="http://schemas.microsoft.com/office/drawing/2014/main" id="{CA3D268A-24C8-4D9D-806A-ABD002ED0F2F}"/>
              </a:ext>
            </a:extLst>
          </p:cNvPr>
          <p:cNvSpPr txBox="1"/>
          <p:nvPr/>
        </p:nvSpPr>
        <p:spPr>
          <a:xfrm>
            <a:off x="4010354" y="4243951"/>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dirty="0">
                <a:solidFill>
                  <a:srgbClr val="72BFDF"/>
                </a:solidFill>
              </a:rPr>
              <a:t>NIC</a:t>
            </a:r>
            <a:endParaRPr lang="en-GB" sz="1600" dirty="0">
              <a:solidFill>
                <a:srgbClr val="72BFDF"/>
              </a:solidFill>
            </a:endParaRPr>
          </a:p>
        </p:txBody>
      </p:sp>
      <p:sp>
        <p:nvSpPr>
          <p:cNvPr id="37" name="TextBox 36">
            <a:extLst>
              <a:ext uri="{FF2B5EF4-FFF2-40B4-BE49-F238E27FC236}">
                <a16:creationId xmlns:a16="http://schemas.microsoft.com/office/drawing/2014/main" id="{0C0DE790-4468-4692-ADAB-452E7B823906}"/>
              </a:ext>
            </a:extLst>
          </p:cNvPr>
          <p:cNvSpPr txBox="1"/>
          <p:nvPr/>
        </p:nvSpPr>
        <p:spPr>
          <a:xfrm>
            <a:off x="3942008" y="6482248"/>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dirty="0">
                <a:solidFill>
                  <a:srgbClr val="72BFDF"/>
                </a:solidFill>
              </a:rPr>
              <a:t>PIP</a:t>
            </a:r>
            <a:endParaRPr lang="en-GB" sz="1600" dirty="0">
              <a:solidFill>
                <a:srgbClr val="72BFDF"/>
              </a:solidFill>
            </a:endParaRPr>
          </a:p>
        </p:txBody>
      </p:sp>
    </p:spTree>
    <p:extLst>
      <p:ext uri="{BB962C8B-B14F-4D97-AF65-F5344CB8AC3E}">
        <p14:creationId xmlns:p14="http://schemas.microsoft.com/office/powerpoint/2010/main" val="3596363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500"/>
                                        <p:tgtEl>
                                          <p:spTgt spid="4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wipe(up)">
                                      <p:cBhvr>
                                        <p:cTn id="20" dur="500"/>
                                        <p:tgtEl>
                                          <p:spTgt spid="39"/>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fade">
                                      <p:cBhvr>
                                        <p:cTn id="24" dur="500"/>
                                        <p:tgtEl>
                                          <p:spTgt spid="35"/>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5" grpId="0"/>
      <p:bldP spid="33" grpId="0"/>
      <p:bldP spid="37"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1: Portal and vNet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799734" y="2127371"/>
            <a:ext cx="6863952" cy="3804118"/>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ka.ms/citadel/azure101</a:t>
            </a:r>
          </a:p>
          <a:p>
            <a:pPr defTabSz="932503">
              <a:lnSpc>
                <a:spcPct val="100000"/>
              </a:lnSpc>
              <a:spcBef>
                <a:spcPts val="0"/>
              </a:spcBef>
              <a:spcAft>
                <a:spcPts val="1200"/>
              </a:spcAft>
              <a:buClr>
                <a:srgbClr val="FFFFFF"/>
              </a:buClr>
              <a:defRPr/>
            </a:pPr>
            <a:endPar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defTabSz="932503">
              <a:lnSpc>
                <a:spcPct val="100000"/>
              </a:lnSpc>
              <a:spcBef>
                <a:spcPts val="0"/>
              </a:spcBef>
              <a:spcAft>
                <a:spcPts val="1200"/>
              </a:spcAft>
              <a:buClr>
                <a:srgbClr val="FFFFFF"/>
              </a:buClr>
              <a:defRPr/>
            </a:pPr>
            <a:r>
              <a:rPr lang="en-US" sz="2400" dirty="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miliarisation</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with the Portal</a:t>
            </a:r>
          </a:p>
          <a:p>
            <a:pPr defTabSz="932503">
              <a:lnSpc>
                <a:spcPct val="100000"/>
              </a:lnSpc>
              <a:spcBef>
                <a:spcPts val="0"/>
              </a:spcBef>
              <a:spcAft>
                <a:spcPts val="1200"/>
              </a:spcAft>
              <a:buClr>
                <a:srgbClr val="FFFFFF"/>
              </a:buClr>
              <a:defRPr/>
            </a:pPr>
            <a:r>
              <a:rPr lang="en-US" sz="2400" dirty="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ustomising</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the Dashboard</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nstantiating Services via the Portal</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ocumentation and Pricing Resources</a:t>
            </a:r>
          </a:p>
          <a:p>
            <a:pPr defTabSz="932503">
              <a:lnSpc>
                <a:spcPct val="100000"/>
              </a:lnSpc>
              <a:spcBef>
                <a:spcPts val="0"/>
              </a:spcBef>
              <a:spcAft>
                <a:spcPts val="1200"/>
              </a:spcAft>
              <a:buClr>
                <a:srgbClr val="FFFFFF"/>
              </a:buClr>
              <a:defRPr/>
            </a:pPr>
            <a:endPar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1638146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50191E-6 -2.68271E-6 L -0.05284 -2.68271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Rectangle 174">
            <a:extLst>
              <a:ext uri="{FF2B5EF4-FFF2-40B4-BE49-F238E27FC236}">
                <a16:creationId xmlns:a16="http://schemas.microsoft.com/office/drawing/2014/main" id="{D2209D85-2BF7-41E7-A82F-DD48FDC275DE}"/>
              </a:ext>
            </a:extLst>
          </p:cNvPr>
          <p:cNvSpPr/>
          <p:nvPr/>
        </p:nvSpPr>
        <p:spPr bwMode="auto">
          <a:xfrm>
            <a:off x="10610597" y="2967818"/>
            <a:ext cx="1220307" cy="2925795"/>
          </a:xfrm>
          <a:prstGeom prst="rect">
            <a:avLst/>
          </a:prstGeom>
          <a:noFill/>
          <a:ln w="28575">
            <a:solidFill>
              <a:schemeClr val="bg1">
                <a:lumMod val="65000"/>
              </a:schemeClr>
            </a:solidFill>
            <a:prstDash val="solid"/>
          </a:ln>
        </p:spPr>
        <p:txBody>
          <a:bodyPr lIns="182854" tIns="146283" rIns="182854" bIns="146283" anchor="t" anchorCtr="0"/>
          <a:lstStyle/>
          <a:p>
            <a:pPr algn="ctr" defTabSz="950600">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sp>
        <p:nvSpPr>
          <p:cNvPr id="11" name="Text Placeholder 10"/>
          <p:cNvSpPr>
            <a:spLocks noGrp="1"/>
          </p:cNvSpPr>
          <p:nvPr>
            <p:ph type="body" sz="quarter" idx="12"/>
          </p:nvPr>
        </p:nvSpPr>
        <p:spPr/>
        <p:txBody>
          <a:bodyPr/>
          <a:lstStyle/>
          <a:p>
            <a:r>
              <a:rPr lang="en-US"/>
              <a:t>GA</a:t>
            </a:r>
          </a:p>
          <a:p>
            <a:r>
              <a:rPr lang="en-US"/>
              <a:t>Released</a:t>
            </a:r>
          </a:p>
          <a:p>
            <a:r>
              <a:rPr lang="en-US"/>
              <a:t>Feb ‘18</a:t>
            </a:r>
            <a:endParaRPr lang="en-US" dirty="0"/>
          </a:p>
        </p:txBody>
      </p:sp>
      <p:sp>
        <p:nvSpPr>
          <p:cNvPr id="7" name="Title 6"/>
          <p:cNvSpPr>
            <a:spLocks noGrp="1"/>
          </p:cNvSpPr>
          <p:nvPr>
            <p:ph type="title"/>
          </p:nvPr>
        </p:nvSpPr>
        <p:spPr/>
        <p:txBody>
          <a:bodyPr/>
          <a:lstStyle/>
          <a:p>
            <a:r>
              <a:rPr lang="en-US" dirty="0"/>
              <a:t>vNet Service Endpoints for Storage</a:t>
            </a:r>
          </a:p>
        </p:txBody>
      </p:sp>
      <p:sp>
        <p:nvSpPr>
          <p:cNvPr id="9" name="Text Placeholder 8"/>
          <p:cNvSpPr>
            <a:spLocks noGrp="1"/>
          </p:cNvSpPr>
          <p:nvPr>
            <p:ph type="body" sz="quarter" idx="11"/>
          </p:nvPr>
        </p:nvSpPr>
        <p:spPr>
          <a:xfrm>
            <a:off x="783511" y="5895561"/>
            <a:ext cx="3396404" cy="975652"/>
          </a:xfrm>
        </p:spPr>
        <p:txBody>
          <a:bodyPr/>
          <a:lstStyle/>
          <a:p>
            <a:r>
              <a:rPr lang="en-US" dirty="0">
                <a:hlinkClick r:id="rId3"/>
              </a:rPr>
              <a:t>https://azure.microsoft.com/en-us/blog/virtual-network-service-endpoints-and-firewalls-for-azure-storage-now-generally-available/</a:t>
            </a:r>
            <a:endParaRPr lang="en-US" dirty="0"/>
          </a:p>
        </p:txBody>
      </p:sp>
      <p:grpSp>
        <p:nvGrpSpPr>
          <p:cNvPr id="22" name="Group 21">
            <a:extLst>
              <a:ext uri="{FF2B5EF4-FFF2-40B4-BE49-F238E27FC236}">
                <a16:creationId xmlns:a16="http://schemas.microsoft.com/office/drawing/2014/main" id="{D836C98B-AD38-4C50-9CDC-5128B3B68F40}"/>
              </a:ext>
            </a:extLst>
          </p:cNvPr>
          <p:cNvGrpSpPr/>
          <p:nvPr/>
        </p:nvGrpSpPr>
        <p:grpSpPr>
          <a:xfrm>
            <a:off x="10384985" y="6424118"/>
            <a:ext cx="1840660" cy="343531"/>
            <a:chOff x="10181418" y="6298727"/>
            <a:chExt cx="1804732" cy="336826"/>
          </a:xfrm>
        </p:grpSpPr>
        <p:sp>
          <p:nvSpPr>
            <p:cNvPr id="23" name="Freeform 5">
              <a:hlinkClick r:id="" action="ppaction://hlinkshowjump?jump=previousslide"/>
              <a:extLst>
                <a:ext uri="{FF2B5EF4-FFF2-40B4-BE49-F238E27FC236}">
                  <a16:creationId xmlns:a16="http://schemas.microsoft.com/office/drawing/2014/main" id="{DE09BF6A-44BE-489A-A883-4391AE10E2AB}"/>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FFFFFF"/>
                </a:solidFill>
                <a:latin typeface="Segoe UI Semilight"/>
              </a:endParaRPr>
            </a:p>
          </p:txBody>
        </p:sp>
        <p:sp>
          <p:nvSpPr>
            <p:cNvPr id="24" name="Freeform 5">
              <a:hlinkClick r:id="" action="ppaction://hlinkshowjump?jump=nextslide"/>
              <a:extLst>
                <a:ext uri="{FF2B5EF4-FFF2-40B4-BE49-F238E27FC236}">
                  <a16:creationId xmlns:a16="http://schemas.microsoft.com/office/drawing/2014/main" id="{7796B5A3-F943-4936-AD87-8AFA5A5B2231}"/>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FFFFFF"/>
                </a:solidFill>
                <a:latin typeface="Segoe UI Semilight"/>
              </a:endParaRPr>
            </a:p>
          </p:txBody>
        </p:sp>
        <p:grpSp>
          <p:nvGrpSpPr>
            <p:cNvPr id="25" name="Group 24">
              <a:extLst>
                <a:ext uri="{FF2B5EF4-FFF2-40B4-BE49-F238E27FC236}">
                  <a16:creationId xmlns:a16="http://schemas.microsoft.com/office/drawing/2014/main" id="{6D7DE55E-4504-48B4-B1F3-E169A0851D90}"/>
                </a:ext>
              </a:extLst>
            </p:cNvPr>
            <p:cNvGrpSpPr/>
            <p:nvPr/>
          </p:nvGrpSpPr>
          <p:grpSpPr>
            <a:xfrm>
              <a:off x="11160022" y="6298727"/>
              <a:ext cx="336826" cy="336826"/>
              <a:chOff x="9003250" y="423863"/>
              <a:chExt cx="336826" cy="336826"/>
            </a:xfrm>
          </p:grpSpPr>
          <p:grpSp>
            <p:nvGrpSpPr>
              <p:cNvPr id="42" name="Group 14">
                <a:extLst>
                  <a:ext uri="{FF2B5EF4-FFF2-40B4-BE49-F238E27FC236}">
                    <a16:creationId xmlns:a16="http://schemas.microsoft.com/office/drawing/2014/main" id="{B38DAF29-630B-4EC4-801A-CF5AAC67EDAF}"/>
                  </a:ext>
                </a:extLst>
              </p:cNvPr>
              <p:cNvGrpSpPr>
                <a:grpSpLocks noChangeAspect="1"/>
              </p:cNvGrpSpPr>
              <p:nvPr userDrawn="1"/>
            </p:nvGrpSpPr>
            <p:grpSpPr bwMode="auto">
              <a:xfrm>
                <a:off x="9057081" y="495300"/>
                <a:ext cx="229164" cy="179665"/>
                <a:chOff x="1201" y="104"/>
                <a:chExt cx="5278" cy="4138"/>
              </a:xfrm>
            </p:grpSpPr>
            <p:sp>
              <p:nvSpPr>
                <p:cNvPr id="44" name="Freeform 15">
                  <a:extLst>
                    <a:ext uri="{FF2B5EF4-FFF2-40B4-BE49-F238E27FC236}">
                      <a16:creationId xmlns:a16="http://schemas.microsoft.com/office/drawing/2014/main" id="{B335E490-411A-4CA1-AC41-8CC549B96D5C}"/>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Semilight"/>
                  </a:endParaRPr>
                </a:p>
              </p:txBody>
            </p:sp>
            <p:sp>
              <p:nvSpPr>
                <p:cNvPr id="45" name="Freeform 16">
                  <a:extLst>
                    <a:ext uri="{FF2B5EF4-FFF2-40B4-BE49-F238E27FC236}">
                      <a16:creationId xmlns:a16="http://schemas.microsoft.com/office/drawing/2014/main" id="{BF88EDB6-A0A8-40AA-A473-D3A584A6CD37}"/>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Semilight"/>
                  </a:endParaRPr>
                </a:p>
              </p:txBody>
            </p:sp>
          </p:grpSp>
          <p:sp>
            <p:nvSpPr>
              <p:cNvPr id="43" name="Oval 42">
                <a:hlinkClick r:id="" action="ppaction://noaction"/>
                <a:extLst>
                  <a:ext uri="{FF2B5EF4-FFF2-40B4-BE49-F238E27FC236}">
                    <a16:creationId xmlns:a16="http://schemas.microsoft.com/office/drawing/2014/main" id="{8C970339-31D6-4BDF-8C7E-E1430C4C663D}"/>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dirty="0" err="1">
                  <a:solidFill>
                    <a:srgbClr val="FFFFFF"/>
                  </a:solidFill>
                  <a:latin typeface="Segoe UI Semilight"/>
                </a:endParaRPr>
              </a:p>
            </p:txBody>
          </p:sp>
        </p:grpSp>
        <p:grpSp>
          <p:nvGrpSpPr>
            <p:cNvPr id="26" name="Group 25">
              <a:extLst>
                <a:ext uri="{FF2B5EF4-FFF2-40B4-BE49-F238E27FC236}">
                  <a16:creationId xmlns:a16="http://schemas.microsoft.com/office/drawing/2014/main" id="{25DF14BA-AA3D-4542-92B5-223645ED0043}"/>
                </a:ext>
              </a:extLst>
            </p:cNvPr>
            <p:cNvGrpSpPr/>
            <p:nvPr/>
          </p:nvGrpSpPr>
          <p:grpSpPr>
            <a:xfrm>
              <a:off x="10181418" y="6298727"/>
              <a:ext cx="336826" cy="336826"/>
              <a:chOff x="10151852" y="440684"/>
              <a:chExt cx="336826" cy="336826"/>
            </a:xfrm>
          </p:grpSpPr>
          <p:grpSp>
            <p:nvGrpSpPr>
              <p:cNvPr id="27" name="Group 26">
                <a:extLst>
                  <a:ext uri="{FF2B5EF4-FFF2-40B4-BE49-F238E27FC236}">
                    <a16:creationId xmlns:a16="http://schemas.microsoft.com/office/drawing/2014/main" id="{EA372295-7AFE-4C03-9DA4-D53FCB0188B2}"/>
                  </a:ext>
                </a:extLst>
              </p:cNvPr>
              <p:cNvGrpSpPr/>
              <p:nvPr/>
            </p:nvGrpSpPr>
            <p:grpSpPr>
              <a:xfrm>
                <a:off x="10151853" y="609097"/>
                <a:ext cx="336825" cy="0"/>
                <a:chOff x="10151852" y="593763"/>
                <a:chExt cx="336825" cy="0"/>
              </a:xfrm>
            </p:grpSpPr>
            <p:cxnSp>
              <p:nvCxnSpPr>
                <p:cNvPr id="40" name="Straight Connector 39">
                  <a:extLst>
                    <a:ext uri="{FF2B5EF4-FFF2-40B4-BE49-F238E27FC236}">
                      <a16:creationId xmlns:a16="http://schemas.microsoft.com/office/drawing/2014/main" id="{5D6A5029-E2DD-4903-B070-EFA90433FF4B}"/>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1" name="Straight Connector 40">
                  <a:extLst>
                    <a:ext uri="{FF2B5EF4-FFF2-40B4-BE49-F238E27FC236}">
                      <a16:creationId xmlns:a16="http://schemas.microsoft.com/office/drawing/2014/main" id="{DAC2F5BA-4362-4DD9-8820-14FB157F3BB9}"/>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C32E3472-A63B-4433-A715-F8FAD8573875}"/>
                  </a:ext>
                </a:extLst>
              </p:cNvPr>
              <p:cNvGrpSpPr/>
              <p:nvPr/>
            </p:nvGrpSpPr>
            <p:grpSpPr>
              <a:xfrm>
                <a:off x="10321269" y="440684"/>
                <a:ext cx="0" cy="336826"/>
                <a:chOff x="10320265" y="423863"/>
                <a:chExt cx="0" cy="336826"/>
              </a:xfrm>
            </p:grpSpPr>
            <p:cxnSp>
              <p:nvCxnSpPr>
                <p:cNvPr id="37" name="Straight Connector 36">
                  <a:extLst>
                    <a:ext uri="{FF2B5EF4-FFF2-40B4-BE49-F238E27FC236}">
                      <a16:creationId xmlns:a16="http://schemas.microsoft.com/office/drawing/2014/main" id="{5291E408-B06C-42FB-9FA4-54CF67B13722}"/>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8" name="Straight Connector 37">
                  <a:extLst>
                    <a:ext uri="{FF2B5EF4-FFF2-40B4-BE49-F238E27FC236}">
                      <a16:creationId xmlns:a16="http://schemas.microsoft.com/office/drawing/2014/main" id="{814A8C6F-624E-4E8E-B08E-A0CFF4A894A0}"/>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9" name="Straight Connector 38">
                  <a:extLst>
                    <a:ext uri="{FF2B5EF4-FFF2-40B4-BE49-F238E27FC236}">
                      <a16:creationId xmlns:a16="http://schemas.microsoft.com/office/drawing/2014/main" id="{C89EB604-BC2C-405E-AEAE-6112CC088BD3}"/>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7B0EEA8D-0302-43BB-847A-2D87E31FDDFE}"/>
                  </a:ext>
                </a:extLst>
              </p:cNvPr>
              <p:cNvGrpSpPr/>
              <p:nvPr/>
            </p:nvGrpSpPr>
            <p:grpSpPr>
              <a:xfrm rot="18900000">
                <a:off x="10158623" y="592084"/>
                <a:ext cx="323006" cy="34301"/>
                <a:chOff x="10158567" y="631983"/>
                <a:chExt cx="323006" cy="34301"/>
              </a:xfrm>
            </p:grpSpPr>
            <p:cxnSp>
              <p:nvCxnSpPr>
                <p:cNvPr id="35" name="Straight Connector 34">
                  <a:extLst>
                    <a:ext uri="{FF2B5EF4-FFF2-40B4-BE49-F238E27FC236}">
                      <a16:creationId xmlns:a16="http://schemas.microsoft.com/office/drawing/2014/main" id="{85A603DC-DD08-4C6B-86FC-F2656F43E153}"/>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6" name="Straight Connector 35">
                  <a:extLst>
                    <a:ext uri="{FF2B5EF4-FFF2-40B4-BE49-F238E27FC236}">
                      <a16:creationId xmlns:a16="http://schemas.microsoft.com/office/drawing/2014/main" id="{21AB766C-7DA7-4941-B0D2-83E75DCCC284}"/>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0" name="Group 29">
                <a:extLst>
                  <a:ext uri="{FF2B5EF4-FFF2-40B4-BE49-F238E27FC236}">
                    <a16:creationId xmlns:a16="http://schemas.microsoft.com/office/drawing/2014/main" id="{485EF476-2328-4FAF-A784-626AE23E7716}"/>
                  </a:ext>
                </a:extLst>
              </p:cNvPr>
              <p:cNvGrpSpPr/>
              <p:nvPr/>
            </p:nvGrpSpPr>
            <p:grpSpPr>
              <a:xfrm rot="2700000">
                <a:off x="10157934" y="587792"/>
                <a:ext cx="325375" cy="43317"/>
                <a:chOff x="10158080" y="627475"/>
                <a:chExt cx="325375" cy="43317"/>
              </a:xfrm>
            </p:grpSpPr>
            <p:cxnSp>
              <p:nvCxnSpPr>
                <p:cNvPr id="32" name="Straight Connector 31">
                  <a:extLst>
                    <a:ext uri="{FF2B5EF4-FFF2-40B4-BE49-F238E27FC236}">
                      <a16:creationId xmlns:a16="http://schemas.microsoft.com/office/drawing/2014/main" id="{ADAC6E3E-6CAB-47CA-8D9B-46CFB0FFC3FD}"/>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3" name="Straight Connector 32">
                  <a:extLst>
                    <a:ext uri="{FF2B5EF4-FFF2-40B4-BE49-F238E27FC236}">
                      <a16:creationId xmlns:a16="http://schemas.microsoft.com/office/drawing/2014/main" id="{12E20616-70F9-4EAE-AFA2-835F0F04D946}"/>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 name="Straight Connector 33">
                  <a:extLst>
                    <a:ext uri="{FF2B5EF4-FFF2-40B4-BE49-F238E27FC236}">
                      <a16:creationId xmlns:a16="http://schemas.microsoft.com/office/drawing/2014/main" id="{CD417BDB-0565-48AD-94AC-418B02C8A129}"/>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31" name="Oval 30">
                <a:hlinkClick r:id="" action="ppaction://noaction"/>
                <a:extLst>
                  <a:ext uri="{FF2B5EF4-FFF2-40B4-BE49-F238E27FC236}">
                    <a16:creationId xmlns:a16="http://schemas.microsoft.com/office/drawing/2014/main" id="{7469BD72-8ECF-4BB2-882E-4FC5F0D800F6}"/>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dirty="0" err="1">
                  <a:solidFill>
                    <a:srgbClr val="FFFFFF"/>
                  </a:solidFill>
                  <a:latin typeface="Segoe UI Semilight"/>
                </a:endParaRPr>
              </a:p>
            </p:txBody>
          </p:sp>
        </p:grpSp>
      </p:grpSp>
      <p:sp>
        <p:nvSpPr>
          <p:cNvPr id="174" name="Title 1">
            <a:extLst>
              <a:ext uri="{FF2B5EF4-FFF2-40B4-BE49-F238E27FC236}">
                <a16:creationId xmlns:a16="http://schemas.microsoft.com/office/drawing/2014/main" id="{A74345EC-A7A3-46FB-9A28-D7F92591850F}"/>
              </a:ext>
            </a:extLst>
          </p:cNvPr>
          <p:cNvSpPr txBox="1">
            <a:spLocks/>
          </p:cNvSpPr>
          <p:nvPr/>
        </p:nvSpPr>
        <p:spPr>
          <a:xfrm>
            <a:off x="4861484" y="592756"/>
            <a:ext cx="7459491" cy="684025"/>
          </a:xfrm>
          <a:prstGeom prst="rect">
            <a:avLst/>
          </a:prstGeom>
        </p:spPr>
        <p:txBody>
          <a:bodyPr vert="horz" lIns="93260" tIns="46630" rIns="93260" bIns="4663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defTabSz="932597">
              <a:defRPr/>
            </a:pPr>
            <a:r>
              <a:rPr lang="en-US" sz="2856" dirty="0">
                <a:solidFill>
                  <a:srgbClr val="0068BB"/>
                </a:solidFill>
                <a:latin typeface="Segoe UI Semilight" panose="020B0402040204020203" pitchFamily="34" charset="0"/>
                <a:cs typeface="Segoe UI Semilight" panose="020B0402040204020203" pitchFamily="34" charset="0"/>
              </a:rPr>
              <a:t>Securing PaaS Services</a:t>
            </a:r>
          </a:p>
        </p:txBody>
      </p:sp>
      <p:pic>
        <p:nvPicPr>
          <p:cNvPr id="176" name="Picture 175">
            <a:extLst>
              <a:ext uri="{FF2B5EF4-FFF2-40B4-BE49-F238E27FC236}">
                <a16:creationId xmlns:a16="http://schemas.microsoft.com/office/drawing/2014/main" id="{B043BF24-4246-4B88-A5CF-1B28763329CB}"/>
              </a:ext>
            </a:extLst>
          </p:cNvPr>
          <p:cNvPicPr>
            <a:picLocks noChangeAspect="1"/>
          </p:cNvPicPr>
          <p:nvPr/>
        </p:nvPicPr>
        <p:blipFill>
          <a:blip r:embed="rId4"/>
          <a:stretch>
            <a:fillRect/>
          </a:stretch>
        </p:blipFill>
        <p:spPr>
          <a:xfrm>
            <a:off x="10906240" y="3362041"/>
            <a:ext cx="727022" cy="707888"/>
          </a:xfrm>
          <a:prstGeom prst="rect">
            <a:avLst/>
          </a:prstGeom>
        </p:spPr>
      </p:pic>
      <p:pic>
        <p:nvPicPr>
          <p:cNvPr id="177" name="Picture 176">
            <a:extLst>
              <a:ext uri="{FF2B5EF4-FFF2-40B4-BE49-F238E27FC236}">
                <a16:creationId xmlns:a16="http://schemas.microsoft.com/office/drawing/2014/main" id="{0388F826-6CB2-4054-9701-2F6C915249FD}"/>
              </a:ext>
            </a:extLst>
          </p:cNvPr>
          <p:cNvPicPr>
            <a:picLocks noChangeAspect="1"/>
          </p:cNvPicPr>
          <p:nvPr/>
        </p:nvPicPr>
        <p:blipFill>
          <a:blip r:embed="rId5"/>
          <a:stretch>
            <a:fillRect/>
          </a:stretch>
        </p:blipFill>
        <p:spPr>
          <a:xfrm>
            <a:off x="10899227" y="4233982"/>
            <a:ext cx="772473" cy="747811"/>
          </a:xfrm>
          <a:prstGeom prst="rect">
            <a:avLst/>
          </a:prstGeom>
        </p:spPr>
      </p:pic>
      <p:grpSp>
        <p:nvGrpSpPr>
          <p:cNvPr id="178" name="Group 177">
            <a:extLst>
              <a:ext uri="{FF2B5EF4-FFF2-40B4-BE49-F238E27FC236}">
                <a16:creationId xmlns:a16="http://schemas.microsoft.com/office/drawing/2014/main" id="{A178BF1F-A497-40F0-8022-61E2363142DC}"/>
              </a:ext>
            </a:extLst>
          </p:cNvPr>
          <p:cNvGrpSpPr/>
          <p:nvPr/>
        </p:nvGrpSpPr>
        <p:grpSpPr>
          <a:xfrm>
            <a:off x="4717574" y="2789288"/>
            <a:ext cx="3853298" cy="3562895"/>
            <a:chOff x="572673" y="1626539"/>
            <a:chExt cx="4545738" cy="4526991"/>
          </a:xfrm>
        </p:grpSpPr>
        <p:sp>
          <p:nvSpPr>
            <p:cNvPr id="179" name="Rectangle 178">
              <a:extLst>
                <a:ext uri="{FF2B5EF4-FFF2-40B4-BE49-F238E27FC236}">
                  <a16:creationId xmlns:a16="http://schemas.microsoft.com/office/drawing/2014/main" id="{15B41AA6-3A9D-43CE-968A-C838FCED481C}"/>
                </a:ext>
              </a:extLst>
            </p:cNvPr>
            <p:cNvSpPr/>
            <p:nvPr/>
          </p:nvSpPr>
          <p:spPr bwMode="auto">
            <a:xfrm>
              <a:off x="572673" y="1626539"/>
              <a:ext cx="4545738" cy="4136198"/>
            </a:xfrm>
            <a:prstGeom prst="rect">
              <a:avLst/>
            </a:prstGeom>
            <a:noFill/>
            <a:ln w="28575">
              <a:solidFill>
                <a:schemeClr val="bg1">
                  <a:lumMod val="65000"/>
                </a:schemeClr>
              </a:solidFill>
              <a:prstDash val="sysDash"/>
            </a:ln>
          </p:spPr>
          <p:txBody>
            <a:bodyPr lIns="182854" tIns="146283" rIns="182854" bIns="146283" anchor="t" anchorCtr="0"/>
            <a:lstStyle/>
            <a:p>
              <a:pPr algn="ctr" defTabSz="950600">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grpSp>
          <p:nvGrpSpPr>
            <p:cNvPr id="180" name="Group 179">
              <a:extLst>
                <a:ext uri="{FF2B5EF4-FFF2-40B4-BE49-F238E27FC236}">
                  <a16:creationId xmlns:a16="http://schemas.microsoft.com/office/drawing/2014/main" id="{6C1F5BBB-608E-49A1-A041-40B9C31BCBF1}"/>
                </a:ext>
              </a:extLst>
            </p:cNvPr>
            <p:cNvGrpSpPr/>
            <p:nvPr/>
          </p:nvGrpSpPr>
          <p:grpSpPr>
            <a:xfrm>
              <a:off x="4125553" y="5356604"/>
              <a:ext cx="796926" cy="796926"/>
              <a:chOff x="7903946" y="4484914"/>
              <a:chExt cx="709366" cy="709366"/>
            </a:xfrm>
          </p:grpSpPr>
          <p:sp>
            <p:nvSpPr>
              <p:cNvPr id="218" name="Oval 217">
                <a:extLst>
                  <a:ext uri="{FF2B5EF4-FFF2-40B4-BE49-F238E27FC236}">
                    <a16:creationId xmlns:a16="http://schemas.microsoft.com/office/drawing/2014/main" id="{984B4191-C3E4-4F03-ADC8-DC5E4ECF499D}"/>
                  </a:ext>
                </a:extLst>
              </p:cNvPr>
              <p:cNvSpPr/>
              <p:nvPr/>
            </p:nvSpPr>
            <p:spPr bwMode="auto">
              <a:xfrm>
                <a:off x="7903946" y="4484914"/>
                <a:ext cx="709366" cy="709366"/>
              </a:xfrm>
              <a:prstGeom prst="ellipse">
                <a:avLst/>
              </a:prstGeom>
              <a:solidFill>
                <a:schemeClr val="bg1">
                  <a:lumMod val="85000"/>
                </a:schemeClr>
              </a:solidFill>
              <a:ln w="28575">
                <a:solidFill>
                  <a:schemeClr val="bg1">
                    <a:lumMod val="65000"/>
                  </a:schemeClr>
                </a:solidFill>
                <a:prstDash val="sysDash"/>
              </a:ln>
            </p:spPr>
            <p:txBody>
              <a:bodyPr lIns="182854" tIns="146283" rIns="182854" bIns="146283" anchor="t" anchorCtr="0"/>
              <a:lstStyle/>
              <a:p>
                <a:pPr algn="ctr" defTabSz="950600">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pic>
            <p:nvPicPr>
              <p:cNvPr id="219" name="Picture 218">
                <a:extLst>
                  <a:ext uri="{FF2B5EF4-FFF2-40B4-BE49-F238E27FC236}">
                    <a16:creationId xmlns:a16="http://schemas.microsoft.com/office/drawing/2014/main" id="{7F41E0ED-B518-4AC2-B351-41F8F412FA66}"/>
                  </a:ext>
                </a:extLst>
              </p:cNvPr>
              <p:cNvPicPr>
                <a:picLocks noChangeAspect="1"/>
              </p:cNvPicPr>
              <p:nvPr/>
            </p:nvPicPr>
            <p:blipFill>
              <a:blip r:embed="rId6"/>
              <a:stretch>
                <a:fillRect/>
              </a:stretch>
            </p:blipFill>
            <p:spPr>
              <a:xfrm>
                <a:off x="8084193" y="4665161"/>
                <a:ext cx="348872" cy="348872"/>
              </a:xfrm>
              <a:prstGeom prst="rect">
                <a:avLst/>
              </a:prstGeom>
              <a:ln>
                <a:noFill/>
                <a:prstDash val="sysDash"/>
              </a:ln>
            </p:spPr>
          </p:pic>
        </p:grpSp>
        <p:pic>
          <p:nvPicPr>
            <p:cNvPr id="181" name="Picture 180">
              <a:extLst>
                <a:ext uri="{FF2B5EF4-FFF2-40B4-BE49-F238E27FC236}">
                  <a16:creationId xmlns:a16="http://schemas.microsoft.com/office/drawing/2014/main" id="{BA498BAF-4383-4990-A5BE-F389A9EFAD26}"/>
                </a:ext>
              </a:extLst>
            </p:cNvPr>
            <p:cNvPicPr>
              <a:picLocks noChangeAspect="1"/>
            </p:cNvPicPr>
            <p:nvPr/>
          </p:nvPicPr>
          <p:blipFill>
            <a:blip r:embed="rId7"/>
            <a:stretch>
              <a:fillRect/>
            </a:stretch>
          </p:blipFill>
          <p:spPr>
            <a:xfrm>
              <a:off x="2269520" y="1749900"/>
              <a:ext cx="607102" cy="607102"/>
            </a:xfrm>
            <a:prstGeom prst="rect">
              <a:avLst/>
            </a:prstGeom>
          </p:spPr>
        </p:pic>
        <p:pic>
          <p:nvPicPr>
            <p:cNvPr id="182" name="Picture 181">
              <a:extLst>
                <a:ext uri="{FF2B5EF4-FFF2-40B4-BE49-F238E27FC236}">
                  <a16:creationId xmlns:a16="http://schemas.microsoft.com/office/drawing/2014/main" id="{950535F6-839A-4E9E-9C8D-E121CBF91CDA}"/>
                </a:ext>
              </a:extLst>
            </p:cNvPr>
            <p:cNvPicPr>
              <a:picLocks noChangeAspect="1"/>
            </p:cNvPicPr>
            <p:nvPr/>
          </p:nvPicPr>
          <p:blipFill>
            <a:blip r:embed="rId8"/>
            <a:stretch>
              <a:fillRect/>
            </a:stretch>
          </p:blipFill>
          <p:spPr>
            <a:xfrm>
              <a:off x="2268330" y="3142675"/>
              <a:ext cx="609483" cy="609483"/>
            </a:xfrm>
            <a:prstGeom prst="rect">
              <a:avLst/>
            </a:prstGeom>
          </p:spPr>
        </p:pic>
        <p:pic>
          <p:nvPicPr>
            <p:cNvPr id="183" name="Picture 182">
              <a:extLst>
                <a:ext uri="{FF2B5EF4-FFF2-40B4-BE49-F238E27FC236}">
                  <a16:creationId xmlns:a16="http://schemas.microsoft.com/office/drawing/2014/main" id="{967EBAA6-7E17-48BD-9537-4EB2847155C3}"/>
                </a:ext>
              </a:extLst>
            </p:cNvPr>
            <p:cNvPicPr>
              <a:picLocks noChangeAspect="1"/>
            </p:cNvPicPr>
            <p:nvPr/>
          </p:nvPicPr>
          <p:blipFill>
            <a:blip r:embed="rId8"/>
            <a:stretch>
              <a:fillRect/>
            </a:stretch>
          </p:blipFill>
          <p:spPr>
            <a:xfrm>
              <a:off x="2268330" y="4362954"/>
              <a:ext cx="609483" cy="609483"/>
            </a:xfrm>
            <a:prstGeom prst="rect">
              <a:avLst/>
            </a:prstGeom>
          </p:spPr>
        </p:pic>
        <p:grpSp>
          <p:nvGrpSpPr>
            <p:cNvPr id="184" name="Group 183">
              <a:extLst>
                <a:ext uri="{FF2B5EF4-FFF2-40B4-BE49-F238E27FC236}">
                  <a16:creationId xmlns:a16="http://schemas.microsoft.com/office/drawing/2014/main" id="{D60C2F89-EA20-4332-9BBB-4128EE09C500}"/>
                </a:ext>
              </a:extLst>
            </p:cNvPr>
            <p:cNvGrpSpPr/>
            <p:nvPr/>
          </p:nvGrpSpPr>
          <p:grpSpPr>
            <a:xfrm>
              <a:off x="1371639" y="4762742"/>
              <a:ext cx="2659907" cy="808132"/>
              <a:chOff x="1060229" y="5296140"/>
              <a:chExt cx="2659907" cy="808132"/>
            </a:xfrm>
          </p:grpSpPr>
          <p:grpSp>
            <p:nvGrpSpPr>
              <p:cNvPr id="211" name="Group 210">
                <a:extLst>
                  <a:ext uri="{FF2B5EF4-FFF2-40B4-BE49-F238E27FC236}">
                    <a16:creationId xmlns:a16="http://schemas.microsoft.com/office/drawing/2014/main" id="{D958B1AC-431F-4798-B82C-1B7209AFC4B3}"/>
                  </a:ext>
                </a:extLst>
              </p:cNvPr>
              <p:cNvGrpSpPr/>
              <p:nvPr/>
            </p:nvGrpSpPr>
            <p:grpSpPr>
              <a:xfrm>
                <a:off x="1060229" y="5497169"/>
                <a:ext cx="2402864" cy="607103"/>
                <a:chOff x="2430393" y="5497169"/>
                <a:chExt cx="2402864" cy="607103"/>
              </a:xfrm>
            </p:grpSpPr>
            <p:sp>
              <p:nvSpPr>
                <p:cNvPr id="213" name="Rectangle 212">
                  <a:extLst>
                    <a:ext uri="{FF2B5EF4-FFF2-40B4-BE49-F238E27FC236}">
                      <a16:creationId xmlns:a16="http://schemas.microsoft.com/office/drawing/2014/main" id="{39F517CF-37DA-47C0-A38C-AA2074E2F35D}"/>
                    </a:ext>
                  </a:extLst>
                </p:cNvPr>
                <p:cNvSpPr/>
                <p:nvPr/>
              </p:nvSpPr>
              <p:spPr bwMode="auto">
                <a:xfrm>
                  <a:off x="2430393" y="5497169"/>
                  <a:ext cx="2402864" cy="60710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cs typeface="Segoe UI" pitchFamily="34" charset="0"/>
                  </a:endParaRPr>
                </a:p>
              </p:txBody>
            </p:sp>
            <p:grpSp>
              <p:nvGrpSpPr>
                <p:cNvPr id="214" name="Group 213">
                  <a:extLst>
                    <a:ext uri="{FF2B5EF4-FFF2-40B4-BE49-F238E27FC236}">
                      <a16:creationId xmlns:a16="http://schemas.microsoft.com/office/drawing/2014/main" id="{0B20602B-7556-4B66-90CC-5D9101A14F24}"/>
                    </a:ext>
                  </a:extLst>
                </p:cNvPr>
                <p:cNvGrpSpPr/>
                <p:nvPr/>
              </p:nvGrpSpPr>
              <p:grpSpPr>
                <a:xfrm>
                  <a:off x="2608880" y="5556923"/>
                  <a:ext cx="2017472" cy="491872"/>
                  <a:chOff x="2407187" y="5556923"/>
                  <a:chExt cx="2017472" cy="491872"/>
                </a:xfrm>
              </p:grpSpPr>
              <p:pic>
                <p:nvPicPr>
                  <p:cNvPr id="215" name="Picture 214">
                    <a:extLst>
                      <a:ext uri="{FF2B5EF4-FFF2-40B4-BE49-F238E27FC236}">
                        <a16:creationId xmlns:a16="http://schemas.microsoft.com/office/drawing/2014/main" id="{3B327412-A3CF-4B5A-A0F3-842871EA3E1C}"/>
                      </a:ext>
                    </a:extLst>
                  </p:cNvPr>
                  <p:cNvPicPr>
                    <a:picLocks noChangeAspect="1"/>
                  </p:cNvPicPr>
                  <p:nvPr/>
                </p:nvPicPr>
                <p:blipFill>
                  <a:blip r:embed="rId9"/>
                  <a:stretch>
                    <a:fillRect/>
                  </a:stretch>
                </p:blipFill>
                <p:spPr>
                  <a:xfrm>
                    <a:off x="2407187" y="5556923"/>
                    <a:ext cx="478994" cy="491872"/>
                  </a:xfrm>
                  <a:prstGeom prst="rect">
                    <a:avLst/>
                  </a:prstGeom>
                </p:spPr>
              </p:pic>
              <p:pic>
                <p:nvPicPr>
                  <p:cNvPr id="216" name="Picture 215">
                    <a:extLst>
                      <a:ext uri="{FF2B5EF4-FFF2-40B4-BE49-F238E27FC236}">
                        <a16:creationId xmlns:a16="http://schemas.microsoft.com/office/drawing/2014/main" id="{5DFC2557-EEE7-43CC-9BD0-766D6A2BDA85}"/>
                      </a:ext>
                    </a:extLst>
                  </p:cNvPr>
                  <p:cNvPicPr>
                    <a:picLocks noChangeAspect="1"/>
                  </p:cNvPicPr>
                  <p:nvPr/>
                </p:nvPicPr>
                <p:blipFill>
                  <a:blip r:embed="rId9"/>
                  <a:stretch>
                    <a:fillRect/>
                  </a:stretch>
                </p:blipFill>
                <p:spPr>
                  <a:xfrm>
                    <a:off x="3176426" y="5556923"/>
                    <a:ext cx="478994" cy="491872"/>
                  </a:xfrm>
                  <a:prstGeom prst="rect">
                    <a:avLst/>
                  </a:prstGeom>
                </p:spPr>
              </p:pic>
              <p:pic>
                <p:nvPicPr>
                  <p:cNvPr id="217" name="Picture 216">
                    <a:extLst>
                      <a:ext uri="{FF2B5EF4-FFF2-40B4-BE49-F238E27FC236}">
                        <a16:creationId xmlns:a16="http://schemas.microsoft.com/office/drawing/2014/main" id="{A8313F5F-41FD-45E3-81BA-711F3A368D5B}"/>
                      </a:ext>
                    </a:extLst>
                  </p:cNvPr>
                  <p:cNvPicPr>
                    <a:picLocks noChangeAspect="1"/>
                  </p:cNvPicPr>
                  <p:nvPr/>
                </p:nvPicPr>
                <p:blipFill>
                  <a:blip r:embed="rId9"/>
                  <a:stretch>
                    <a:fillRect/>
                  </a:stretch>
                </p:blipFill>
                <p:spPr>
                  <a:xfrm>
                    <a:off x="3945665" y="5556923"/>
                    <a:ext cx="478994" cy="491872"/>
                  </a:xfrm>
                  <a:prstGeom prst="rect">
                    <a:avLst/>
                  </a:prstGeom>
                </p:spPr>
              </p:pic>
            </p:grpSp>
          </p:grpSp>
          <p:pic>
            <p:nvPicPr>
              <p:cNvPr id="212" name="Picture 211">
                <a:extLst>
                  <a:ext uri="{FF2B5EF4-FFF2-40B4-BE49-F238E27FC236}">
                    <a16:creationId xmlns:a16="http://schemas.microsoft.com/office/drawing/2014/main" id="{F4D22237-E5B8-4732-85C2-F9A7D8362565}"/>
                  </a:ext>
                </a:extLst>
              </p:cNvPr>
              <p:cNvPicPr>
                <a:picLocks noChangeAspect="1"/>
              </p:cNvPicPr>
              <p:nvPr/>
            </p:nvPicPr>
            <p:blipFill>
              <a:blip r:embed="rId10"/>
              <a:stretch>
                <a:fillRect/>
              </a:stretch>
            </p:blipFill>
            <p:spPr>
              <a:xfrm>
                <a:off x="3318079" y="5296140"/>
                <a:ext cx="402057" cy="402057"/>
              </a:xfrm>
              <a:prstGeom prst="rect">
                <a:avLst/>
              </a:prstGeom>
            </p:spPr>
          </p:pic>
        </p:grpSp>
        <p:grpSp>
          <p:nvGrpSpPr>
            <p:cNvPr id="185" name="Group 184">
              <a:extLst>
                <a:ext uri="{FF2B5EF4-FFF2-40B4-BE49-F238E27FC236}">
                  <a16:creationId xmlns:a16="http://schemas.microsoft.com/office/drawing/2014/main" id="{565D2B85-FB35-4F3A-8399-AD9354AD2AB5}"/>
                </a:ext>
              </a:extLst>
            </p:cNvPr>
            <p:cNvGrpSpPr/>
            <p:nvPr/>
          </p:nvGrpSpPr>
          <p:grpSpPr>
            <a:xfrm>
              <a:off x="795982" y="3540099"/>
              <a:ext cx="3780675" cy="802222"/>
              <a:chOff x="484572" y="4073497"/>
              <a:chExt cx="3780675" cy="802222"/>
            </a:xfrm>
          </p:grpSpPr>
          <p:grpSp>
            <p:nvGrpSpPr>
              <p:cNvPr id="199" name="Group 198">
                <a:extLst>
                  <a:ext uri="{FF2B5EF4-FFF2-40B4-BE49-F238E27FC236}">
                    <a16:creationId xmlns:a16="http://schemas.microsoft.com/office/drawing/2014/main" id="{B469B4BB-6A8D-4AFD-AA28-0CE962A79AA7}"/>
                  </a:ext>
                </a:extLst>
              </p:cNvPr>
              <p:cNvGrpSpPr/>
              <p:nvPr/>
            </p:nvGrpSpPr>
            <p:grpSpPr>
              <a:xfrm>
                <a:off x="484572" y="4268616"/>
                <a:ext cx="3554179" cy="607103"/>
                <a:chOff x="967021" y="4268616"/>
                <a:chExt cx="3554179" cy="607103"/>
              </a:xfrm>
            </p:grpSpPr>
            <p:sp>
              <p:nvSpPr>
                <p:cNvPr id="201" name="Rectangle 200">
                  <a:extLst>
                    <a:ext uri="{FF2B5EF4-FFF2-40B4-BE49-F238E27FC236}">
                      <a16:creationId xmlns:a16="http://schemas.microsoft.com/office/drawing/2014/main" id="{32BC132B-5553-4F3F-B3D4-D0233C788A51}"/>
                    </a:ext>
                  </a:extLst>
                </p:cNvPr>
                <p:cNvSpPr/>
                <p:nvPr/>
              </p:nvSpPr>
              <p:spPr bwMode="auto">
                <a:xfrm>
                  <a:off x="967021" y="4268616"/>
                  <a:ext cx="3554179" cy="60710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cs typeface="Segoe UI" pitchFamily="34" charset="0"/>
                  </a:endParaRPr>
                </a:p>
              </p:txBody>
            </p:sp>
            <p:pic>
              <p:nvPicPr>
                <p:cNvPr id="202" name="Picture 201">
                  <a:extLst>
                    <a:ext uri="{FF2B5EF4-FFF2-40B4-BE49-F238E27FC236}">
                      <a16:creationId xmlns:a16="http://schemas.microsoft.com/office/drawing/2014/main" id="{B907612C-2B47-495D-9EAF-53867D6FDC50}"/>
                    </a:ext>
                  </a:extLst>
                </p:cNvPr>
                <p:cNvPicPr>
                  <a:picLocks noChangeAspect="1"/>
                </p:cNvPicPr>
                <p:nvPr/>
              </p:nvPicPr>
              <p:blipFill>
                <a:blip r:embed="rId11"/>
                <a:stretch>
                  <a:fillRect/>
                </a:stretch>
              </p:blipFill>
              <p:spPr>
                <a:xfrm>
                  <a:off x="1087708" y="4364897"/>
                  <a:ext cx="431484" cy="431480"/>
                </a:xfrm>
                <a:prstGeom prst="rect">
                  <a:avLst/>
                </a:prstGeom>
              </p:spPr>
            </p:pic>
            <p:pic>
              <p:nvPicPr>
                <p:cNvPr id="203" name="Picture 202">
                  <a:extLst>
                    <a:ext uri="{FF2B5EF4-FFF2-40B4-BE49-F238E27FC236}">
                      <a16:creationId xmlns:a16="http://schemas.microsoft.com/office/drawing/2014/main" id="{3012A4CD-000C-4390-9B42-5AB933D94AA1}"/>
                    </a:ext>
                  </a:extLst>
                </p:cNvPr>
                <p:cNvPicPr>
                  <a:picLocks noChangeAspect="1"/>
                </p:cNvPicPr>
                <p:nvPr/>
              </p:nvPicPr>
              <p:blipFill>
                <a:blip r:embed="rId11"/>
                <a:stretch>
                  <a:fillRect/>
                </a:stretch>
              </p:blipFill>
              <p:spPr>
                <a:xfrm>
                  <a:off x="1651454" y="4364897"/>
                  <a:ext cx="431484" cy="431480"/>
                </a:xfrm>
                <a:prstGeom prst="rect">
                  <a:avLst/>
                </a:prstGeom>
              </p:spPr>
            </p:pic>
            <p:pic>
              <p:nvPicPr>
                <p:cNvPr id="204" name="Picture 203">
                  <a:extLst>
                    <a:ext uri="{FF2B5EF4-FFF2-40B4-BE49-F238E27FC236}">
                      <a16:creationId xmlns:a16="http://schemas.microsoft.com/office/drawing/2014/main" id="{2E08BF86-D270-4E6D-A471-E4E0D71F412C}"/>
                    </a:ext>
                  </a:extLst>
                </p:cNvPr>
                <p:cNvPicPr>
                  <a:picLocks noChangeAspect="1"/>
                </p:cNvPicPr>
                <p:nvPr/>
              </p:nvPicPr>
              <p:blipFill>
                <a:blip r:embed="rId11"/>
                <a:stretch>
                  <a:fillRect/>
                </a:stretch>
              </p:blipFill>
              <p:spPr>
                <a:xfrm>
                  <a:off x="2215200" y="4364897"/>
                  <a:ext cx="431484" cy="431480"/>
                </a:xfrm>
                <a:prstGeom prst="rect">
                  <a:avLst/>
                </a:prstGeom>
              </p:spPr>
            </p:pic>
            <p:pic>
              <p:nvPicPr>
                <p:cNvPr id="205" name="Picture 204">
                  <a:extLst>
                    <a:ext uri="{FF2B5EF4-FFF2-40B4-BE49-F238E27FC236}">
                      <a16:creationId xmlns:a16="http://schemas.microsoft.com/office/drawing/2014/main" id="{659CDD52-6F0B-46BF-A5A2-E70400E4B8F3}"/>
                    </a:ext>
                  </a:extLst>
                </p:cNvPr>
                <p:cNvPicPr>
                  <a:picLocks noChangeAspect="1"/>
                </p:cNvPicPr>
                <p:nvPr/>
              </p:nvPicPr>
              <p:blipFill>
                <a:blip r:embed="rId11"/>
                <a:stretch>
                  <a:fillRect/>
                </a:stretch>
              </p:blipFill>
              <p:spPr>
                <a:xfrm>
                  <a:off x="2778946" y="4364897"/>
                  <a:ext cx="431484" cy="431480"/>
                </a:xfrm>
                <a:prstGeom prst="rect">
                  <a:avLst/>
                </a:prstGeom>
              </p:spPr>
            </p:pic>
            <p:pic>
              <p:nvPicPr>
                <p:cNvPr id="206" name="Picture 205">
                  <a:extLst>
                    <a:ext uri="{FF2B5EF4-FFF2-40B4-BE49-F238E27FC236}">
                      <a16:creationId xmlns:a16="http://schemas.microsoft.com/office/drawing/2014/main" id="{6676148F-B27F-40EF-90AE-2C007F797A6C}"/>
                    </a:ext>
                  </a:extLst>
                </p:cNvPr>
                <p:cNvPicPr>
                  <a:picLocks noChangeAspect="1"/>
                </p:cNvPicPr>
                <p:nvPr/>
              </p:nvPicPr>
              <p:blipFill>
                <a:blip r:embed="rId11"/>
                <a:stretch>
                  <a:fillRect/>
                </a:stretch>
              </p:blipFill>
              <p:spPr>
                <a:xfrm>
                  <a:off x="3950609" y="4364897"/>
                  <a:ext cx="431484" cy="431480"/>
                </a:xfrm>
                <a:prstGeom prst="rect">
                  <a:avLst/>
                </a:prstGeom>
              </p:spPr>
            </p:pic>
            <p:grpSp>
              <p:nvGrpSpPr>
                <p:cNvPr id="207" name="Group 206">
                  <a:extLst>
                    <a:ext uri="{FF2B5EF4-FFF2-40B4-BE49-F238E27FC236}">
                      <a16:creationId xmlns:a16="http://schemas.microsoft.com/office/drawing/2014/main" id="{4FF828F5-9EAD-447E-B752-54AFE45555A5}"/>
                    </a:ext>
                  </a:extLst>
                </p:cNvPr>
                <p:cNvGrpSpPr/>
                <p:nvPr/>
              </p:nvGrpSpPr>
              <p:grpSpPr>
                <a:xfrm>
                  <a:off x="3444818" y="4527512"/>
                  <a:ext cx="290514" cy="71909"/>
                  <a:chOff x="5097552" y="-533400"/>
                  <a:chExt cx="290514" cy="71909"/>
                </a:xfrm>
              </p:grpSpPr>
              <p:sp>
                <p:nvSpPr>
                  <p:cNvPr id="208" name="Oval 207">
                    <a:extLst>
                      <a:ext uri="{FF2B5EF4-FFF2-40B4-BE49-F238E27FC236}">
                        <a16:creationId xmlns:a16="http://schemas.microsoft.com/office/drawing/2014/main" id="{B0E6C3EC-0753-4E5B-A87F-C4E9B774699C}"/>
                      </a:ext>
                    </a:extLst>
                  </p:cNvPr>
                  <p:cNvSpPr/>
                  <p:nvPr/>
                </p:nvSpPr>
                <p:spPr bwMode="auto">
                  <a:xfrm>
                    <a:off x="5097552"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0C18A5AF-ED10-44BC-B7F0-374E2226A5B7}"/>
                      </a:ext>
                    </a:extLst>
                  </p:cNvPr>
                  <p:cNvSpPr/>
                  <p:nvPr/>
                </p:nvSpPr>
                <p:spPr bwMode="auto">
                  <a:xfrm>
                    <a:off x="5206855"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0" name="Oval 209">
                    <a:extLst>
                      <a:ext uri="{FF2B5EF4-FFF2-40B4-BE49-F238E27FC236}">
                        <a16:creationId xmlns:a16="http://schemas.microsoft.com/office/drawing/2014/main" id="{E607A336-6F61-485D-8AC2-D20520FBE415}"/>
                      </a:ext>
                    </a:extLst>
                  </p:cNvPr>
                  <p:cNvSpPr/>
                  <p:nvPr/>
                </p:nvSpPr>
                <p:spPr bwMode="auto">
                  <a:xfrm>
                    <a:off x="5316157"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pic>
            <p:nvPicPr>
              <p:cNvPr id="200" name="Picture 199">
                <a:extLst>
                  <a:ext uri="{FF2B5EF4-FFF2-40B4-BE49-F238E27FC236}">
                    <a16:creationId xmlns:a16="http://schemas.microsoft.com/office/drawing/2014/main" id="{6E0D07C6-4F2E-4888-9FAC-2987BE557C71}"/>
                  </a:ext>
                </a:extLst>
              </p:cNvPr>
              <p:cNvPicPr>
                <a:picLocks noChangeAspect="1"/>
              </p:cNvPicPr>
              <p:nvPr/>
            </p:nvPicPr>
            <p:blipFill>
              <a:blip r:embed="rId10"/>
              <a:stretch>
                <a:fillRect/>
              </a:stretch>
            </p:blipFill>
            <p:spPr>
              <a:xfrm>
                <a:off x="3863190" y="4073497"/>
                <a:ext cx="402057" cy="402057"/>
              </a:xfrm>
              <a:prstGeom prst="rect">
                <a:avLst/>
              </a:prstGeom>
            </p:spPr>
          </p:pic>
        </p:grpSp>
        <p:grpSp>
          <p:nvGrpSpPr>
            <p:cNvPr id="186" name="Group 185">
              <a:extLst>
                <a:ext uri="{FF2B5EF4-FFF2-40B4-BE49-F238E27FC236}">
                  <a16:creationId xmlns:a16="http://schemas.microsoft.com/office/drawing/2014/main" id="{49C21EA2-4DE9-4B83-B5EE-EABCC45F8F3F}"/>
                </a:ext>
              </a:extLst>
            </p:cNvPr>
            <p:cNvGrpSpPr/>
            <p:nvPr/>
          </p:nvGrpSpPr>
          <p:grpSpPr>
            <a:xfrm>
              <a:off x="795982" y="2309313"/>
              <a:ext cx="3780675" cy="804454"/>
              <a:chOff x="484572" y="2842711"/>
              <a:chExt cx="3780675" cy="804454"/>
            </a:xfrm>
          </p:grpSpPr>
          <p:grpSp>
            <p:nvGrpSpPr>
              <p:cNvPr id="187" name="Group 186">
                <a:extLst>
                  <a:ext uri="{FF2B5EF4-FFF2-40B4-BE49-F238E27FC236}">
                    <a16:creationId xmlns:a16="http://schemas.microsoft.com/office/drawing/2014/main" id="{F21711F6-C76D-4192-B3D6-7E6636457977}"/>
                  </a:ext>
                </a:extLst>
              </p:cNvPr>
              <p:cNvGrpSpPr/>
              <p:nvPr/>
            </p:nvGrpSpPr>
            <p:grpSpPr>
              <a:xfrm>
                <a:off x="484572" y="3040062"/>
                <a:ext cx="3554179" cy="607103"/>
                <a:chOff x="967021" y="3040062"/>
                <a:chExt cx="3554179" cy="607103"/>
              </a:xfrm>
            </p:grpSpPr>
            <p:sp>
              <p:nvSpPr>
                <p:cNvPr id="189" name="Rectangle 188">
                  <a:extLst>
                    <a:ext uri="{FF2B5EF4-FFF2-40B4-BE49-F238E27FC236}">
                      <a16:creationId xmlns:a16="http://schemas.microsoft.com/office/drawing/2014/main" id="{36EB90EB-6F76-4E01-977D-1563609C66DD}"/>
                    </a:ext>
                  </a:extLst>
                </p:cNvPr>
                <p:cNvSpPr/>
                <p:nvPr/>
              </p:nvSpPr>
              <p:spPr bwMode="auto">
                <a:xfrm>
                  <a:off x="967021" y="3040062"/>
                  <a:ext cx="3554179" cy="60710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cs typeface="Segoe UI" pitchFamily="34" charset="0"/>
                  </a:endParaRPr>
                </a:p>
              </p:txBody>
            </p:sp>
            <p:pic>
              <p:nvPicPr>
                <p:cNvPr id="190" name="Picture 189">
                  <a:extLst>
                    <a:ext uri="{FF2B5EF4-FFF2-40B4-BE49-F238E27FC236}">
                      <a16:creationId xmlns:a16="http://schemas.microsoft.com/office/drawing/2014/main" id="{17AD85AD-D844-4F45-B104-BAF4D039994C}"/>
                    </a:ext>
                  </a:extLst>
                </p:cNvPr>
                <p:cNvPicPr>
                  <a:picLocks noChangeAspect="1"/>
                </p:cNvPicPr>
                <p:nvPr/>
              </p:nvPicPr>
              <p:blipFill>
                <a:blip r:embed="rId11"/>
                <a:stretch>
                  <a:fillRect/>
                </a:stretch>
              </p:blipFill>
              <p:spPr>
                <a:xfrm>
                  <a:off x="1087708" y="3139448"/>
                  <a:ext cx="431484" cy="431480"/>
                </a:xfrm>
                <a:prstGeom prst="rect">
                  <a:avLst/>
                </a:prstGeom>
              </p:spPr>
            </p:pic>
            <p:pic>
              <p:nvPicPr>
                <p:cNvPr id="191" name="Picture 190">
                  <a:extLst>
                    <a:ext uri="{FF2B5EF4-FFF2-40B4-BE49-F238E27FC236}">
                      <a16:creationId xmlns:a16="http://schemas.microsoft.com/office/drawing/2014/main" id="{0B523AFF-A811-4FD1-8BC3-C2A6099D4C13}"/>
                    </a:ext>
                  </a:extLst>
                </p:cNvPr>
                <p:cNvPicPr>
                  <a:picLocks noChangeAspect="1"/>
                </p:cNvPicPr>
                <p:nvPr/>
              </p:nvPicPr>
              <p:blipFill>
                <a:blip r:embed="rId11"/>
                <a:stretch>
                  <a:fillRect/>
                </a:stretch>
              </p:blipFill>
              <p:spPr>
                <a:xfrm>
                  <a:off x="1651454" y="3139448"/>
                  <a:ext cx="431484" cy="431480"/>
                </a:xfrm>
                <a:prstGeom prst="rect">
                  <a:avLst/>
                </a:prstGeom>
              </p:spPr>
            </p:pic>
            <p:pic>
              <p:nvPicPr>
                <p:cNvPr id="192" name="Picture 191">
                  <a:extLst>
                    <a:ext uri="{FF2B5EF4-FFF2-40B4-BE49-F238E27FC236}">
                      <a16:creationId xmlns:a16="http://schemas.microsoft.com/office/drawing/2014/main" id="{6B4011A4-3019-4FAB-BCEA-7FFA9587256E}"/>
                    </a:ext>
                  </a:extLst>
                </p:cNvPr>
                <p:cNvPicPr>
                  <a:picLocks noChangeAspect="1"/>
                </p:cNvPicPr>
                <p:nvPr/>
              </p:nvPicPr>
              <p:blipFill>
                <a:blip r:embed="rId11"/>
                <a:stretch>
                  <a:fillRect/>
                </a:stretch>
              </p:blipFill>
              <p:spPr>
                <a:xfrm>
                  <a:off x="2215200" y="3139448"/>
                  <a:ext cx="431484" cy="431480"/>
                </a:xfrm>
                <a:prstGeom prst="rect">
                  <a:avLst/>
                </a:prstGeom>
              </p:spPr>
            </p:pic>
            <p:pic>
              <p:nvPicPr>
                <p:cNvPr id="193" name="Picture 192">
                  <a:extLst>
                    <a:ext uri="{FF2B5EF4-FFF2-40B4-BE49-F238E27FC236}">
                      <a16:creationId xmlns:a16="http://schemas.microsoft.com/office/drawing/2014/main" id="{E368AC47-2237-4E19-BB54-70C939C02ADF}"/>
                    </a:ext>
                  </a:extLst>
                </p:cNvPr>
                <p:cNvPicPr>
                  <a:picLocks noChangeAspect="1"/>
                </p:cNvPicPr>
                <p:nvPr/>
              </p:nvPicPr>
              <p:blipFill>
                <a:blip r:embed="rId11"/>
                <a:stretch>
                  <a:fillRect/>
                </a:stretch>
              </p:blipFill>
              <p:spPr>
                <a:xfrm>
                  <a:off x="2778946" y="3139448"/>
                  <a:ext cx="431484" cy="431480"/>
                </a:xfrm>
                <a:prstGeom prst="rect">
                  <a:avLst/>
                </a:prstGeom>
              </p:spPr>
            </p:pic>
            <p:pic>
              <p:nvPicPr>
                <p:cNvPr id="194" name="Picture 193">
                  <a:extLst>
                    <a:ext uri="{FF2B5EF4-FFF2-40B4-BE49-F238E27FC236}">
                      <a16:creationId xmlns:a16="http://schemas.microsoft.com/office/drawing/2014/main" id="{0FDB677A-D399-4C28-A5B3-CE077D4D4840}"/>
                    </a:ext>
                  </a:extLst>
                </p:cNvPr>
                <p:cNvPicPr>
                  <a:picLocks noChangeAspect="1"/>
                </p:cNvPicPr>
                <p:nvPr/>
              </p:nvPicPr>
              <p:blipFill>
                <a:blip r:embed="rId11"/>
                <a:stretch>
                  <a:fillRect/>
                </a:stretch>
              </p:blipFill>
              <p:spPr>
                <a:xfrm>
                  <a:off x="3950609" y="3132838"/>
                  <a:ext cx="431484" cy="431480"/>
                </a:xfrm>
                <a:prstGeom prst="rect">
                  <a:avLst/>
                </a:prstGeom>
              </p:spPr>
            </p:pic>
            <p:grpSp>
              <p:nvGrpSpPr>
                <p:cNvPr id="195" name="Group 194">
                  <a:extLst>
                    <a:ext uri="{FF2B5EF4-FFF2-40B4-BE49-F238E27FC236}">
                      <a16:creationId xmlns:a16="http://schemas.microsoft.com/office/drawing/2014/main" id="{5E29A4EC-058B-469F-867D-1E25DF099D63}"/>
                    </a:ext>
                  </a:extLst>
                </p:cNvPr>
                <p:cNvGrpSpPr/>
                <p:nvPr/>
              </p:nvGrpSpPr>
              <p:grpSpPr>
                <a:xfrm>
                  <a:off x="3444818" y="3319233"/>
                  <a:ext cx="290514" cy="71909"/>
                  <a:chOff x="5097552" y="-533400"/>
                  <a:chExt cx="290514" cy="71909"/>
                </a:xfrm>
              </p:grpSpPr>
              <p:sp>
                <p:nvSpPr>
                  <p:cNvPr id="196" name="Oval 195">
                    <a:extLst>
                      <a:ext uri="{FF2B5EF4-FFF2-40B4-BE49-F238E27FC236}">
                        <a16:creationId xmlns:a16="http://schemas.microsoft.com/office/drawing/2014/main" id="{184C93D3-5D51-4B6B-B5AF-89772377C143}"/>
                      </a:ext>
                    </a:extLst>
                  </p:cNvPr>
                  <p:cNvSpPr/>
                  <p:nvPr/>
                </p:nvSpPr>
                <p:spPr bwMode="auto">
                  <a:xfrm>
                    <a:off x="5097552"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65D088AA-4CF4-4699-B2B6-E772F3542AA5}"/>
                      </a:ext>
                    </a:extLst>
                  </p:cNvPr>
                  <p:cNvSpPr/>
                  <p:nvPr/>
                </p:nvSpPr>
                <p:spPr bwMode="auto">
                  <a:xfrm>
                    <a:off x="5206855"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Oval 197">
                    <a:extLst>
                      <a:ext uri="{FF2B5EF4-FFF2-40B4-BE49-F238E27FC236}">
                        <a16:creationId xmlns:a16="http://schemas.microsoft.com/office/drawing/2014/main" id="{79434856-0869-461A-B1D6-9B1952FACB27}"/>
                      </a:ext>
                    </a:extLst>
                  </p:cNvPr>
                  <p:cNvSpPr/>
                  <p:nvPr/>
                </p:nvSpPr>
                <p:spPr bwMode="auto">
                  <a:xfrm>
                    <a:off x="5316157"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pic>
            <p:nvPicPr>
              <p:cNvPr id="188" name="Picture 187">
                <a:extLst>
                  <a:ext uri="{FF2B5EF4-FFF2-40B4-BE49-F238E27FC236}">
                    <a16:creationId xmlns:a16="http://schemas.microsoft.com/office/drawing/2014/main" id="{5E4ABC0B-B8D0-4A37-B1F3-F4B7D031252A}"/>
                  </a:ext>
                </a:extLst>
              </p:cNvPr>
              <p:cNvPicPr>
                <a:picLocks noChangeAspect="1"/>
              </p:cNvPicPr>
              <p:nvPr/>
            </p:nvPicPr>
            <p:blipFill>
              <a:blip r:embed="rId10"/>
              <a:stretch>
                <a:fillRect/>
              </a:stretch>
            </p:blipFill>
            <p:spPr>
              <a:xfrm>
                <a:off x="3863190" y="2842711"/>
                <a:ext cx="402057" cy="402057"/>
              </a:xfrm>
              <a:prstGeom prst="rect">
                <a:avLst/>
              </a:prstGeom>
            </p:spPr>
          </p:pic>
        </p:grpSp>
      </p:grpSp>
      <p:grpSp>
        <p:nvGrpSpPr>
          <p:cNvPr id="220" name="Group 219">
            <a:extLst>
              <a:ext uri="{FF2B5EF4-FFF2-40B4-BE49-F238E27FC236}">
                <a16:creationId xmlns:a16="http://schemas.microsoft.com/office/drawing/2014/main" id="{EDDCA8DA-5F72-43DA-BFD2-C65413CF9A48}"/>
              </a:ext>
            </a:extLst>
          </p:cNvPr>
          <p:cNvGrpSpPr/>
          <p:nvPr/>
        </p:nvGrpSpPr>
        <p:grpSpPr>
          <a:xfrm>
            <a:off x="10972747" y="1218602"/>
            <a:ext cx="548556" cy="495981"/>
            <a:chOff x="7997429" y="912040"/>
            <a:chExt cx="1015942" cy="1015942"/>
          </a:xfrm>
        </p:grpSpPr>
        <p:sp>
          <p:nvSpPr>
            <p:cNvPr id="221" name="Oval 220">
              <a:extLst>
                <a:ext uri="{FF2B5EF4-FFF2-40B4-BE49-F238E27FC236}">
                  <a16:creationId xmlns:a16="http://schemas.microsoft.com/office/drawing/2014/main" id="{5CB495FC-7D52-47BB-BDEF-7659B5CB99B5}"/>
                </a:ext>
              </a:extLst>
            </p:cNvPr>
            <p:cNvSpPr/>
            <p:nvPr/>
          </p:nvSpPr>
          <p:spPr bwMode="auto">
            <a:xfrm>
              <a:off x="7997429" y="912040"/>
              <a:ext cx="1015942" cy="1015942"/>
            </a:xfrm>
            <a:prstGeom prst="ellipse">
              <a:avLst/>
            </a:prstGeom>
            <a:solidFill>
              <a:schemeClr val="bg1">
                <a:lumMod val="85000"/>
              </a:schemeClr>
            </a:solidFill>
            <a:ln w="28575">
              <a:solidFill>
                <a:schemeClr val="bg1">
                  <a:lumMod val="65000"/>
                </a:schemeClr>
              </a:solidFill>
              <a:prstDash val="solid"/>
            </a:ln>
          </p:spPr>
          <p:txBody>
            <a:bodyPr lIns="182854" tIns="146283" rIns="182854" bIns="146283" anchor="t" anchorCtr="0"/>
            <a:lstStyle/>
            <a:p>
              <a:pPr algn="ctr" defTabSz="950600">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sp>
          <p:nvSpPr>
            <p:cNvPr id="222" name="globe_2">
              <a:extLst>
                <a:ext uri="{FF2B5EF4-FFF2-40B4-BE49-F238E27FC236}">
                  <a16:creationId xmlns:a16="http://schemas.microsoft.com/office/drawing/2014/main" id="{F42CF97B-5F7C-474D-B23B-53CE3A641063}"/>
                </a:ext>
              </a:extLst>
            </p:cNvPr>
            <p:cNvSpPr>
              <a:spLocks noChangeAspect="1" noEditPoints="1"/>
            </p:cNvSpPr>
            <p:nvPr/>
          </p:nvSpPr>
          <p:spPr bwMode="auto">
            <a:xfrm>
              <a:off x="8239017" y="1153628"/>
              <a:ext cx="532764" cy="5327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428">
                <a:gradFill>
                  <a:gsLst>
                    <a:gs pos="0">
                      <a:srgbClr val="505050"/>
                    </a:gs>
                    <a:gs pos="100000">
                      <a:srgbClr val="505050"/>
                    </a:gs>
                  </a:gsLst>
                </a:gradFill>
                <a:latin typeface="Segoe UI"/>
              </a:endParaRPr>
            </a:p>
          </p:txBody>
        </p:sp>
      </p:grpSp>
      <p:cxnSp>
        <p:nvCxnSpPr>
          <p:cNvPr id="223" name="Connector: Elbow 222">
            <a:extLst>
              <a:ext uri="{FF2B5EF4-FFF2-40B4-BE49-F238E27FC236}">
                <a16:creationId xmlns:a16="http://schemas.microsoft.com/office/drawing/2014/main" id="{28E0EF0F-8EB0-477F-9525-348C22FC3111}"/>
              </a:ext>
            </a:extLst>
          </p:cNvPr>
          <p:cNvCxnSpPr>
            <a:cxnSpLocks/>
          </p:cNvCxnSpPr>
          <p:nvPr/>
        </p:nvCxnSpPr>
        <p:spPr>
          <a:xfrm rot="16200000" flipH="1">
            <a:off x="10629115" y="2334219"/>
            <a:ext cx="1246325" cy="20870"/>
          </a:xfrm>
          <a:prstGeom prst="bentConnector3">
            <a:avLst>
              <a:gd name="adj1" fmla="val 50000"/>
            </a:avLst>
          </a:prstGeom>
          <a:ln w="19050">
            <a:solidFill>
              <a:srgbClr val="5C2D9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pic>
        <p:nvPicPr>
          <p:cNvPr id="224" name="Picture 223">
            <a:extLst>
              <a:ext uri="{FF2B5EF4-FFF2-40B4-BE49-F238E27FC236}">
                <a16:creationId xmlns:a16="http://schemas.microsoft.com/office/drawing/2014/main" id="{91605427-FF59-4FB9-A342-22D293635FC6}"/>
              </a:ext>
            </a:extLst>
          </p:cNvPr>
          <p:cNvPicPr>
            <a:picLocks noChangeAspect="1"/>
          </p:cNvPicPr>
          <p:nvPr/>
        </p:nvPicPr>
        <p:blipFill>
          <a:blip r:embed="rId12"/>
          <a:stretch>
            <a:fillRect/>
          </a:stretch>
        </p:blipFill>
        <p:spPr>
          <a:xfrm>
            <a:off x="11018041" y="2070148"/>
            <a:ext cx="506816" cy="416985"/>
          </a:xfrm>
          <a:prstGeom prst="rect">
            <a:avLst/>
          </a:prstGeom>
        </p:spPr>
      </p:pic>
      <p:pic>
        <p:nvPicPr>
          <p:cNvPr id="225" name="Graphic 224">
            <a:extLst>
              <a:ext uri="{FF2B5EF4-FFF2-40B4-BE49-F238E27FC236}">
                <a16:creationId xmlns:a16="http://schemas.microsoft.com/office/drawing/2014/main" id="{82E14CEB-28B9-4FCB-84E5-CACBF7D4027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572609" y="4171813"/>
            <a:ext cx="441790" cy="363484"/>
          </a:xfrm>
          <a:prstGeom prst="rect">
            <a:avLst/>
          </a:prstGeom>
        </p:spPr>
      </p:pic>
      <p:cxnSp>
        <p:nvCxnSpPr>
          <p:cNvPr id="226" name="Connector: Elbow 225">
            <a:extLst>
              <a:ext uri="{FF2B5EF4-FFF2-40B4-BE49-F238E27FC236}">
                <a16:creationId xmlns:a16="http://schemas.microsoft.com/office/drawing/2014/main" id="{4191FE13-DD54-4557-847F-2472588AF582}"/>
              </a:ext>
            </a:extLst>
          </p:cNvPr>
          <p:cNvCxnSpPr>
            <a:cxnSpLocks/>
          </p:cNvCxnSpPr>
          <p:nvPr/>
        </p:nvCxnSpPr>
        <p:spPr>
          <a:xfrm flipV="1">
            <a:off x="8065616" y="3802458"/>
            <a:ext cx="2728210" cy="3660"/>
          </a:xfrm>
          <a:prstGeom prst="bentConnector3">
            <a:avLst/>
          </a:prstGeom>
          <a:ln w="12700">
            <a:solidFill>
              <a:schemeClr val="tx1"/>
            </a:solidFill>
            <a:prstDash val="dashDot"/>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B5C2FD8A-EB6D-4373-954C-38834EA1291F}"/>
              </a:ext>
            </a:extLst>
          </p:cNvPr>
          <p:cNvCxnSpPr>
            <a:cxnSpLocks/>
          </p:cNvCxnSpPr>
          <p:nvPr/>
        </p:nvCxnSpPr>
        <p:spPr>
          <a:xfrm>
            <a:off x="8059964" y="4657688"/>
            <a:ext cx="2733862" cy="0"/>
          </a:xfrm>
          <a:prstGeom prst="line">
            <a:avLst/>
          </a:prstGeom>
          <a:ln w="12700">
            <a:solidFill>
              <a:schemeClr val="tx1"/>
            </a:solidFill>
            <a:prstDash val="dashDot"/>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28" name="Cylinder 227">
            <a:extLst>
              <a:ext uri="{FF2B5EF4-FFF2-40B4-BE49-F238E27FC236}">
                <a16:creationId xmlns:a16="http://schemas.microsoft.com/office/drawing/2014/main" id="{873326A2-49DC-41F6-AAE2-BBCD13D1D0EC}"/>
              </a:ext>
            </a:extLst>
          </p:cNvPr>
          <p:cNvSpPr/>
          <p:nvPr/>
        </p:nvSpPr>
        <p:spPr bwMode="auto">
          <a:xfrm rot="5400000">
            <a:off x="9297105" y="3372743"/>
            <a:ext cx="117844" cy="2564149"/>
          </a:xfrm>
          <a:prstGeom prst="can">
            <a:avLst/>
          </a:pr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9" name="Freeform: Shape 228">
            <a:extLst>
              <a:ext uri="{FF2B5EF4-FFF2-40B4-BE49-F238E27FC236}">
                <a16:creationId xmlns:a16="http://schemas.microsoft.com/office/drawing/2014/main" id="{07F32C16-3401-4C8C-B801-8D80920D9C5F}"/>
              </a:ext>
            </a:extLst>
          </p:cNvPr>
          <p:cNvSpPr/>
          <p:nvPr/>
        </p:nvSpPr>
        <p:spPr bwMode="auto">
          <a:xfrm>
            <a:off x="8112268" y="3740770"/>
            <a:ext cx="2564149" cy="773543"/>
          </a:xfrm>
          <a:custGeom>
            <a:avLst/>
            <a:gdLst>
              <a:gd name="connsiteX0" fmla="*/ 1368458 w 2764156"/>
              <a:gd name="connsiteY0" fmla="*/ 0 h 1062782"/>
              <a:gd name="connsiteX1" fmla="*/ 1368459 w 2764156"/>
              <a:gd name="connsiteY1" fmla="*/ 0 h 1062782"/>
              <a:gd name="connsiteX2" fmla="*/ 1368459 w 2764156"/>
              <a:gd name="connsiteY2" fmla="*/ 0 h 1062782"/>
              <a:gd name="connsiteX3" fmla="*/ 1383457 w 2764156"/>
              <a:gd name="connsiteY3" fmla="*/ 1553 h 1062782"/>
              <a:gd name="connsiteX4" fmla="*/ 2743916 w 2764156"/>
              <a:gd name="connsiteY4" fmla="*/ 1554 h 1062782"/>
              <a:gd name="connsiteX5" fmla="*/ 2743917 w 2764156"/>
              <a:gd name="connsiteY5" fmla="*/ 1553 h 1062782"/>
              <a:gd name="connsiteX6" fmla="*/ 2764156 w 2764156"/>
              <a:gd name="connsiteY6" fmla="*/ 82509 h 1062782"/>
              <a:gd name="connsiteX7" fmla="*/ 2764156 w 2764156"/>
              <a:gd name="connsiteY7" fmla="*/ 82510 h 1062782"/>
              <a:gd name="connsiteX8" fmla="*/ 2764156 w 2764156"/>
              <a:gd name="connsiteY8" fmla="*/ 82510 h 1062782"/>
              <a:gd name="connsiteX9" fmla="*/ 2743917 w 2764156"/>
              <a:gd name="connsiteY9" fmla="*/ 163466 h 1062782"/>
              <a:gd name="connsiteX10" fmla="*/ 1449415 w 2764156"/>
              <a:gd name="connsiteY10" fmla="*/ 163465 h 1062782"/>
              <a:gd name="connsiteX11" fmla="*/ 1449414 w 2764156"/>
              <a:gd name="connsiteY11" fmla="*/ 1042543 h 1062782"/>
              <a:gd name="connsiteX12" fmla="*/ 1368458 w 2764156"/>
              <a:gd name="connsiteY12" fmla="*/ 1062782 h 1062782"/>
              <a:gd name="connsiteX13" fmla="*/ 1336946 w 2764156"/>
              <a:gd name="connsiteY13" fmla="*/ 1061192 h 1062782"/>
              <a:gd name="connsiteX14" fmla="*/ 1325784 w 2764156"/>
              <a:gd name="connsiteY14" fmla="*/ 1058894 h 1062782"/>
              <a:gd name="connsiteX15" fmla="*/ 20239 w 2764156"/>
              <a:gd name="connsiteY15" fmla="*/ 1058893 h 1062782"/>
              <a:gd name="connsiteX16" fmla="*/ 0 w 2764156"/>
              <a:gd name="connsiteY16" fmla="*/ 977937 h 1062782"/>
              <a:gd name="connsiteX17" fmla="*/ 1591 w 2764156"/>
              <a:gd name="connsiteY17" fmla="*/ 946425 h 1062782"/>
              <a:gd name="connsiteX18" fmla="*/ 20239 w 2764156"/>
              <a:gd name="connsiteY18" fmla="*/ 896981 h 1062782"/>
              <a:gd name="connsiteX19" fmla="*/ 1287502 w 2764156"/>
              <a:gd name="connsiteY19" fmla="*/ 896982 h 1062782"/>
              <a:gd name="connsiteX20" fmla="*/ 1287503 w 2764156"/>
              <a:gd name="connsiteY20" fmla="*/ 143562 h 1062782"/>
              <a:gd name="connsiteX21" fmla="*/ 1286091 w 2764156"/>
              <a:gd name="connsiteY21" fmla="*/ 139754 h 1062782"/>
              <a:gd name="connsiteX22" fmla="*/ 1280163 w 2764156"/>
              <a:gd name="connsiteY22" fmla="*/ 82509 h 1062782"/>
              <a:gd name="connsiteX23" fmla="*/ 1281753 w 2764156"/>
              <a:gd name="connsiteY23" fmla="*/ 50997 h 1062782"/>
              <a:gd name="connsiteX24" fmla="*/ 1287503 w 2764156"/>
              <a:gd name="connsiteY24" fmla="*/ 23069 h 1062782"/>
              <a:gd name="connsiteX25" fmla="*/ 1287503 w 2764156"/>
              <a:gd name="connsiteY25" fmla="*/ 20240 h 1062782"/>
              <a:gd name="connsiteX26" fmla="*/ 1287502 w 2764156"/>
              <a:gd name="connsiteY26" fmla="*/ 20239 h 1062782"/>
              <a:gd name="connsiteX27" fmla="*/ 1288169 w 2764156"/>
              <a:gd name="connsiteY27" fmla="*/ 19837 h 1062782"/>
              <a:gd name="connsiteX28" fmla="*/ 1289086 w 2764156"/>
              <a:gd name="connsiteY28" fmla="*/ 15379 h 1062782"/>
              <a:gd name="connsiteX29" fmla="*/ 1300402 w 2764156"/>
              <a:gd name="connsiteY29" fmla="*/ 1553 h 1062782"/>
              <a:gd name="connsiteX30" fmla="*/ 1353461 w 2764156"/>
              <a:gd name="connsiteY30" fmla="*/ 1553 h 106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64156" h="1062782">
                <a:moveTo>
                  <a:pt x="1368458" y="0"/>
                </a:moveTo>
                <a:lnTo>
                  <a:pt x="1368459" y="0"/>
                </a:lnTo>
                <a:lnTo>
                  <a:pt x="1368459" y="0"/>
                </a:lnTo>
                <a:lnTo>
                  <a:pt x="1383457" y="1553"/>
                </a:lnTo>
                <a:lnTo>
                  <a:pt x="2743916" y="1554"/>
                </a:lnTo>
                <a:lnTo>
                  <a:pt x="2743917" y="1553"/>
                </a:lnTo>
                <a:cubicBezTo>
                  <a:pt x="2755095" y="1553"/>
                  <a:pt x="2764156" y="37798"/>
                  <a:pt x="2764156" y="82509"/>
                </a:cubicBezTo>
                <a:lnTo>
                  <a:pt x="2764156" y="82510"/>
                </a:lnTo>
                <a:lnTo>
                  <a:pt x="2764156" y="82510"/>
                </a:lnTo>
                <a:cubicBezTo>
                  <a:pt x="2764156" y="127221"/>
                  <a:pt x="2755095" y="163466"/>
                  <a:pt x="2743917" y="163466"/>
                </a:cubicBezTo>
                <a:lnTo>
                  <a:pt x="1449415" y="163465"/>
                </a:lnTo>
                <a:lnTo>
                  <a:pt x="1449414" y="1042543"/>
                </a:lnTo>
                <a:cubicBezTo>
                  <a:pt x="1449414" y="1053721"/>
                  <a:pt x="1413169" y="1062782"/>
                  <a:pt x="1368458" y="1062782"/>
                </a:cubicBezTo>
                <a:cubicBezTo>
                  <a:pt x="1357280" y="1062782"/>
                  <a:pt x="1346632" y="1062216"/>
                  <a:pt x="1336946" y="1061192"/>
                </a:cubicBezTo>
                <a:lnTo>
                  <a:pt x="1325784" y="1058894"/>
                </a:lnTo>
                <a:lnTo>
                  <a:pt x="20239" y="1058893"/>
                </a:lnTo>
                <a:cubicBezTo>
                  <a:pt x="9061" y="1058893"/>
                  <a:pt x="0" y="1022648"/>
                  <a:pt x="0" y="977937"/>
                </a:cubicBezTo>
                <a:cubicBezTo>
                  <a:pt x="0" y="966759"/>
                  <a:pt x="567" y="956110"/>
                  <a:pt x="1591" y="946425"/>
                </a:cubicBezTo>
                <a:cubicBezTo>
                  <a:pt x="4663" y="917369"/>
                  <a:pt x="11856" y="896981"/>
                  <a:pt x="20239" y="896981"/>
                </a:cubicBezTo>
                <a:lnTo>
                  <a:pt x="1287502" y="896982"/>
                </a:lnTo>
                <a:lnTo>
                  <a:pt x="1287503" y="143562"/>
                </a:lnTo>
                <a:lnTo>
                  <a:pt x="1286091" y="139754"/>
                </a:lnTo>
                <a:cubicBezTo>
                  <a:pt x="1282428" y="125104"/>
                  <a:pt x="1280163" y="104865"/>
                  <a:pt x="1280163" y="82509"/>
                </a:cubicBezTo>
                <a:cubicBezTo>
                  <a:pt x="1280163" y="71331"/>
                  <a:pt x="1280729" y="60683"/>
                  <a:pt x="1281753" y="50997"/>
                </a:cubicBezTo>
                <a:lnTo>
                  <a:pt x="1287503" y="23069"/>
                </a:lnTo>
                <a:lnTo>
                  <a:pt x="1287503" y="20240"/>
                </a:lnTo>
                <a:lnTo>
                  <a:pt x="1287502" y="20239"/>
                </a:lnTo>
                <a:lnTo>
                  <a:pt x="1288169" y="19837"/>
                </a:lnTo>
                <a:lnTo>
                  <a:pt x="1289086" y="15379"/>
                </a:lnTo>
                <a:cubicBezTo>
                  <a:pt x="1292317" y="6650"/>
                  <a:pt x="1296211" y="1553"/>
                  <a:pt x="1300402" y="1553"/>
                </a:cubicBezTo>
                <a:lnTo>
                  <a:pt x="1353461" y="1553"/>
                </a:lnTo>
                <a:close/>
              </a:path>
            </a:pathLst>
          </a:cu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2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0" name="Group 229">
            <a:extLst>
              <a:ext uri="{FF2B5EF4-FFF2-40B4-BE49-F238E27FC236}">
                <a16:creationId xmlns:a16="http://schemas.microsoft.com/office/drawing/2014/main" id="{0A547134-3C88-4B98-AA16-4C766957DC96}"/>
              </a:ext>
            </a:extLst>
          </p:cNvPr>
          <p:cNvGrpSpPr/>
          <p:nvPr/>
        </p:nvGrpSpPr>
        <p:grpSpPr>
          <a:xfrm>
            <a:off x="6238407" y="1351006"/>
            <a:ext cx="548556" cy="486073"/>
            <a:chOff x="7997429" y="912040"/>
            <a:chExt cx="1015942" cy="1015942"/>
          </a:xfrm>
        </p:grpSpPr>
        <p:sp>
          <p:nvSpPr>
            <p:cNvPr id="231" name="Oval 230">
              <a:extLst>
                <a:ext uri="{FF2B5EF4-FFF2-40B4-BE49-F238E27FC236}">
                  <a16:creationId xmlns:a16="http://schemas.microsoft.com/office/drawing/2014/main" id="{69432606-E06C-4492-BCA4-B743927B75E6}"/>
                </a:ext>
              </a:extLst>
            </p:cNvPr>
            <p:cNvSpPr/>
            <p:nvPr/>
          </p:nvSpPr>
          <p:spPr bwMode="auto">
            <a:xfrm>
              <a:off x="7997429" y="912040"/>
              <a:ext cx="1015942" cy="1015942"/>
            </a:xfrm>
            <a:prstGeom prst="ellipse">
              <a:avLst/>
            </a:prstGeom>
            <a:solidFill>
              <a:schemeClr val="bg1">
                <a:lumMod val="85000"/>
              </a:schemeClr>
            </a:solidFill>
            <a:ln w="28575">
              <a:solidFill>
                <a:schemeClr val="bg1">
                  <a:lumMod val="65000"/>
                </a:schemeClr>
              </a:solidFill>
              <a:prstDash val="solid"/>
            </a:ln>
          </p:spPr>
          <p:txBody>
            <a:bodyPr lIns="182854" tIns="146283" rIns="182854" bIns="146283" anchor="t" anchorCtr="0"/>
            <a:lstStyle/>
            <a:p>
              <a:pPr algn="ctr" defTabSz="950600">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sp>
          <p:nvSpPr>
            <p:cNvPr id="232" name="globe_2">
              <a:extLst>
                <a:ext uri="{FF2B5EF4-FFF2-40B4-BE49-F238E27FC236}">
                  <a16:creationId xmlns:a16="http://schemas.microsoft.com/office/drawing/2014/main" id="{DB4FF150-B1C9-4608-B4CD-935FF0F5875C}"/>
                </a:ext>
              </a:extLst>
            </p:cNvPr>
            <p:cNvSpPr>
              <a:spLocks noChangeAspect="1" noEditPoints="1"/>
            </p:cNvSpPr>
            <p:nvPr/>
          </p:nvSpPr>
          <p:spPr bwMode="auto">
            <a:xfrm>
              <a:off x="8239017" y="1153628"/>
              <a:ext cx="532764" cy="5327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428">
                <a:gradFill>
                  <a:gsLst>
                    <a:gs pos="0">
                      <a:srgbClr val="505050"/>
                    </a:gs>
                    <a:gs pos="100000">
                      <a:srgbClr val="505050"/>
                    </a:gs>
                  </a:gsLst>
                </a:gradFill>
                <a:latin typeface="Segoe UI"/>
              </a:endParaRPr>
            </a:p>
          </p:txBody>
        </p:sp>
      </p:grpSp>
      <p:cxnSp>
        <p:nvCxnSpPr>
          <p:cNvPr id="233" name="Connector: Elbow 232">
            <a:extLst>
              <a:ext uri="{FF2B5EF4-FFF2-40B4-BE49-F238E27FC236}">
                <a16:creationId xmlns:a16="http://schemas.microsoft.com/office/drawing/2014/main" id="{FAD4309A-DD9D-4439-8864-9FF77AF4BA1A}"/>
              </a:ext>
            </a:extLst>
          </p:cNvPr>
          <p:cNvCxnSpPr>
            <a:cxnSpLocks/>
            <a:stCxn id="231" idx="4"/>
          </p:cNvCxnSpPr>
          <p:nvPr/>
        </p:nvCxnSpPr>
        <p:spPr>
          <a:xfrm rot="16200000" flipH="1">
            <a:off x="6075322" y="2274441"/>
            <a:ext cx="874729" cy="1"/>
          </a:xfrm>
          <a:prstGeom prst="bentConnector3">
            <a:avLst>
              <a:gd name="adj1" fmla="val 50000"/>
            </a:avLst>
          </a:prstGeom>
          <a:ln w="19050">
            <a:solidFill>
              <a:srgbClr val="5C2D9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004E0F16-DEC2-4044-8D50-A144BDB67677}"/>
              </a:ext>
            </a:extLst>
          </p:cNvPr>
          <p:cNvSpPr txBox="1"/>
          <p:nvPr/>
        </p:nvSpPr>
        <p:spPr>
          <a:xfrm>
            <a:off x="5247842" y="1385732"/>
            <a:ext cx="1267730" cy="499107"/>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a:gradFill>
                  <a:gsLst>
                    <a:gs pos="2917">
                      <a:srgbClr val="2F2F2F"/>
                    </a:gs>
                    <a:gs pos="30000">
                      <a:srgbClr val="2F2F2F"/>
                    </a:gs>
                  </a:gsLst>
                  <a:lin ang="5400000" scaled="0"/>
                </a:gradFill>
                <a:latin typeface="Segoe UI"/>
              </a:rPr>
              <a:t>Internet</a:t>
            </a:r>
          </a:p>
        </p:txBody>
      </p:sp>
      <p:sp>
        <p:nvSpPr>
          <p:cNvPr id="235" name="TextBox 234">
            <a:extLst>
              <a:ext uri="{FF2B5EF4-FFF2-40B4-BE49-F238E27FC236}">
                <a16:creationId xmlns:a16="http://schemas.microsoft.com/office/drawing/2014/main" id="{809E0056-E0C9-4271-8CB4-CDB300B26A78}"/>
              </a:ext>
            </a:extLst>
          </p:cNvPr>
          <p:cNvSpPr txBox="1"/>
          <p:nvPr/>
        </p:nvSpPr>
        <p:spPr>
          <a:xfrm>
            <a:off x="10102224" y="1300008"/>
            <a:ext cx="1267730" cy="499107"/>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a:solidFill>
                  <a:srgbClr val="505050"/>
                </a:solidFill>
                <a:latin typeface="Segoe UI Semilight" panose="020B0402040204020203" pitchFamily="34" charset="0"/>
                <a:cs typeface="Segoe UI Semilight" panose="020B0402040204020203" pitchFamily="34" charset="0"/>
              </a:rPr>
              <a:t>Internet</a:t>
            </a:r>
          </a:p>
        </p:txBody>
      </p:sp>
      <p:sp>
        <p:nvSpPr>
          <p:cNvPr id="236" name="TextBox 235">
            <a:extLst>
              <a:ext uri="{FF2B5EF4-FFF2-40B4-BE49-F238E27FC236}">
                <a16:creationId xmlns:a16="http://schemas.microsoft.com/office/drawing/2014/main" id="{3EAD652C-3D7C-494A-8462-8BA9E23CDFA8}"/>
              </a:ext>
            </a:extLst>
          </p:cNvPr>
          <p:cNvSpPr txBox="1"/>
          <p:nvPr/>
        </p:nvSpPr>
        <p:spPr>
          <a:xfrm>
            <a:off x="4400314" y="6217849"/>
            <a:ext cx="4023811" cy="499107"/>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dirty="0">
                <a:solidFill>
                  <a:srgbClr val="505050"/>
                </a:solidFill>
                <a:latin typeface="Segoe UI Semilight" panose="020B0402040204020203" pitchFamily="34" charset="0"/>
                <a:cs typeface="Segoe UI Semilight" panose="020B0402040204020203" pitchFamily="34" charset="0"/>
              </a:rPr>
              <a:t>Compute - VNet</a:t>
            </a:r>
          </a:p>
        </p:txBody>
      </p:sp>
      <p:sp>
        <p:nvSpPr>
          <p:cNvPr id="237" name="TextBox 236">
            <a:extLst>
              <a:ext uri="{FF2B5EF4-FFF2-40B4-BE49-F238E27FC236}">
                <a16:creationId xmlns:a16="http://schemas.microsoft.com/office/drawing/2014/main" id="{F0748E0E-0F2A-4AF4-8D0C-1C4318F5470C}"/>
              </a:ext>
            </a:extLst>
          </p:cNvPr>
          <p:cNvSpPr txBox="1"/>
          <p:nvPr/>
        </p:nvSpPr>
        <p:spPr>
          <a:xfrm>
            <a:off x="8701318" y="3094921"/>
            <a:ext cx="1729859" cy="704713"/>
          </a:xfrm>
          <a:prstGeom prst="rect">
            <a:avLst/>
          </a:prstGeom>
          <a:noFill/>
        </p:spPr>
        <p:txBody>
          <a:bodyPr wrap="square" lIns="186521" tIns="149217" rIns="186521" bIns="149217" rtlCol="0" anchor="t">
            <a:spAutoFit/>
          </a:bodyPr>
          <a:lstStyle/>
          <a:p>
            <a:pPr algn="ctr" defTabSz="932597">
              <a:lnSpc>
                <a:spcPct val="90000"/>
              </a:lnSpc>
              <a:spcAft>
                <a:spcPts val="612"/>
              </a:spcAft>
              <a:defRPr/>
            </a:pPr>
            <a:r>
              <a:rPr lang="en-US" sz="1428" dirty="0">
                <a:solidFill>
                  <a:srgbClr val="505050"/>
                </a:solidFill>
                <a:latin typeface="Segoe UI Semilight" panose="020B0402040204020203" pitchFamily="34" charset="0"/>
                <a:cs typeface="Segoe UI Semilight" panose="020B0402040204020203" pitchFamily="34" charset="0"/>
              </a:rPr>
              <a:t>VNet Service Endpoint</a:t>
            </a:r>
          </a:p>
        </p:txBody>
      </p:sp>
      <p:sp>
        <p:nvSpPr>
          <p:cNvPr id="13" name="Rectangle 12">
            <a:extLst>
              <a:ext uri="{FF2B5EF4-FFF2-40B4-BE49-F238E27FC236}">
                <a16:creationId xmlns:a16="http://schemas.microsoft.com/office/drawing/2014/main" id="{DA8FAB23-205A-40B0-8F92-EFEFF9CC2BDC}"/>
              </a:ext>
            </a:extLst>
          </p:cNvPr>
          <p:cNvSpPr/>
          <p:nvPr/>
        </p:nvSpPr>
        <p:spPr>
          <a:xfrm>
            <a:off x="10565204" y="6009369"/>
            <a:ext cx="1322908" cy="310307"/>
          </a:xfrm>
          <a:prstGeom prst="rect">
            <a:avLst/>
          </a:prstGeom>
        </p:spPr>
        <p:txBody>
          <a:bodyPr wrap="none">
            <a:spAutoFit/>
          </a:bodyPr>
          <a:lstStyle/>
          <a:p>
            <a:pPr algn="ctr" defTabSz="932597">
              <a:lnSpc>
                <a:spcPct val="90000"/>
              </a:lnSpc>
              <a:spcAft>
                <a:spcPts val="612"/>
              </a:spcAft>
              <a:defRPr/>
            </a:pPr>
            <a:r>
              <a:rPr lang="en-US" sz="1530" dirty="0">
                <a:solidFill>
                  <a:srgbClr val="505050"/>
                </a:solidFill>
                <a:latin typeface="Segoe UI Semilight" panose="020B0402040204020203" pitchFamily="34" charset="0"/>
                <a:cs typeface="Segoe UI Semilight" panose="020B0402040204020203" pitchFamily="34" charset="0"/>
              </a:rPr>
              <a:t>PaaS services</a:t>
            </a:r>
          </a:p>
        </p:txBody>
      </p:sp>
      <p:sp>
        <p:nvSpPr>
          <p:cNvPr id="258" name="TextBox 257">
            <a:extLst>
              <a:ext uri="{FF2B5EF4-FFF2-40B4-BE49-F238E27FC236}">
                <a16:creationId xmlns:a16="http://schemas.microsoft.com/office/drawing/2014/main" id="{F8BFCE0C-7783-433D-8DF8-E5F709C99EB3}"/>
              </a:ext>
            </a:extLst>
          </p:cNvPr>
          <p:cNvSpPr txBox="1"/>
          <p:nvPr/>
        </p:nvSpPr>
        <p:spPr>
          <a:xfrm>
            <a:off x="1251823" y="3165849"/>
            <a:ext cx="2177053" cy="813664"/>
          </a:xfrm>
          <a:prstGeom prst="rect">
            <a:avLst/>
          </a:prstGeom>
          <a:noFill/>
        </p:spPr>
        <p:txBody>
          <a:bodyPr wrap="square" lIns="93260" tIns="149217" rIns="186521" bIns="149217" rtlCol="0" anchor="ctr" anchorCtr="0">
            <a:spAutoFit/>
          </a:bodyPr>
          <a:lstStyle/>
          <a:p>
            <a:pPr defTabSz="932597">
              <a:spcAft>
                <a:spcPts val="612"/>
              </a:spcAft>
              <a:defRPr/>
            </a:pPr>
            <a:r>
              <a:rPr lang="en-US" sz="1632" dirty="0">
                <a:solidFill>
                  <a:srgbClr val="505050"/>
                </a:solidFill>
                <a:latin typeface="Segoe UI Semibold" panose="020B0702040204020203" pitchFamily="34" charset="0"/>
              </a:rPr>
              <a:t>From the </a:t>
            </a:r>
            <a:br>
              <a:rPr lang="en-US" sz="1632" dirty="0">
                <a:solidFill>
                  <a:srgbClr val="505050"/>
                </a:solidFill>
                <a:latin typeface="Segoe UI Semibold" panose="020B0702040204020203" pitchFamily="34" charset="0"/>
              </a:rPr>
            </a:br>
            <a:r>
              <a:rPr lang="en-US" sz="1632" dirty="0">
                <a:solidFill>
                  <a:srgbClr val="505050"/>
                </a:solidFill>
                <a:latin typeface="Segoe UI Semibold" panose="020B0702040204020203" pitchFamily="34" charset="0"/>
              </a:rPr>
              <a:t>Internet</a:t>
            </a:r>
          </a:p>
        </p:txBody>
      </p:sp>
      <p:sp>
        <p:nvSpPr>
          <p:cNvPr id="260" name="Intelligence" title="Icon of circles connected by crossing lines">
            <a:extLst>
              <a:ext uri="{FF2B5EF4-FFF2-40B4-BE49-F238E27FC236}">
                <a16:creationId xmlns:a16="http://schemas.microsoft.com/office/drawing/2014/main" id="{2069AB96-E8ED-46EA-AE52-A478D9D919A8}"/>
              </a:ext>
            </a:extLst>
          </p:cNvPr>
          <p:cNvSpPr>
            <a:spLocks noChangeAspect="1" noEditPoints="1"/>
          </p:cNvSpPr>
          <p:nvPr/>
        </p:nvSpPr>
        <p:spPr bwMode="auto">
          <a:xfrm>
            <a:off x="567260" y="3369378"/>
            <a:ext cx="488481" cy="46938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dirty="0">
              <a:solidFill>
                <a:srgbClr val="505050"/>
              </a:solidFill>
              <a:latin typeface="Segoe UI"/>
            </a:endParaRPr>
          </a:p>
        </p:txBody>
      </p:sp>
      <p:sp>
        <p:nvSpPr>
          <p:cNvPr id="262" name="TextBox 261">
            <a:extLst>
              <a:ext uri="{FF2B5EF4-FFF2-40B4-BE49-F238E27FC236}">
                <a16:creationId xmlns:a16="http://schemas.microsoft.com/office/drawing/2014/main" id="{887B4787-59E8-44A1-963B-AB30E8579831}"/>
              </a:ext>
            </a:extLst>
          </p:cNvPr>
          <p:cNvSpPr txBox="1"/>
          <p:nvPr/>
        </p:nvSpPr>
        <p:spPr>
          <a:xfrm>
            <a:off x="1251822" y="4126635"/>
            <a:ext cx="2044570" cy="813664"/>
          </a:xfrm>
          <a:prstGeom prst="rect">
            <a:avLst/>
          </a:prstGeom>
          <a:noFill/>
        </p:spPr>
        <p:txBody>
          <a:bodyPr wrap="square" lIns="93260" tIns="149217" rIns="186521" bIns="149217" rtlCol="0" anchor="ctr" anchorCtr="0">
            <a:spAutoFit/>
          </a:bodyPr>
          <a:lstStyle/>
          <a:p>
            <a:pPr defTabSz="932597">
              <a:defRPr/>
            </a:pPr>
            <a:r>
              <a:rPr lang="en-US" sz="1632" dirty="0">
                <a:solidFill>
                  <a:srgbClr val="505050"/>
                </a:solidFill>
                <a:latin typeface="Segoe UI Semibold" panose="020B0702040204020203" pitchFamily="34" charset="0"/>
              </a:rPr>
              <a:t>Within </a:t>
            </a:r>
            <a:br>
              <a:rPr lang="en-US" sz="1632" dirty="0">
                <a:solidFill>
                  <a:srgbClr val="505050"/>
                </a:solidFill>
                <a:latin typeface="Segoe UI Semibold" panose="020B0702040204020203" pitchFamily="34" charset="0"/>
              </a:rPr>
            </a:br>
            <a:r>
              <a:rPr lang="en-US" sz="1632" dirty="0">
                <a:solidFill>
                  <a:srgbClr val="505050"/>
                </a:solidFill>
                <a:latin typeface="Segoe UI Semibold" panose="020B0702040204020203" pitchFamily="34" charset="0"/>
              </a:rPr>
              <a:t>the vNet</a:t>
            </a:r>
          </a:p>
        </p:txBody>
      </p:sp>
      <p:sp>
        <p:nvSpPr>
          <p:cNvPr id="264" name="network" title="Icon of a device or computer network">
            <a:extLst>
              <a:ext uri="{FF2B5EF4-FFF2-40B4-BE49-F238E27FC236}">
                <a16:creationId xmlns:a16="http://schemas.microsoft.com/office/drawing/2014/main" id="{8B53C9DB-279D-47BF-AB50-AF5B6A056031}"/>
              </a:ext>
            </a:extLst>
          </p:cNvPr>
          <p:cNvSpPr>
            <a:spLocks noChangeAspect="1" noEditPoints="1"/>
          </p:cNvSpPr>
          <p:nvPr/>
        </p:nvSpPr>
        <p:spPr bwMode="auto">
          <a:xfrm>
            <a:off x="591726" y="4336021"/>
            <a:ext cx="439549" cy="457673"/>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905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266" name="TextBox 265">
            <a:extLst>
              <a:ext uri="{FF2B5EF4-FFF2-40B4-BE49-F238E27FC236}">
                <a16:creationId xmlns:a16="http://schemas.microsoft.com/office/drawing/2014/main" id="{8C214DDF-07D7-4EFD-9394-069B1961D9AB}"/>
              </a:ext>
            </a:extLst>
          </p:cNvPr>
          <p:cNvSpPr txBox="1"/>
          <p:nvPr/>
        </p:nvSpPr>
        <p:spPr>
          <a:xfrm>
            <a:off x="1251822" y="5202838"/>
            <a:ext cx="1984540" cy="552471"/>
          </a:xfrm>
          <a:prstGeom prst="rect">
            <a:avLst/>
          </a:prstGeom>
          <a:noFill/>
        </p:spPr>
        <p:txBody>
          <a:bodyPr wrap="square" lIns="93260" tIns="149217" rIns="186521" bIns="149217" rtlCol="0" anchor="ctr" anchorCtr="0">
            <a:spAutoFit/>
          </a:bodyPr>
          <a:lstStyle/>
          <a:p>
            <a:pPr defTabSz="932597">
              <a:spcAft>
                <a:spcPts val="612"/>
              </a:spcAft>
              <a:defRPr/>
            </a:pPr>
            <a:r>
              <a:rPr lang="en-US" sz="1632" dirty="0">
                <a:solidFill>
                  <a:srgbClr val="505050"/>
                </a:solidFill>
                <a:latin typeface="Segoe UI Semibold" panose="020B0702040204020203" pitchFamily="34" charset="0"/>
              </a:rPr>
              <a:t>Within Azure</a:t>
            </a:r>
          </a:p>
        </p:txBody>
      </p:sp>
      <p:sp>
        <p:nvSpPr>
          <p:cNvPr id="268" name="cloud" title="Icon of a cloud">
            <a:extLst>
              <a:ext uri="{FF2B5EF4-FFF2-40B4-BE49-F238E27FC236}">
                <a16:creationId xmlns:a16="http://schemas.microsoft.com/office/drawing/2014/main" id="{8C999E8F-BCC5-4684-9222-40C28597F100}"/>
              </a:ext>
            </a:extLst>
          </p:cNvPr>
          <p:cNvSpPr>
            <a:spLocks noChangeAspect="1"/>
          </p:cNvSpPr>
          <p:nvPr/>
        </p:nvSpPr>
        <p:spPr bwMode="auto">
          <a:xfrm>
            <a:off x="556286" y="5331199"/>
            <a:ext cx="510429" cy="32519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dirty="0">
              <a:solidFill>
                <a:srgbClr val="505050"/>
              </a:solidFill>
              <a:latin typeface="Segoe UI"/>
            </a:endParaRPr>
          </a:p>
        </p:txBody>
      </p:sp>
      <p:sp>
        <p:nvSpPr>
          <p:cNvPr id="269" name="Title 5">
            <a:extLst>
              <a:ext uri="{FF2B5EF4-FFF2-40B4-BE49-F238E27FC236}">
                <a16:creationId xmlns:a16="http://schemas.microsoft.com/office/drawing/2014/main" id="{9FE71ACC-1579-49AB-99EE-C4183A59B2ED}"/>
              </a:ext>
            </a:extLst>
          </p:cNvPr>
          <p:cNvSpPr txBox="1">
            <a:spLocks/>
          </p:cNvSpPr>
          <p:nvPr/>
        </p:nvSpPr>
        <p:spPr>
          <a:xfrm>
            <a:off x="1251823" y="2347567"/>
            <a:ext cx="2545227" cy="649388"/>
          </a:xfrm>
          <a:prstGeom prst="rect">
            <a:avLst/>
          </a:prstGeom>
        </p:spPr>
        <p:txBody>
          <a:bodyPr vert="horz" wrap="square" lIns="93260" tIns="93260" rIns="149217" bIns="93260" rtlCol="0" anchor="ctr" anchorCtr="0">
            <a:spAutoFit/>
          </a:bodyPr>
          <a:lstStyle>
            <a:lvl1pPr algn="l" defTabSz="914367" rtl="0" eaLnBrk="1" latinLnBrk="0" hangingPunct="1">
              <a:lnSpc>
                <a:spcPct val="90000"/>
              </a:lnSpc>
              <a:spcBef>
                <a:spcPct val="0"/>
              </a:spcBef>
              <a:buNone/>
              <a:defRPr lang="en-US" sz="4000" b="0" kern="1200" cap="none" spc="-100" baseline="0">
                <a:ln w="3175">
                  <a:noFill/>
                </a:ln>
                <a:solidFill>
                  <a:schemeClr val="tx1"/>
                </a:solidFill>
                <a:effectLst/>
                <a:latin typeface="+mj-lt"/>
                <a:ea typeface="+mn-ea"/>
                <a:cs typeface="Segoe UI" pitchFamily="34" charset="0"/>
              </a:defRPr>
            </a:lvl1pPr>
          </a:lstStyle>
          <a:p>
            <a:pPr defTabSz="932563">
              <a:defRPr/>
            </a:pPr>
            <a:r>
              <a:rPr lang="en-US" sz="1632" spc="0" dirty="0">
                <a:solidFill>
                  <a:srgbClr val="505050"/>
                </a:solidFill>
                <a:latin typeface="Segoe UI Semibold" panose="020B0702040204020203" pitchFamily="34" charset="0"/>
              </a:rPr>
              <a:t>Protecting your application</a:t>
            </a:r>
          </a:p>
        </p:txBody>
      </p:sp>
      <p:grpSp>
        <p:nvGrpSpPr>
          <p:cNvPr id="270" name="Group 269">
            <a:extLst>
              <a:ext uri="{FF2B5EF4-FFF2-40B4-BE49-F238E27FC236}">
                <a16:creationId xmlns:a16="http://schemas.microsoft.com/office/drawing/2014/main" id="{B2C98DC1-FBEE-4BDF-A09E-F566338C46EA}"/>
              </a:ext>
            </a:extLst>
          </p:cNvPr>
          <p:cNvGrpSpPr/>
          <p:nvPr/>
        </p:nvGrpSpPr>
        <p:grpSpPr>
          <a:xfrm>
            <a:off x="595026" y="2419923"/>
            <a:ext cx="432949" cy="492987"/>
            <a:chOff x="466726" y="1321530"/>
            <a:chExt cx="345724" cy="368082"/>
          </a:xfrm>
        </p:grpSpPr>
        <p:sp>
          <p:nvSpPr>
            <p:cNvPr id="271" name="Shield_EA18">
              <a:extLst>
                <a:ext uri="{FF2B5EF4-FFF2-40B4-BE49-F238E27FC236}">
                  <a16:creationId xmlns:a16="http://schemas.microsoft.com/office/drawing/2014/main" id="{F90E317E-68D8-46E1-92E2-EC54B04E6A4C}"/>
                </a:ext>
              </a:extLst>
            </p:cNvPr>
            <p:cNvSpPr>
              <a:spLocks noChangeAspect="1"/>
            </p:cNvSpPr>
            <p:nvPr/>
          </p:nvSpPr>
          <p:spPr bwMode="auto">
            <a:xfrm>
              <a:off x="466726" y="1321530"/>
              <a:ext cx="345724" cy="36808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2" name="Lock">
              <a:extLst>
                <a:ext uri="{FF2B5EF4-FFF2-40B4-BE49-F238E27FC236}">
                  <a16:creationId xmlns:a16="http://schemas.microsoft.com/office/drawing/2014/main" id="{42796A59-F538-4FA6-AA95-EB7C4EDFA186}"/>
                </a:ext>
              </a:extLst>
            </p:cNvPr>
            <p:cNvSpPr>
              <a:spLocks noChangeAspect="1" noEditPoints="1"/>
            </p:cNvSpPr>
            <p:nvPr/>
          </p:nvSpPr>
          <p:spPr bwMode="auto">
            <a:xfrm>
              <a:off x="585408" y="1403176"/>
              <a:ext cx="108361" cy="15145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solidFill>
                  <a:srgbClr val="505050"/>
                </a:solidFill>
                <a:latin typeface="Segoe UI"/>
              </a:endParaRPr>
            </a:p>
          </p:txBody>
        </p:sp>
      </p:grpSp>
      <p:pic>
        <p:nvPicPr>
          <p:cNvPr id="3" name="Graphic 2">
            <a:extLst>
              <a:ext uri="{FF2B5EF4-FFF2-40B4-BE49-F238E27FC236}">
                <a16:creationId xmlns:a16="http://schemas.microsoft.com/office/drawing/2014/main" id="{09242B13-422E-4016-A58B-317FF60E82C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42459" y="5026720"/>
            <a:ext cx="805904" cy="805904"/>
          </a:xfrm>
          <a:prstGeom prst="rect">
            <a:avLst/>
          </a:prstGeom>
        </p:spPr>
      </p:pic>
    </p:spTree>
    <p:extLst>
      <p:ext uri="{BB962C8B-B14F-4D97-AF65-F5344CB8AC3E}">
        <p14:creationId xmlns:p14="http://schemas.microsoft.com/office/powerpoint/2010/main" val="2191263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 grpId="0" animBg="1"/>
      <p:bldP spid="229" grpId="0" animBg="1"/>
      <p:bldP spid="237"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DNS Private Zone (Managed Preview) </a:t>
            </a:r>
          </a:p>
        </p:txBody>
      </p:sp>
      <p:sp>
        <p:nvSpPr>
          <p:cNvPr id="3" name="Text Placeholder 2">
            <a:extLst>
              <a:ext uri="{FF2B5EF4-FFF2-40B4-BE49-F238E27FC236}">
                <a16:creationId xmlns:a16="http://schemas.microsoft.com/office/drawing/2014/main" id="{8682FF9F-10A8-4706-875A-2A776F992AFF}"/>
              </a:ext>
            </a:extLst>
          </p:cNvPr>
          <p:cNvSpPr>
            <a:spLocks noGrp="1"/>
          </p:cNvSpPr>
          <p:nvPr>
            <p:ph type="body" sz="quarter" idx="10"/>
          </p:nvPr>
        </p:nvSpPr>
        <p:spPr>
          <a:xfrm>
            <a:off x="274638" y="1212850"/>
            <a:ext cx="6857999" cy="5486401"/>
          </a:xfrm>
        </p:spPr>
        <p:txBody>
          <a:bodyPr/>
          <a:lstStyle/>
          <a:p>
            <a:pPr marL="342900" indent="-342900">
              <a:buFont typeface="Arial" panose="020B0604020202020204" pitchFamily="34" charset="0"/>
              <a:buChar char="•"/>
            </a:pPr>
            <a:r>
              <a:rPr lang="en-US" sz="2400" dirty="0"/>
              <a:t>Host DNS zones within virtual networks</a:t>
            </a:r>
          </a:p>
          <a:p>
            <a:pPr marL="342900" indent="-342900">
              <a:buFont typeface="Arial" panose="020B0604020202020204" pitchFamily="34" charset="0"/>
              <a:buChar char="•"/>
            </a:pPr>
            <a:r>
              <a:rPr lang="en-US" sz="2400" dirty="0"/>
              <a:t>Removes the need for custom DNS solutions</a:t>
            </a:r>
          </a:p>
          <a:p>
            <a:pPr marL="342900" indent="-342900">
              <a:buFont typeface="Arial" panose="020B0604020202020204" pitchFamily="34" charset="0"/>
              <a:buChar char="•"/>
            </a:pPr>
            <a:r>
              <a:rPr lang="en-US" sz="2400" dirty="0"/>
              <a:t>Use all common DNS records types</a:t>
            </a:r>
          </a:p>
          <a:p>
            <a:pPr marL="809271" lvl="1" indent="-342900">
              <a:buFont typeface="Arial" panose="020B0604020202020204" pitchFamily="34" charset="0"/>
              <a:buChar char="•"/>
            </a:pPr>
            <a:r>
              <a:rPr lang="en-US" sz="2400" dirty="0"/>
              <a:t>A, AAAA, CNAME, MX, NS, PTR, SOA, SRV, and TXT records</a:t>
            </a:r>
          </a:p>
          <a:p>
            <a:pPr marL="342900" indent="-342900">
              <a:buFont typeface="Arial" panose="020B0604020202020204" pitchFamily="34" charset="0"/>
              <a:buChar char="•"/>
            </a:pPr>
            <a:r>
              <a:rPr lang="en-US" sz="2400" dirty="0"/>
              <a:t>Automatic hostname record management.</a:t>
            </a:r>
          </a:p>
          <a:p>
            <a:pPr marL="342900" indent="-342900">
              <a:buFont typeface="Arial" panose="020B0604020202020204" pitchFamily="34" charset="0"/>
              <a:buChar char="•"/>
            </a:pPr>
            <a:r>
              <a:rPr lang="en-US" sz="2400" dirty="0"/>
              <a:t>Hostname resolution between virtual networks</a:t>
            </a:r>
          </a:p>
          <a:p>
            <a:pPr marL="342900" indent="-342900">
              <a:buFont typeface="Arial" panose="020B0604020202020204" pitchFamily="34" charset="0"/>
              <a:buChar char="•"/>
            </a:pPr>
            <a:r>
              <a:rPr lang="en-US" sz="2400" dirty="0"/>
              <a:t>Familiar tools and user experience</a:t>
            </a:r>
          </a:p>
          <a:p>
            <a:endParaRPr lang="en-US" dirty="0"/>
          </a:p>
        </p:txBody>
      </p:sp>
      <p:pic>
        <p:nvPicPr>
          <p:cNvPr id="6" name="Picture 5">
            <a:extLst>
              <a:ext uri="{FF2B5EF4-FFF2-40B4-BE49-F238E27FC236}">
                <a16:creationId xmlns:a16="http://schemas.microsoft.com/office/drawing/2014/main" id="{251C8C0D-1830-4541-97A6-19B9D132D05D}"/>
              </a:ext>
            </a:extLst>
          </p:cNvPr>
          <p:cNvPicPr>
            <a:picLocks noChangeAspect="1"/>
          </p:cNvPicPr>
          <p:nvPr/>
        </p:nvPicPr>
        <p:blipFill>
          <a:blip r:embed="rId3"/>
          <a:stretch>
            <a:fillRect/>
          </a:stretch>
        </p:blipFill>
        <p:spPr>
          <a:xfrm>
            <a:off x="7259935" y="1287462"/>
            <a:ext cx="4776970" cy="3299294"/>
          </a:xfrm>
          <a:prstGeom prst="rect">
            <a:avLst/>
          </a:prstGeom>
        </p:spPr>
      </p:pic>
    </p:spTree>
    <p:extLst>
      <p:ext uri="{BB962C8B-B14F-4D97-AF65-F5344CB8AC3E}">
        <p14:creationId xmlns:p14="http://schemas.microsoft.com/office/powerpoint/2010/main" val="49788130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sz="4400" dirty="0"/>
              <a:t>Accelerated Networking for Linux (Public Preview)</a:t>
            </a:r>
          </a:p>
        </p:txBody>
      </p:sp>
      <p:sp>
        <p:nvSpPr>
          <p:cNvPr id="3" name="Text Placeholder 2">
            <a:extLst>
              <a:ext uri="{FF2B5EF4-FFF2-40B4-BE49-F238E27FC236}">
                <a16:creationId xmlns:a16="http://schemas.microsoft.com/office/drawing/2014/main" id="{8FFC9035-82E9-4F97-B338-11B17DC2A264}"/>
              </a:ext>
            </a:extLst>
          </p:cNvPr>
          <p:cNvSpPr>
            <a:spLocks noGrp="1"/>
          </p:cNvSpPr>
          <p:nvPr>
            <p:ph type="body" sz="quarter" idx="10"/>
          </p:nvPr>
        </p:nvSpPr>
        <p:spPr>
          <a:xfrm>
            <a:off x="274638" y="1212850"/>
            <a:ext cx="5638799" cy="5816977"/>
          </a:xfrm>
        </p:spPr>
        <p:txBody>
          <a:bodyPr/>
          <a:lstStyle/>
          <a:p>
            <a:pPr marL="285750" indent="-285750">
              <a:buFont typeface="Arial" panose="020B0604020202020204" pitchFamily="34" charset="0"/>
              <a:buChar char="•"/>
            </a:pPr>
            <a:r>
              <a:rPr lang="en-US" sz="2400" b="1" dirty="0">
                <a:latin typeface="+mn-lt"/>
              </a:rPr>
              <a:t>No accelerated networking</a:t>
            </a:r>
            <a:r>
              <a:rPr lang="en-US" sz="2400" dirty="0">
                <a:latin typeface="+mn-lt"/>
              </a:rPr>
              <a:t>: Network traffic traverses the host and the virtual switch. </a:t>
            </a:r>
          </a:p>
          <a:p>
            <a:pPr marL="285750" indent="-285750">
              <a:buFont typeface="Arial" panose="020B0604020202020204" pitchFamily="34" charset="0"/>
              <a:buChar char="•"/>
            </a:pPr>
            <a:r>
              <a:rPr lang="en-US" sz="2400" b="1" dirty="0">
                <a:latin typeface="+mn-lt"/>
              </a:rPr>
              <a:t>Accelerated networking</a:t>
            </a:r>
            <a:r>
              <a:rPr lang="en-US" sz="2400" dirty="0">
                <a:latin typeface="+mn-lt"/>
              </a:rPr>
              <a:t>: Network traffic arrives at the VM's network interface (NIC), and forwarded to VM. </a:t>
            </a:r>
          </a:p>
          <a:p>
            <a:pPr marL="752121" lvl="1" indent="-285750">
              <a:buFont typeface="Arial" panose="020B0604020202020204" pitchFamily="34" charset="0"/>
              <a:buChar char="•"/>
            </a:pPr>
            <a:r>
              <a:rPr lang="en-US" sz="2400" dirty="0"/>
              <a:t>All network policies that the virtual switch applies without accelerated networking </a:t>
            </a:r>
            <a:r>
              <a:rPr lang="en-US" sz="2400" dirty="0">
                <a:solidFill>
                  <a:srgbClr val="0078D7"/>
                </a:solidFill>
              </a:rPr>
              <a:t>are offloaded and applied in hardware</a:t>
            </a:r>
          </a:p>
          <a:p>
            <a:pPr marL="752121" lvl="1" indent="-285750">
              <a:buFont typeface="Arial" panose="020B0604020202020204" pitchFamily="34" charset="0"/>
              <a:buChar char="•"/>
            </a:pPr>
            <a:r>
              <a:rPr lang="en-US" sz="2400" dirty="0"/>
              <a:t>Lower Latency / Higher packets per second (pps)</a:t>
            </a:r>
          </a:p>
          <a:p>
            <a:pPr marL="752121" lvl="1" indent="-285750">
              <a:buFont typeface="Arial" panose="020B0604020202020204" pitchFamily="34" charset="0"/>
              <a:buChar char="•"/>
            </a:pPr>
            <a:r>
              <a:rPr lang="en-US" sz="2400" dirty="0"/>
              <a:t>Reduced jitter</a:t>
            </a:r>
          </a:p>
          <a:p>
            <a:pPr marL="752121" lvl="1" indent="-285750">
              <a:buFont typeface="Arial" panose="020B0604020202020204" pitchFamily="34" charset="0"/>
              <a:buChar char="•"/>
            </a:pPr>
            <a:r>
              <a:rPr lang="en-US" sz="2400" dirty="0"/>
              <a:t>Decreased CPU utilization</a:t>
            </a:r>
          </a:p>
          <a:p>
            <a:endParaRPr lang="en-US" dirty="0"/>
          </a:p>
        </p:txBody>
      </p:sp>
      <p:sp>
        <p:nvSpPr>
          <p:cNvPr id="7" name="Rectangle 6">
            <a:extLst>
              <a:ext uri="{FF2B5EF4-FFF2-40B4-BE49-F238E27FC236}">
                <a16:creationId xmlns:a16="http://schemas.microsoft.com/office/drawing/2014/main" id="{053CD3D8-CE67-444A-80C3-D33841E95C0B}"/>
              </a:ext>
            </a:extLst>
          </p:cNvPr>
          <p:cNvSpPr/>
          <p:nvPr/>
        </p:nvSpPr>
        <p:spPr>
          <a:xfrm>
            <a:off x="655637" y="1439862"/>
            <a:ext cx="5486400" cy="369332"/>
          </a:xfrm>
          <a:prstGeom prst="rect">
            <a:avLst/>
          </a:prstGeom>
        </p:spPr>
        <p:txBody>
          <a:bodyPr wrap="square">
            <a:spAutoFit/>
          </a:bodyPr>
          <a:lstStyle/>
          <a:p>
            <a:pPr marL="285750" indent="-285750">
              <a:buFont typeface="Arial" panose="020B0604020202020204" pitchFamily="34" charset="0"/>
              <a:buChar char="•"/>
            </a:pPr>
            <a:endParaRPr lang="en-US" dirty="0"/>
          </a:p>
        </p:txBody>
      </p:sp>
      <p:pic>
        <p:nvPicPr>
          <p:cNvPr id="13" name="Picture 12">
            <a:extLst>
              <a:ext uri="{FF2B5EF4-FFF2-40B4-BE49-F238E27FC236}">
                <a16:creationId xmlns:a16="http://schemas.microsoft.com/office/drawing/2014/main" id="{7BDC35FE-B80B-4823-BDE9-F5E094955C33}"/>
              </a:ext>
            </a:extLst>
          </p:cNvPr>
          <p:cNvPicPr>
            <a:picLocks noChangeAspect="1"/>
          </p:cNvPicPr>
          <p:nvPr/>
        </p:nvPicPr>
        <p:blipFill>
          <a:blip r:embed="rId3"/>
          <a:stretch>
            <a:fillRect/>
          </a:stretch>
        </p:blipFill>
        <p:spPr>
          <a:xfrm>
            <a:off x="6142037" y="1363662"/>
            <a:ext cx="5979694" cy="3810000"/>
          </a:xfrm>
          <a:prstGeom prst="rect">
            <a:avLst/>
          </a:prstGeom>
        </p:spPr>
      </p:pic>
    </p:spTree>
    <p:extLst>
      <p:ext uri="{BB962C8B-B14F-4D97-AF65-F5344CB8AC3E}">
        <p14:creationId xmlns:p14="http://schemas.microsoft.com/office/powerpoint/2010/main" val="161306665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Load balancer</a:t>
            </a:r>
          </a:p>
        </p:txBody>
      </p:sp>
      <p:sp>
        <p:nvSpPr>
          <p:cNvPr id="3" name="Text Placeholder 2">
            <a:extLst>
              <a:ext uri="{FF2B5EF4-FFF2-40B4-BE49-F238E27FC236}">
                <a16:creationId xmlns:a16="http://schemas.microsoft.com/office/drawing/2014/main" id="{14A59976-C0EC-44AF-887F-3CF1B3E53B0C}"/>
              </a:ext>
            </a:extLst>
          </p:cNvPr>
          <p:cNvSpPr>
            <a:spLocks noGrp="1"/>
          </p:cNvSpPr>
          <p:nvPr>
            <p:ph type="body" sz="quarter" idx="10"/>
          </p:nvPr>
        </p:nvSpPr>
        <p:spPr>
          <a:xfrm>
            <a:off x="274639" y="1212850"/>
            <a:ext cx="8839200" cy="6029343"/>
          </a:xfrm>
        </p:spPr>
        <p:txBody>
          <a:bodyPr/>
          <a:lstStyle/>
          <a:p>
            <a:pPr marL="457200" indent="-457200">
              <a:buFont typeface="+mj-lt"/>
              <a:buAutoNum type="arabicPeriod"/>
            </a:pPr>
            <a:r>
              <a:rPr lang="en-US" sz="1800" dirty="0"/>
              <a:t>Load balancer Standard (Public Preview)</a:t>
            </a:r>
          </a:p>
          <a:p>
            <a:pPr marL="1152171" lvl="2" indent="-457200">
              <a:buFont typeface="Arial" panose="020B0604020202020204" pitchFamily="34" charset="0"/>
              <a:buChar char="•"/>
            </a:pPr>
            <a:r>
              <a:rPr lang="en-US" sz="1800" dirty="0">
                <a:solidFill>
                  <a:srgbClr val="0078D7"/>
                </a:solidFill>
                <a:latin typeface="+mj-lt"/>
              </a:rPr>
              <a:t>Availability Zones with regionally resilient and zonal frontends, cross-zone load balancing for HA scenarios within a zone or across zones.</a:t>
            </a:r>
          </a:p>
          <a:p>
            <a:pPr marL="1152171" lvl="2" indent="-457200">
              <a:buFont typeface="Arial" panose="020B0604020202020204" pitchFamily="34" charset="0"/>
              <a:buChar char="•"/>
            </a:pPr>
            <a:r>
              <a:rPr lang="en-US" sz="1800" dirty="0">
                <a:latin typeface="+mj-lt"/>
              </a:rPr>
              <a:t>Any Virtual Machine instances in a Virtual Network, including 1000 instance VM Scale Sets.</a:t>
            </a:r>
          </a:p>
          <a:p>
            <a:pPr marL="1152171" lvl="2" indent="-457200">
              <a:buFont typeface="Arial" panose="020B0604020202020204" pitchFamily="34" charset="0"/>
              <a:buChar char="•"/>
            </a:pPr>
            <a:r>
              <a:rPr lang="en-US" sz="1800" dirty="0">
                <a:latin typeface="+mj-lt"/>
              </a:rPr>
              <a:t>Instance load balancing rules to internally load balance all TCP and UDP flows for scenarios including Network Virtual Appliance HA</a:t>
            </a:r>
          </a:p>
          <a:p>
            <a:pPr marL="1152171" lvl="2" indent="-457200">
              <a:buFont typeface="Arial" panose="020B0604020202020204" pitchFamily="34" charset="0"/>
              <a:buChar char="•"/>
            </a:pPr>
            <a:r>
              <a:rPr lang="en-US" sz="1800" dirty="0">
                <a:latin typeface="+mj-lt"/>
              </a:rPr>
              <a:t>Diagnostic insights: data plane health, per endpoint health probe status, and counters for packets, bytes, SYN packets, and outbound SNAT connections.</a:t>
            </a:r>
          </a:p>
          <a:p>
            <a:pPr marL="457200" indent="-457200">
              <a:buFont typeface="+mj-lt"/>
              <a:buAutoNum type="arabicPeriod"/>
            </a:pPr>
            <a:r>
              <a:rPr lang="en-US" sz="1800" dirty="0"/>
              <a:t>Load balancer HA Ports (Public Preview)</a:t>
            </a:r>
          </a:p>
          <a:p>
            <a:pPr marL="923571" lvl="1" indent="-457200">
              <a:buFont typeface="Arial" panose="020B0604020202020204" pitchFamily="34" charset="0"/>
              <a:buChar char="•"/>
            </a:pPr>
            <a:r>
              <a:rPr lang="en-US" sz="1800" b="1" dirty="0">
                <a:latin typeface="+mj-lt"/>
              </a:rPr>
              <a:t>All Traffic </a:t>
            </a:r>
            <a:r>
              <a:rPr lang="en-US" sz="1800" dirty="0">
                <a:latin typeface="+mj-lt"/>
              </a:rPr>
              <a:t>- Load balance the Virtual network traffic from multiple different sources on to the backend pool – irrespective of the port numbers.</a:t>
            </a:r>
          </a:p>
          <a:p>
            <a:pPr marL="923571" lvl="1" indent="-457200">
              <a:buFont typeface="Arial" panose="020B0604020202020204" pitchFamily="34" charset="0"/>
              <a:buChar char="•"/>
            </a:pPr>
            <a:r>
              <a:rPr lang="en-US" sz="1800" b="1" dirty="0">
                <a:latin typeface="+mj-lt"/>
              </a:rPr>
              <a:t>Simpler Configuration </a:t>
            </a:r>
            <a:r>
              <a:rPr lang="en-US" sz="1800" dirty="0">
                <a:latin typeface="+mj-lt"/>
              </a:rPr>
              <a:t>– </a:t>
            </a:r>
            <a:r>
              <a:rPr lang="en-US" sz="1800" dirty="0">
                <a:solidFill>
                  <a:srgbClr val="0078D7"/>
                </a:solidFill>
                <a:latin typeface="+mj-lt"/>
              </a:rPr>
              <a:t>Replaces </a:t>
            </a:r>
            <a:r>
              <a:rPr lang="en-US" sz="1800" b="1" dirty="0">
                <a:solidFill>
                  <a:srgbClr val="0078D7"/>
                </a:solidFill>
                <a:latin typeface="+mj-lt"/>
              </a:rPr>
              <a:t>multiple load balancing rules with a single rule, avoid the max rule limit, and reduce complexity</a:t>
            </a:r>
          </a:p>
          <a:p>
            <a:pPr marL="923571" lvl="1" indent="-457200">
              <a:buFont typeface="Arial" panose="020B0604020202020204" pitchFamily="34" charset="0"/>
              <a:buChar char="•"/>
            </a:pPr>
            <a:r>
              <a:rPr lang="en-US" sz="1800" b="1" dirty="0">
                <a:latin typeface="+mj-lt"/>
              </a:rPr>
              <a:t>NVA HA</a:t>
            </a:r>
            <a:r>
              <a:rPr lang="en-US" sz="1800" dirty="0">
                <a:latin typeface="+mj-lt"/>
              </a:rPr>
              <a:t> – Appliances can be deployed in an N-Active Pool behind a load balancer using the HA Ports, and can be made highly available and process all traffic.</a:t>
            </a:r>
          </a:p>
          <a:p>
            <a:pPr marL="923571" lvl="1" indent="-457200">
              <a:buFont typeface="Arial" panose="020B0604020202020204" pitchFamily="34" charset="0"/>
              <a:buChar char="•"/>
            </a:pPr>
            <a:r>
              <a:rPr lang="en-US" sz="1800" b="1" dirty="0">
                <a:latin typeface="+mj-lt"/>
              </a:rPr>
              <a:t>Load balancing for Port Range</a:t>
            </a:r>
            <a:r>
              <a:rPr lang="en-US" sz="1800" dirty="0">
                <a:latin typeface="+mj-lt"/>
              </a:rPr>
              <a:t> – this feature, combined with NSGs can Load Balance traffic for certain port ranges for custom applications.</a:t>
            </a:r>
          </a:p>
          <a:p>
            <a:endParaRPr lang="en-US" dirty="0"/>
          </a:p>
        </p:txBody>
      </p:sp>
      <p:sp>
        <p:nvSpPr>
          <p:cNvPr id="5" name="Rectangle 4">
            <a:extLst>
              <a:ext uri="{FF2B5EF4-FFF2-40B4-BE49-F238E27FC236}">
                <a16:creationId xmlns:a16="http://schemas.microsoft.com/office/drawing/2014/main" id="{FA5917CB-E5EC-4927-A7C8-C4003E4C0891}"/>
              </a:ext>
            </a:extLst>
          </p:cNvPr>
          <p:cNvSpPr/>
          <p:nvPr/>
        </p:nvSpPr>
        <p:spPr>
          <a:xfrm>
            <a:off x="547688" y="1363662"/>
            <a:ext cx="8839200" cy="707886"/>
          </a:xfrm>
          <a:prstGeom prst="rect">
            <a:avLst/>
          </a:prstGeom>
        </p:spPr>
        <p:txBody>
          <a:bodyPr wrap="square">
            <a:spAutoFit/>
          </a:bodyPr>
          <a:lstStyle/>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p:txBody>
      </p:sp>
      <p:pic>
        <p:nvPicPr>
          <p:cNvPr id="4" name="Picture 3">
            <a:extLst>
              <a:ext uri="{FF2B5EF4-FFF2-40B4-BE49-F238E27FC236}">
                <a16:creationId xmlns:a16="http://schemas.microsoft.com/office/drawing/2014/main" id="{90EC62CE-6C54-48E3-B260-6B00C4B0E299}"/>
              </a:ext>
            </a:extLst>
          </p:cNvPr>
          <p:cNvPicPr>
            <a:picLocks noChangeAspect="1"/>
          </p:cNvPicPr>
          <p:nvPr/>
        </p:nvPicPr>
        <p:blipFill>
          <a:blip r:embed="rId3"/>
          <a:stretch>
            <a:fillRect/>
          </a:stretch>
        </p:blipFill>
        <p:spPr>
          <a:xfrm>
            <a:off x="9647237" y="2542500"/>
            <a:ext cx="2515026" cy="2070966"/>
          </a:xfrm>
          <a:prstGeom prst="rect">
            <a:avLst/>
          </a:prstGeom>
        </p:spPr>
      </p:pic>
    </p:spTree>
    <p:extLst>
      <p:ext uri="{BB962C8B-B14F-4D97-AF65-F5344CB8AC3E}">
        <p14:creationId xmlns:p14="http://schemas.microsoft.com/office/powerpoint/2010/main" val="291624977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dirty="0"/>
              <a:t>Compute &amp; Storage Services</a:t>
            </a:r>
          </a:p>
        </p:txBody>
      </p:sp>
      <p:pic>
        <p:nvPicPr>
          <p:cNvPr id="6" name="Picture Placeholder 5" descr="A picture containing computer, indoor, building, train&#10;&#10;Description generated with high confidence">
            <a:extLst>
              <a:ext uri="{FF2B5EF4-FFF2-40B4-BE49-F238E27FC236}">
                <a16:creationId xmlns:a16="http://schemas.microsoft.com/office/drawing/2014/main" id="{4AF14745-9BB0-4DA9-8154-C6726ED0528B}"/>
              </a:ext>
            </a:extLst>
          </p:cNvPr>
          <p:cNvPicPr>
            <a:picLocks noGrp="1" noChangeAspect="1"/>
          </p:cNvPicPr>
          <p:nvPr>
            <p:ph type="pic" sz="quarter" idx="10"/>
          </p:nvPr>
        </p:nvPicPr>
        <p:blipFill>
          <a:blip r:embed="rId3"/>
          <a:srcRect l="20379" r="20379"/>
          <a:stretch>
            <a:fillRect/>
          </a:stretch>
        </p:blipFill>
        <p:spPr/>
      </p:pic>
    </p:spTree>
    <p:extLst>
      <p:ext uri="{BB962C8B-B14F-4D97-AF65-F5344CB8AC3E}">
        <p14:creationId xmlns:p14="http://schemas.microsoft.com/office/powerpoint/2010/main" val="76645900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529605" y="1695023"/>
            <a:ext cx="11449272" cy="465613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839039"/>
            <a:ext cx="4176544" cy="4401205"/>
          </a:xfrm>
        </p:spPr>
        <p:txBody>
          <a:bodyPr/>
          <a:lstStyle/>
          <a:p>
            <a:pPr marL="0" indent="0">
              <a:spcAft>
                <a:spcPts val="1800"/>
              </a:spcAft>
              <a:buNone/>
            </a:pPr>
            <a:r>
              <a:rPr lang="en-GB" sz="2000" b="1">
                <a:latin typeface="+mn-lt"/>
                <a:cs typeface="Segoe UI Light" panose="020B0502040204020203" pitchFamily="34" charset="0"/>
              </a:rPr>
              <a:t>Virtual Machines</a:t>
            </a:r>
            <a:br>
              <a:rPr lang="en-GB" sz="2000" b="1">
                <a:latin typeface="+mn-lt"/>
                <a:cs typeface="Segoe UI Light" panose="020B0502040204020203" pitchFamily="34" charset="0"/>
              </a:rPr>
            </a:br>
            <a:r>
              <a:rPr lang="en-GB" sz="2000">
                <a:cs typeface="Segoe UI Light" panose="020B0502040204020203" pitchFamily="34" charset="0"/>
              </a:rPr>
              <a:t>Windows and Linux VMs</a:t>
            </a:r>
          </a:p>
          <a:p>
            <a:pPr marL="0" indent="0">
              <a:spcAft>
                <a:spcPts val="1800"/>
              </a:spcAft>
              <a:buNone/>
            </a:pPr>
            <a:endParaRPr lang="en-GB" sz="2000" b="1">
              <a:cs typeface="Segoe UI Light" panose="020B0502040204020203" pitchFamily="34" charset="0"/>
            </a:endParaRPr>
          </a:p>
          <a:p>
            <a:pPr marL="0" indent="0">
              <a:spcAft>
                <a:spcPts val="1800"/>
              </a:spcAft>
              <a:buNone/>
            </a:pPr>
            <a:r>
              <a:rPr lang="en-GB" sz="2000" b="1">
                <a:solidFill>
                  <a:schemeClr val="tx1"/>
                </a:solidFill>
                <a:latin typeface="+mn-lt"/>
                <a:cs typeface="Segoe UI Light" panose="020B0502040204020203" pitchFamily="34" charset="0"/>
              </a:rPr>
              <a:t>Scale Sets</a:t>
            </a:r>
            <a:br>
              <a:rPr lang="en-GB" sz="2000" b="1">
                <a:solidFill>
                  <a:schemeClr val="tx1"/>
                </a:solidFill>
                <a:latin typeface="+mn-lt"/>
                <a:cs typeface="Segoe UI Light" panose="020B0502040204020203" pitchFamily="34" charset="0"/>
              </a:rPr>
            </a:br>
            <a:r>
              <a:rPr lang="en-GB" sz="2000">
                <a:solidFill>
                  <a:schemeClr val="tx1"/>
                </a:solidFill>
                <a:cs typeface="Segoe UI Light" panose="020B0502040204020203" pitchFamily="34" charset="0"/>
              </a:rPr>
              <a:t>Elastically scale 100s of VMs without pre-provisioning</a:t>
            </a:r>
          </a:p>
          <a:p>
            <a:pPr marL="0" indent="0">
              <a:spcAft>
                <a:spcPts val="1800"/>
              </a:spcAft>
              <a:buNone/>
            </a:pPr>
            <a:endParaRPr lang="en-GB" sz="2000" b="1">
              <a:solidFill>
                <a:schemeClr val="tx1"/>
              </a:solidFill>
              <a:cs typeface="Segoe UI Light" panose="020B0502040204020203" pitchFamily="34" charset="0"/>
            </a:endParaRPr>
          </a:p>
          <a:p>
            <a:pPr marL="0" indent="0">
              <a:spcAft>
                <a:spcPts val="1800"/>
              </a:spcAft>
              <a:buNone/>
            </a:pPr>
            <a:r>
              <a:rPr lang="en-GB" sz="2000" b="1">
                <a:solidFill>
                  <a:schemeClr val="tx1"/>
                </a:solidFill>
                <a:latin typeface="+mn-lt"/>
                <a:cs typeface="Segoe UI Light" panose="020B0502040204020203" pitchFamily="34" charset="0"/>
              </a:rPr>
              <a:t>Batch</a:t>
            </a:r>
            <a:br>
              <a:rPr lang="en-GB" sz="2000" b="1">
                <a:solidFill>
                  <a:schemeClr val="tx1"/>
                </a:solidFill>
                <a:latin typeface="+mn-lt"/>
                <a:cs typeface="Segoe UI Light" panose="020B0502040204020203" pitchFamily="34" charset="0"/>
              </a:rPr>
            </a:br>
            <a:r>
              <a:rPr lang="en-GB" sz="2000">
                <a:solidFill>
                  <a:schemeClr val="tx1"/>
                </a:solidFill>
                <a:cs typeface="Segoe UI Light" panose="020B0502040204020203" pitchFamily="34" charset="0"/>
              </a:rPr>
              <a:t>HPC and large scale batch processing. Scales to hundreds or thousands of VMs</a:t>
            </a:r>
            <a:endParaRPr lang="en-GB" sz="2000">
              <a:solidFill>
                <a:schemeClr val="tx1"/>
              </a:solidFill>
              <a:latin typeface="+mn-lt"/>
              <a:cs typeface="Segoe UI Light" panose="020B0502040204020203" pitchFamily="34" charset="0"/>
            </a:endParaRPr>
          </a:p>
        </p:txBody>
      </p:sp>
      <p:sp>
        <p:nvSpPr>
          <p:cNvPr id="3" name="Title 2"/>
          <p:cNvSpPr>
            <a:spLocks noGrp="1"/>
          </p:cNvSpPr>
          <p:nvPr>
            <p:ph type="title"/>
          </p:nvPr>
        </p:nvSpPr>
        <p:spPr/>
        <p:txBody>
          <a:bodyPr/>
          <a:lstStyle/>
          <a:p>
            <a:r>
              <a:rPr lang="en-GB"/>
              <a:t>Azure Compute – Core Services</a:t>
            </a:r>
          </a:p>
        </p:txBody>
      </p:sp>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839039"/>
            <a:ext cx="4824536" cy="4108817"/>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dirty="0">
                <a:solidFill>
                  <a:schemeClr val="tx1"/>
                </a:solidFill>
              </a:rPr>
              <a:t>Azure Container Service</a:t>
            </a:r>
            <a:br>
              <a:rPr lang="en-GB" dirty="0">
                <a:solidFill>
                  <a:schemeClr val="tx1"/>
                </a:solidFill>
                <a:latin typeface="+mj-lt"/>
              </a:rPr>
            </a:br>
            <a:r>
              <a:rPr lang="en-GB" b="0" dirty="0">
                <a:solidFill>
                  <a:schemeClr val="tx1"/>
                </a:solidFill>
                <a:latin typeface="+mj-lt"/>
              </a:rPr>
              <a:t>Deploy and manage clustered containers in DC/OS, Kubernetes and Swarm</a:t>
            </a:r>
          </a:p>
          <a:p>
            <a:endParaRPr lang="en-GB" dirty="0">
              <a:solidFill>
                <a:schemeClr val="tx1"/>
              </a:solidFill>
            </a:endParaRPr>
          </a:p>
          <a:p>
            <a:r>
              <a:rPr lang="en-US" dirty="0"/>
              <a:t>Azure Container Registry</a:t>
            </a:r>
            <a:br>
              <a:rPr lang="en-US" dirty="0"/>
            </a:br>
            <a:r>
              <a:rPr lang="en-US" dirty="0">
                <a:latin typeface="+mj-lt"/>
              </a:rPr>
              <a:t>Secure</a:t>
            </a:r>
            <a:r>
              <a:rPr lang="en-US" dirty="0"/>
              <a:t> </a:t>
            </a:r>
            <a:r>
              <a:rPr lang="en-US" dirty="0">
                <a:latin typeface="+mj-lt"/>
              </a:rPr>
              <a:t>Docker private registry, provided as a service</a:t>
            </a:r>
            <a:br>
              <a:rPr lang="en-US" dirty="0">
                <a:latin typeface="+mj-lt"/>
              </a:rPr>
            </a:br>
            <a:endParaRPr lang="en-US" dirty="0"/>
          </a:p>
          <a:p>
            <a:r>
              <a:rPr lang="en-US" dirty="0"/>
              <a:t>Service Fabric</a:t>
            </a:r>
            <a:br>
              <a:rPr lang="en-US" dirty="0"/>
            </a:br>
            <a:r>
              <a:rPr lang="en-US" b="0" dirty="0">
                <a:solidFill>
                  <a:schemeClr val="tx1"/>
                </a:solidFill>
                <a:latin typeface="+mj-lt"/>
              </a:rPr>
              <a:t>Highly scalable microservice platform for stateless and stateful services</a:t>
            </a:r>
            <a:endParaRPr lang="en-GB" b="0" dirty="0">
              <a:solidFill>
                <a:schemeClr val="tx1"/>
              </a:solidFill>
              <a:latin typeface="+mj-lt"/>
            </a:endParaRPr>
          </a:p>
        </p:txBody>
      </p:sp>
      <p:pic>
        <p:nvPicPr>
          <p:cNvPr id="20" name="Graphic 19">
            <a:extLst>
              <a:ext uri="{FF2B5EF4-FFF2-40B4-BE49-F238E27FC236}">
                <a16:creationId xmlns:a16="http://schemas.microsoft.com/office/drawing/2014/main" id="{9A5E811C-F6AB-4D4F-8007-711CE58938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3382" y="1913086"/>
            <a:ext cx="660038" cy="660038"/>
          </a:xfrm>
          <a:prstGeom prst="rect">
            <a:avLst/>
          </a:prstGeom>
        </p:spPr>
      </p:pic>
      <p:pic>
        <p:nvPicPr>
          <p:cNvPr id="25" name="Graphic 24">
            <a:extLst>
              <a:ext uri="{FF2B5EF4-FFF2-40B4-BE49-F238E27FC236}">
                <a16:creationId xmlns:a16="http://schemas.microsoft.com/office/drawing/2014/main" id="{B4D516DF-F627-48EA-8935-D29DD2B424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1265" y="3406163"/>
            <a:ext cx="720000" cy="720000"/>
          </a:xfrm>
          <a:prstGeom prst="rect">
            <a:avLst/>
          </a:prstGeom>
        </p:spPr>
      </p:pic>
      <p:pic>
        <p:nvPicPr>
          <p:cNvPr id="29" name="Graphic 28">
            <a:extLst>
              <a:ext uri="{FF2B5EF4-FFF2-40B4-BE49-F238E27FC236}">
                <a16:creationId xmlns:a16="http://schemas.microsoft.com/office/drawing/2014/main" id="{F1BC82CB-D8E5-4D02-B182-1D811D8792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118" y="5029865"/>
            <a:ext cx="720000" cy="720000"/>
          </a:xfrm>
          <a:prstGeom prst="rect">
            <a:avLst/>
          </a:prstGeom>
        </p:spPr>
      </p:pic>
      <p:pic>
        <p:nvPicPr>
          <p:cNvPr id="31" name="Graphic 30">
            <a:extLst>
              <a:ext uri="{FF2B5EF4-FFF2-40B4-BE49-F238E27FC236}">
                <a16:creationId xmlns:a16="http://schemas.microsoft.com/office/drawing/2014/main" id="{AA5A5C77-DBC5-41A1-9632-59DD9F545B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47880" y="3484232"/>
            <a:ext cx="818429" cy="818429"/>
          </a:xfrm>
          <a:prstGeom prst="rect">
            <a:avLst/>
          </a:prstGeom>
        </p:spPr>
      </p:pic>
      <p:pic>
        <p:nvPicPr>
          <p:cNvPr id="32" name="Picture 31">
            <a:extLst>
              <a:ext uri="{FF2B5EF4-FFF2-40B4-BE49-F238E27FC236}">
                <a16:creationId xmlns:a16="http://schemas.microsoft.com/office/drawing/2014/main" id="{0FECC12D-A10D-43A8-89E8-6EEB4EAC24AF}"/>
              </a:ext>
            </a:extLst>
          </p:cNvPr>
          <p:cNvPicPr>
            <a:picLocks noChangeAspect="1"/>
          </p:cNvPicPr>
          <p:nvPr/>
        </p:nvPicPr>
        <p:blipFill>
          <a:blip r:embed="rId11"/>
          <a:stretch>
            <a:fillRect/>
          </a:stretch>
        </p:blipFill>
        <p:spPr>
          <a:xfrm>
            <a:off x="6074301" y="1814657"/>
            <a:ext cx="720000" cy="720000"/>
          </a:xfrm>
          <a:prstGeom prst="rect">
            <a:avLst/>
          </a:prstGeom>
        </p:spPr>
      </p:pic>
      <p:pic>
        <p:nvPicPr>
          <p:cNvPr id="34" name="Graphic 33">
            <a:extLst>
              <a:ext uri="{FF2B5EF4-FFF2-40B4-BE49-F238E27FC236}">
                <a16:creationId xmlns:a16="http://schemas.microsoft.com/office/drawing/2014/main" id="{B82E4DF7-CF1D-4569-8C59-1563F09D34C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74301" y="5055097"/>
            <a:ext cx="720000" cy="720000"/>
          </a:xfrm>
          <a:prstGeom prst="rect">
            <a:avLst/>
          </a:prstGeom>
        </p:spPr>
      </p:pic>
    </p:spTree>
    <p:extLst>
      <p:ext uri="{BB962C8B-B14F-4D97-AF65-F5344CB8AC3E}">
        <p14:creationId xmlns:p14="http://schemas.microsoft.com/office/powerpoint/2010/main" val="316371168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4638" y="1975757"/>
            <a:ext cx="11889565" cy="244126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4" name="Group 3"/>
          <p:cNvGrpSpPr/>
          <p:nvPr/>
        </p:nvGrpSpPr>
        <p:grpSpPr>
          <a:xfrm>
            <a:off x="10532264" y="2159127"/>
            <a:ext cx="1490100" cy="2107303"/>
            <a:chOff x="10532264" y="2494176"/>
            <a:chExt cx="1490100" cy="2107303"/>
          </a:xfrm>
        </p:grpSpPr>
        <p:sp>
          <p:nvSpPr>
            <p:cNvPr id="5" name="Rectangle 4"/>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t;80,000 IOPs</a:t>
              </a:r>
            </a:p>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 Storage</a:t>
              </a:r>
            </a:p>
          </p:txBody>
        </p:sp>
        <p:grpSp>
          <p:nvGrpSpPr>
            <p:cNvPr id="6" name="Group 5"/>
            <p:cNvGrpSpPr/>
            <p:nvPr/>
          </p:nvGrpSpPr>
          <p:grpSpPr>
            <a:xfrm>
              <a:off x="10532264" y="2494176"/>
              <a:ext cx="1437099" cy="1384404"/>
              <a:chOff x="10632593" y="1209273"/>
              <a:chExt cx="1110459" cy="1069741"/>
            </a:xfrm>
          </p:grpSpPr>
          <p:grpSp>
            <p:nvGrpSpPr>
              <p:cNvPr id="7" name="Group 6"/>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3" name="Flowchart: Magnetic Disk 12"/>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4" name="Flowchart: Magnetic Disk 13"/>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 name="Flowchart: Magnetic Disk 14"/>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 name="Flowchart: Magnetic Disk 15"/>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7" name="Flowchart: Magnetic Disk 16"/>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8" name="Group 7"/>
              <p:cNvGrpSpPr/>
              <p:nvPr/>
            </p:nvGrpSpPr>
            <p:grpSpPr>
              <a:xfrm>
                <a:off x="10632593" y="1483519"/>
                <a:ext cx="767612" cy="795495"/>
                <a:chOff x="-477782" y="450675"/>
                <a:chExt cx="5901463" cy="6115812"/>
              </a:xfrm>
            </p:grpSpPr>
            <p:sp>
              <p:nvSpPr>
                <p:cNvPr id="9"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p:cNvPicPr>
                  <a:picLocks noChangeAspect="1"/>
                </p:cNvPicPr>
                <p:nvPr/>
              </p:nvPicPr>
              <p:blipFill>
                <a:blip r:embed="rId3"/>
                <a:stretch>
                  <a:fillRect/>
                </a:stretch>
              </p:blipFill>
              <p:spPr>
                <a:xfrm>
                  <a:off x="2990885" y="4844838"/>
                  <a:ext cx="1486280" cy="1490576"/>
                </a:xfrm>
                <a:prstGeom prst="rect">
                  <a:avLst/>
                </a:prstGeom>
              </p:spPr>
            </p:pic>
            <p:pic>
              <p:nvPicPr>
                <p:cNvPr id="11" name="Picture 10"/>
                <p:cNvPicPr>
                  <a:picLocks noChangeAspect="1"/>
                </p:cNvPicPr>
                <p:nvPr/>
              </p:nvPicPr>
              <p:blipFill>
                <a:blip r:embed="rId3"/>
                <a:stretch>
                  <a:fillRect/>
                </a:stretch>
              </p:blipFill>
              <p:spPr>
                <a:xfrm>
                  <a:off x="624820" y="1700441"/>
                  <a:ext cx="3815982" cy="3827010"/>
                </a:xfrm>
                <a:prstGeom prst="rect">
                  <a:avLst/>
                </a:prstGeom>
              </p:spPr>
            </p:pic>
            <p:pic>
              <p:nvPicPr>
                <p:cNvPr id="12" name="Picture 11"/>
                <p:cNvPicPr>
                  <a:picLocks noChangeAspect="1"/>
                </p:cNvPicPr>
                <p:nvPr/>
              </p:nvPicPr>
              <p:blipFill>
                <a:blip r:embed="rId3"/>
                <a:stretch>
                  <a:fillRect/>
                </a:stretch>
              </p:blipFill>
              <p:spPr>
                <a:xfrm>
                  <a:off x="2211493" y="450675"/>
                  <a:ext cx="1974734" cy="1980442"/>
                </a:xfrm>
                <a:prstGeom prst="rect">
                  <a:avLst/>
                </a:prstGeom>
              </p:spPr>
            </p:pic>
          </p:grpSp>
        </p:grpSp>
      </p:grpSp>
      <p:sp>
        <p:nvSpPr>
          <p:cNvPr id="19" name="Rectangle 18"/>
          <p:cNvSpPr/>
          <p:nvPr/>
        </p:nvSpPr>
        <p:spPr bwMode="auto">
          <a:xfrm>
            <a:off x="1012338" y="3770189"/>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Entry</a:t>
            </a:r>
            <a:b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evel</a:t>
            </a:r>
          </a:p>
        </p:txBody>
      </p:sp>
      <p:sp>
        <p:nvSpPr>
          <p:cNvPr id="28" name="Rectangle 27"/>
          <p:cNvSpPr/>
          <p:nvPr/>
        </p:nvSpPr>
        <p:spPr bwMode="auto">
          <a:xfrm>
            <a:off x="3475071" y="3770189"/>
            <a:ext cx="108420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eneral Purpose VMs</a:t>
            </a:r>
          </a:p>
        </p:txBody>
      </p:sp>
      <p:sp>
        <p:nvSpPr>
          <p:cNvPr id="37" name="Rectangle 36"/>
          <p:cNvSpPr/>
          <p:nvPr/>
        </p:nvSpPr>
        <p:spPr bwMode="auto">
          <a:xfrm>
            <a:off x="5867205" y="3770189"/>
            <a:ext cx="132651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Compute </a:t>
            </a:r>
          </a:p>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VMs</a:t>
            </a:r>
          </a:p>
        </p:txBody>
      </p:sp>
      <p:sp>
        <p:nvSpPr>
          <p:cNvPr id="46" name="Rectangle 45"/>
          <p:cNvSpPr/>
          <p:nvPr/>
        </p:nvSpPr>
        <p:spPr bwMode="auto">
          <a:xfrm>
            <a:off x="8420979" y="3770189"/>
            <a:ext cx="124554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 Memory </a:t>
            </a:r>
            <a:b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VMs</a:t>
            </a:r>
          </a:p>
        </p:txBody>
      </p:sp>
      <p:sp>
        <p:nvSpPr>
          <p:cNvPr id="55" name="TextBox 54"/>
          <p:cNvSpPr txBox="1"/>
          <p:nvPr/>
        </p:nvSpPr>
        <p:spPr>
          <a:xfrm>
            <a:off x="425428" y="4417017"/>
            <a:ext cx="2441448" cy="2449343"/>
          </a:xfrm>
          <a:prstGeom prst="rect">
            <a:avLst/>
          </a:prstGeom>
          <a:noFill/>
        </p:spPr>
        <p:txBody>
          <a:bodyPr vert="horz" wrap="square" lIns="182880" tIns="146304" rIns="182880" bIns="146304" rtlCol="0" anchor="t" anchorCtr="0">
            <a:noAutofit/>
          </a:bodyPr>
          <a:lstStyle/>
          <a:p>
            <a:pPr>
              <a:lnSpc>
                <a:spcPct val="90000"/>
              </a:lnSpc>
              <a:spcBef>
                <a:spcPts val="600"/>
              </a:spcBef>
              <a:spcAft>
                <a:spcPts val="600"/>
              </a:spcAft>
            </a:pPr>
            <a:r>
              <a:rPr lang="en-US" sz="1400">
                <a:gradFill>
                  <a:gsLst>
                    <a:gs pos="1250">
                      <a:schemeClr val="tx1"/>
                    </a:gs>
                    <a:gs pos="100000">
                      <a:schemeClr val="tx1"/>
                    </a:gs>
                  </a:gsLst>
                  <a:lin ang="5400000" scaled="0"/>
                </a:gradFill>
              </a:rPr>
              <a:t>Dev/Test and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entry-level workloads</a:t>
            </a:r>
          </a:p>
          <a:p>
            <a:pPr>
              <a:lnSpc>
                <a:spcPct val="90000"/>
              </a:lnSpc>
              <a:spcBef>
                <a:spcPts val="600"/>
              </a:spcBef>
              <a:spcAft>
                <a:spcPts val="600"/>
              </a:spcAft>
            </a:pPr>
            <a:r>
              <a:rPr lang="en-US" sz="1400">
                <a:gradFill>
                  <a:gsLst>
                    <a:gs pos="1250">
                      <a:schemeClr val="tx1"/>
                    </a:gs>
                    <a:gs pos="100000">
                      <a:schemeClr val="tx1"/>
                    </a:gs>
                  </a:gsLst>
                  <a:lin ang="5400000" scaled="0"/>
                </a:gradFill>
              </a:rPr>
              <a:t>Earliest generation, HDD</a:t>
            </a:r>
          </a:p>
          <a:p>
            <a:pPr>
              <a:lnSpc>
                <a:spcPct val="90000"/>
              </a:lnSpc>
              <a:spcBef>
                <a:spcPts val="600"/>
              </a:spcBef>
              <a:spcAft>
                <a:spcPts val="600"/>
              </a:spcAft>
            </a:pPr>
            <a:r>
              <a:rPr lang="en-US" sz="1400">
                <a:gradFill>
                  <a:gsLst>
                    <a:gs pos="1250">
                      <a:schemeClr val="tx1"/>
                    </a:gs>
                    <a:gs pos="100000">
                      <a:schemeClr val="tx1"/>
                    </a:gs>
                  </a:gsLst>
                  <a:lin ang="5400000" scaled="0"/>
                </a:gradFill>
              </a:rPr>
              <a:t>100 ACU/core		 </a:t>
            </a:r>
          </a:p>
        </p:txBody>
      </p:sp>
      <p:sp>
        <p:nvSpPr>
          <p:cNvPr id="56" name="Content Placeholder 2"/>
          <p:cNvSpPr txBox="1">
            <a:spLocks/>
          </p:cNvSpPr>
          <p:nvPr/>
        </p:nvSpPr>
        <p:spPr>
          <a:xfrm>
            <a:off x="2942983" y="4417017"/>
            <a:ext cx="2437565" cy="2449343"/>
          </a:xfrm>
          <a:prstGeom prst="rect">
            <a:avLst/>
          </a:prstGeom>
          <a:noFill/>
        </p:spPr>
        <p:txBody>
          <a:bodyPr vert="horz" wrap="square" lIns="182880" tIns="146304" rIns="182880" bIns="146304" rtlCol="0" anchor="t" anchorCtr="0">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505050"/>
              </a:buClr>
              <a:buNone/>
            </a:pPr>
            <a:r>
              <a:rPr lang="en-US" sz="1400">
                <a:latin typeface="+mn-lt"/>
                <a:ea typeface="Segoe UI" pitchFamily="34" charset="0"/>
                <a:cs typeface="Segoe UI" pitchFamily="34" charset="0"/>
              </a:rPr>
              <a:t>Good combination of memory, SSD for most common production applications</a:t>
            </a:r>
          </a:p>
          <a:p>
            <a:pPr marL="0" indent="0">
              <a:spcBef>
                <a:spcPts val="600"/>
              </a:spcBef>
              <a:spcAft>
                <a:spcPts val="600"/>
              </a:spcAft>
              <a:buClr>
                <a:srgbClr val="505050"/>
              </a:buClr>
              <a:buNone/>
            </a:pPr>
            <a:r>
              <a:rPr lang="en-US" sz="1400">
                <a:latin typeface="+mn-lt"/>
                <a:ea typeface="Segoe UI" pitchFamily="34" charset="0"/>
                <a:cs typeface="Segoe UI" pitchFamily="34" charset="0"/>
              </a:rPr>
              <a:t>Memory-intensive variants</a:t>
            </a:r>
          </a:p>
          <a:p>
            <a:pPr marL="0" indent="0">
              <a:spcBef>
                <a:spcPts val="600"/>
              </a:spcBef>
              <a:spcAft>
                <a:spcPts val="600"/>
              </a:spcAft>
              <a:buClr>
                <a:srgbClr val="505050"/>
              </a:buClr>
              <a:buNone/>
            </a:pPr>
            <a:r>
              <a:rPr lang="en-US" sz="1400">
                <a:latin typeface="+mn-lt"/>
                <a:ea typeface="Segoe UI" pitchFamily="34" charset="0"/>
                <a:cs typeface="Segoe UI" pitchFamily="34" charset="0"/>
              </a:rPr>
              <a:t>210 ACU/core</a:t>
            </a:r>
          </a:p>
        </p:txBody>
      </p:sp>
      <p:sp>
        <p:nvSpPr>
          <p:cNvPr id="57" name="Rectangle 56"/>
          <p:cNvSpPr/>
          <p:nvPr/>
        </p:nvSpPr>
        <p:spPr bwMode="auto">
          <a:xfrm>
            <a:off x="5456655" y="4417017"/>
            <a:ext cx="2437565" cy="24493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ea typeface="Segoe UI" pitchFamily="34" charset="0"/>
                <a:cs typeface="Segoe UI" pitchFamily="34" charset="0"/>
              </a:rPr>
              <a:t>Compute-intensive apps like Gaming, Analytics</a:t>
            </a:r>
          </a:p>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rPr>
              <a:t>More CPU to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memory ratio</a:t>
            </a:r>
          </a:p>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rPr>
              <a:t>210 ACU/core</a:t>
            </a:r>
          </a:p>
          <a:p>
            <a:pPr defTabSz="913927" eaLnBrk="0" fontAlgn="base" hangingPunct="0">
              <a:lnSpc>
                <a:spcPct val="90000"/>
              </a:lnSpc>
              <a:spcBef>
                <a:spcPts val="600"/>
              </a:spcBef>
              <a:spcAft>
                <a:spcPts val="600"/>
              </a:spcAft>
              <a:defRPr/>
            </a:pPr>
            <a:endParaRPr lang="en-US" sz="1400">
              <a:gradFill>
                <a:gsLst>
                  <a:gs pos="1250">
                    <a:schemeClr val="tx1"/>
                  </a:gs>
                  <a:gs pos="100000">
                    <a:schemeClr val="tx1"/>
                  </a:gs>
                </a:gsLst>
                <a:lin ang="5400000" scaled="0"/>
              </a:gradFill>
              <a:ea typeface="Segoe UI" pitchFamily="34" charset="0"/>
              <a:cs typeface="Segoe UI" pitchFamily="34" charset="0"/>
            </a:endParaRPr>
          </a:p>
        </p:txBody>
      </p:sp>
      <p:sp>
        <p:nvSpPr>
          <p:cNvPr id="58" name="TextBox 57"/>
          <p:cNvSpPr txBox="1"/>
          <p:nvPr/>
        </p:nvSpPr>
        <p:spPr>
          <a:xfrm>
            <a:off x="7970328" y="4417017"/>
            <a:ext cx="2437565" cy="2449343"/>
          </a:xfrm>
          <a:prstGeom prst="rect">
            <a:avLst/>
          </a:prstGeom>
          <a:noFill/>
        </p:spPr>
        <p:txBody>
          <a:bodyPr vert="horz" wrap="square" lIns="182880" tIns="146304" rIns="182880" bIns="146304" rtlCol="0" anchor="t" anchorCtr="0">
            <a:noAutofit/>
          </a:bodyPr>
          <a:lstStyle/>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ea typeface="Segoe UI" pitchFamily="34" charset="0"/>
                <a:cs typeface="Segoe UI" pitchFamily="34" charset="0"/>
              </a:rPr>
              <a:t>Large VMs for large databases requiring fast Storage</a:t>
            </a:r>
            <a:endParaRPr lang="en-US" sz="1400">
              <a:gradFill>
                <a:gsLst>
                  <a:gs pos="1250">
                    <a:schemeClr val="tx1"/>
                  </a:gs>
                  <a:gs pos="100000">
                    <a:schemeClr val="tx1"/>
                  </a:gs>
                </a:gsLst>
                <a:lin ang="5400000" scaled="0"/>
              </a:gradFill>
            </a:endParaRPr>
          </a:p>
          <a:p>
            <a:pPr>
              <a:lnSpc>
                <a:spcPct val="90000"/>
              </a:lnSpc>
              <a:spcBef>
                <a:spcPts val="600"/>
              </a:spcBef>
              <a:spcAft>
                <a:spcPts val="600"/>
              </a:spcAft>
            </a:pPr>
            <a:r>
              <a:rPr lang="en-US" sz="1400">
                <a:gradFill>
                  <a:gsLst>
                    <a:gs pos="1250">
                      <a:schemeClr val="tx1"/>
                    </a:gs>
                    <a:gs pos="100000">
                      <a:schemeClr val="tx1"/>
                    </a:gs>
                  </a:gsLst>
                  <a:lin ang="5400000" scaled="0"/>
                </a:gradFill>
              </a:rPr>
              <a:t>Intel Haswell processor with 0.5TB RAM</a:t>
            </a:r>
          </a:p>
          <a:p>
            <a:pPr>
              <a:lnSpc>
                <a:spcPct val="90000"/>
              </a:lnSpc>
              <a:spcBef>
                <a:spcPts val="600"/>
              </a:spcBef>
              <a:spcAft>
                <a:spcPts val="600"/>
              </a:spcAft>
            </a:pPr>
            <a:r>
              <a:rPr lang="en-US" sz="1400">
                <a:gradFill>
                  <a:gsLst>
                    <a:gs pos="1250">
                      <a:schemeClr val="tx1"/>
                    </a:gs>
                    <a:gs pos="100000">
                      <a:schemeClr val="tx1"/>
                    </a:gs>
                  </a:gsLst>
                  <a:lin ang="5400000" scaled="0"/>
                </a:gradFill>
              </a:rPr>
              <a:t>180 ACU/core</a:t>
            </a:r>
          </a:p>
        </p:txBody>
      </p:sp>
      <p:sp>
        <p:nvSpPr>
          <p:cNvPr id="59" name="Title 3"/>
          <p:cNvSpPr>
            <a:spLocks noGrp="1"/>
          </p:cNvSpPr>
          <p:nvPr>
            <p:ph type="title"/>
          </p:nvPr>
        </p:nvSpPr>
        <p:spPr/>
        <p:txBody>
          <a:bodyPr lIns="182880" tIns="146304" rIns="182880" bIns="146304"/>
          <a:lstStyle/>
          <a:p>
            <a:r>
              <a:rPr lang="en-US" sz="4400" spc="0">
                <a:cs typeface="Segoe UI Semibold" panose="020B0702040204020203" pitchFamily="34" charset="0"/>
              </a:rPr>
              <a:t>Compute families</a:t>
            </a:r>
          </a:p>
        </p:txBody>
      </p:sp>
      <p:grpSp>
        <p:nvGrpSpPr>
          <p:cNvPr id="64" name="Group 63"/>
          <p:cNvGrpSpPr/>
          <p:nvPr/>
        </p:nvGrpSpPr>
        <p:grpSpPr>
          <a:xfrm>
            <a:off x="1116491" y="2383082"/>
            <a:ext cx="864685" cy="1236329"/>
            <a:chOff x="454025" y="3077179"/>
            <a:chExt cx="807346" cy="1154346"/>
          </a:xfrm>
        </p:grpSpPr>
        <p:pic>
          <p:nvPicPr>
            <p:cNvPr id="65" name="Picture 64"/>
            <p:cNvPicPr>
              <a:picLocks noChangeAspect="1"/>
            </p:cNvPicPr>
            <p:nvPr/>
          </p:nvPicPr>
          <p:blipFill>
            <a:blip r:embed="rId4"/>
            <a:stretch>
              <a:fillRect/>
            </a:stretch>
          </p:blipFill>
          <p:spPr>
            <a:xfrm>
              <a:off x="454025" y="3077179"/>
              <a:ext cx="807346" cy="1154346"/>
            </a:xfrm>
            <a:prstGeom prst="rect">
              <a:avLst/>
            </a:prstGeom>
          </p:spPr>
        </p:pic>
        <p:sp>
          <p:nvSpPr>
            <p:cNvPr id="66" name="Rectangle 6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67" name="Group 66"/>
          <p:cNvGrpSpPr/>
          <p:nvPr/>
        </p:nvGrpSpPr>
        <p:grpSpPr>
          <a:xfrm>
            <a:off x="3588758" y="2383082"/>
            <a:ext cx="864685" cy="1236329"/>
            <a:chOff x="454025" y="3077179"/>
            <a:chExt cx="807346" cy="1154346"/>
          </a:xfrm>
        </p:grpSpPr>
        <p:pic>
          <p:nvPicPr>
            <p:cNvPr id="68" name="Picture 67"/>
            <p:cNvPicPr>
              <a:picLocks noChangeAspect="1"/>
            </p:cNvPicPr>
            <p:nvPr/>
          </p:nvPicPr>
          <p:blipFill>
            <a:blip r:embed="rId4"/>
            <a:stretch>
              <a:fillRect/>
            </a:stretch>
          </p:blipFill>
          <p:spPr>
            <a:xfrm>
              <a:off x="454025" y="3077179"/>
              <a:ext cx="807346" cy="1154346"/>
            </a:xfrm>
            <a:prstGeom prst="rect">
              <a:avLst/>
            </a:prstGeom>
          </p:spPr>
        </p:pic>
        <p:sp>
          <p:nvSpPr>
            <p:cNvPr id="69" name="Rectangle 6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70" name="Group 69"/>
          <p:cNvGrpSpPr/>
          <p:nvPr/>
        </p:nvGrpSpPr>
        <p:grpSpPr>
          <a:xfrm>
            <a:off x="6061025" y="2383082"/>
            <a:ext cx="864685" cy="1236329"/>
            <a:chOff x="454025" y="3077179"/>
            <a:chExt cx="807346" cy="1154346"/>
          </a:xfrm>
        </p:grpSpPr>
        <p:pic>
          <p:nvPicPr>
            <p:cNvPr id="71" name="Picture 70"/>
            <p:cNvPicPr>
              <a:picLocks noChangeAspect="1"/>
            </p:cNvPicPr>
            <p:nvPr/>
          </p:nvPicPr>
          <p:blipFill>
            <a:blip r:embed="rId4"/>
            <a:stretch>
              <a:fillRect/>
            </a:stretch>
          </p:blipFill>
          <p:spPr>
            <a:xfrm>
              <a:off x="454025" y="3077179"/>
              <a:ext cx="807346" cy="1154346"/>
            </a:xfrm>
            <a:prstGeom prst="rect">
              <a:avLst/>
            </a:prstGeom>
          </p:spPr>
        </p:pic>
        <p:sp>
          <p:nvSpPr>
            <p:cNvPr id="72" name="Rectangle 7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3" name="Group 72"/>
          <p:cNvGrpSpPr/>
          <p:nvPr/>
        </p:nvGrpSpPr>
        <p:grpSpPr>
          <a:xfrm>
            <a:off x="8533291" y="2383082"/>
            <a:ext cx="864685" cy="1236329"/>
            <a:chOff x="454025" y="3077179"/>
            <a:chExt cx="807346" cy="1154346"/>
          </a:xfrm>
        </p:grpSpPr>
        <p:pic>
          <p:nvPicPr>
            <p:cNvPr id="74" name="Picture 73"/>
            <p:cNvPicPr>
              <a:picLocks noChangeAspect="1"/>
            </p:cNvPicPr>
            <p:nvPr/>
          </p:nvPicPr>
          <p:blipFill>
            <a:blip r:embed="rId4"/>
            <a:stretch>
              <a:fillRect/>
            </a:stretch>
          </p:blipFill>
          <p:spPr>
            <a:xfrm>
              <a:off x="454025" y="3077179"/>
              <a:ext cx="807346" cy="1154346"/>
            </a:xfrm>
            <a:prstGeom prst="rect">
              <a:avLst/>
            </a:prstGeom>
          </p:spPr>
        </p:pic>
        <p:sp>
          <p:nvSpPr>
            <p:cNvPr id="75" name="Rectangle 7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spTree>
    <p:extLst>
      <p:ext uri="{BB962C8B-B14F-4D97-AF65-F5344CB8AC3E}">
        <p14:creationId xmlns:p14="http://schemas.microsoft.com/office/powerpoint/2010/main" val="1441357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1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42" presetClass="path" presetSubtype="0" decel="100000" fill="hold" nodeType="withEffect">
                                  <p:stCondLst>
                                    <p:cond delay="150"/>
                                  </p:stCondLst>
                                  <p:childTnLst>
                                    <p:animMotion origin="layout" path="M 1.20756E-6 -3.58148E-6 L 1.20756E-6 0.03836 " pathEditMode="relative" rAng="0" ptsTypes="AA">
                                      <p:cBhvr>
                                        <p:cTn id="12" dur="750" spd="-100000" fill="hold"/>
                                        <p:tgtEl>
                                          <p:spTgt spid="4"/>
                                        </p:tgtEl>
                                        <p:attrNameLst>
                                          <p:attrName>ppt_x</p:attrName>
                                          <p:attrName>ppt_y</p:attrName>
                                        </p:attrNameLst>
                                      </p:cBhvr>
                                      <p:rCtr x="0" y="1906"/>
                                    </p:animMotion>
                                  </p:childTnLst>
                                </p:cTn>
                              </p:par>
                              <p:par>
                                <p:cTn id="13" presetID="10" presetClass="entr" presetSubtype="0" fill="hold" nodeType="withEffect">
                                  <p:stCondLst>
                                    <p:cond delay="150"/>
                                  </p:stCondLst>
                                  <p:childTnLst>
                                    <p:set>
                                      <p:cBhvr>
                                        <p:cTn id="14" dur="1" fill="hold">
                                          <p:stCondLst>
                                            <p:cond delay="0"/>
                                          </p:stCondLst>
                                        </p:cTn>
                                        <p:tgtEl>
                                          <p:spTgt spid="73"/>
                                        </p:tgtEl>
                                        <p:attrNameLst>
                                          <p:attrName>style.visibility</p:attrName>
                                        </p:attrNameLst>
                                      </p:cBhvr>
                                      <p:to>
                                        <p:strVal val="visible"/>
                                      </p:to>
                                    </p:set>
                                    <p:animEffect transition="in" filter="fade">
                                      <p:cBhvr>
                                        <p:cTn id="15" dur="500"/>
                                        <p:tgtEl>
                                          <p:spTgt spid="73"/>
                                        </p:tgtEl>
                                      </p:cBhvr>
                                    </p:animEffect>
                                  </p:childTnLst>
                                </p:cTn>
                              </p:par>
                              <p:par>
                                <p:cTn id="16" presetID="42" presetClass="path" presetSubtype="0" decel="100000" fill="hold" nodeType="withEffect">
                                  <p:stCondLst>
                                    <p:cond delay="150"/>
                                  </p:stCondLst>
                                  <p:childTnLst>
                                    <p:animMotion origin="layout" path="M 1.20756E-6 -3.58148E-6 L 1.20756E-6 0.03836 " pathEditMode="relative" rAng="0" ptsTypes="AA">
                                      <p:cBhvr>
                                        <p:cTn id="17" dur="750" spd="-100000" fill="hold"/>
                                        <p:tgtEl>
                                          <p:spTgt spid="73"/>
                                        </p:tgtEl>
                                        <p:attrNameLst>
                                          <p:attrName>ppt_x</p:attrName>
                                          <p:attrName>ppt_y</p:attrName>
                                        </p:attrNameLst>
                                      </p:cBhvr>
                                      <p:rCtr x="0" y="1906"/>
                                    </p:animMotion>
                                  </p:childTnLst>
                                </p:cTn>
                              </p:par>
                              <p:par>
                                <p:cTn id="18" presetID="10" presetClass="entr" presetSubtype="0" fill="hold" nodeType="withEffect">
                                  <p:stCondLst>
                                    <p:cond delay="150"/>
                                  </p:stCondLst>
                                  <p:childTnLst>
                                    <p:set>
                                      <p:cBhvr>
                                        <p:cTn id="19" dur="1" fill="hold">
                                          <p:stCondLst>
                                            <p:cond delay="0"/>
                                          </p:stCondLst>
                                        </p:cTn>
                                        <p:tgtEl>
                                          <p:spTgt spid="70"/>
                                        </p:tgtEl>
                                        <p:attrNameLst>
                                          <p:attrName>style.visibility</p:attrName>
                                        </p:attrNameLst>
                                      </p:cBhvr>
                                      <p:to>
                                        <p:strVal val="visible"/>
                                      </p:to>
                                    </p:set>
                                    <p:animEffect transition="in" filter="fade">
                                      <p:cBhvr>
                                        <p:cTn id="20" dur="500"/>
                                        <p:tgtEl>
                                          <p:spTgt spid="70"/>
                                        </p:tgtEl>
                                      </p:cBhvr>
                                    </p:animEffect>
                                  </p:childTnLst>
                                </p:cTn>
                              </p:par>
                              <p:par>
                                <p:cTn id="21" presetID="42" presetClass="path" presetSubtype="0" decel="100000" fill="hold" nodeType="withEffect">
                                  <p:stCondLst>
                                    <p:cond delay="150"/>
                                  </p:stCondLst>
                                  <p:childTnLst>
                                    <p:animMotion origin="layout" path="M 1.20756E-6 -3.58148E-6 L 1.20756E-6 0.03836 " pathEditMode="relative" rAng="0" ptsTypes="AA">
                                      <p:cBhvr>
                                        <p:cTn id="22" dur="750" spd="-100000" fill="hold"/>
                                        <p:tgtEl>
                                          <p:spTgt spid="70"/>
                                        </p:tgtEl>
                                        <p:attrNameLst>
                                          <p:attrName>ppt_x</p:attrName>
                                          <p:attrName>ppt_y</p:attrName>
                                        </p:attrNameLst>
                                      </p:cBhvr>
                                      <p:rCtr x="0" y="1906"/>
                                    </p:animMotion>
                                  </p:childTnLst>
                                </p:cTn>
                              </p:par>
                              <p:par>
                                <p:cTn id="23" presetID="10" presetClass="entr" presetSubtype="0" fill="hold" nodeType="withEffect">
                                  <p:stCondLst>
                                    <p:cond delay="15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500"/>
                                        <p:tgtEl>
                                          <p:spTgt spid="67"/>
                                        </p:tgtEl>
                                      </p:cBhvr>
                                    </p:animEffect>
                                  </p:childTnLst>
                                </p:cTn>
                              </p:par>
                              <p:par>
                                <p:cTn id="26" presetID="42" presetClass="path" presetSubtype="0" decel="100000" fill="hold" nodeType="withEffect">
                                  <p:stCondLst>
                                    <p:cond delay="150"/>
                                  </p:stCondLst>
                                  <p:childTnLst>
                                    <p:animMotion origin="layout" path="M 1.20756E-6 -3.58148E-6 L 1.20756E-6 0.03836 " pathEditMode="relative" rAng="0" ptsTypes="AA">
                                      <p:cBhvr>
                                        <p:cTn id="27" dur="750" spd="-100000" fill="hold"/>
                                        <p:tgtEl>
                                          <p:spTgt spid="67"/>
                                        </p:tgtEl>
                                        <p:attrNameLst>
                                          <p:attrName>ppt_x</p:attrName>
                                          <p:attrName>ppt_y</p:attrName>
                                        </p:attrNameLst>
                                      </p:cBhvr>
                                      <p:rCtr x="0" y="1906"/>
                                    </p:animMotion>
                                  </p:childTnLst>
                                </p:cTn>
                              </p:par>
                              <p:par>
                                <p:cTn id="28" presetID="10" presetClass="entr" presetSubtype="0" fill="hold" nodeType="withEffect">
                                  <p:stCondLst>
                                    <p:cond delay="15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500"/>
                                        <p:tgtEl>
                                          <p:spTgt spid="64"/>
                                        </p:tgtEl>
                                      </p:cBhvr>
                                    </p:animEffect>
                                  </p:childTnLst>
                                </p:cTn>
                              </p:par>
                              <p:par>
                                <p:cTn id="31" presetID="42" presetClass="path" presetSubtype="0" decel="100000" fill="hold" nodeType="withEffect">
                                  <p:stCondLst>
                                    <p:cond delay="150"/>
                                  </p:stCondLst>
                                  <p:childTnLst>
                                    <p:animMotion origin="layout" path="M 1.20756E-6 -3.58148E-6 L 1.20756E-6 0.03836 " pathEditMode="relative" rAng="0" ptsTypes="AA">
                                      <p:cBhvr>
                                        <p:cTn id="32" dur="750" spd="-100000" fill="hold"/>
                                        <p:tgtEl>
                                          <p:spTgt spid="64"/>
                                        </p:tgtEl>
                                        <p:attrNameLst>
                                          <p:attrName>ppt_x</p:attrName>
                                          <p:attrName>ppt_y</p:attrName>
                                        </p:attrNameLst>
                                      </p:cBhvr>
                                      <p:rCtr x="0" y="1906"/>
                                    </p:animMotion>
                                  </p:childTnLst>
                                </p:cTn>
                              </p:par>
                              <p:par>
                                <p:cTn id="33" presetID="10" presetClass="entr" presetSubtype="0" fill="hold" grpId="0" nodeType="withEffect">
                                  <p:stCondLst>
                                    <p:cond delay="15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42" presetClass="path" presetSubtype="0" decel="100000" fill="hold" grpId="1" nodeType="withEffect">
                                  <p:stCondLst>
                                    <p:cond delay="150"/>
                                  </p:stCondLst>
                                  <p:childTnLst>
                                    <p:animMotion origin="layout" path="M 1.20756E-6 -3.58148E-6 L 1.20756E-6 0.03836 " pathEditMode="relative" rAng="0" ptsTypes="AA">
                                      <p:cBhvr>
                                        <p:cTn id="37" dur="750" spd="-100000" fill="hold"/>
                                        <p:tgtEl>
                                          <p:spTgt spid="19"/>
                                        </p:tgtEl>
                                        <p:attrNameLst>
                                          <p:attrName>ppt_x</p:attrName>
                                          <p:attrName>ppt_y</p:attrName>
                                        </p:attrNameLst>
                                      </p:cBhvr>
                                      <p:rCtr x="0" y="1906"/>
                                    </p:animMotion>
                                  </p:childTnLst>
                                </p:cTn>
                              </p:par>
                              <p:par>
                                <p:cTn id="38" presetID="10" presetClass="entr" presetSubtype="0" fill="hold" grpId="0" nodeType="withEffect">
                                  <p:stCondLst>
                                    <p:cond delay="15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par>
                                <p:cTn id="41" presetID="42" presetClass="path" presetSubtype="0" decel="100000" fill="hold" grpId="1" nodeType="withEffect">
                                  <p:stCondLst>
                                    <p:cond delay="150"/>
                                  </p:stCondLst>
                                  <p:childTnLst>
                                    <p:animMotion origin="layout" path="M 1.20756E-6 -3.58148E-6 L 1.20756E-6 0.03836 " pathEditMode="relative" rAng="0" ptsTypes="AA">
                                      <p:cBhvr>
                                        <p:cTn id="42" dur="750" spd="-100000" fill="hold"/>
                                        <p:tgtEl>
                                          <p:spTgt spid="28"/>
                                        </p:tgtEl>
                                        <p:attrNameLst>
                                          <p:attrName>ppt_x</p:attrName>
                                          <p:attrName>ppt_y</p:attrName>
                                        </p:attrNameLst>
                                      </p:cBhvr>
                                      <p:rCtr x="0" y="1906"/>
                                    </p:animMotion>
                                  </p:childTnLst>
                                </p:cTn>
                              </p:par>
                              <p:par>
                                <p:cTn id="43" presetID="10" presetClass="entr" presetSubtype="0" fill="hold" grpId="0" nodeType="withEffect">
                                  <p:stCondLst>
                                    <p:cond delay="15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42" presetClass="path" presetSubtype="0" decel="100000" fill="hold" grpId="1" nodeType="withEffect">
                                  <p:stCondLst>
                                    <p:cond delay="150"/>
                                  </p:stCondLst>
                                  <p:childTnLst>
                                    <p:animMotion origin="layout" path="M 1.20756E-6 -3.58148E-6 L 1.20756E-6 0.03836 " pathEditMode="relative" rAng="0" ptsTypes="AA">
                                      <p:cBhvr>
                                        <p:cTn id="47" dur="750" spd="-100000" fill="hold"/>
                                        <p:tgtEl>
                                          <p:spTgt spid="37"/>
                                        </p:tgtEl>
                                        <p:attrNameLst>
                                          <p:attrName>ppt_x</p:attrName>
                                          <p:attrName>ppt_y</p:attrName>
                                        </p:attrNameLst>
                                      </p:cBhvr>
                                      <p:rCtr x="0" y="1906"/>
                                    </p:animMotion>
                                  </p:childTnLst>
                                </p:cTn>
                              </p:par>
                              <p:par>
                                <p:cTn id="48" presetID="10" presetClass="entr" presetSubtype="0" fill="hold" grpId="0" nodeType="withEffect">
                                  <p:stCondLst>
                                    <p:cond delay="150"/>
                                  </p:stCondLst>
                                  <p:childTnLst>
                                    <p:set>
                                      <p:cBhvr>
                                        <p:cTn id="49" dur="1" fill="hold">
                                          <p:stCondLst>
                                            <p:cond delay="0"/>
                                          </p:stCondLst>
                                        </p:cTn>
                                        <p:tgtEl>
                                          <p:spTgt spid="46"/>
                                        </p:tgtEl>
                                        <p:attrNameLst>
                                          <p:attrName>style.visibility</p:attrName>
                                        </p:attrNameLst>
                                      </p:cBhvr>
                                      <p:to>
                                        <p:strVal val="visible"/>
                                      </p:to>
                                    </p:set>
                                    <p:animEffect transition="in" filter="fade">
                                      <p:cBhvr>
                                        <p:cTn id="50" dur="500"/>
                                        <p:tgtEl>
                                          <p:spTgt spid="46"/>
                                        </p:tgtEl>
                                      </p:cBhvr>
                                    </p:animEffect>
                                  </p:childTnLst>
                                </p:cTn>
                              </p:par>
                              <p:par>
                                <p:cTn id="51" presetID="42" presetClass="path" presetSubtype="0" decel="100000" fill="hold" grpId="1" nodeType="withEffect">
                                  <p:stCondLst>
                                    <p:cond delay="150"/>
                                  </p:stCondLst>
                                  <p:childTnLst>
                                    <p:animMotion origin="layout" path="M 1.20756E-6 -3.58148E-6 L 1.20756E-6 0.03836 " pathEditMode="relative" rAng="0" ptsTypes="AA">
                                      <p:cBhvr>
                                        <p:cTn id="52" dur="750" spd="-100000" fill="hold"/>
                                        <p:tgtEl>
                                          <p:spTgt spid="46"/>
                                        </p:tgtEl>
                                        <p:attrNameLst>
                                          <p:attrName>ppt_x</p:attrName>
                                          <p:attrName>ppt_y</p:attrName>
                                        </p:attrNameLst>
                                      </p:cBhvr>
                                      <p:rCtr x="0" y="1906"/>
                                    </p:animMotion>
                                  </p:childTnLst>
                                </p:cTn>
                              </p:par>
                              <p:par>
                                <p:cTn id="53" presetID="10" presetClass="entr" presetSubtype="0" fill="hold" grpId="0" nodeType="withEffect">
                                  <p:stCondLst>
                                    <p:cond delay="500"/>
                                  </p:stCondLst>
                                  <p:childTnLst>
                                    <p:set>
                                      <p:cBhvr>
                                        <p:cTn id="54" dur="1" fill="hold">
                                          <p:stCondLst>
                                            <p:cond delay="0"/>
                                          </p:stCondLst>
                                        </p:cTn>
                                        <p:tgtEl>
                                          <p:spTgt spid="55"/>
                                        </p:tgtEl>
                                        <p:attrNameLst>
                                          <p:attrName>style.visibility</p:attrName>
                                        </p:attrNameLst>
                                      </p:cBhvr>
                                      <p:to>
                                        <p:strVal val="visible"/>
                                      </p:to>
                                    </p:set>
                                    <p:animEffect transition="in" filter="fade">
                                      <p:cBhvr>
                                        <p:cTn id="55" dur="500"/>
                                        <p:tgtEl>
                                          <p:spTgt spid="55"/>
                                        </p:tgtEl>
                                      </p:cBhvr>
                                    </p:animEffect>
                                  </p:childTnLst>
                                </p:cTn>
                              </p:par>
                              <p:par>
                                <p:cTn id="56" presetID="42" presetClass="path" presetSubtype="0" decel="100000" fill="hold" grpId="1" nodeType="withEffect">
                                  <p:stCondLst>
                                    <p:cond delay="500"/>
                                  </p:stCondLst>
                                  <p:childTnLst>
                                    <p:animMotion origin="layout" path="M 1.20756E-6 -3.58148E-6 L 1.20756E-6 0.03836 " pathEditMode="relative" rAng="0" ptsTypes="AA">
                                      <p:cBhvr>
                                        <p:cTn id="57" dur="750" spd="-100000" fill="hold"/>
                                        <p:tgtEl>
                                          <p:spTgt spid="55"/>
                                        </p:tgtEl>
                                        <p:attrNameLst>
                                          <p:attrName>ppt_x</p:attrName>
                                          <p:attrName>ppt_y</p:attrName>
                                        </p:attrNameLst>
                                      </p:cBhvr>
                                      <p:rCtr x="0" y="1906"/>
                                    </p:animMotion>
                                  </p:childTnLst>
                                </p:cTn>
                              </p:par>
                              <p:par>
                                <p:cTn id="58" presetID="10" presetClass="entr" presetSubtype="0" fill="hold" grpId="0" nodeType="withEffect">
                                  <p:stCondLst>
                                    <p:cond delay="500"/>
                                  </p:stCondLst>
                                  <p:childTnLst>
                                    <p:set>
                                      <p:cBhvr>
                                        <p:cTn id="59" dur="1" fill="hold">
                                          <p:stCondLst>
                                            <p:cond delay="0"/>
                                          </p:stCondLst>
                                        </p:cTn>
                                        <p:tgtEl>
                                          <p:spTgt spid="56"/>
                                        </p:tgtEl>
                                        <p:attrNameLst>
                                          <p:attrName>style.visibility</p:attrName>
                                        </p:attrNameLst>
                                      </p:cBhvr>
                                      <p:to>
                                        <p:strVal val="visible"/>
                                      </p:to>
                                    </p:set>
                                    <p:animEffect transition="in" filter="fade">
                                      <p:cBhvr>
                                        <p:cTn id="60" dur="500"/>
                                        <p:tgtEl>
                                          <p:spTgt spid="56"/>
                                        </p:tgtEl>
                                      </p:cBhvr>
                                    </p:animEffect>
                                  </p:childTnLst>
                                </p:cTn>
                              </p:par>
                              <p:par>
                                <p:cTn id="61" presetID="42" presetClass="path" presetSubtype="0" decel="100000" fill="hold" grpId="1" nodeType="withEffect">
                                  <p:stCondLst>
                                    <p:cond delay="500"/>
                                  </p:stCondLst>
                                  <p:childTnLst>
                                    <p:animMotion origin="layout" path="M 1.20756E-6 -3.58148E-6 L 1.20756E-6 0.03836 " pathEditMode="relative" rAng="0" ptsTypes="AA">
                                      <p:cBhvr>
                                        <p:cTn id="62" dur="750" spd="-100000" fill="hold"/>
                                        <p:tgtEl>
                                          <p:spTgt spid="56"/>
                                        </p:tgtEl>
                                        <p:attrNameLst>
                                          <p:attrName>ppt_x</p:attrName>
                                          <p:attrName>ppt_y</p:attrName>
                                        </p:attrNameLst>
                                      </p:cBhvr>
                                      <p:rCtr x="0" y="1906"/>
                                    </p:animMotion>
                                  </p:childTnLst>
                                </p:cTn>
                              </p:par>
                              <p:par>
                                <p:cTn id="63" presetID="10" presetClass="entr" presetSubtype="0" fill="hold" grpId="0" nodeType="withEffect">
                                  <p:stCondLst>
                                    <p:cond delay="50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par>
                                <p:cTn id="66" presetID="42" presetClass="path" presetSubtype="0" decel="100000" fill="hold" grpId="1" nodeType="withEffect">
                                  <p:stCondLst>
                                    <p:cond delay="500"/>
                                  </p:stCondLst>
                                  <p:childTnLst>
                                    <p:animMotion origin="layout" path="M 1.20756E-6 -3.58148E-6 L 1.20756E-6 0.03836 " pathEditMode="relative" rAng="0" ptsTypes="AA">
                                      <p:cBhvr>
                                        <p:cTn id="67" dur="750" spd="-100000" fill="hold"/>
                                        <p:tgtEl>
                                          <p:spTgt spid="57"/>
                                        </p:tgtEl>
                                        <p:attrNameLst>
                                          <p:attrName>ppt_x</p:attrName>
                                          <p:attrName>ppt_y</p:attrName>
                                        </p:attrNameLst>
                                      </p:cBhvr>
                                      <p:rCtr x="0" y="1906"/>
                                    </p:animMotion>
                                  </p:childTnLst>
                                </p:cTn>
                              </p:par>
                              <p:par>
                                <p:cTn id="68" presetID="10" presetClass="entr" presetSubtype="0" fill="hold" grpId="0" nodeType="withEffect">
                                  <p:stCondLst>
                                    <p:cond delay="50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42" presetClass="path" presetSubtype="0" decel="100000" fill="hold" grpId="1" nodeType="withEffect">
                                  <p:stCondLst>
                                    <p:cond delay="500"/>
                                  </p:stCondLst>
                                  <p:childTnLst>
                                    <p:animMotion origin="layout" path="M 1.20756E-6 -3.58148E-6 L 1.20756E-6 0.03836 " pathEditMode="relative" rAng="0" ptsTypes="AA">
                                      <p:cBhvr>
                                        <p:cTn id="72" dur="750" spd="-100000" fill="hold"/>
                                        <p:tgtEl>
                                          <p:spTgt spid="58"/>
                                        </p:tgtEl>
                                        <p:attrNameLst>
                                          <p:attrName>ppt_x</p:attrName>
                                          <p:attrName>ppt_y</p:attrName>
                                        </p:attrNameLst>
                                      </p:cBhvr>
                                      <p:rCtr x="0" y="19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p:bldP spid="19" grpId="1"/>
      <p:bldP spid="28" grpId="0"/>
      <p:bldP spid="28" grpId="1"/>
      <p:bldP spid="37" grpId="0"/>
      <p:bldP spid="37" grpId="1"/>
      <p:bldP spid="46" grpId="0"/>
      <p:bldP spid="46" grpId="1"/>
      <p:bldP spid="55" grpId="0"/>
      <p:bldP spid="55" grpId="1"/>
      <p:bldP spid="56" grpId="0"/>
      <p:bldP spid="56" grpId="1"/>
      <p:bldP spid="57" grpId="0"/>
      <p:bldP spid="57" grpId="1"/>
      <p:bldP spid="58" grpId="0"/>
      <p:bldP spid="58" grpId="1"/>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146" name="Rectangle 145"/>
          <p:cNvSpPr/>
          <p:nvPr/>
        </p:nvSpPr>
        <p:spPr bwMode="auto">
          <a:xfrm>
            <a:off x="0" y="1916381"/>
            <a:ext cx="12436475" cy="244126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109" name="Group 108"/>
          <p:cNvGrpSpPr/>
          <p:nvPr/>
        </p:nvGrpSpPr>
        <p:grpSpPr>
          <a:xfrm>
            <a:off x="4472600" y="2394089"/>
            <a:ext cx="864685" cy="1236329"/>
            <a:chOff x="454025" y="3077179"/>
            <a:chExt cx="807346" cy="1154346"/>
          </a:xfrm>
        </p:grpSpPr>
        <p:pic>
          <p:nvPicPr>
            <p:cNvPr id="110" name="Picture 109"/>
            <p:cNvPicPr>
              <a:picLocks noChangeAspect="1"/>
            </p:cNvPicPr>
            <p:nvPr/>
          </p:nvPicPr>
          <p:blipFill>
            <a:blip r:embed="rId3"/>
            <a:stretch>
              <a:fillRect/>
            </a:stretch>
          </p:blipFill>
          <p:spPr>
            <a:xfrm>
              <a:off x="454025" y="3077179"/>
              <a:ext cx="807346" cy="1154346"/>
            </a:xfrm>
            <a:prstGeom prst="rect">
              <a:avLst/>
            </a:prstGeom>
          </p:spPr>
        </p:pic>
        <p:sp>
          <p:nvSpPr>
            <p:cNvPr id="111" name="Rectangle 11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12" name="Rectangle 11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13" name="Rectangle 11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spc="-50">
                  <a:gradFill>
                    <a:gsLst>
                      <a:gs pos="0">
                        <a:srgbClr val="FFFFFF"/>
                      </a:gs>
                      <a:gs pos="100000">
                        <a:srgbClr val="FFFFFF"/>
                      </a:gs>
                    </a:gsLst>
                    <a:lin ang="5400000" scaled="0"/>
                  </a:gradFill>
                </a:rPr>
                <a:t>Dv3</a:t>
              </a:r>
            </a:p>
          </p:txBody>
        </p:sp>
      </p:grpSp>
      <p:sp>
        <p:nvSpPr>
          <p:cNvPr id="2" name="Title 1"/>
          <p:cNvSpPr>
            <a:spLocks noGrp="1"/>
          </p:cNvSpPr>
          <p:nvPr>
            <p:ph type="title"/>
          </p:nvPr>
        </p:nvSpPr>
        <p:spPr/>
        <p:txBody>
          <a:bodyPr/>
          <a:lstStyle/>
          <a:p>
            <a:r>
              <a:rPr lang="en-US"/>
              <a:t>New compute size options</a:t>
            </a:r>
          </a:p>
        </p:txBody>
      </p:sp>
      <p:sp>
        <p:nvSpPr>
          <p:cNvPr id="10" name="Rectangle 9"/>
          <p:cNvSpPr/>
          <p:nvPr/>
        </p:nvSpPr>
        <p:spPr bwMode="auto">
          <a:xfrm>
            <a:off x="595860" y="3880849"/>
            <a:ext cx="2906061"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231965" y="3880849"/>
            <a:ext cx="2611015"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26290" y="3880849"/>
            <a:ext cx="11186261"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grpSp>
        <p:nvGrpSpPr>
          <p:cNvPr id="45" name="Group 44" hidden="1"/>
          <p:cNvGrpSpPr/>
          <p:nvPr/>
        </p:nvGrpSpPr>
        <p:grpSpPr>
          <a:xfrm>
            <a:off x="482601" y="2383082"/>
            <a:ext cx="864685" cy="1236329"/>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59" name="Group 58"/>
          <p:cNvGrpSpPr/>
          <p:nvPr/>
        </p:nvGrpSpPr>
        <p:grpSpPr>
          <a:xfrm>
            <a:off x="906879" y="2392239"/>
            <a:ext cx="864685" cy="1236329"/>
            <a:chOff x="454025" y="3077179"/>
            <a:chExt cx="807346" cy="1154346"/>
          </a:xfrm>
        </p:grpSpPr>
        <p:pic>
          <p:nvPicPr>
            <p:cNvPr id="60" name="Picture 59"/>
            <p:cNvPicPr>
              <a:picLocks noChangeAspect="1"/>
            </p:cNvPicPr>
            <p:nvPr/>
          </p:nvPicPr>
          <p:blipFill>
            <a:blip r:embed="rId3"/>
            <a:stretch>
              <a:fillRect/>
            </a:stretch>
          </p:blipFill>
          <p:spPr>
            <a:xfrm>
              <a:off x="454025" y="3077179"/>
              <a:ext cx="807346" cy="1154346"/>
            </a:xfrm>
            <a:prstGeom prst="rect">
              <a:avLst/>
            </a:prstGeom>
          </p:spPr>
        </p:pic>
        <p:sp>
          <p:nvSpPr>
            <p:cNvPr id="61" name="Rectangle 6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2" name="Rectangle 9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3" name="Rectangle 9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grpSp>
      <p:grpSp>
        <p:nvGrpSpPr>
          <p:cNvPr id="62" name="Group 61" hidden="1"/>
          <p:cNvGrpSpPr/>
          <p:nvPr/>
        </p:nvGrpSpPr>
        <p:grpSpPr>
          <a:xfrm>
            <a:off x="2384844" y="2383082"/>
            <a:ext cx="864685" cy="1236329"/>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68" name="Group 67" hidden="1"/>
          <p:cNvGrpSpPr/>
          <p:nvPr/>
        </p:nvGrpSpPr>
        <p:grpSpPr>
          <a:xfrm>
            <a:off x="4287087" y="2383082"/>
            <a:ext cx="864685" cy="1236329"/>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1" name="Group 70"/>
          <p:cNvGrpSpPr/>
          <p:nvPr/>
        </p:nvGrpSpPr>
        <p:grpSpPr>
          <a:xfrm>
            <a:off x="7120429" y="2381876"/>
            <a:ext cx="864685" cy="1236329"/>
            <a:chOff x="454025" y="3077179"/>
            <a:chExt cx="807346" cy="1154346"/>
          </a:xfrm>
        </p:grpSpPr>
        <p:pic>
          <p:nvPicPr>
            <p:cNvPr id="72" name="Picture 71"/>
            <p:cNvPicPr>
              <a:picLocks noChangeAspect="1"/>
            </p:cNvPicPr>
            <p:nvPr/>
          </p:nvPicPr>
          <p:blipFill>
            <a:blip r:embed="rId3"/>
            <a:stretch>
              <a:fillRect/>
            </a:stretch>
          </p:blipFill>
          <p:spPr>
            <a:xfrm>
              <a:off x="454025" y="3077179"/>
              <a:ext cx="807346" cy="1154346"/>
            </a:xfrm>
            <a:prstGeom prst="rect">
              <a:avLst/>
            </a:prstGeom>
          </p:spPr>
        </p:pic>
        <p:sp>
          <p:nvSpPr>
            <p:cNvPr id="73" name="Rectangle 7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L</a:t>
              </a:r>
            </a:p>
          </p:txBody>
        </p:sp>
      </p:grpSp>
      <p:grpSp>
        <p:nvGrpSpPr>
          <p:cNvPr id="74" name="Group 73"/>
          <p:cNvGrpSpPr/>
          <p:nvPr/>
        </p:nvGrpSpPr>
        <p:grpSpPr>
          <a:xfrm>
            <a:off x="9766238" y="2386432"/>
            <a:ext cx="864685" cy="1236329"/>
            <a:chOff x="454025" y="3077179"/>
            <a:chExt cx="807346" cy="1154346"/>
          </a:xfrm>
        </p:grpSpPr>
        <p:pic>
          <p:nvPicPr>
            <p:cNvPr id="75" name="Picture 74"/>
            <p:cNvPicPr>
              <a:picLocks noChangeAspect="1"/>
            </p:cNvPicPr>
            <p:nvPr/>
          </p:nvPicPr>
          <p:blipFill>
            <a:blip r:embed="rId3"/>
            <a:stretch>
              <a:fillRect/>
            </a:stretch>
          </p:blipFill>
          <p:spPr>
            <a:xfrm>
              <a:off x="454025" y="3077179"/>
              <a:ext cx="807346" cy="1154346"/>
            </a:xfrm>
            <a:prstGeom prst="rect">
              <a:avLst/>
            </a:prstGeom>
          </p:spPr>
        </p:pic>
        <p:sp>
          <p:nvSpPr>
            <p:cNvPr id="76" name="Rectangle 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pPr>
              <a:r>
                <a:rPr lang="en-US" sz="2400" b="1">
                  <a:gradFill>
                    <a:gsLst>
                      <a:gs pos="0">
                        <a:srgbClr val="FFFFFF"/>
                      </a:gs>
                      <a:gs pos="100000">
                        <a:srgbClr val="FFFFFF"/>
                      </a:gs>
                    </a:gsLst>
                    <a:lin ang="5400000" scaled="0"/>
                  </a:gradFill>
                </a:rPr>
                <a:t>Ev3</a:t>
              </a:r>
            </a:p>
          </p:txBody>
        </p:sp>
      </p:grpSp>
      <p:grpSp>
        <p:nvGrpSpPr>
          <p:cNvPr id="77" name="Group 76" hidden="1"/>
          <p:cNvGrpSpPr/>
          <p:nvPr/>
        </p:nvGrpSpPr>
        <p:grpSpPr>
          <a:xfrm>
            <a:off x="7140451" y="2383082"/>
            <a:ext cx="864685" cy="1236329"/>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grpSp>
        <p:nvGrpSpPr>
          <p:cNvPr id="80" name="Group 79"/>
          <p:cNvGrpSpPr/>
          <p:nvPr/>
        </p:nvGrpSpPr>
        <p:grpSpPr>
          <a:xfrm>
            <a:off x="6242487" y="2386432"/>
            <a:ext cx="864685" cy="1236329"/>
            <a:chOff x="454025" y="3077179"/>
            <a:chExt cx="807346" cy="1154346"/>
          </a:xfrm>
        </p:grpSpPr>
        <p:pic>
          <p:nvPicPr>
            <p:cNvPr id="81" name="Picture 80"/>
            <p:cNvPicPr>
              <a:picLocks noChangeAspect="1"/>
            </p:cNvPicPr>
            <p:nvPr/>
          </p:nvPicPr>
          <p:blipFill>
            <a:blip r:embed="rId3"/>
            <a:stretch>
              <a:fillRect/>
            </a:stretch>
          </p:blipFill>
          <p:spPr>
            <a:xfrm>
              <a:off x="454025" y="3077179"/>
              <a:ext cx="807346" cy="1154346"/>
            </a:xfrm>
            <a:prstGeom prst="rect">
              <a:avLst/>
            </a:prstGeom>
          </p:spPr>
        </p:pic>
        <p:sp>
          <p:nvSpPr>
            <p:cNvPr id="82" name="Rectangle 8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N</a:t>
              </a:r>
            </a:p>
          </p:txBody>
        </p:sp>
      </p:grpSp>
      <p:grpSp>
        <p:nvGrpSpPr>
          <p:cNvPr id="83" name="Group 82"/>
          <p:cNvGrpSpPr/>
          <p:nvPr/>
        </p:nvGrpSpPr>
        <p:grpSpPr>
          <a:xfrm>
            <a:off x="8884946" y="2391408"/>
            <a:ext cx="864685" cy="1236329"/>
            <a:chOff x="454025" y="3077179"/>
            <a:chExt cx="807346" cy="1154346"/>
          </a:xfrm>
        </p:grpSpPr>
        <p:pic>
          <p:nvPicPr>
            <p:cNvPr id="84" name="Picture 83"/>
            <p:cNvPicPr>
              <a:picLocks noChangeAspect="1"/>
            </p:cNvPicPr>
            <p:nvPr/>
          </p:nvPicPr>
          <p:blipFill>
            <a:blip r:embed="rId3"/>
            <a:stretch>
              <a:fillRect/>
            </a:stretch>
          </p:blipFill>
          <p:spPr>
            <a:xfrm>
              <a:off x="454025" y="3077179"/>
              <a:ext cx="807346" cy="1154346"/>
            </a:xfrm>
            <a:prstGeom prst="rect">
              <a:avLst/>
            </a:prstGeom>
          </p:spPr>
        </p:pic>
        <p:sp>
          <p:nvSpPr>
            <p:cNvPr id="85" name="Rectangle 8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H</a:t>
              </a:r>
            </a:p>
          </p:txBody>
        </p:sp>
      </p:grpSp>
      <p:grpSp>
        <p:nvGrpSpPr>
          <p:cNvPr id="86" name="Group 85"/>
          <p:cNvGrpSpPr/>
          <p:nvPr/>
        </p:nvGrpSpPr>
        <p:grpSpPr>
          <a:xfrm>
            <a:off x="10643422" y="2379535"/>
            <a:ext cx="864685" cy="1236329"/>
            <a:chOff x="454025" y="3077179"/>
            <a:chExt cx="807346" cy="1154346"/>
          </a:xfrm>
        </p:grpSpPr>
        <p:pic>
          <p:nvPicPr>
            <p:cNvPr id="87" name="Picture 86"/>
            <p:cNvPicPr>
              <a:picLocks noChangeAspect="1"/>
            </p:cNvPicPr>
            <p:nvPr/>
          </p:nvPicPr>
          <p:blipFill>
            <a:blip r:embed="rId3"/>
            <a:stretch>
              <a:fillRect/>
            </a:stretch>
          </p:blipFill>
          <p:spPr>
            <a:xfrm>
              <a:off x="454025" y="3077179"/>
              <a:ext cx="807346" cy="1154346"/>
            </a:xfrm>
            <a:prstGeom prst="rect">
              <a:avLst/>
            </a:prstGeom>
          </p:spPr>
        </p:pic>
        <p:sp>
          <p:nvSpPr>
            <p:cNvPr id="88" name="Rectangle 87"/>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M</a:t>
              </a:r>
            </a:p>
          </p:txBody>
        </p:sp>
      </p:grpSp>
      <p:grpSp>
        <p:nvGrpSpPr>
          <p:cNvPr id="94" name="Group 93"/>
          <p:cNvGrpSpPr/>
          <p:nvPr/>
        </p:nvGrpSpPr>
        <p:grpSpPr>
          <a:xfrm>
            <a:off x="3573339" y="2393388"/>
            <a:ext cx="864685" cy="1236329"/>
            <a:chOff x="454025" y="3077179"/>
            <a:chExt cx="807346" cy="1154346"/>
          </a:xfrm>
        </p:grpSpPr>
        <p:pic>
          <p:nvPicPr>
            <p:cNvPr id="95" name="Picture 94"/>
            <p:cNvPicPr>
              <a:picLocks noChangeAspect="1"/>
            </p:cNvPicPr>
            <p:nvPr/>
          </p:nvPicPr>
          <p:blipFill>
            <a:blip r:embed="rId3"/>
            <a:stretch>
              <a:fillRect/>
            </a:stretch>
          </p:blipFill>
          <p:spPr>
            <a:xfrm>
              <a:off x="454025" y="3077179"/>
              <a:ext cx="807346" cy="1154346"/>
            </a:xfrm>
            <a:prstGeom prst="rect">
              <a:avLst/>
            </a:prstGeom>
          </p:spPr>
        </p:pic>
        <p:sp>
          <p:nvSpPr>
            <p:cNvPr id="96" name="Rectangle 95"/>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7" name="Rectangle 96"/>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8" name="Rectangle 97"/>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spc="-50">
                  <a:gradFill>
                    <a:gsLst>
                      <a:gs pos="0">
                        <a:srgbClr val="FFFFFF"/>
                      </a:gs>
                      <a:gs pos="100000">
                        <a:srgbClr val="FFFFFF"/>
                      </a:gs>
                    </a:gsLst>
                    <a:lin ang="5400000" scaled="0"/>
                  </a:gradFill>
                </a:rPr>
                <a:t>Dv2</a:t>
              </a:r>
            </a:p>
          </p:txBody>
        </p:sp>
      </p:grpSp>
      <p:grpSp>
        <p:nvGrpSpPr>
          <p:cNvPr id="134" name="Group 133"/>
          <p:cNvGrpSpPr/>
          <p:nvPr/>
        </p:nvGrpSpPr>
        <p:grpSpPr>
          <a:xfrm>
            <a:off x="30129" y="2389347"/>
            <a:ext cx="864685" cy="1236329"/>
            <a:chOff x="454025" y="3077179"/>
            <a:chExt cx="807346" cy="1154346"/>
          </a:xfrm>
        </p:grpSpPr>
        <p:pic>
          <p:nvPicPr>
            <p:cNvPr id="135" name="Picture 134"/>
            <p:cNvPicPr>
              <a:picLocks noChangeAspect="1"/>
            </p:cNvPicPr>
            <p:nvPr/>
          </p:nvPicPr>
          <p:blipFill>
            <a:blip r:embed="rId3"/>
            <a:stretch>
              <a:fillRect/>
            </a:stretch>
          </p:blipFill>
          <p:spPr>
            <a:xfrm>
              <a:off x="454025" y="3077179"/>
              <a:ext cx="807346" cy="1154346"/>
            </a:xfrm>
            <a:prstGeom prst="rect">
              <a:avLst/>
            </a:prstGeom>
          </p:spPr>
        </p:pic>
        <p:sp>
          <p:nvSpPr>
            <p:cNvPr id="136" name="Rectangle 13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137" name="Group 136"/>
          <p:cNvGrpSpPr/>
          <p:nvPr/>
        </p:nvGrpSpPr>
        <p:grpSpPr>
          <a:xfrm>
            <a:off x="2673940" y="2393389"/>
            <a:ext cx="864685" cy="1236329"/>
            <a:chOff x="454025" y="3077179"/>
            <a:chExt cx="807346" cy="1154346"/>
          </a:xfrm>
        </p:grpSpPr>
        <p:pic>
          <p:nvPicPr>
            <p:cNvPr id="138" name="Picture 137"/>
            <p:cNvPicPr>
              <a:picLocks noChangeAspect="1"/>
            </p:cNvPicPr>
            <p:nvPr/>
          </p:nvPicPr>
          <p:blipFill>
            <a:blip r:embed="rId3"/>
            <a:stretch>
              <a:fillRect/>
            </a:stretch>
          </p:blipFill>
          <p:spPr>
            <a:xfrm>
              <a:off x="454025" y="3077179"/>
              <a:ext cx="807346" cy="1154346"/>
            </a:xfrm>
            <a:prstGeom prst="rect">
              <a:avLst/>
            </a:prstGeom>
          </p:spPr>
        </p:pic>
        <p:sp>
          <p:nvSpPr>
            <p:cNvPr id="139" name="Rectangle 138"/>
            <p:cNvSpPr/>
            <p:nvPr/>
          </p:nvSpPr>
          <p:spPr bwMode="auto">
            <a:xfrm>
              <a:off x="606079" y="3166036"/>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140" name="Group 139"/>
          <p:cNvGrpSpPr/>
          <p:nvPr/>
        </p:nvGrpSpPr>
        <p:grpSpPr>
          <a:xfrm>
            <a:off x="5366784" y="2393388"/>
            <a:ext cx="864685" cy="1236329"/>
            <a:chOff x="454025" y="3077179"/>
            <a:chExt cx="807346" cy="1154346"/>
          </a:xfrm>
        </p:grpSpPr>
        <p:pic>
          <p:nvPicPr>
            <p:cNvPr id="141" name="Picture 140"/>
            <p:cNvPicPr>
              <a:picLocks noChangeAspect="1"/>
            </p:cNvPicPr>
            <p:nvPr/>
          </p:nvPicPr>
          <p:blipFill>
            <a:blip r:embed="rId3"/>
            <a:stretch>
              <a:fillRect/>
            </a:stretch>
          </p:blipFill>
          <p:spPr>
            <a:xfrm>
              <a:off x="454025" y="3077179"/>
              <a:ext cx="807346" cy="1154346"/>
            </a:xfrm>
            <a:prstGeom prst="rect">
              <a:avLst/>
            </a:prstGeom>
          </p:spPr>
        </p:pic>
        <p:sp>
          <p:nvSpPr>
            <p:cNvPr id="142" name="Rectangle 14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143" name="Group 142"/>
          <p:cNvGrpSpPr/>
          <p:nvPr/>
        </p:nvGrpSpPr>
        <p:grpSpPr>
          <a:xfrm>
            <a:off x="7995593" y="2379535"/>
            <a:ext cx="864685" cy="1236329"/>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sp>
        <p:nvSpPr>
          <p:cNvPr id="108" name="TextBox 107"/>
          <p:cNvSpPr txBox="1"/>
          <p:nvPr/>
        </p:nvSpPr>
        <p:spPr>
          <a:xfrm>
            <a:off x="261059" y="6446049"/>
            <a:ext cx="1448153" cy="433965"/>
          </a:xfrm>
          <a:prstGeom prst="rect">
            <a:avLst/>
          </a:prstGeom>
          <a:noFill/>
        </p:spPr>
        <p:txBody>
          <a:bodyPr wrap="none" lIns="182880" tIns="146304" rIns="182880" bIns="146304" rtlCol="0">
            <a:spAutoFit/>
          </a:bodyPr>
          <a:lstStyle/>
          <a:p>
            <a:pPr>
              <a:lnSpc>
                <a:spcPct val="90000"/>
              </a:lnSpc>
              <a:spcAft>
                <a:spcPts val="600"/>
              </a:spcAft>
            </a:pPr>
            <a:r>
              <a:rPr lang="en-US" sz="1000">
                <a:gradFill>
                  <a:gsLst>
                    <a:gs pos="0">
                      <a:schemeClr val="tx1"/>
                    </a:gs>
                    <a:gs pos="100000">
                      <a:schemeClr val="tx1"/>
                    </a:gs>
                  </a:gsLst>
                  <a:lin ang="5400000" scaled="1"/>
                </a:gradFill>
              </a:rPr>
              <a:t>UNDER NDA ONLY</a:t>
            </a:r>
          </a:p>
        </p:txBody>
      </p:sp>
      <p:grpSp>
        <p:nvGrpSpPr>
          <p:cNvPr id="89" name="Group 88"/>
          <p:cNvGrpSpPr/>
          <p:nvPr/>
        </p:nvGrpSpPr>
        <p:grpSpPr>
          <a:xfrm>
            <a:off x="11461547" y="2391408"/>
            <a:ext cx="990308" cy="1013056"/>
            <a:chOff x="9264169" y="3168861"/>
            <a:chExt cx="1048453" cy="1150283"/>
          </a:xfrm>
        </p:grpSpPr>
        <p:grpSp>
          <p:nvGrpSpPr>
            <p:cNvPr id="90" name="Group 89"/>
            <p:cNvGrpSpPr/>
            <p:nvPr/>
          </p:nvGrpSpPr>
          <p:grpSpPr>
            <a:xfrm>
              <a:off x="9369060" y="3168861"/>
              <a:ext cx="838673" cy="860859"/>
              <a:chOff x="-1455738" y="922338"/>
              <a:chExt cx="300038" cy="307975"/>
            </a:xfrm>
          </p:grpSpPr>
          <p:sp>
            <p:nvSpPr>
              <p:cNvPr id="99"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0"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1"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2"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3"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4"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5"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6"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14"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15"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grpSp>
        <p:pic>
          <p:nvPicPr>
            <p:cNvPr id="91" name="Picture 90"/>
            <p:cNvPicPr>
              <a:picLocks noChangeAspect="1"/>
            </p:cNvPicPr>
            <p:nvPr/>
          </p:nvPicPr>
          <p:blipFill>
            <a:blip r:embed="rId4"/>
            <a:stretch>
              <a:fillRect/>
            </a:stretch>
          </p:blipFill>
          <p:spPr>
            <a:xfrm>
              <a:off x="9264169" y="4013345"/>
              <a:ext cx="1048453" cy="305799"/>
            </a:xfrm>
            <a:prstGeom prst="rect">
              <a:avLst/>
            </a:prstGeom>
          </p:spPr>
        </p:pic>
      </p:grpSp>
      <p:grpSp>
        <p:nvGrpSpPr>
          <p:cNvPr id="148" name="Group 147"/>
          <p:cNvGrpSpPr/>
          <p:nvPr/>
        </p:nvGrpSpPr>
        <p:grpSpPr>
          <a:xfrm>
            <a:off x="10934941" y="650074"/>
            <a:ext cx="1490100" cy="2107303"/>
            <a:chOff x="10532264" y="2494176"/>
            <a:chExt cx="1490100" cy="2107303"/>
          </a:xfrm>
        </p:grpSpPr>
        <p:sp>
          <p:nvSpPr>
            <p:cNvPr id="149" name="Rectangle 148"/>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t;80,000 IOPs</a:t>
              </a:r>
            </a:p>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 Storage</a:t>
              </a:r>
            </a:p>
          </p:txBody>
        </p:sp>
        <p:grpSp>
          <p:nvGrpSpPr>
            <p:cNvPr id="150" name="Group 149"/>
            <p:cNvGrpSpPr/>
            <p:nvPr/>
          </p:nvGrpSpPr>
          <p:grpSpPr>
            <a:xfrm>
              <a:off x="10532264" y="2494176"/>
              <a:ext cx="1437099" cy="1384404"/>
              <a:chOff x="10632593" y="1209273"/>
              <a:chExt cx="1110459" cy="1069741"/>
            </a:xfrm>
          </p:grpSpPr>
          <p:grpSp>
            <p:nvGrpSpPr>
              <p:cNvPr id="151" name="Group 150"/>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57" name="Flowchart: Magnetic Disk 156"/>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8" name="Flowchart: Magnetic Disk 157"/>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9" name="Flowchart: Magnetic Disk 158"/>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0" name="Flowchart: Magnetic Disk 159"/>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1" name="Flowchart: Magnetic Disk 160"/>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152" name="Group 151"/>
              <p:cNvGrpSpPr/>
              <p:nvPr/>
            </p:nvGrpSpPr>
            <p:grpSpPr>
              <a:xfrm>
                <a:off x="10632593" y="1483519"/>
                <a:ext cx="767612" cy="795495"/>
                <a:chOff x="-477782" y="450675"/>
                <a:chExt cx="5901463" cy="6115812"/>
              </a:xfrm>
            </p:grpSpPr>
            <p:sp>
              <p:nvSpPr>
                <p:cNvPr id="153"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54" name="Picture 153"/>
                <p:cNvPicPr>
                  <a:picLocks noChangeAspect="1"/>
                </p:cNvPicPr>
                <p:nvPr/>
              </p:nvPicPr>
              <p:blipFill>
                <a:blip r:embed="rId5"/>
                <a:stretch>
                  <a:fillRect/>
                </a:stretch>
              </p:blipFill>
              <p:spPr>
                <a:xfrm>
                  <a:off x="2990885" y="4844838"/>
                  <a:ext cx="1486280" cy="1490576"/>
                </a:xfrm>
                <a:prstGeom prst="rect">
                  <a:avLst/>
                </a:prstGeom>
              </p:spPr>
            </p:pic>
            <p:pic>
              <p:nvPicPr>
                <p:cNvPr id="155" name="Picture 154"/>
                <p:cNvPicPr>
                  <a:picLocks noChangeAspect="1"/>
                </p:cNvPicPr>
                <p:nvPr/>
              </p:nvPicPr>
              <p:blipFill>
                <a:blip r:embed="rId5"/>
                <a:stretch>
                  <a:fillRect/>
                </a:stretch>
              </p:blipFill>
              <p:spPr>
                <a:xfrm>
                  <a:off x="624820" y="1700441"/>
                  <a:ext cx="3815982" cy="3827010"/>
                </a:xfrm>
                <a:prstGeom prst="rect">
                  <a:avLst/>
                </a:prstGeom>
              </p:spPr>
            </p:pic>
            <p:pic>
              <p:nvPicPr>
                <p:cNvPr id="156" name="Picture 155"/>
                <p:cNvPicPr>
                  <a:picLocks noChangeAspect="1"/>
                </p:cNvPicPr>
                <p:nvPr/>
              </p:nvPicPr>
              <p:blipFill>
                <a:blip r:embed="rId5"/>
                <a:stretch>
                  <a:fillRect/>
                </a:stretch>
              </p:blipFill>
              <p:spPr>
                <a:xfrm>
                  <a:off x="2211493" y="450675"/>
                  <a:ext cx="1974734" cy="1980442"/>
                </a:xfrm>
                <a:prstGeom prst="rect">
                  <a:avLst/>
                </a:prstGeom>
              </p:spPr>
            </p:pic>
          </p:grpSp>
        </p:grpSp>
      </p:grpSp>
      <p:grpSp>
        <p:nvGrpSpPr>
          <p:cNvPr id="119" name="Group 118"/>
          <p:cNvGrpSpPr/>
          <p:nvPr/>
        </p:nvGrpSpPr>
        <p:grpSpPr>
          <a:xfrm>
            <a:off x="1797821" y="2393388"/>
            <a:ext cx="864685" cy="1236329"/>
            <a:chOff x="454025" y="3077179"/>
            <a:chExt cx="807346" cy="1154346"/>
          </a:xfrm>
        </p:grpSpPr>
        <p:pic>
          <p:nvPicPr>
            <p:cNvPr id="120" name="Picture 119"/>
            <p:cNvPicPr>
              <a:picLocks noChangeAspect="1"/>
            </p:cNvPicPr>
            <p:nvPr/>
          </p:nvPicPr>
          <p:blipFill>
            <a:blip r:embed="rId3"/>
            <a:stretch>
              <a:fillRect/>
            </a:stretch>
          </p:blipFill>
          <p:spPr>
            <a:xfrm>
              <a:off x="454025" y="3077179"/>
              <a:ext cx="807346" cy="1154346"/>
            </a:xfrm>
            <a:prstGeom prst="rect">
              <a:avLst/>
            </a:prstGeom>
          </p:spPr>
        </p:pic>
        <p:sp>
          <p:nvSpPr>
            <p:cNvPr id="121" name="Rectangle 12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22" name="Rectangle 12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23" name="Rectangle 12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B</a:t>
              </a:r>
              <a:endParaRPr lang="en-US" sz="2700" b="1">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6028903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148"/>
                                        </p:tgtEl>
                                      </p:cBhvr>
                                    </p:animEffect>
                                    <p:set>
                                      <p:cBhvr>
                                        <p:cTn id="7" dur="1" fill="hold">
                                          <p:stCondLst>
                                            <p:cond delay="499"/>
                                          </p:stCondLst>
                                        </p:cTn>
                                        <p:tgtEl>
                                          <p:spTgt spid="148"/>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0 L 0 0.25 E" pathEditMode="relative" ptsTypes="">
                                      <p:cBhvr>
                                        <p:cTn id="9" dur="2000" fill="hold"/>
                                        <p:tgtEl>
                                          <p:spTgt spid="45"/>
                                        </p:tgtEl>
                                        <p:attrNameLst>
                                          <p:attrName>ppt_x</p:attrName>
                                          <p:attrName>ppt_y</p:attrName>
                                        </p:attrNameLst>
                                      </p:cBhvr>
                                    </p:animMotion>
                                  </p:childTnLst>
                                </p:cTn>
                              </p:par>
                              <p:par>
                                <p:cTn id="10" presetID="42" presetClass="path" presetSubtype="0" accel="50000" decel="50000" fill="hold" nodeType="withEffect">
                                  <p:stCondLst>
                                    <p:cond delay="0"/>
                                  </p:stCondLst>
                                  <p:childTnLst>
                                    <p:animMotion origin="layout" path="M 0 0 L 0 0.25 E" pathEditMode="relative" ptsTypes="">
                                      <p:cBhvr>
                                        <p:cTn id="11" dur="2000" fill="hold"/>
                                        <p:tgtEl>
                                          <p:spTgt spid="62"/>
                                        </p:tgtEl>
                                        <p:attrNameLst>
                                          <p:attrName>ppt_x</p:attrName>
                                          <p:attrName>ppt_y</p:attrName>
                                        </p:attrNameLst>
                                      </p:cBhvr>
                                    </p:animMotion>
                                  </p:childTnLst>
                                </p:cTn>
                              </p:par>
                              <p:par>
                                <p:cTn id="12" presetID="42" presetClass="path" presetSubtype="0" accel="50000" decel="50000" fill="hold" nodeType="withEffect">
                                  <p:stCondLst>
                                    <p:cond delay="0"/>
                                  </p:stCondLst>
                                  <p:childTnLst>
                                    <p:animMotion origin="layout" path="M 0 0 L 0 0.25 E" pathEditMode="relative" ptsTypes="">
                                      <p:cBhvr>
                                        <p:cTn id="13" dur="2000" fill="hold"/>
                                        <p:tgtEl>
                                          <p:spTgt spid="68"/>
                                        </p:tgtEl>
                                        <p:attrNameLst>
                                          <p:attrName>ppt_x</p:attrName>
                                          <p:attrName>ppt_y</p:attrName>
                                        </p:attrNameLst>
                                      </p:cBhvr>
                                    </p:animMotion>
                                  </p:childTnLst>
                                </p:cTn>
                              </p:par>
                              <p:par>
                                <p:cTn id="14" presetID="42" presetClass="path" presetSubtype="0" accel="50000" decel="50000" fill="hold" nodeType="withEffect">
                                  <p:stCondLst>
                                    <p:cond delay="0"/>
                                  </p:stCondLst>
                                  <p:childTnLst>
                                    <p:animMotion origin="layout" path="M 0 0 L 0 0.25 E" pathEditMode="relative" ptsTypes="">
                                      <p:cBhvr>
                                        <p:cTn id="15" dur="2000" fill="hold"/>
                                        <p:tgtEl>
                                          <p:spTgt spid="77"/>
                                        </p:tgtEl>
                                        <p:attrNameLst>
                                          <p:attrName>ppt_x</p:attrName>
                                          <p:attrName>ppt_y</p:attrName>
                                        </p:attrNameLst>
                                      </p:cBhvr>
                                    </p:animMotion>
                                  </p:childTnLst>
                                </p:cTn>
                              </p:par>
                              <p:par>
                                <p:cTn id="16" presetID="10" presetClass="entr" presetSubtype="0" fill="hold" nodeType="withEffect">
                                  <p:stCondLst>
                                    <p:cond delay="25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par>
                                <p:cTn id="19" presetID="42" presetClass="path" presetSubtype="0" decel="100000" fill="hold" nodeType="withEffect">
                                  <p:stCondLst>
                                    <p:cond delay="250"/>
                                  </p:stCondLst>
                                  <p:childTnLst>
                                    <p:animMotion origin="layout" path="M 2.13684E-6 -2.28779E-6 L 2.13684E-6 0.05039 " pathEditMode="relative" rAng="0" ptsTypes="AA">
                                      <p:cBhvr>
                                        <p:cTn id="20" dur="750" spd="-100000" fill="hold"/>
                                        <p:tgtEl>
                                          <p:spTgt spid="59"/>
                                        </p:tgtEl>
                                        <p:attrNameLst>
                                          <p:attrName>ppt_x</p:attrName>
                                          <p:attrName>ppt_y</p:attrName>
                                        </p:attrNameLst>
                                      </p:cBhvr>
                                      <p:rCtr x="0" y="2519"/>
                                    </p:animMotion>
                                  </p:childTnLst>
                                </p:cTn>
                              </p:par>
                              <p:par>
                                <p:cTn id="21" presetID="10" presetClass="entr" presetSubtype="0" fill="hold" nodeType="withEffect">
                                  <p:stCondLst>
                                    <p:cond delay="250"/>
                                  </p:stCondLst>
                                  <p:childTnLst>
                                    <p:set>
                                      <p:cBhvr>
                                        <p:cTn id="22" dur="1" fill="hold">
                                          <p:stCondLst>
                                            <p:cond delay="0"/>
                                          </p:stCondLst>
                                        </p:cTn>
                                        <p:tgtEl>
                                          <p:spTgt spid="94"/>
                                        </p:tgtEl>
                                        <p:attrNameLst>
                                          <p:attrName>style.visibility</p:attrName>
                                        </p:attrNameLst>
                                      </p:cBhvr>
                                      <p:to>
                                        <p:strVal val="visible"/>
                                      </p:to>
                                    </p:set>
                                    <p:animEffect transition="in" filter="fade">
                                      <p:cBhvr>
                                        <p:cTn id="23" dur="500"/>
                                        <p:tgtEl>
                                          <p:spTgt spid="94"/>
                                        </p:tgtEl>
                                      </p:cBhvr>
                                    </p:animEffect>
                                  </p:childTnLst>
                                </p:cTn>
                              </p:par>
                              <p:par>
                                <p:cTn id="24" presetID="42" presetClass="path" presetSubtype="0" decel="100000" fill="hold" nodeType="withEffect">
                                  <p:stCondLst>
                                    <p:cond delay="250"/>
                                  </p:stCondLst>
                                  <p:childTnLst>
                                    <p:animMotion origin="layout" path="M 2.30278E-6 7.48979E-7 L 2.30278E-6 0.05039 " pathEditMode="relative" rAng="0" ptsTypes="AA">
                                      <p:cBhvr>
                                        <p:cTn id="25" dur="750" spd="-100000" fill="hold"/>
                                        <p:tgtEl>
                                          <p:spTgt spid="94"/>
                                        </p:tgtEl>
                                        <p:attrNameLst>
                                          <p:attrName>ppt_x</p:attrName>
                                          <p:attrName>ppt_y</p:attrName>
                                        </p:attrNameLst>
                                      </p:cBhvr>
                                      <p:rCtr x="0" y="2519"/>
                                    </p:animMotion>
                                  </p:childTnLst>
                                </p:cTn>
                              </p:par>
                              <p:par>
                                <p:cTn id="26" presetID="10" presetClass="entr" presetSubtype="0" fill="hold" nodeType="withEffect">
                                  <p:stCondLst>
                                    <p:cond delay="250"/>
                                  </p:stCondLst>
                                  <p:childTnLst>
                                    <p:set>
                                      <p:cBhvr>
                                        <p:cTn id="27" dur="1" fill="hold">
                                          <p:stCondLst>
                                            <p:cond delay="0"/>
                                          </p:stCondLst>
                                        </p:cTn>
                                        <p:tgtEl>
                                          <p:spTgt spid="71"/>
                                        </p:tgtEl>
                                        <p:attrNameLst>
                                          <p:attrName>style.visibility</p:attrName>
                                        </p:attrNameLst>
                                      </p:cBhvr>
                                      <p:to>
                                        <p:strVal val="visible"/>
                                      </p:to>
                                    </p:set>
                                    <p:animEffect transition="in" filter="fade">
                                      <p:cBhvr>
                                        <p:cTn id="28" dur="500"/>
                                        <p:tgtEl>
                                          <p:spTgt spid="71"/>
                                        </p:tgtEl>
                                      </p:cBhvr>
                                    </p:animEffect>
                                  </p:childTnLst>
                                </p:cTn>
                              </p:par>
                              <p:par>
                                <p:cTn id="29" presetID="42" presetClass="path" presetSubtype="0" decel="100000" fill="hold" nodeType="withEffect">
                                  <p:stCondLst>
                                    <p:cond delay="250"/>
                                  </p:stCondLst>
                                  <p:childTnLst>
                                    <p:animMotion origin="layout" path="M -3.90094E-6 -1.40717E-7 L -3.90094E-6 0.05039 " pathEditMode="relative" rAng="0" ptsTypes="AA">
                                      <p:cBhvr>
                                        <p:cTn id="30" dur="750" spd="-100000" fill="hold"/>
                                        <p:tgtEl>
                                          <p:spTgt spid="71"/>
                                        </p:tgtEl>
                                        <p:attrNameLst>
                                          <p:attrName>ppt_x</p:attrName>
                                          <p:attrName>ppt_y</p:attrName>
                                        </p:attrNameLst>
                                      </p:cBhvr>
                                      <p:rCtr x="0" y="2519"/>
                                    </p:animMotion>
                                  </p:childTnLst>
                                </p:cTn>
                              </p:par>
                              <p:par>
                                <p:cTn id="31" presetID="10" presetClass="entr" presetSubtype="0" fill="hold" nodeType="withEffect">
                                  <p:stCondLst>
                                    <p:cond delay="250"/>
                                  </p:stCondLst>
                                  <p:childTnLst>
                                    <p:set>
                                      <p:cBhvr>
                                        <p:cTn id="32" dur="1" fill="hold">
                                          <p:stCondLst>
                                            <p:cond delay="0"/>
                                          </p:stCondLst>
                                        </p:cTn>
                                        <p:tgtEl>
                                          <p:spTgt spid="74"/>
                                        </p:tgtEl>
                                        <p:attrNameLst>
                                          <p:attrName>style.visibility</p:attrName>
                                        </p:attrNameLst>
                                      </p:cBhvr>
                                      <p:to>
                                        <p:strVal val="visible"/>
                                      </p:to>
                                    </p:set>
                                    <p:animEffect transition="in" filter="fade">
                                      <p:cBhvr>
                                        <p:cTn id="33" dur="500"/>
                                        <p:tgtEl>
                                          <p:spTgt spid="74"/>
                                        </p:tgtEl>
                                      </p:cBhvr>
                                    </p:animEffect>
                                  </p:childTnLst>
                                </p:cTn>
                              </p:par>
                              <p:par>
                                <p:cTn id="34" presetID="42" presetClass="path" presetSubtype="0" decel="100000" fill="hold" nodeType="withEffect">
                                  <p:stCondLst>
                                    <p:cond delay="250"/>
                                  </p:stCondLst>
                                  <p:childTnLst>
                                    <p:animMotion origin="layout" path="M -5.02936E-7 -2.8098E-6 L -5.02936E-7 0.05039 " pathEditMode="relative" rAng="0" ptsTypes="AA">
                                      <p:cBhvr>
                                        <p:cTn id="35" dur="750" spd="-100000" fill="hold"/>
                                        <p:tgtEl>
                                          <p:spTgt spid="74"/>
                                        </p:tgtEl>
                                        <p:attrNameLst>
                                          <p:attrName>ppt_x</p:attrName>
                                          <p:attrName>ppt_y</p:attrName>
                                        </p:attrNameLst>
                                      </p:cBhvr>
                                      <p:rCtr x="0" y="2519"/>
                                    </p:animMotion>
                                  </p:childTnLst>
                                </p:cTn>
                              </p:par>
                              <p:par>
                                <p:cTn id="36" presetID="10" presetClass="entr" presetSubtype="0" fill="hold" nodeType="withEffect">
                                  <p:stCondLst>
                                    <p:cond delay="250"/>
                                  </p:stCondLst>
                                  <p:childTnLst>
                                    <p:set>
                                      <p:cBhvr>
                                        <p:cTn id="37" dur="1" fill="hold">
                                          <p:stCondLst>
                                            <p:cond delay="0"/>
                                          </p:stCondLst>
                                        </p:cTn>
                                        <p:tgtEl>
                                          <p:spTgt spid="80"/>
                                        </p:tgtEl>
                                        <p:attrNameLst>
                                          <p:attrName>style.visibility</p:attrName>
                                        </p:attrNameLst>
                                      </p:cBhvr>
                                      <p:to>
                                        <p:strVal val="visible"/>
                                      </p:to>
                                    </p:set>
                                    <p:animEffect transition="in" filter="fade">
                                      <p:cBhvr>
                                        <p:cTn id="38" dur="500"/>
                                        <p:tgtEl>
                                          <p:spTgt spid="80"/>
                                        </p:tgtEl>
                                      </p:cBhvr>
                                    </p:animEffect>
                                  </p:childTnLst>
                                </p:cTn>
                              </p:par>
                              <p:par>
                                <p:cTn id="39" presetID="42" presetClass="path" presetSubtype="0" decel="100000" fill="hold" nodeType="withEffect">
                                  <p:stCondLst>
                                    <p:cond delay="250"/>
                                  </p:stCondLst>
                                  <p:childTnLst>
                                    <p:animMotion origin="layout" path="M 4.82002E-6 -4.43486E-6 L 4.82002E-6 0.05039 " pathEditMode="relative" rAng="0" ptsTypes="AA">
                                      <p:cBhvr>
                                        <p:cTn id="40" dur="750" spd="-100000" fill="hold"/>
                                        <p:tgtEl>
                                          <p:spTgt spid="80"/>
                                        </p:tgtEl>
                                        <p:attrNameLst>
                                          <p:attrName>ppt_x</p:attrName>
                                          <p:attrName>ppt_y</p:attrName>
                                        </p:attrNameLst>
                                      </p:cBhvr>
                                      <p:rCtr x="0" y="2519"/>
                                    </p:animMotion>
                                  </p:childTnLst>
                                </p:cTn>
                              </p:par>
                              <p:par>
                                <p:cTn id="41" presetID="10" presetClass="entr" presetSubtype="0" fill="hold" nodeType="withEffect">
                                  <p:stCondLst>
                                    <p:cond delay="25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500"/>
                                        <p:tgtEl>
                                          <p:spTgt spid="83"/>
                                        </p:tgtEl>
                                      </p:cBhvr>
                                    </p:animEffect>
                                  </p:childTnLst>
                                </p:cTn>
                              </p:par>
                              <p:par>
                                <p:cTn id="44" presetID="42" presetClass="path" presetSubtype="0" decel="100000" fill="hold" nodeType="withEffect">
                                  <p:stCondLst>
                                    <p:cond delay="250"/>
                                  </p:stCondLst>
                                  <p:childTnLst>
                                    <p:animMotion origin="layout" path="M -1.2484E-6 -4.95688E-6 L -1.2484E-6 0.05039 " pathEditMode="relative" rAng="0" ptsTypes="AA">
                                      <p:cBhvr>
                                        <p:cTn id="45" dur="750" spd="-100000" fill="hold"/>
                                        <p:tgtEl>
                                          <p:spTgt spid="83"/>
                                        </p:tgtEl>
                                        <p:attrNameLst>
                                          <p:attrName>ppt_x</p:attrName>
                                          <p:attrName>ppt_y</p:attrName>
                                        </p:attrNameLst>
                                      </p:cBhvr>
                                      <p:rCtr x="0" y="2519"/>
                                    </p:animMotion>
                                  </p:childTnLst>
                                </p:cTn>
                              </p:par>
                              <p:par>
                                <p:cTn id="46" presetID="10" presetClass="entr" presetSubtype="0" fill="hold" nodeType="withEffect">
                                  <p:stCondLst>
                                    <p:cond delay="250"/>
                                  </p:stCondLst>
                                  <p:childTnLst>
                                    <p:set>
                                      <p:cBhvr>
                                        <p:cTn id="47" dur="1" fill="hold">
                                          <p:stCondLst>
                                            <p:cond delay="0"/>
                                          </p:stCondLst>
                                        </p:cTn>
                                        <p:tgtEl>
                                          <p:spTgt spid="86"/>
                                        </p:tgtEl>
                                        <p:attrNameLst>
                                          <p:attrName>style.visibility</p:attrName>
                                        </p:attrNameLst>
                                      </p:cBhvr>
                                      <p:to>
                                        <p:strVal val="visible"/>
                                      </p:to>
                                    </p:set>
                                    <p:animEffect transition="in" filter="fade">
                                      <p:cBhvr>
                                        <p:cTn id="48" dur="500"/>
                                        <p:tgtEl>
                                          <p:spTgt spid="86"/>
                                        </p:tgtEl>
                                      </p:cBhvr>
                                    </p:animEffect>
                                  </p:childTnLst>
                                </p:cTn>
                              </p:par>
                              <p:par>
                                <p:cTn id="49" presetID="42" presetClass="path" presetSubtype="0" decel="100000" fill="hold" nodeType="withEffect">
                                  <p:stCondLst>
                                    <p:cond delay="250"/>
                                  </p:stCondLst>
                                  <p:childTnLst>
                                    <p:animMotion origin="layout" path="M -2.96145E-7 -3.6995E-6 L -2.96145E-7 0.05039 " pathEditMode="relative" rAng="0" ptsTypes="AA">
                                      <p:cBhvr>
                                        <p:cTn id="50" dur="750" spd="-100000" fill="hold"/>
                                        <p:tgtEl>
                                          <p:spTgt spid="86"/>
                                        </p:tgtEl>
                                        <p:attrNameLst>
                                          <p:attrName>ppt_x</p:attrName>
                                          <p:attrName>ppt_y</p:attrName>
                                        </p:attrNameLst>
                                      </p:cBhvr>
                                      <p:rCtr x="0" y="2519"/>
                                    </p:animMotion>
                                  </p:childTnLst>
                                </p:cTn>
                              </p:par>
                              <p:par>
                                <p:cTn id="51" presetID="16" presetClass="entr" presetSubtype="21" fill="hold" nodeType="withEffect">
                                  <p:stCondLst>
                                    <p:cond delay="250"/>
                                  </p:stCondLst>
                                  <p:childTnLst>
                                    <p:set>
                                      <p:cBhvr>
                                        <p:cTn id="52" dur="1" fill="hold">
                                          <p:stCondLst>
                                            <p:cond delay="0"/>
                                          </p:stCondLst>
                                        </p:cTn>
                                        <p:tgtEl>
                                          <p:spTgt spid="107"/>
                                        </p:tgtEl>
                                        <p:attrNameLst>
                                          <p:attrName>style.visibility</p:attrName>
                                        </p:attrNameLst>
                                      </p:cBhvr>
                                      <p:to>
                                        <p:strVal val="visible"/>
                                      </p:to>
                                    </p:set>
                                    <p:animEffect transition="in" filter="barn(inVertical)">
                                      <p:cBhvr>
                                        <p:cTn id="53" dur="500"/>
                                        <p:tgtEl>
                                          <p:spTgt spid="107"/>
                                        </p:tgtEl>
                                      </p:cBhvr>
                                    </p:animEffect>
                                  </p:childTnLst>
                                </p:cTn>
                              </p:par>
                              <p:par>
                                <p:cTn id="54" presetID="10" presetClass="entr" presetSubtype="0" fill="hold" grpId="0" nodeType="withEffect">
                                  <p:stCondLst>
                                    <p:cond delay="50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grpId="0" nodeType="withEffect">
                                  <p:stCondLst>
                                    <p:cond delay="50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nodeType="withEffect">
                                  <p:stCondLst>
                                    <p:cond delay="250"/>
                                  </p:stCondLst>
                                  <p:childTnLst>
                                    <p:set>
                                      <p:cBhvr>
                                        <p:cTn id="61" dur="1" fill="hold">
                                          <p:stCondLst>
                                            <p:cond delay="0"/>
                                          </p:stCondLst>
                                        </p:cTn>
                                        <p:tgtEl>
                                          <p:spTgt spid="109"/>
                                        </p:tgtEl>
                                        <p:attrNameLst>
                                          <p:attrName>style.visibility</p:attrName>
                                        </p:attrNameLst>
                                      </p:cBhvr>
                                      <p:to>
                                        <p:strVal val="visible"/>
                                      </p:to>
                                    </p:set>
                                    <p:animEffect transition="in" filter="fade">
                                      <p:cBhvr>
                                        <p:cTn id="62" dur="500"/>
                                        <p:tgtEl>
                                          <p:spTgt spid="109"/>
                                        </p:tgtEl>
                                      </p:cBhvr>
                                    </p:animEffect>
                                  </p:childTnLst>
                                </p:cTn>
                              </p:par>
                              <p:par>
                                <p:cTn id="63" presetID="42" presetClass="path" presetSubtype="0" decel="100000" fill="hold" nodeType="withEffect">
                                  <p:stCondLst>
                                    <p:cond delay="250"/>
                                  </p:stCondLst>
                                  <p:childTnLst>
                                    <p:animMotion origin="layout" path="M -2.45086E-7 -3.17749E-6 L -2.45086E-7 0.05039 " pathEditMode="relative" rAng="0" ptsTypes="AA">
                                      <p:cBhvr>
                                        <p:cTn id="64" dur="750" spd="-100000" fill="hold"/>
                                        <p:tgtEl>
                                          <p:spTgt spid="109"/>
                                        </p:tgtEl>
                                        <p:attrNameLst>
                                          <p:attrName>ppt_x</p:attrName>
                                          <p:attrName>ppt_y</p:attrName>
                                        </p:attrNameLst>
                                      </p:cBhvr>
                                      <p:rCtr x="0" y="2519"/>
                                    </p:animMotion>
                                  </p:childTnLst>
                                </p:cTn>
                              </p:par>
                              <p:par>
                                <p:cTn id="65" presetID="10" presetClass="entr" presetSubtype="0" fill="hold" nodeType="withEffect">
                                  <p:stCondLst>
                                    <p:cond delay="2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42" presetClass="path" presetSubtype="0" decel="100000" fill="hold" nodeType="withEffect">
                                  <p:stCondLst>
                                    <p:cond delay="250"/>
                                  </p:stCondLst>
                                  <p:childTnLst>
                                    <p:animMotion origin="layout" path="M -8.93541E-8 2.83704E-6 L -8.93541E-8 0.05038 " pathEditMode="relative" rAng="0" ptsTypes="AA">
                                      <p:cBhvr>
                                        <p:cTn id="69" dur="750" spd="-100000" fill="hold"/>
                                        <p:tgtEl>
                                          <p:spTgt spid="89"/>
                                        </p:tgtEl>
                                        <p:attrNameLst>
                                          <p:attrName>ppt_x</p:attrName>
                                          <p:attrName>ppt_y</p:attrName>
                                        </p:attrNameLst>
                                      </p:cBhvr>
                                      <p:rCtr x="0" y="2519"/>
                                    </p:animMotion>
                                  </p:childTnLst>
                                </p:cTn>
                              </p:par>
                              <p:par>
                                <p:cTn id="70" presetID="10" presetClass="entr" presetSubtype="0" fill="hold" nodeType="withEffect">
                                  <p:stCondLst>
                                    <p:cond delay="25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500"/>
                                        <p:tgtEl>
                                          <p:spTgt spid="119"/>
                                        </p:tgtEl>
                                      </p:cBhvr>
                                    </p:animEffect>
                                  </p:childTnLst>
                                </p:cTn>
                              </p:par>
                              <p:par>
                                <p:cTn id="73" presetID="42" presetClass="path" presetSubtype="0" decel="100000" fill="hold" nodeType="withEffect">
                                  <p:stCondLst>
                                    <p:cond delay="250"/>
                                  </p:stCondLst>
                                  <p:childTnLst>
                                    <p:animMotion origin="layout" path="M 1.21011E-6 7.48979E-7 L 1.21011E-6 0.05039 " pathEditMode="relative" rAng="0" ptsTypes="AA">
                                      <p:cBhvr>
                                        <p:cTn id="74" dur="750" spd="-100000" fill="hold"/>
                                        <p:tgtEl>
                                          <p:spTgt spid="119"/>
                                        </p:tgtEl>
                                        <p:attrNameLst>
                                          <p:attrName>ppt_x</p:attrName>
                                          <p:attrName>ppt_y</p:attrName>
                                        </p:attrNameLst>
                                      </p:cBhvr>
                                      <p:rCtr x="0" y="25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latin typeface="Segoe UI Light"/>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101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bwMode="auto">
          <a:xfrm>
            <a:off x="274638" y="1975755"/>
            <a:ext cx="11889565" cy="244126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New compute size options</a:t>
            </a:r>
          </a:p>
        </p:txBody>
      </p:sp>
      <p:grpSp>
        <p:nvGrpSpPr>
          <p:cNvPr id="7" name="Group 6"/>
          <p:cNvGrpSpPr/>
          <p:nvPr/>
        </p:nvGrpSpPr>
        <p:grpSpPr>
          <a:xfrm>
            <a:off x="6634976" y="1652124"/>
            <a:ext cx="731520" cy="907858"/>
            <a:chOff x="5815165" y="2158958"/>
            <a:chExt cx="808746" cy="1003699"/>
          </a:xfrm>
        </p:grpSpPr>
        <p:sp>
          <p:nvSpPr>
            <p:cNvPr id="111"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1</a:t>
              </a:r>
            </a:p>
          </p:txBody>
        </p:sp>
        <p:cxnSp>
          <p:nvCxnSpPr>
            <p:cNvPr id="118" name="Straight Connector 11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8414353" y="1623746"/>
            <a:ext cx="731520" cy="907858"/>
            <a:chOff x="6861364" y="2158958"/>
            <a:chExt cx="808746" cy="1003699"/>
          </a:xfrm>
        </p:grpSpPr>
        <p:sp>
          <p:nvSpPr>
            <p:cNvPr id="112"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19" name="Straight Connector 118"/>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45" name="Group 44" hidden="1"/>
          <p:cNvGrpSpPr/>
          <p:nvPr/>
        </p:nvGrpSpPr>
        <p:grpSpPr>
          <a:xfrm>
            <a:off x="482601" y="2383082"/>
            <a:ext cx="864685" cy="1236329"/>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62" name="Group 61" hidden="1"/>
          <p:cNvGrpSpPr/>
          <p:nvPr/>
        </p:nvGrpSpPr>
        <p:grpSpPr>
          <a:xfrm>
            <a:off x="2384844" y="2383082"/>
            <a:ext cx="864685" cy="1236329"/>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68" name="Group 67" hidden="1"/>
          <p:cNvGrpSpPr/>
          <p:nvPr/>
        </p:nvGrpSpPr>
        <p:grpSpPr>
          <a:xfrm>
            <a:off x="4287087" y="2383082"/>
            <a:ext cx="864685" cy="1236329"/>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7" name="Group 76" hidden="1"/>
          <p:cNvGrpSpPr/>
          <p:nvPr/>
        </p:nvGrpSpPr>
        <p:grpSpPr>
          <a:xfrm>
            <a:off x="7140451" y="2383082"/>
            <a:ext cx="864685" cy="1236329"/>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grpSp>
        <p:nvGrpSpPr>
          <p:cNvPr id="274" name="Group 273"/>
          <p:cNvGrpSpPr/>
          <p:nvPr/>
        </p:nvGrpSpPr>
        <p:grpSpPr>
          <a:xfrm>
            <a:off x="351578" y="2851909"/>
            <a:ext cx="433682" cy="649604"/>
            <a:chOff x="454025" y="3077179"/>
            <a:chExt cx="807346" cy="1154346"/>
          </a:xfrm>
        </p:grpSpPr>
        <p:pic>
          <p:nvPicPr>
            <p:cNvPr id="275" name="Picture 274"/>
            <p:cNvPicPr>
              <a:picLocks noChangeAspect="1"/>
            </p:cNvPicPr>
            <p:nvPr/>
          </p:nvPicPr>
          <p:blipFill>
            <a:blip r:embed="rId3"/>
            <a:stretch>
              <a:fillRect/>
            </a:stretch>
          </p:blipFill>
          <p:spPr>
            <a:xfrm>
              <a:off x="454025" y="3077179"/>
              <a:ext cx="807346" cy="1154346"/>
            </a:xfrm>
            <a:prstGeom prst="rect">
              <a:avLst/>
            </a:prstGeom>
          </p:spPr>
        </p:pic>
        <p:sp>
          <p:nvSpPr>
            <p:cNvPr id="276" name="Rectangle 2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A</a:t>
              </a:r>
            </a:p>
          </p:txBody>
        </p:sp>
      </p:grpSp>
      <p:grpSp>
        <p:nvGrpSpPr>
          <p:cNvPr id="282" name="Group 281"/>
          <p:cNvGrpSpPr/>
          <p:nvPr/>
        </p:nvGrpSpPr>
        <p:grpSpPr>
          <a:xfrm>
            <a:off x="2401049" y="2851909"/>
            <a:ext cx="433682" cy="649604"/>
            <a:chOff x="454025" y="3077179"/>
            <a:chExt cx="807346" cy="1154346"/>
          </a:xfrm>
        </p:grpSpPr>
        <p:pic>
          <p:nvPicPr>
            <p:cNvPr id="283" name="Picture 282"/>
            <p:cNvPicPr>
              <a:picLocks noChangeAspect="1"/>
            </p:cNvPicPr>
            <p:nvPr/>
          </p:nvPicPr>
          <p:blipFill>
            <a:blip r:embed="rId3"/>
            <a:stretch>
              <a:fillRect/>
            </a:stretch>
          </p:blipFill>
          <p:spPr>
            <a:xfrm>
              <a:off x="454025" y="3077179"/>
              <a:ext cx="807346" cy="1154346"/>
            </a:xfrm>
            <a:prstGeom prst="rect">
              <a:avLst/>
            </a:prstGeom>
          </p:spPr>
        </p:pic>
        <p:sp>
          <p:nvSpPr>
            <p:cNvPr id="284" name="Rectangle 28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D</a:t>
              </a:r>
            </a:p>
          </p:txBody>
        </p:sp>
      </p:grpSp>
      <p:grpSp>
        <p:nvGrpSpPr>
          <p:cNvPr id="285" name="Group 284"/>
          <p:cNvGrpSpPr/>
          <p:nvPr/>
        </p:nvGrpSpPr>
        <p:grpSpPr>
          <a:xfrm>
            <a:off x="3582817" y="2866111"/>
            <a:ext cx="433682" cy="649604"/>
            <a:chOff x="454025" y="3077179"/>
            <a:chExt cx="807346" cy="1154346"/>
          </a:xfrm>
        </p:grpSpPr>
        <p:pic>
          <p:nvPicPr>
            <p:cNvPr id="286" name="Picture 285"/>
            <p:cNvPicPr>
              <a:picLocks noChangeAspect="1"/>
            </p:cNvPicPr>
            <p:nvPr/>
          </p:nvPicPr>
          <p:blipFill>
            <a:blip r:embed="rId3"/>
            <a:stretch>
              <a:fillRect/>
            </a:stretch>
          </p:blipFill>
          <p:spPr>
            <a:xfrm>
              <a:off x="454025" y="3077179"/>
              <a:ext cx="807346" cy="1154346"/>
            </a:xfrm>
            <a:prstGeom prst="rect">
              <a:avLst/>
            </a:prstGeom>
          </p:spPr>
        </p:pic>
        <p:sp>
          <p:nvSpPr>
            <p:cNvPr id="287" name="Rectangle 28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F</a:t>
              </a:r>
            </a:p>
          </p:txBody>
        </p:sp>
      </p:grpSp>
      <p:grpSp>
        <p:nvGrpSpPr>
          <p:cNvPr id="291" name="Group 290"/>
          <p:cNvGrpSpPr/>
          <p:nvPr/>
        </p:nvGrpSpPr>
        <p:grpSpPr>
          <a:xfrm>
            <a:off x="8351418" y="2449673"/>
            <a:ext cx="864685" cy="1236329"/>
            <a:chOff x="454025" y="3077179"/>
            <a:chExt cx="807346" cy="1154346"/>
          </a:xfrm>
        </p:grpSpPr>
        <p:pic>
          <p:nvPicPr>
            <p:cNvPr id="292" name="Picture 291"/>
            <p:cNvPicPr>
              <a:picLocks noChangeAspect="1"/>
            </p:cNvPicPr>
            <p:nvPr/>
          </p:nvPicPr>
          <p:blipFill>
            <a:blip r:embed="rId3"/>
            <a:stretch>
              <a:fillRect/>
            </a:stretch>
          </p:blipFill>
          <p:spPr>
            <a:xfrm>
              <a:off x="454025" y="3077179"/>
              <a:ext cx="807346" cy="1154346"/>
            </a:xfrm>
            <a:prstGeom prst="rect">
              <a:avLst/>
            </a:prstGeom>
          </p:spPr>
        </p:pic>
        <p:sp>
          <p:nvSpPr>
            <p:cNvPr id="293" name="Rectangle 29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pPr>
              <a:r>
                <a:rPr lang="en-US" sz="2400" b="1">
                  <a:gradFill>
                    <a:gsLst>
                      <a:gs pos="0">
                        <a:srgbClr val="FFFFFF"/>
                      </a:gs>
                      <a:gs pos="100000">
                        <a:srgbClr val="FFFFFF"/>
                      </a:gs>
                    </a:gsLst>
                    <a:lin ang="5400000" scaled="0"/>
                  </a:gradFill>
                </a:rPr>
                <a:t>Ev3</a:t>
              </a:r>
            </a:p>
          </p:txBody>
        </p:sp>
      </p:grpSp>
      <p:grpSp>
        <p:nvGrpSpPr>
          <p:cNvPr id="294" name="Group 293"/>
          <p:cNvGrpSpPr/>
          <p:nvPr/>
        </p:nvGrpSpPr>
        <p:grpSpPr>
          <a:xfrm>
            <a:off x="4186106" y="2866111"/>
            <a:ext cx="433682" cy="649604"/>
            <a:chOff x="454025" y="3077179"/>
            <a:chExt cx="807346" cy="1154346"/>
          </a:xfrm>
        </p:grpSpPr>
        <p:pic>
          <p:nvPicPr>
            <p:cNvPr id="295" name="Picture 294"/>
            <p:cNvPicPr>
              <a:picLocks noChangeAspect="1"/>
            </p:cNvPicPr>
            <p:nvPr/>
          </p:nvPicPr>
          <p:blipFill>
            <a:blip r:embed="rId3"/>
            <a:stretch>
              <a:fillRect/>
            </a:stretch>
          </p:blipFill>
          <p:spPr>
            <a:xfrm>
              <a:off x="454025" y="3077179"/>
              <a:ext cx="807346" cy="1154346"/>
            </a:xfrm>
            <a:prstGeom prst="rect">
              <a:avLst/>
            </a:prstGeom>
          </p:spPr>
        </p:pic>
        <p:sp>
          <p:nvSpPr>
            <p:cNvPr id="296" name="Rectangle 29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G</a:t>
              </a:r>
            </a:p>
          </p:txBody>
        </p:sp>
      </p:grpSp>
      <p:grpSp>
        <p:nvGrpSpPr>
          <p:cNvPr id="306" name="Group 305"/>
          <p:cNvGrpSpPr/>
          <p:nvPr/>
        </p:nvGrpSpPr>
        <p:grpSpPr>
          <a:xfrm>
            <a:off x="2972464" y="2854935"/>
            <a:ext cx="433682" cy="649604"/>
            <a:chOff x="454025" y="3077179"/>
            <a:chExt cx="807346" cy="1154346"/>
          </a:xfrm>
        </p:grpSpPr>
        <p:pic>
          <p:nvPicPr>
            <p:cNvPr id="307" name="Picture 306"/>
            <p:cNvPicPr>
              <a:picLocks noChangeAspect="1"/>
            </p:cNvPicPr>
            <p:nvPr/>
          </p:nvPicPr>
          <p:blipFill>
            <a:blip r:embed="rId3"/>
            <a:stretch>
              <a:fillRect/>
            </a:stretch>
          </p:blipFill>
          <p:spPr>
            <a:xfrm>
              <a:off x="454025" y="3077179"/>
              <a:ext cx="807346" cy="1154346"/>
            </a:xfrm>
            <a:prstGeom prst="rect">
              <a:avLst/>
            </a:prstGeom>
          </p:spPr>
        </p:pic>
        <p:sp>
          <p:nvSpPr>
            <p:cNvPr id="308" name="Rectangle 307"/>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sp>
          <p:nvSpPr>
            <p:cNvPr id="309" name="Rectangle 308"/>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sp>
          <p:nvSpPr>
            <p:cNvPr id="310" name="Rectangle 309"/>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spc="-50">
                  <a:gradFill>
                    <a:gsLst>
                      <a:gs pos="0">
                        <a:srgbClr val="FFFFFF"/>
                      </a:gs>
                      <a:gs pos="100000">
                        <a:srgbClr val="FFFFFF"/>
                      </a:gs>
                    </a:gsLst>
                    <a:lin ang="5400000" scaled="0"/>
                  </a:gradFill>
                </a:rPr>
                <a:t>Dv2</a:t>
              </a:r>
            </a:p>
          </p:txBody>
        </p:sp>
      </p:grpSp>
      <p:sp>
        <p:nvSpPr>
          <p:cNvPr id="341" name="Rectangle 340"/>
          <p:cNvSpPr/>
          <p:nvPr/>
        </p:nvSpPr>
        <p:spPr bwMode="auto">
          <a:xfrm>
            <a:off x="8245346" y="3801110"/>
            <a:ext cx="1076828"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Database Workloads</a:t>
            </a:r>
          </a:p>
        </p:txBody>
      </p:sp>
      <p:sp>
        <p:nvSpPr>
          <p:cNvPr id="342" name="Rectangle 341"/>
          <p:cNvSpPr/>
          <p:nvPr/>
        </p:nvSpPr>
        <p:spPr bwMode="auto">
          <a:xfrm>
            <a:off x="6497199" y="3829488"/>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a:t>
            </a:r>
            <a:b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for Storage Workloads</a:t>
            </a:r>
          </a:p>
        </p:txBody>
      </p:sp>
      <p:grpSp>
        <p:nvGrpSpPr>
          <p:cNvPr id="345" name="Group 344"/>
          <p:cNvGrpSpPr/>
          <p:nvPr/>
        </p:nvGrpSpPr>
        <p:grpSpPr>
          <a:xfrm>
            <a:off x="6567219" y="2470588"/>
            <a:ext cx="864685" cy="1236329"/>
            <a:chOff x="454025" y="3077179"/>
            <a:chExt cx="807346" cy="1154346"/>
          </a:xfrm>
        </p:grpSpPr>
        <p:pic>
          <p:nvPicPr>
            <p:cNvPr id="346" name="Picture 345"/>
            <p:cNvPicPr>
              <a:picLocks noChangeAspect="1"/>
            </p:cNvPicPr>
            <p:nvPr/>
          </p:nvPicPr>
          <p:blipFill>
            <a:blip r:embed="rId3"/>
            <a:stretch>
              <a:fillRect/>
            </a:stretch>
          </p:blipFill>
          <p:spPr>
            <a:xfrm>
              <a:off x="454025" y="3077179"/>
              <a:ext cx="807346" cy="1154346"/>
            </a:xfrm>
            <a:prstGeom prst="rect">
              <a:avLst/>
            </a:prstGeom>
          </p:spPr>
        </p:pic>
        <p:sp>
          <p:nvSpPr>
            <p:cNvPr id="347" name="Rectangle 34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L</a:t>
              </a:r>
            </a:p>
          </p:txBody>
        </p:sp>
      </p:grpSp>
      <p:sp>
        <p:nvSpPr>
          <p:cNvPr id="10" name="Rectangle 9"/>
          <p:cNvSpPr/>
          <p:nvPr/>
        </p:nvSpPr>
        <p:spPr bwMode="auto">
          <a:xfrm>
            <a:off x="595860" y="4630537"/>
            <a:ext cx="2906061"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231965" y="4630537"/>
            <a:ext cx="2611015"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26290" y="4630537"/>
            <a:ext cx="11186261"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261059" y="6446049"/>
            <a:ext cx="1448153" cy="433965"/>
          </a:xfrm>
          <a:prstGeom prst="rect">
            <a:avLst/>
          </a:prstGeom>
          <a:noFill/>
        </p:spPr>
        <p:txBody>
          <a:bodyPr wrap="none" lIns="182880" tIns="146304" rIns="182880" bIns="146304" rtlCol="0">
            <a:spAutoFit/>
          </a:bodyPr>
          <a:lstStyle/>
          <a:p>
            <a:pPr>
              <a:lnSpc>
                <a:spcPct val="90000"/>
              </a:lnSpc>
              <a:spcAft>
                <a:spcPts val="600"/>
              </a:spcAft>
            </a:pPr>
            <a:r>
              <a:rPr lang="en-US" sz="1000">
                <a:gradFill>
                  <a:gsLst>
                    <a:gs pos="0">
                      <a:schemeClr val="tx1"/>
                    </a:gs>
                    <a:gs pos="100000">
                      <a:schemeClr val="tx1"/>
                    </a:gs>
                  </a:gsLst>
                  <a:lin ang="5400000" scaled="1"/>
                </a:gradFill>
              </a:rPr>
              <a:t>UNDER NDA ONLY</a:t>
            </a:r>
          </a:p>
        </p:txBody>
      </p:sp>
      <p:grpSp>
        <p:nvGrpSpPr>
          <p:cNvPr id="127" name="Group 126"/>
          <p:cNvGrpSpPr/>
          <p:nvPr/>
        </p:nvGrpSpPr>
        <p:grpSpPr>
          <a:xfrm>
            <a:off x="1182" y="5286759"/>
            <a:ext cx="12436475" cy="1229834"/>
            <a:chOff x="0" y="5769846"/>
            <a:chExt cx="12436475" cy="1243251"/>
          </a:xfrm>
        </p:grpSpPr>
        <p:sp>
          <p:nvSpPr>
            <p:cNvPr id="128" name="Rectangle 127"/>
            <p:cNvSpPr/>
            <p:nvPr/>
          </p:nvSpPr>
          <p:spPr bwMode="auto">
            <a:xfrm>
              <a:off x="0" y="5769846"/>
              <a:ext cx="12436475" cy="1243251"/>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chemeClr val="tx1"/>
                    </a:gs>
                    <a:gs pos="100000">
                      <a:srgbClr val="FFFFFF"/>
                    </a:gs>
                  </a:gsLst>
                  <a:lin ang="5400000" scaled="0"/>
                </a:gradFill>
                <a:ea typeface="Segoe UI" pitchFamily="34" charset="0"/>
                <a:cs typeface="Segoe UI" pitchFamily="34" charset="0"/>
              </a:endParaRPr>
            </a:p>
          </p:txBody>
        </p:sp>
        <p:sp>
          <p:nvSpPr>
            <p:cNvPr id="130" name="TextBox 129"/>
            <p:cNvSpPr txBox="1"/>
            <p:nvPr/>
          </p:nvSpPr>
          <p:spPr>
            <a:xfrm>
              <a:off x="625108" y="5954451"/>
              <a:ext cx="10850102" cy="802727"/>
            </a:xfrm>
            <a:prstGeom prst="rect">
              <a:avLst/>
            </a:prstGeom>
            <a:noFill/>
          </p:spPr>
          <p:txBody>
            <a:bodyPr wrap="square" lIns="182880" tIns="146304" rIns="182880" bIns="146304" rtlCol="0">
              <a:spAutoFit/>
            </a:bodyPr>
            <a:lstStyle/>
            <a:p>
              <a:pPr algn="ctr">
                <a:lnSpc>
                  <a:spcPct val="90000"/>
                </a:lnSpc>
                <a:spcBef>
                  <a:spcPts val="300"/>
                </a:spcBef>
              </a:pPr>
              <a:r>
                <a:rPr lang="en-US" sz="3600">
                  <a:gradFill>
                    <a:gsLst>
                      <a:gs pos="0">
                        <a:schemeClr val="tx1"/>
                      </a:gs>
                      <a:gs pos="100000">
                        <a:schemeClr val="tx1"/>
                      </a:gs>
                    </a:gsLst>
                    <a:lin ang="5400000" scaled="1"/>
                  </a:gradFill>
                  <a:latin typeface="Segoe UI Light" panose="020B0502040204020203" pitchFamily="34" charset="0"/>
                  <a:cs typeface="Segoe UI Light" panose="020B0502040204020203" pitchFamily="34" charset="0"/>
                </a:rPr>
                <a:t>More than doubling the compute offerings in 2017</a:t>
              </a:r>
              <a:endParaRPr lang="en-US" sz="2400">
                <a:gradFill>
                  <a:gsLst>
                    <a:gs pos="0">
                      <a:schemeClr val="tx1"/>
                    </a:gs>
                    <a:gs pos="100000">
                      <a:schemeClr val="tx1"/>
                    </a:gs>
                  </a:gsLst>
                  <a:lin ang="5400000" scaled="1"/>
                </a:gradFill>
                <a:latin typeface="Segoe UI Light" panose="020B0502040204020203" pitchFamily="34" charset="0"/>
                <a:cs typeface="Segoe UI Light" panose="020B0502040204020203" pitchFamily="34" charset="0"/>
              </a:endParaRPr>
            </a:p>
          </p:txBody>
        </p:sp>
      </p:grpSp>
      <p:grpSp>
        <p:nvGrpSpPr>
          <p:cNvPr id="129" name="Group 128"/>
          <p:cNvGrpSpPr/>
          <p:nvPr/>
        </p:nvGrpSpPr>
        <p:grpSpPr>
          <a:xfrm>
            <a:off x="884332" y="2851909"/>
            <a:ext cx="433682" cy="649604"/>
            <a:chOff x="454025" y="3077179"/>
            <a:chExt cx="807346" cy="1154346"/>
          </a:xfrm>
        </p:grpSpPr>
        <p:pic>
          <p:nvPicPr>
            <p:cNvPr id="131" name="Picture 130"/>
            <p:cNvPicPr>
              <a:picLocks noChangeAspect="1"/>
            </p:cNvPicPr>
            <p:nvPr/>
          </p:nvPicPr>
          <p:blipFill>
            <a:blip r:embed="rId3"/>
            <a:stretch>
              <a:fillRect/>
            </a:stretch>
          </p:blipFill>
          <p:spPr>
            <a:xfrm>
              <a:off x="454025" y="3077179"/>
              <a:ext cx="807346" cy="1154346"/>
            </a:xfrm>
            <a:prstGeom prst="rect">
              <a:avLst/>
            </a:prstGeom>
          </p:spPr>
        </p:pic>
        <p:sp>
          <p:nvSpPr>
            <p:cNvPr id="132" name="Rectangle 131"/>
            <p:cNvSpPr/>
            <p:nvPr/>
          </p:nvSpPr>
          <p:spPr bwMode="auto">
            <a:xfrm>
              <a:off x="564089" y="3160508"/>
              <a:ext cx="605993" cy="459582"/>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grpSp>
      <p:grpSp>
        <p:nvGrpSpPr>
          <p:cNvPr id="140" name="Group 139"/>
          <p:cNvGrpSpPr/>
          <p:nvPr/>
        </p:nvGrpSpPr>
        <p:grpSpPr>
          <a:xfrm>
            <a:off x="5903096" y="2851909"/>
            <a:ext cx="433682" cy="649604"/>
            <a:chOff x="1824733" y="2956249"/>
            <a:chExt cx="807346" cy="1154346"/>
          </a:xfrm>
        </p:grpSpPr>
        <p:pic>
          <p:nvPicPr>
            <p:cNvPr id="141" name="Picture 140"/>
            <p:cNvPicPr>
              <a:picLocks noChangeAspect="1"/>
            </p:cNvPicPr>
            <p:nvPr/>
          </p:nvPicPr>
          <p:blipFill>
            <a:blip r:embed="rId3"/>
            <a:stretch>
              <a:fillRect/>
            </a:stretch>
          </p:blipFill>
          <p:spPr>
            <a:xfrm>
              <a:off x="1824733" y="2956249"/>
              <a:ext cx="807346" cy="1154346"/>
            </a:xfrm>
            <a:prstGeom prst="rect">
              <a:avLst/>
            </a:prstGeom>
          </p:spPr>
        </p:pic>
        <p:sp>
          <p:nvSpPr>
            <p:cNvPr id="142" name="Rectangle 141"/>
            <p:cNvSpPr/>
            <p:nvPr/>
          </p:nvSpPr>
          <p:spPr bwMode="auto">
            <a:xfrm>
              <a:off x="1969799" y="3027988"/>
              <a:ext cx="535780" cy="507669"/>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N</a:t>
              </a:r>
            </a:p>
          </p:txBody>
        </p:sp>
      </p:grpSp>
      <p:grpSp>
        <p:nvGrpSpPr>
          <p:cNvPr id="143" name="Group 142"/>
          <p:cNvGrpSpPr/>
          <p:nvPr/>
        </p:nvGrpSpPr>
        <p:grpSpPr>
          <a:xfrm>
            <a:off x="7651358" y="2851909"/>
            <a:ext cx="433682" cy="649604"/>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H</a:t>
              </a:r>
            </a:p>
          </p:txBody>
        </p:sp>
      </p:grpSp>
      <p:grpSp>
        <p:nvGrpSpPr>
          <p:cNvPr id="147" name="Group 146"/>
          <p:cNvGrpSpPr/>
          <p:nvPr/>
        </p:nvGrpSpPr>
        <p:grpSpPr>
          <a:xfrm>
            <a:off x="4881152" y="1638082"/>
            <a:ext cx="731520" cy="907858"/>
            <a:chOff x="5815165" y="2158958"/>
            <a:chExt cx="808746" cy="1003699"/>
          </a:xfrm>
        </p:grpSpPr>
        <p:sp>
          <p:nvSpPr>
            <p:cNvPr id="148"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49" name="Straight Connector 148"/>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sp>
        <p:nvSpPr>
          <p:cNvPr id="150" name="Rectangle 149"/>
          <p:cNvSpPr/>
          <p:nvPr/>
        </p:nvSpPr>
        <p:spPr bwMode="auto">
          <a:xfrm>
            <a:off x="4743375" y="3815446"/>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eneral Purpose &amp; Application Workloads </a:t>
            </a:r>
          </a:p>
        </p:txBody>
      </p:sp>
      <p:grpSp>
        <p:nvGrpSpPr>
          <p:cNvPr id="151" name="Group 150"/>
          <p:cNvGrpSpPr/>
          <p:nvPr/>
        </p:nvGrpSpPr>
        <p:grpSpPr>
          <a:xfrm>
            <a:off x="4813395" y="2456546"/>
            <a:ext cx="864685" cy="1236329"/>
            <a:chOff x="454025" y="3077179"/>
            <a:chExt cx="807346" cy="1154346"/>
          </a:xfrm>
        </p:grpSpPr>
        <p:pic>
          <p:nvPicPr>
            <p:cNvPr id="152" name="Picture 151"/>
            <p:cNvPicPr>
              <a:picLocks noChangeAspect="1"/>
            </p:cNvPicPr>
            <p:nvPr/>
          </p:nvPicPr>
          <p:blipFill>
            <a:blip r:embed="rId3"/>
            <a:stretch>
              <a:fillRect/>
            </a:stretch>
          </p:blipFill>
          <p:spPr>
            <a:xfrm>
              <a:off x="454025" y="3077179"/>
              <a:ext cx="807346" cy="1154346"/>
            </a:xfrm>
            <a:prstGeom prst="rect">
              <a:avLst/>
            </a:prstGeom>
          </p:spPr>
        </p:pic>
        <p:sp>
          <p:nvSpPr>
            <p:cNvPr id="153" name="Rectangle 15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Dv3</a:t>
              </a:r>
            </a:p>
          </p:txBody>
        </p:sp>
      </p:grpSp>
      <p:grpSp>
        <p:nvGrpSpPr>
          <p:cNvPr id="155" name="Group 154"/>
          <p:cNvGrpSpPr/>
          <p:nvPr/>
        </p:nvGrpSpPr>
        <p:grpSpPr>
          <a:xfrm>
            <a:off x="9640857" y="1616283"/>
            <a:ext cx="731520" cy="907858"/>
            <a:chOff x="6861364" y="2158958"/>
            <a:chExt cx="808746" cy="1003699"/>
          </a:xfrm>
        </p:grpSpPr>
        <p:sp>
          <p:nvSpPr>
            <p:cNvPr id="156"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57" name="Straight Connector 156"/>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a:off x="9577922" y="2442210"/>
            <a:ext cx="864685" cy="1236329"/>
            <a:chOff x="454025" y="3077179"/>
            <a:chExt cx="807346" cy="1154346"/>
          </a:xfrm>
        </p:grpSpPr>
        <p:pic>
          <p:nvPicPr>
            <p:cNvPr id="159" name="Picture 158"/>
            <p:cNvPicPr>
              <a:picLocks noChangeAspect="1"/>
            </p:cNvPicPr>
            <p:nvPr/>
          </p:nvPicPr>
          <p:blipFill>
            <a:blip r:embed="rId3"/>
            <a:stretch>
              <a:fillRect/>
            </a:stretch>
          </p:blipFill>
          <p:spPr>
            <a:xfrm>
              <a:off x="454025" y="3077179"/>
              <a:ext cx="807346" cy="1154346"/>
            </a:xfrm>
            <a:prstGeom prst="rect">
              <a:avLst/>
            </a:prstGeom>
          </p:spPr>
        </p:pic>
        <p:sp>
          <p:nvSpPr>
            <p:cNvPr id="160" name="Rectangle 15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M</a:t>
              </a:r>
            </a:p>
          </p:txBody>
        </p:sp>
      </p:grpSp>
      <p:sp>
        <p:nvSpPr>
          <p:cNvPr id="161" name="Rectangle 160"/>
          <p:cNvSpPr/>
          <p:nvPr/>
        </p:nvSpPr>
        <p:spPr bwMode="auto">
          <a:xfrm>
            <a:off x="9471849" y="3793647"/>
            <a:ext cx="1227297"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largest enterprise applications including SAP HANA</a:t>
            </a:r>
          </a:p>
        </p:txBody>
      </p:sp>
      <p:grpSp>
        <p:nvGrpSpPr>
          <p:cNvPr id="81" name="Group 80"/>
          <p:cNvGrpSpPr/>
          <p:nvPr/>
        </p:nvGrpSpPr>
        <p:grpSpPr>
          <a:xfrm>
            <a:off x="11033261" y="1615601"/>
            <a:ext cx="734967" cy="907858"/>
            <a:chOff x="11069612" y="2158958"/>
            <a:chExt cx="812557" cy="1003699"/>
          </a:xfrm>
        </p:grpSpPr>
        <p:sp>
          <p:nvSpPr>
            <p:cNvPr id="82" name="Rectangular Callout 51"/>
            <p:cNvSpPr/>
            <p:nvPr/>
          </p:nvSpPr>
          <p:spPr bwMode="auto">
            <a:xfrm>
              <a:off x="11069612" y="2158958"/>
              <a:ext cx="812557"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6-GA</a:t>
              </a:r>
            </a:p>
          </p:txBody>
        </p:sp>
        <p:cxnSp>
          <p:nvCxnSpPr>
            <p:cNvPr id="83" name="Straight Connector 82"/>
            <p:cNvCxnSpPr/>
            <p:nvPr/>
          </p:nvCxnSpPr>
          <p:spPr>
            <a:xfrm flipH="1" flipV="1">
              <a:off x="11475890"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10903988" y="2513086"/>
            <a:ext cx="990308" cy="1013056"/>
            <a:chOff x="9264169" y="3168861"/>
            <a:chExt cx="1048453" cy="1150283"/>
          </a:xfrm>
        </p:grpSpPr>
        <p:grpSp>
          <p:nvGrpSpPr>
            <p:cNvPr id="85" name="Group 84"/>
            <p:cNvGrpSpPr/>
            <p:nvPr/>
          </p:nvGrpSpPr>
          <p:grpSpPr>
            <a:xfrm>
              <a:off x="9369060" y="3168861"/>
              <a:ext cx="838673" cy="860859"/>
              <a:chOff x="-1455738" y="922338"/>
              <a:chExt cx="300038" cy="307975"/>
            </a:xfrm>
          </p:grpSpPr>
          <p:sp>
            <p:nvSpPr>
              <p:cNvPr id="87"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88"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89"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0"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1"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2"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3"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4"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5"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6"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grpSp>
        <p:pic>
          <p:nvPicPr>
            <p:cNvPr id="86" name="Picture 85"/>
            <p:cNvPicPr>
              <a:picLocks noChangeAspect="1"/>
            </p:cNvPicPr>
            <p:nvPr/>
          </p:nvPicPr>
          <p:blipFill>
            <a:blip r:embed="rId4"/>
            <a:stretch>
              <a:fillRect/>
            </a:stretch>
          </p:blipFill>
          <p:spPr>
            <a:xfrm>
              <a:off x="9264169" y="4013345"/>
              <a:ext cx="1048453" cy="305799"/>
            </a:xfrm>
            <a:prstGeom prst="rect">
              <a:avLst/>
            </a:prstGeom>
          </p:spPr>
        </p:pic>
      </p:grpSp>
      <p:sp>
        <p:nvSpPr>
          <p:cNvPr id="97" name="Rectangle 96"/>
          <p:cNvSpPr/>
          <p:nvPr/>
        </p:nvSpPr>
        <p:spPr bwMode="auto">
          <a:xfrm>
            <a:off x="10818065" y="3792965"/>
            <a:ext cx="1103296"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large </a:t>
            </a:r>
            <a:b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AP HANA workloads</a:t>
            </a:r>
          </a:p>
        </p:txBody>
      </p:sp>
      <p:grpSp>
        <p:nvGrpSpPr>
          <p:cNvPr id="105" name="Group 104"/>
          <p:cNvGrpSpPr/>
          <p:nvPr/>
        </p:nvGrpSpPr>
        <p:grpSpPr>
          <a:xfrm>
            <a:off x="1453521" y="1638082"/>
            <a:ext cx="731520" cy="907858"/>
            <a:chOff x="5815165" y="2158958"/>
            <a:chExt cx="808746" cy="1003699"/>
          </a:xfrm>
        </p:grpSpPr>
        <p:sp>
          <p:nvSpPr>
            <p:cNvPr id="106"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08" name="Straight Connector 10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1385764" y="2456546"/>
            <a:ext cx="864685" cy="1236329"/>
            <a:chOff x="454025" y="3077179"/>
            <a:chExt cx="807346" cy="1154346"/>
          </a:xfrm>
        </p:grpSpPr>
        <p:pic>
          <p:nvPicPr>
            <p:cNvPr id="113" name="Picture 112"/>
            <p:cNvPicPr>
              <a:picLocks noChangeAspect="1"/>
            </p:cNvPicPr>
            <p:nvPr/>
          </p:nvPicPr>
          <p:blipFill>
            <a:blip r:embed="rId3"/>
            <a:stretch>
              <a:fillRect/>
            </a:stretch>
          </p:blipFill>
          <p:spPr>
            <a:xfrm>
              <a:off x="454025" y="3077179"/>
              <a:ext cx="807346" cy="1154346"/>
            </a:xfrm>
            <a:prstGeom prst="rect">
              <a:avLst/>
            </a:prstGeom>
          </p:spPr>
        </p:pic>
        <p:sp>
          <p:nvSpPr>
            <p:cNvPr id="114" name="Rectangle 11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B</a:t>
              </a:r>
              <a:endParaRPr lang="en-US" sz="2400" b="1">
                <a:gradFill>
                  <a:gsLst>
                    <a:gs pos="0">
                      <a:srgbClr val="FFFFFF"/>
                    </a:gs>
                    <a:gs pos="100000">
                      <a:srgbClr val="FFFFFF"/>
                    </a:gs>
                  </a:gsLst>
                  <a:lin ang="5400000" scaled="0"/>
                </a:gradFill>
              </a:endParaRPr>
            </a:p>
          </p:txBody>
        </p:sp>
      </p:grpSp>
      <p:sp>
        <p:nvSpPr>
          <p:cNvPr id="115" name="Rectangle 114"/>
          <p:cNvSpPr/>
          <p:nvPr/>
        </p:nvSpPr>
        <p:spPr bwMode="auto">
          <a:xfrm>
            <a:off x="1326741" y="3832932"/>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mall</a:t>
            </a:r>
          </a:p>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 Workloads </a:t>
            </a:r>
          </a:p>
        </p:txBody>
      </p:sp>
    </p:spTree>
    <p:extLst>
      <p:ext uri="{BB962C8B-B14F-4D97-AF65-F5344CB8AC3E}">
        <p14:creationId xmlns:p14="http://schemas.microsoft.com/office/powerpoint/2010/main" val="13837877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0 0 L 0 0.25 E" pathEditMode="relative" ptsTypes="">
                                      <p:cBhvr>
                                        <p:cTn id="6" dur="2000" fill="hold"/>
                                        <p:tgtEl>
                                          <p:spTgt spid="45"/>
                                        </p:tgtEl>
                                        <p:attrNameLst>
                                          <p:attrName>ppt_x</p:attrName>
                                          <p:attrName>ppt_y</p:attrName>
                                        </p:attrNameLst>
                                      </p:cBhvr>
                                    </p:animMotion>
                                  </p:childTnLst>
                                </p:cTn>
                              </p:par>
                              <p:par>
                                <p:cTn id="7" presetID="42" presetClass="path" presetSubtype="0" accel="50000" decel="50000" fill="hold" nodeType="withEffect">
                                  <p:stCondLst>
                                    <p:cond delay="0"/>
                                  </p:stCondLst>
                                  <p:childTnLst>
                                    <p:animMotion origin="layout" path="M 0 0 L 0 0.25 E" pathEditMode="relative" ptsTypes="">
                                      <p:cBhvr>
                                        <p:cTn id="8" dur="2000" fill="hold"/>
                                        <p:tgtEl>
                                          <p:spTgt spid="62"/>
                                        </p:tgtEl>
                                        <p:attrNameLst>
                                          <p:attrName>ppt_x</p:attrName>
                                          <p:attrName>ppt_y</p:attrName>
                                        </p:attrNameLst>
                                      </p:cBhvr>
                                    </p:animMotion>
                                  </p:childTnLst>
                                </p:cTn>
                              </p:par>
                              <p:par>
                                <p:cTn id="9" presetID="42" presetClass="path" presetSubtype="0" accel="50000" decel="50000" fill="hold" nodeType="withEffect">
                                  <p:stCondLst>
                                    <p:cond delay="0"/>
                                  </p:stCondLst>
                                  <p:childTnLst>
                                    <p:animMotion origin="layout" path="M 0 0 L 0 0.25 E" pathEditMode="relative" ptsTypes="">
                                      <p:cBhvr>
                                        <p:cTn id="10" dur="2000" fill="hold"/>
                                        <p:tgtEl>
                                          <p:spTgt spid="68"/>
                                        </p:tgtEl>
                                        <p:attrNameLst>
                                          <p:attrName>ppt_x</p:attrName>
                                          <p:attrName>ppt_y</p:attrName>
                                        </p:attrNameLst>
                                      </p:cBhvr>
                                    </p:animMotion>
                                  </p:childTnLst>
                                </p:cTn>
                              </p:par>
                              <p:par>
                                <p:cTn id="11" presetID="42" presetClass="path" presetSubtype="0" accel="50000" decel="50000" fill="hold" nodeType="withEffect">
                                  <p:stCondLst>
                                    <p:cond delay="0"/>
                                  </p:stCondLst>
                                  <p:childTnLst>
                                    <p:animMotion origin="layout" path="M 0 0 L 0 0.25 E" pathEditMode="relative" ptsTypes="">
                                      <p:cBhvr>
                                        <p:cTn id="12" dur="2000" fill="hold"/>
                                        <p:tgtEl>
                                          <p:spTgt spid="77"/>
                                        </p:tgtEl>
                                        <p:attrNameLst>
                                          <p:attrName>ppt_x</p:attrName>
                                          <p:attrName>ppt_y</p:attrName>
                                        </p:attrNameLst>
                                      </p:cBhvr>
                                    </p:animMotion>
                                  </p:childTnLst>
                                </p:cTn>
                              </p:par>
                              <p:par>
                                <p:cTn id="13" presetID="10" presetClass="entr" presetSubtype="0" fill="hold" nodeType="withEffect">
                                  <p:stCondLst>
                                    <p:cond delay="2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42" presetClass="path" presetSubtype="0" decel="100000" fill="hold" nodeType="withEffect">
                                  <p:stCondLst>
                                    <p:cond delay="250"/>
                                  </p:stCondLst>
                                  <p:childTnLst>
                                    <p:animMotion origin="layout" path="M -8.14399E-7 -2.08806E-7 L -8.14399E-7 0.05039 " pathEditMode="relative" rAng="0" ptsTypes="AA">
                                      <p:cBhvr>
                                        <p:cTn id="17" dur="750" spd="-100000" fill="hold"/>
                                        <p:tgtEl>
                                          <p:spTgt spid="7"/>
                                        </p:tgtEl>
                                        <p:attrNameLst>
                                          <p:attrName>ppt_x</p:attrName>
                                          <p:attrName>ppt_y</p:attrName>
                                        </p:attrNameLst>
                                      </p:cBhvr>
                                      <p:rCtr x="0" y="2519"/>
                                    </p:animMotion>
                                  </p:childTnLst>
                                </p:cTn>
                              </p:par>
                              <p:par>
                                <p:cTn id="18" presetID="10" presetClass="entr" presetSubtype="0" fill="hold" nodeType="withEffect">
                                  <p:stCondLst>
                                    <p:cond delay="250"/>
                                  </p:stCondLst>
                                  <p:childTnLst>
                                    <p:set>
                                      <p:cBhvr>
                                        <p:cTn id="19" dur="1" fill="hold">
                                          <p:stCondLst>
                                            <p:cond delay="0"/>
                                          </p:stCondLst>
                                        </p:cTn>
                                        <p:tgtEl>
                                          <p:spTgt spid="147"/>
                                        </p:tgtEl>
                                        <p:attrNameLst>
                                          <p:attrName>style.visibility</p:attrName>
                                        </p:attrNameLst>
                                      </p:cBhvr>
                                      <p:to>
                                        <p:strVal val="visible"/>
                                      </p:to>
                                    </p:set>
                                    <p:animEffect transition="in" filter="fade">
                                      <p:cBhvr>
                                        <p:cTn id="20" dur="500"/>
                                        <p:tgtEl>
                                          <p:spTgt spid="147"/>
                                        </p:tgtEl>
                                      </p:cBhvr>
                                    </p:animEffect>
                                  </p:childTnLst>
                                </p:cTn>
                              </p:par>
                              <p:par>
                                <p:cTn id="21" presetID="42" presetClass="path" presetSubtype="0" decel="100000" fill="hold" nodeType="withEffect">
                                  <p:stCondLst>
                                    <p:cond delay="250"/>
                                  </p:stCondLst>
                                  <p:childTnLst>
                                    <p:animMotion origin="layout" path="M 1.01098E-6 2.46028E-6 L 1.01098E-6 0.05038 " pathEditMode="relative" rAng="0" ptsTypes="AA">
                                      <p:cBhvr>
                                        <p:cTn id="22" dur="750" spd="-100000" fill="hold"/>
                                        <p:tgtEl>
                                          <p:spTgt spid="147"/>
                                        </p:tgtEl>
                                        <p:attrNameLst>
                                          <p:attrName>ppt_x</p:attrName>
                                          <p:attrName>ppt_y</p:attrName>
                                        </p:attrNameLst>
                                      </p:cBhvr>
                                      <p:rCtr x="0" y="2519"/>
                                    </p:animMotion>
                                  </p:childTnLst>
                                </p:cTn>
                              </p:par>
                              <p:par>
                                <p:cTn id="23" presetID="10" presetClass="entr" presetSubtype="0" fill="hold" nodeType="withEffect">
                                  <p:stCondLst>
                                    <p:cond delay="2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42" presetClass="path" presetSubtype="0" decel="100000" fill="hold" nodeType="withEffect">
                                  <p:stCondLst>
                                    <p:cond delay="250"/>
                                  </p:stCondLst>
                                  <p:childTnLst>
                                    <p:animMotion origin="layout" path="M 1.70283E-6 4.23967E-6 L 1.70283E-6 0.05038 " pathEditMode="relative" rAng="0" ptsTypes="AA">
                                      <p:cBhvr>
                                        <p:cTn id="27" dur="750" spd="-100000" fill="hold"/>
                                        <p:tgtEl>
                                          <p:spTgt spid="8"/>
                                        </p:tgtEl>
                                        <p:attrNameLst>
                                          <p:attrName>ppt_x</p:attrName>
                                          <p:attrName>ppt_y</p:attrName>
                                        </p:attrNameLst>
                                      </p:cBhvr>
                                      <p:rCtr x="0" y="2519"/>
                                    </p:animMotion>
                                  </p:childTnLst>
                                </p:cTn>
                              </p:par>
                              <p:par>
                                <p:cTn id="28" presetID="10" presetClass="entr" presetSubtype="0" fill="hold" grpId="0" nodeType="withEffect">
                                  <p:stCondLst>
                                    <p:cond delay="250"/>
                                  </p:stCondLst>
                                  <p:childTnLst>
                                    <p:set>
                                      <p:cBhvr>
                                        <p:cTn id="29" dur="1" fill="hold">
                                          <p:stCondLst>
                                            <p:cond delay="0"/>
                                          </p:stCondLst>
                                        </p:cTn>
                                        <p:tgtEl>
                                          <p:spTgt spid="342"/>
                                        </p:tgtEl>
                                        <p:attrNameLst>
                                          <p:attrName>style.visibility</p:attrName>
                                        </p:attrNameLst>
                                      </p:cBhvr>
                                      <p:to>
                                        <p:strVal val="visible"/>
                                      </p:to>
                                    </p:set>
                                    <p:animEffect transition="in" filter="fade">
                                      <p:cBhvr>
                                        <p:cTn id="30" dur="500"/>
                                        <p:tgtEl>
                                          <p:spTgt spid="342"/>
                                        </p:tgtEl>
                                      </p:cBhvr>
                                    </p:animEffect>
                                  </p:childTnLst>
                                </p:cTn>
                              </p:par>
                              <p:par>
                                <p:cTn id="31" presetID="42" presetClass="path" presetSubtype="0" decel="100000" fill="hold" grpId="1" nodeType="withEffect">
                                  <p:stCondLst>
                                    <p:cond delay="250"/>
                                  </p:stCondLst>
                                  <p:childTnLst>
                                    <p:animMotion origin="layout" path="M -3.16569E-6 1.24376E-6 L -3.16569E-6 0.05038 " pathEditMode="relative" rAng="0" ptsTypes="AA">
                                      <p:cBhvr>
                                        <p:cTn id="32" dur="750" spd="-100000" fill="hold"/>
                                        <p:tgtEl>
                                          <p:spTgt spid="342"/>
                                        </p:tgtEl>
                                        <p:attrNameLst>
                                          <p:attrName>ppt_x</p:attrName>
                                          <p:attrName>ppt_y</p:attrName>
                                        </p:attrNameLst>
                                      </p:cBhvr>
                                      <p:rCtr x="0" y="2519"/>
                                    </p:animMotion>
                                  </p:childTnLst>
                                </p:cTn>
                              </p:par>
                              <p:par>
                                <p:cTn id="33" presetID="10" presetClass="entr" presetSubtype="0" fill="hold" grpId="0" nodeType="withEffect">
                                  <p:stCondLst>
                                    <p:cond delay="250"/>
                                  </p:stCondLst>
                                  <p:childTnLst>
                                    <p:set>
                                      <p:cBhvr>
                                        <p:cTn id="34" dur="1" fill="hold">
                                          <p:stCondLst>
                                            <p:cond delay="0"/>
                                          </p:stCondLst>
                                        </p:cTn>
                                        <p:tgtEl>
                                          <p:spTgt spid="341"/>
                                        </p:tgtEl>
                                        <p:attrNameLst>
                                          <p:attrName>style.visibility</p:attrName>
                                        </p:attrNameLst>
                                      </p:cBhvr>
                                      <p:to>
                                        <p:strVal val="visible"/>
                                      </p:to>
                                    </p:set>
                                    <p:animEffect transition="in" filter="fade">
                                      <p:cBhvr>
                                        <p:cTn id="35" dur="500"/>
                                        <p:tgtEl>
                                          <p:spTgt spid="341"/>
                                        </p:tgtEl>
                                      </p:cBhvr>
                                    </p:animEffect>
                                  </p:childTnLst>
                                </p:cTn>
                              </p:par>
                              <p:par>
                                <p:cTn id="36" presetID="42" presetClass="path" presetSubtype="0" decel="100000" fill="hold" grpId="1" nodeType="withEffect">
                                  <p:stCondLst>
                                    <p:cond delay="250"/>
                                  </p:stCondLst>
                                  <p:childTnLst>
                                    <p:animMotion origin="layout" path="M -3.59459E-6 -4.30776E-6 L -3.59459E-6 0.05039 " pathEditMode="relative" rAng="0" ptsTypes="AA">
                                      <p:cBhvr>
                                        <p:cTn id="37" dur="750" spd="-100000" fill="hold"/>
                                        <p:tgtEl>
                                          <p:spTgt spid="341"/>
                                        </p:tgtEl>
                                        <p:attrNameLst>
                                          <p:attrName>ppt_x</p:attrName>
                                          <p:attrName>ppt_y</p:attrName>
                                        </p:attrNameLst>
                                      </p:cBhvr>
                                      <p:rCtr x="0" y="2519"/>
                                    </p:animMotion>
                                  </p:childTnLst>
                                </p:cTn>
                              </p:par>
                              <p:par>
                                <p:cTn id="38" presetID="10" presetClass="entr" presetSubtype="0" fill="hold" grpId="0" nodeType="withEffect">
                                  <p:stCondLst>
                                    <p:cond delay="250"/>
                                  </p:stCondLst>
                                  <p:childTnLst>
                                    <p:set>
                                      <p:cBhvr>
                                        <p:cTn id="39" dur="1" fill="hold">
                                          <p:stCondLst>
                                            <p:cond delay="0"/>
                                          </p:stCondLst>
                                        </p:cTn>
                                        <p:tgtEl>
                                          <p:spTgt spid="150"/>
                                        </p:tgtEl>
                                        <p:attrNameLst>
                                          <p:attrName>style.visibility</p:attrName>
                                        </p:attrNameLst>
                                      </p:cBhvr>
                                      <p:to>
                                        <p:strVal val="visible"/>
                                      </p:to>
                                    </p:set>
                                    <p:animEffect transition="in" filter="fade">
                                      <p:cBhvr>
                                        <p:cTn id="40" dur="500"/>
                                        <p:tgtEl>
                                          <p:spTgt spid="150"/>
                                        </p:tgtEl>
                                      </p:cBhvr>
                                    </p:animEffect>
                                  </p:childTnLst>
                                </p:cTn>
                              </p:par>
                              <p:par>
                                <p:cTn id="41" presetID="42" presetClass="path" presetSubtype="0" decel="100000" fill="hold" grpId="1" nodeType="withEffect">
                                  <p:stCondLst>
                                    <p:cond delay="250"/>
                                  </p:stCondLst>
                                  <p:childTnLst>
                                    <p:animMotion origin="layout" path="M -1.34031E-6 3.91285E-6 L -1.34031E-6 0.05038 " pathEditMode="relative" rAng="0" ptsTypes="AA">
                                      <p:cBhvr>
                                        <p:cTn id="42" dur="750" spd="-100000" fill="hold"/>
                                        <p:tgtEl>
                                          <p:spTgt spid="150"/>
                                        </p:tgtEl>
                                        <p:attrNameLst>
                                          <p:attrName>ppt_x</p:attrName>
                                          <p:attrName>ppt_y</p:attrName>
                                        </p:attrNameLst>
                                      </p:cBhvr>
                                      <p:rCtr x="0" y="2519"/>
                                    </p:animMotion>
                                  </p:childTnLst>
                                </p:cTn>
                              </p:par>
                              <p:par>
                                <p:cTn id="43" presetID="10" presetClass="entr" presetSubtype="0" fill="hold" nodeType="withEffect">
                                  <p:stCondLst>
                                    <p:cond delay="250"/>
                                  </p:stCondLst>
                                  <p:childTnLst>
                                    <p:set>
                                      <p:cBhvr>
                                        <p:cTn id="44" dur="1" fill="hold">
                                          <p:stCondLst>
                                            <p:cond delay="0"/>
                                          </p:stCondLst>
                                        </p:cTn>
                                        <p:tgtEl>
                                          <p:spTgt spid="155"/>
                                        </p:tgtEl>
                                        <p:attrNameLst>
                                          <p:attrName>style.visibility</p:attrName>
                                        </p:attrNameLst>
                                      </p:cBhvr>
                                      <p:to>
                                        <p:strVal val="visible"/>
                                      </p:to>
                                    </p:set>
                                    <p:animEffect transition="in" filter="fade">
                                      <p:cBhvr>
                                        <p:cTn id="45" dur="500"/>
                                        <p:tgtEl>
                                          <p:spTgt spid="155"/>
                                        </p:tgtEl>
                                      </p:cBhvr>
                                    </p:animEffect>
                                  </p:childTnLst>
                                </p:cTn>
                              </p:par>
                              <p:par>
                                <p:cTn id="46" presetID="10" presetClass="entr" presetSubtype="0" fill="hold" grpId="0" nodeType="withEffect">
                                  <p:stCondLst>
                                    <p:cond delay="250"/>
                                  </p:stCondLst>
                                  <p:childTnLst>
                                    <p:set>
                                      <p:cBhvr>
                                        <p:cTn id="47" dur="1" fill="hold">
                                          <p:stCondLst>
                                            <p:cond delay="0"/>
                                          </p:stCondLst>
                                        </p:cTn>
                                        <p:tgtEl>
                                          <p:spTgt spid="161"/>
                                        </p:tgtEl>
                                        <p:attrNameLst>
                                          <p:attrName>style.visibility</p:attrName>
                                        </p:attrNameLst>
                                      </p:cBhvr>
                                      <p:to>
                                        <p:strVal val="visible"/>
                                      </p:to>
                                    </p:set>
                                    <p:animEffect transition="in" filter="fade">
                                      <p:cBhvr>
                                        <p:cTn id="48" dur="500"/>
                                        <p:tgtEl>
                                          <p:spTgt spid="161"/>
                                        </p:tgtEl>
                                      </p:cBhvr>
                                    </p:animEffect>
                                  </p:childTnLst>
                                </p:cTn>
                              </p:par>
                              <p:par>
                                <p:cTn id="49" presetID="42" presetClass="path" presetSubtype="0" decel="100000" fill="hold" grpId="1" nodeType="withEffect">
                                  <p:stCondLst>
                                    <p:cond delay="250"/>
                                  </p:stCondLst>
                                  <p:childTnLst>
                                    <p:animMotion origin="layout" path="M -4.00562E-6 -3.41807E-6 L -4.00562E-6 0.05039 " pathEditMode="relative" rAng="0" ptsTypes="AA">
                                      <p:cBhvr>
                                        <p:cTn id="50" dur="750" spd="-100000" fill="hold"/>
                                        <p:tgtEl>
                                          <p:spTgt spid="161"/>
                                        </p:tgtEl>
                                        <p:attrNameLst>
                                          <p:attrName>ppt_x</p:attrName>
                                          <p:attrName>ppt_y</p:attrName>
                                        </p:attrNameLst>
                                      </p:cBhvr>
                                      <p:rCtr x="0" y="2519"/>
                                    </p:animMotion>
                                  </p:childTnLst>
                                </p:cTn>
                              </p:par>
                              <p:par>
                                <p:cTn id="51" presetID="10" presetClass="entr" presetSubtype="0" fill="hold" nodeType="withEffect">
                                  <p:stCondLst>
                                    <p:cond delay="250"/>
                                  </p:stCondLst>
                                  <p:childTnLst>
                                    <p:set>
                                      <p:cBhvr>
                                        <p:cTn id="52" dur="1" fill="hold">
                                          <p:stCondLst>
                                            <p:cond delay="0"/>
                                          </p:stCondLst>
                                        </p:cTn>
                                        <p:tgtEl>
                                          <p:spTgt spid="81"/>
                                        </p:tgtEl>
                                        <p:attrNameLst>
                                          <p:attrName>style.visibility</p:attrName>
                                        </p:attrNameLst>
                                      </p:cBhvr>
                                      <p:to>
                                        <p:strVal val="visible"/>
                                      </p:to>
                                    </p:set>
                                    <p:animEffect transition="in" filter="fade">
                                      <p:cBhvr>
                                        <p:cTn id="53" dur="500"/>
                                        <p:tgtEl>
                                          <p:spTgt spid="81"/>
                                        </p:tgtEl>
                                      </p:cBhvr>
                                    </p:animEffect>
                                  </p:childTnLst>
                                </p:cTn>
                              </p:par>
                              <p:par>
                                <p:cTn id="54" presetID="42" presetClass="path" presetSubtype="0" decel="100000" fill="hold" nodeType="withEffect">
                                  <p:stCondLst>
                                    <p:cond delay="250"/>
                                  </p:stCondLst>
                                  <p:childTnLst>
                                    <p:animMotion origin="layout" path="M 4.60812E-6 -5.44712E-8 L 4.60812E-6 0.05039 " pathEditMode="relative" rAng="0" ptsTypes="AA">
                                      <p:cBhvr>
                                        <p:cTn id="55" dur="750" spd="-100000" fill="hold"/>
                                        <p:tgtEl>
                                          <p:spTgt spid="81"/>
                                        </p:tgtEl>
                                        <p:attrNameLst>
                                          <p:attrName>ppt_x</p:attrName>
                                          <p:attrName>ppt_y</p:attrName>
                                        </p:attrNameLst>
                                      </p:cBhvr>
                                      <p:rCtr x="0" y="2519"/>
                                    </p:animMotion>
                                  </p:childTnLst>
                                </p:cTn>
                              </p:par>
                              <p:par>
                                <p:cTn id="56" presetID="10" presetClass="entr" presetSubtype="0" fill="hold" grpId="0" nodeType="withEffect">
                                  <p:stCondLst>
                                    <p:cond delay="250"/>
                                  </p:stCondLst>
                                  <p:childTnLst>
                                    <p:set>
                                      <p:cBhvr>
                                        <p:cTn id="57" dur="1" fill="hold">
                                          <p:stCondLst>
                                            <p:cond delay="0"/>
                                          </p:stCondLst>
                                        </p:cTn>
                                        <p:tgtEl>
                                          <p:spTgt spid="97"/>
                                        </p:tgtEl>
                                        <p:attrNameLst>
                                          <p:attrName>style.visibility</p:attrName>
                                        </p:attrNameLst>
                                      </p:cBhvr>
                                      <p:to>
                                        <p:strVal val="visible"/>
                                      </p:to>
                                    </p:set>
                                    <p:animEffect transition="in" filter="fade">
                                      <p:cBhvr>
                                        <p:cTn id="58" dur="500"/>
                                        <p:tgtEl>
                                          <p:spTgt spid="97"/>
                                        </p:tgtEl>
                                      </p:cBhvr>
                                    </p:animEffect>
                                  </p:childTnLst>
                                </p:cTn>
                              </p:par>
                              <p:par>
                                <p:cTn id="59" presetID="42" presetClass="path" presetSubtype="0" decel="100000" fill="hold" grpId="1" nodeType="withEffect">
                                  <p:stCondLst>
                                    <p:cond delay="250"/>
                                  </p:stCondLst>
                                  <p:childTnLst>
                                    <p:animMotion origin="layout" path="M -6.63773E-8 1.39809E-6 L -6.63773E-8 0.05038 " pathEditMode="relative" rAng="0" ptsTypes="AA">
                                      <p:cBhvr>
                                        <p:cTn id="60" dur="750" spd="-100000" fill="hold"/>
                                        <p:tgtEl>
                                          <p:spTgt spid="97"/>
                                        </p:tgtEl>
                                        <p:attrNameLst>
                                          <p:attrName>ppt_x</p:attrName>
                                          <p:attrName>ppt_y</p:attrName>
                                        </p:attrNameLst>
                                      </p:cBhvr>
                                      <p:rCtr x="0" y="2519"/>
                                    </p:animMotion>
                                  </p:childTnLst>
                                </p:cTn>
                              </p:par>
                              <p:par>
                                <p:cTn id="61" presetID="10" presetClass="entr" presetSubtype="0" fill="hold" nodeType="withEffect">
                                  <p:stCondLst>
                                    <p:cond delay="250"/>
                                  </p:stCondLst>
                                  <p:childTnLst>
                                    <p:set>
                                      <p:cBhvr>
                                        <p:cTn id="62" dur="1" fill="hold">
                                          <p:stCondLst>
                                            <p:cond delay="0"/>
                                          </p:stCondLst>
                                        </p:cTn>
                                        <p:tgtEl>
                                          <p:spTgt spid="105"/>
                                        </p:tgtEl>
                                        <p:attrNameLst>
                                          <p:attrName>style.visibility</p:attrName>
                                        </p:attrNameLst>
                                      </p:cBhvr>
                                      <p:to>
                                        <p:strVal val="visible"/>
                                      </p:to>
                                    </p:set>
                                    <p:animEffect transition="in" filter="fade">
                                      <p:cBhvr>
                                        <p:cTn id="63" dur="500"/>
                                        <p:tgtEl>
                                          <p:spTgt spid="105"/>
                                        </p:tgtEl>
                                      </p:cBhvr>
                                    </p:animEffect>
                                  </p:childTnLst>
                                </p:cTn>
                              </p:par>
                              <p:par>
                                <p:cTn id="64" presetID="42" presetClass="path" presetSubtype="0" decel="100000" fill="hold" nodeType="withEffect">
                                  <p:stCondLst>
                                    <p:cond delay="250"/>
                                  </p:stCondLst>
                                  <p:childTnLst>
                                    <p:animMotion origin="layout" path="M 4.57748E-6 2.46028E-6 L 4.57748E-6 0.05038 " pathEditMode="relative" rAng="0" ptsTypes="AA">
                                      <p:cBhvr>
                                        <p:cTn id="65" dur="750" spd="-100000" fill="hold"/>
                                        <p:tgtEl>
                                          <p:spTgt spid="105"/>
                                        </p:tgtEl>
                                        <p:attrNameLst>
                                          <p:attrName>ppt_x</p:attrName>
                                          <p:attrName>ppt_y</p:attrName>
                                        </p:attrNameLst>
                                      </p:cBhvr>
                                      <p:rCtr x="0" y="2519"/>
                                    </p:animMotion>
                                  </p:childTnLst>
                                </p:cTn>
                              </p:par>
                              <p:par>
                                <p:cTn id="66" presetID="10" presetClass="entr" presetSubtype="0" fill="hold" grpId="0" nodeType="withEffect">
                                  <p:stCondLst>
                                    <p:cond delay="250"/>
                                  </p:stCondLst>
                                  <p:childTnLst>
                                    <p:set>
                                      <p:cBhvr>
                                        <p:cTn id="67" dur="1" fill="hold">
                                          <p:stCondLst>
                                            <p:cond delay="0"/>
                                          </p:stCondLst>
                                        </p:cTn>
                                        <p:tgtEl>
                                          <p:spTgt spid="115"/>
                                        </p:tgtEl>
                                        <p:attrNameLst>
                                          <p:attrName>style.visibility</p:attrName>
                                        </p:attrNameLst>
                                      </p:cBhvr>
                                      <p:to>
                                        <p:strVal val="visible"/>
                                      </p:to>
                                    </p:set>
                                    <p:animEffect transition="in" filter="fade">
                                      <p:cBhvr>
                                        <p:cTn id="68" dur="500"/>
                                        <p:tgtEl>
                                          <p:spTgt spid="115"/>
                                        </p:tgtEl>
                                      </p:cBhvr>
                                    </p:animEffect>
                                  </p:childTnLst>
                                </p:cTn>
                              </p:par>
                              <p:par>
                                <p:cTn id="69" presetID="42" presetClass="path" presetSubtype="0" decel="100000" fill="hold" grpId="1" nodeType="withEffect">
                                  <p:stCondLst>
                                    <p:cond delay="250"/>
                                  </p:stCondLst>
                                  <p:childTnLst>
                                    <p:animMotion origin="layout" path="M -1.31478E-6 -2.68271E-6 L -1.31478E-6 0.05039 " pathEditMode="relative" rAng="0" ptsTypes="AA">
                                      <p:cBhvr>
                                        <p:cTn id="70" dur="750" spd="-100000" fill="hold"/>
                                        <p:tgtEl>
                                          <p:spTgt spid="115"/>
                                        </p:tgtEl>
                                        <p:attrNameLst>
                                          <p:attrName>ppt_x</p:attrName>
                                          <p:attrName>ppt_y</p:attrName>
                                        </p:attrNameLst>
                                      </p:cBhvr>
                                      <p:rCtr x="0" y="2519"/>
                                    </p:animMotion>
                                  </p:childTnLst>
                                </p:cTn>
                              </p:par>
                            </p:childTnLst>
                          </p:cTn>
                        </p:par>
                        <p:par>
                          <p:cTn id="71" fill="hold">
                            <p:stCondLst>
                              <p:cond delay="2000"/>
                            </p:stCondLst>
                            <p:childTnLst>
                              <p:par>
                                <p:cTn id="72" presetID="2" presetClass="entr" presetSubtype="4" decel="100000" fill="hold" nodeType="afterEffect">
                                  <p:stCondLst>
                                    <p:cond delay="0"/>
                                  </p:stCondLst>
                                  <p:childTnLst>
                                    <p:set>
                                      <p:cBhvr>
                                        <p:cTn id="73" dur="1" fill="hold">
                                          <p:stCondLst>
                                            <p:cond delay="0"/>
                                          </p:stCondLst>
                                        </p:cTn>
                                        <p:tgtEl>
                                          <p:spTgt spid="127"/>
                                        </p:tgtEl>
                                        <p:attrNameLst>
                                          <p:attrName>style.visibility</p:attrName>
                                        </p:attrNameLst>
                                      </p:cBhvr>
                                      <p:to>
                                        <p:strVal val="visible"/>
                                      </p:to>
                                    </p:set>
                                    <p:anim calcmode="lin" valueType="num">
                                      <p:cBhvr additive="base">
                                        <p:cTn id="74" dur="750" fill="hold"/>
                                        <p:tgtEl>
                                          <p:spTgt spid="127"/>
                                        </p:tgtEl>
                                        <p:attrNameLst>
                                          <p:attrName>ppt_x</p:attrName>
                                        </p:attrNameLst>
                                      </p:cBhvr>
                                      <p:tavLst>
                                        <p:tav tm="0">
                                          <p:val>
                                            <p:strVal val="#ppt_x"/>
                                          </p:val>
                                        </p:tav>
                                        <p:tav tm="100000">
                                          <p:val>
                                            <p:strVal val="#ppt_x"/>
                                          </p:val>
                                        </p:tav>
                                      </p:tavLst>
                                    </p:anim>
                                    <p:anim calcmode="lin" valueType="num">
                                      <p:cBhvr additive="base">
                                        <p:cTn id="75" dur="750" fill="hold"/>
                                        <p:tgtEl>
                                          <p:spTgt spid="1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1" grpId="0"/>
      <p:bldP spid="341" grpId="1"/>
      <p:bldP spid="342" grpId="0"/>
      <p:bldP spid="342" grpId="1"/>
      <p:bldP spid="150" grpId="0"/>
      <p:bldP spid="150" grpId="1"/>
      <p:bldP spid="161" grpId="0"/>
      <p:bldP spid="161" grpId="1"/>
      <p:bldP spid="97" grpId="0"/>
      <p:bldP spid="97" grpId="1"/>
      <p:bldP spid="115" grpId="0"/>
      <p:bldP spid="115"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577F0-E2D2-45E4-B5E2-A64AC823E3DA}"/>
              </a:ext>
            </a:extLst>
          </p:cNvPr>
          <p:cNvSpPr>
            <a:spLocks noGrp="1"/>
          </p:cNvSpPr>
          <p:nvPr>
            <p:ph type="title"/>
          </p:nvPr>
        </p:nvSpPr>
        <p:spPr/>
        <p:txBody>
          <a:bodyPr/>
          <a:lstStyle/>
          <a:p>
            <a:pPr indent="457200"/>
            <a:r>
              <a:rPr lang="en-US" dirty="0"/>
              <a:t>New VM sizes</a:t>
            </a:r>
            <a:endParaRPr lang="en-US" dirty="0">
              <a:solidFill>
                <a:schemeClr val="tx1"/>
              </a:solidFill>
            </a:endParaRPr>
          </a:p>
        </p:txBody>
      </p:sp>
      <p:sp>
        <p:nvSpPr>
          <p:cNvPr id="3" name="Text Placeholder 2">
            <a:extLst>
              <a:ext uri="{FF2B5EF4-FFF2-40B4-BE49-F238E27FC236}">
                <a16:creationId xmlns:a16="http://schemas.microsoft.com/office/drawing/2014/main" id="{44F929DC-1D9E-4603-8F03-E9F56F403F8E}"/>
              </a:ext>
            </a:extLst>
          </p:cNvPr>
          <p:cNvSpPr>
            <a:spLocks noGrp="1"/>
          </p:cNvSpPr>
          <p:nvPr>
            <p:ph type="body" sz="quarter" idx="10"/>
          </p:nvPr>
        </p:nvSpPr>
        <p:spPr>
          <a:xfrm>
            <a:off x="274638" y="1212850"/>
            <a:ext cx="11888787" cy="3120854"/>
          </a:xfrm>
        </p:spPr>
        <p:txBody>
          <a:bodyPr/>
          <a:lstStyle/>
          <a:p>
            <a:pPr marL="571500" indent="-571500">
              <a:buFont typeface="Arial" panose="020B0604020202020204" pitchFamily="34" charset="0"/>
              <a:buChar char="•"/>
            </a:pPr>
            <a:r>
              <a:rPr lang="en-US" dirty="0"/>
              <a:t>SAP HANA running on both M-series and purpose-built infrastructure, the largest of their kind in the cloud. </a:t>
            </a:r>
          </a:p>
          <a:p>
            <a:pPr marL="571500" indent="-571500">
              <a:buFont typeface="Arial" panose="020B0604020202020204" pitchFamily="34" charset="0"/>
              <a:buChar char="•"/>
            </a:pPr>
            <a:r>
              <a:rPr lang="en-US" dirty="0"/>
              <a:t>B-series VM for burstable workloads</a:t>
            </a:r>
          </a:p>
          <a:p>
            <a:pPr marL="571500" indent="-571500">
              <a:buFont typeface="Arial" panose="020B0604020202020204" pitchFamily="34" charset="0"/>
              <a:buChar char="•"/>
            </a:pPr>
            <a:r>
              <a:rPr lang="en-US" dirty="0"/>
              <a:t>Fv2-, NCv2-, ND-series Intel’s Scalable Xeon and NVIDIA’s Tesla P100 and P40 GPUs.</a:t>
            </a:r>
            <a:br>
              <a:rPr lang="en-US" sz="2400" dirty="0"/>
            </a:br>
            <a:endParaRPr lang="en-US" sz="1600" dirty="0"/>
          </a:p>
        </p:txBody>
      </p:sp>
    </p:spTree>
    <p:extLst>
      <p:ext uri="{BB962C8B-B14F-4D97-AF65-F5344CB8AC3E}">
        <p14:creationId xmlns:p14="http://schemas.microsoft.com/office/powerpoint/2010/main" val="241963388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434848" y="1200150"/>
            <a:ext cx="4614863" cy="4614863"/>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Content Placeholder 2"/>
          <p:cNvSpPr txBox="1">
            <a:spLocks/>
          </p:cNvSpPr>
          <p:nvPr/>
        </p:nvSpPr>
        <p:spPr>
          <a:xfrm>
            <a:off x="289051" y="2504234"/>
            <a:ext cx="4489026" cy="454278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Manage identical VMs at Scale</a:t>
            </a:r>
          </a:p>
          <a:p>
            <a:pPr marL="0" lv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High performance provisioning of 1-1000 VMs</a:t>
            </a:r>
          </a:p>
          <a:p>
            <a:pPr mar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Auto-configuration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rPr>
              <a:t>Auto-scale</a:t>
            </a:r>
            <a:r>
              <a:rPr kumimoji="0" lang="en-US" sz="2400" b="0" i="0" u="none" strike="noStrike" kern="1200" cap="none" spc="0" normalizeH="0" noProof="0">
                <a:ln>
                  <a:noFill/>
                </a:ln>
                <a:gradFill>
                  <a:gsLst>
                    <a:gs pos="1250">
                      <a:srgbClr val="FFFFFF"/>
                    </a:gs>
                    <a:gs pos="100000">
                      <a:srgbClr val="FFFFFF"/>
                    </a:gs>
                  </a:gsLst>
                  <a:lin ang="5400000" scaled="0"/>
                </a:gradFill>
                <a:effectLst/>
                <a:uLnTx/>
                <a:uFillTx/>
                <a:cs typeface="Segoe UI Semibold" panose="020B0702040204020203" pitchFamily="34" charset="0"/>
              </a:rPr>
              <a:t> based on schedule and resource metrics</a:t>
            </a:r>
            <a:endPar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endParaRP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2400">
                <a:gradFill>
                  <a:gsLst>
                    <a:gs pos="1250">
                      <a:srgbClr val="FFFFFF"/>
                    </a:gs>
                    <a:gs pos="100000">
                      <a:srgbClr val="FFFFFF"/>
                    </a:gs>
                  </a:gsLst>
                  <a:lin ang="5400000" scaled="0"/>
                </a:gradFill>
                <a:cs typeface="Segoe UI Semibold" panose="020B0702040204020203" pitchFamily="34" charset="0"/>
              </a:rPr>
              <a:t>Easy updates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2400">
                <a:gradFill>
                  <a:gsLst>
                    <a:gs pos="1250">
                      <a:srgbClr val="FFFFFF"/>
                    </a:gs>
                    <a:gs pos="100000">
                      <a:srgbClr val="FFFFFF"/>
                    </a:gs>
                  </a:gsLst>
                  <a:lin ang="5400000" scaled="0"/>
                </a:gradFill>
                <a:cs typeface="Segoe UI Semibold" panose="020B0702040204020203" pitchFamily="34" charset="0"/>
              </a:rPr>
              <a:t>Managed Disk support</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rPr>
              <a:t>Single ARM resource</a:t>
            </a:r>
          </a:p>
        </p:txBody>
      </p:sp>
      <p:sp>
        <p:nvSpPr>
          <p:cNvPr id="5" name="Title 1"/>
          <p:cNvSpPr txBox="1">
            <a:spLocks/>
          </p:cNvSpPr>
          <p:nvPr/>
        </p:nvSpPr>
        <p:spPr>
          <a:xfrm>
            <a:off x="261159" y="1473200"/>
            <a:ext cx="11183414"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base" latinLnBrk="0" hangingPunct="1">
              <a:lnSpc>
                <a:spcPct val="90000"/>
              </a:lnSpc>
              <a:spcBef>
                <a:spcPts val="1200"/>
              </a:spcBef>
              <a:spcAft>
                <a:spcPct val="0"/>
              </a:spcAft>
              <a:buClrTx/>
              <a:buSzTx/>
              <a:buFontTx/>
              <a:buNone/>
              <a:tabLst/>
              <a:defRPr/>
            </a:pP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VM Scale Sets</a:t>
            </a:r>
          </a:p>
        </p:txBody>
      </p:sp>
      <p:sp>
        <p:nvSpPr>
          <p:cNvPr id="6" name="AutoShape 3"/>
          <p:cNvSpPr>
            <a:spLocks noChangeAspect="1" noChangeArrowheads="1" noTextEdit="1"/>
          </p:cNvSpPr>
          <p:nvPr/>
        </p:nvSpPr>
        <p:spPr bwMode="auto">
          <a:xfrm>
            <a:off x="8101013" y="957264"/>
            <a:ext cx="4044950" cy="382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5"/>
          <p:cNvSpPr>
            <a:spLocks/>
          </p:cNvSpPr>
          <p:nvPr/>
        </p:nvSpPr>
        <p:spPr bwMode="auto">
          <a:xfrm>
            <a:off x="7860534" y="623625"/>
            <a:ext cx="3704740" cy="2248164"/>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776734" y="1982073"/>
            <a:ext cx="1931089" cy="1779432"/>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3788805"/>
            <a:ext cx="1050532" cy="968029"/>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3788804"/>
            <a:ext cx="1050532" cy="968029"/>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3789067"/>
            <a:ext cx="1050532" cy="968029"/>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3775720"/>
            <a:ext cx="1050532" cy="968029"/>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4782735"/>
            <a:ext cx="1050532" cy="968029"/>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4782734"/>
            <a:ext cx="1050532" cy="968029"/>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4782997"/>
            <a:ext cx="1050532" cy="968029"/>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4769650"/>
            <a:ext cx="1050532" cy="968029"/>
          </a:xfrm>
          <a:prstGeom prst="rect">
            <a:avLst/>
          </a:prstGeom>
        </p:spPr>
      </p:pic>
      <p:pic>
        <p:nvPicPr>
          <p:cNvPr id="19" name="Picture 18">
            <a:extLst>
              <a:ext uri="{FF2B5EF4-FFF2-40B4-BE49-F238E27FC236}">
                <a16:creationId xmlns:a16="http://schemas.microsoft.com/office/drawing/2014/main" id="{951E5043-9C4B-4F19-BAFF-2BC5203A76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39529" y="2140634"/>
            <a:ext cx="2675079" cy="3647053"/>
          </a:xfrm>
          <a:prstGeom prst="rect">
            <a:avLst/>
          </a:prstGeom>
        </p:spPr>
      </p:pic>
    </p:spTree>
    <p:extLst>
      <p:ext uri="{BB962C8B-B14F-4D97-AF65-F5344CB8AC3E}">
        <p14:creationId xmlns:p14="http://schemas.microsoft.com/office/powerpoint/2010/main" val="2760853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65765E-6 4.59828E-6 L -0.05285 4.59828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 name="Rectangle 31"/>
          <p:cNvSpPr/>
          <p:nvPr/>
        </p:nvSpPr>
        <p:spPr>
          <a:xfrm>
            <a:off x="3886729" y="-71121"/>
            <a:ext cx="854886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eaLnBrk="1" fontAlgn="auto" hangingPunct="1">
              <a:spcBef>
                <a:spcPts val="0"/>
              </a:spcBef>
              <a:spcAft>
                <a:spcPts val="0"/>
              </a:spcAft>
              <a:defRPr/>
            </a:pPr>
            <a:endParaRPr lang="en-US" sz="1224" kern="0" err="1">
              <a:solidFill>
                <a:sysClr val="windowText" lastClr="000000"/>
              </a:solidFill>
            </a:endParaRPr>
          </a:p>
        </p:txBody>
      </p:sp>
      <p:grpSp>
        <p:nvGrpSpPr>
          <p:cNvPr id="9" name="Group 8" hidden="1"/>
          <p:cNvGrpSpPr/>
          <p:nvPr/>
        </p:nvGrpSpPr>
        <p:grpSpPr>
          <a:xfrm>
            <a:off x="-8079780" y="-3620778"/>
            <a:ext cx="6043466" cy="1830186"/>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zure</a:t>
                </a:r>
              </a:p>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Notification </a:t>
                </a:r>
                <a:b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Mobile </a:t>
                </a:r>
                <a:b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Logic </a:t>
                </a:r>
                <a:b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grpSp>
        <p:nvGrpSpPr>
          <p:cNvPr id="33" name="Group 32"/>
          <p:cNvGrpSpPr/>
          <p:nvPr/>
        </p:nvGrpSpPr>
        <p:grpSpPr>
          <a:xfrm>
            <a:off x="4400795" y="1585053"/>
            <a:ext cx="7802928" cy="4461053"/>
            <a:chOff x="5081830" y="1372044"/>
            <a:chExt cx="7650624" cy="4373978"/>
          </a:xfrm>
        </p:grpSpPr>
        <p:sp>
          <p:nvSpPr>
            <p:cNvPr id="35" name="Text Placeholder 5"/>
            <p:cNvSpPr txBox="1">
              <a:spLocks/>
            </p:cNvSpPr>
            <p:nvPr/>
          </p:nvSpPr>
          <p:spPr>
            <a:xfrm>
              <a:off x="5081830" y="1372044"/>
              <a:ext cx="7650624" cy="941478"/>
            </a:xfrm>
            <a:prstGeom prst="rect">
              <a:avLst/>
            </a:prstGeom>
            <a:noFill/>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ct val="0"/>
                </a:spcBef>
                <a:spcAft>
                  <a:spcPts val="1199"/>
                </a:spcAft>
                <a:defRPr/>
              </a:pPr>
              <a:r>
                <a:rPr lang="en-US" sz="4800" spc="-102">
                  <a:ln w="3175">
                    <a:noFill/>
                  </a:ln>
                  <a:gradFill>
                    <a:gsLst>
                      <a:gs pos="1250">
                        <a:srgbClr val="FFFFFF"/>
                      </a:gs>
                      <a:gs pos="100000">
                        <a:srgbClr val="FFFFFF"/>
                      </a:gs>
                    </a:gsLst>
                    <a:lin ang="5400000" scaled="0"/>
                  </a:gradFill>
                  <a:latin typeface="Segoe UI Light"/>
                  <a:cs typeface="Segoe UI" pitchFamily="34" charset="0"/>
                </a:rPr>
                <a:t>Azure Batch</a:t>
              </a:r>
            </a:p>
          </p:txBody>
        </p:sp>
        <p:sp>
          <p:nvSpPr>
            <p:cNvPr id="38" name="Text Placeholder 5"/>
            <p:cNvSpPr txBox="1">
              <a:spLocks/>
            </p:cNvSpPr>
            <p:nvPr/>
          </p:nvSpPr>
          <p:spPr>
            <a:xfrm>
              <a:off x="5081830" y="2746478"/>
              <a:ext cx="6687605" cy="2999544"/>
            </a:xfrm>
            <a:prstGeom prst="rect">
              <a:avLst/>
            </a:prstGeom>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Compute pools for job processing</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Automatic scaling and regional coverage</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Linux and Windows</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Automatically recover failed tasks</a:t>
              </a:r>
            </a:p>
            <a:p>
              <a:pPr defTabSz="932563">
                <a:spcBef>
                  <a:spcPts val="1224"/>
                </a:spcBef>
                <a:defRPr/>
              </a:pPr>
              <a:r>
                <a:rPr lang="en-US" sz="2400" err="1">
                  <a:gradFill>
                    <a:gsLst>
                      <a:gs pos="98571">
                        <a:schemeClr val="tx1"/>
                      </a:gs>
                      <a:gs pos="72857">
                        <a:schemeClr val="tx1"/>
                      </a:gs>
                    </a:gsLst>
                    <a:lin ang="5400000" scaled="1"/>
                  </a:gradFill>
                  <a:latin typeface="+mj-lt"/>
                  <a:cs typeface="Segoe UI Semibold" panose="020B0702040204020203" pitchFamily="34" charset="0"/>
                </a:rPr>
                <a:t>Input/Output</a:t>
              </a:r>
              <a:r>
                <a:rPr lang="en-US" sz="2400">
                  <a:gradFill>
                    <a:gsLst>
                      <a:gs pos="98571">
                        <a:schemeClr val="tx1"/>
                      </a:gs>
                      <a:gs pos="72857">
                        <a:schemeClr val="tx1"/>
                      </a:gs>
                    </a:gsLst>
                    <a:lin ang="5400000" scaled="1"/>
                  </a:gradFill>
                  <a:latin typeface="+mj-lt"/>
                  <a:cs typeface="Segoe UI Semibold" panose="020B0702040204020203" pitchFamily="34" charset="0"/>
                </a:rPr>
                <a:t> handling</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Preview: Low-Priority batch</a:t>
              </a:r>
            </a:p>
          </p:txBody>
        </p:sp>
      </p:grpSp>
      <p:pic>
        <p:nvPicPr>
          <p:cNvPr id="39" name="Picture 38"/>
          <p:cNvPicPr>
            <a:picLocks noChangeAspect="1"/>
          </p:cNvPicPr>
          <p:nvPr/>
        </p:nvPicPr>
        <p:blipFill>
          <a:blip r:embed="rId9"/>
          <a:stretch>
            <a:fillRect/>
          </a:stretch>
        </p:blipFill>
        <p:spPr>
          <a:xfrm>
            <a:off x="142509" y="1147660"/>
            <a:ext cx="3690882" cy="4484517"/>
          </a:xfrm>
          <a:prstGeom prst="rect">
            <a:avLst/>
          </a:prstGeom>
        </p:spPr>
      </p:pic>
    </p:spTree>
    <p:extLst>
      <p:ext uri="{BB962C8B-B14F-4D97-AF65-F5344CB8AC3E}">
        <p14:creationId xmlns:p14="http://schemas.microsoft.com/office/powerpoint/2010/main" val="69510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74298" y="752497"/>
            <a:ext cx="11887878" cy="917444"/>
          </a:xfrm>
        </p:spPr>
        <p:txBody>
          <a:bodyPr/>
          <a:lstStyle/>
          <a:p>
            <a:pPr algn="ctr"/>
            <a:r>
              <a:rPr lang="en-US" sz="4799">
                <a:solidFill>
                  <a:schemeClr val="accent1"/>
                </a:solidFill>
                <a:latin typeface="Segoe UI Semibold" panose="020B0702040204020203" pitchFamily="34" charset="0"/>
                <a:cs typeface="Segoe UI Semibold" panose="020B0702040204020203" pitchFamily="34" charset="0"/>
              </a:rPr>
              <a:t>Kubernetes</a:t>
            </a:r>
            <a:r>
              <a:rPr lang="en-US" sz="4799">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189684" y="1921504"/>
            <a:ext cx="2057109" cy="2057109"/>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93333" y="4770627"/>
            <a:ext cx="7849809" cy="146891"/>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51784" y="5166235"/>
            <a:ext cx="10848899" cy="1221439"/>
            <a:chOff x="951037" y="5166472"/>
            <a:chExt cx="10850438" cy="1221612"/>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21612"/>
            </a:xfrm>
            <a:prstGeom prst="rect">
              <a:avLst/>
            </a:prstGeom>
            <a:noFill/>
          </p:spPr>
          <p:txBody>
            <a:bodyPr wrap="square" lIns="146283" tIns="146283" rIns="146283" bIns="146283" rtlCol="0">
              <a:spAutoFit/>
            </a:bodyPr>
            <a:lstStyle/>
            <a:p>
              <a:pPr algn="ctr" defTabSz="932597">
                <a:spcAft>
                  <a:spcPts val="600"/>
                </a:spcAft>
              </a:pPr>
              <a:r>
                <a:rPr lang="en-US">
                  <a:solidFill>
                    <a:srgbClr val="0078D7"/>
                  </a:solidFill>
                  <a:latin typeface="Segoe UI Semibold" panose="020B0702040204020203" pitchFamily="34" charset="0"/>
                  <a:cs typeface="Segoe UI Semibold" panose="020B0702040204020203" pitchFamily="34" charset="0"/>
                </a:rPr>
                <a:t>Portable</a:t>
              </a:r>
              <a:r>
                <a:rPr lang="en-US">
                  <a:solidFill>
                    <a:srgbClr val="505050"/>
                  </a:solidFill>
                  <a:latin typeface="Segoe UI Semibold" panose="020B0702040204020203" pitchFamily="34" charset="0"/>
                  <a:cs typeface="Segoe UI Semibold" panose="020B0702040204020203" pitchFamily="34" charset="0"/>
                </a:rPr>
                <a:t> </a:t>
              </a:r>
            </a:p>
            <a:p>
              <a:pPr algn="ctr" defTabSz="932597">
                <a:spcAft>
                  <a:spcPts val="600"/>
                </a:spcAft>
              </a:pPr>
              <a:r>
                <a:rPr lang="en-US">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21612"/>
            </a:xfrm>
            <a:prstGeom prst="rect">
              <a:avLst/>
            </a:prstGeom>
            <a:noFill/>
          </p:spPr>
          <p:txBody>
            <a:bodyPr wrap="square" lIns="146283" tIns="146283" rIns="146283" bIns="146283" rtlCol="0">
              <a:spAutoFit/>
            </a:bodyPr>
            <a:lstStyle/>
            <a:p>
              <a:pPr algn="ctr" defTabSz="932597">
                <a:spcAft>
                  <a:spcPts val="600"/>
                </a:spcAft>
              </a:pPr>
              <a:r>
                <a:rPr lang="en-US">
                  <a:solidFill>
                    <a:srgbClr val="0078D7"/>
                  </a:solidFill>
                  <a:latin typeface="Segoe UI Semibold" panose="020B0702040204020203" pitchFamily="34" charset="0"/>
                  <a:cs typeface="Segoe UI Semibold" panose="020B0702040204020203" pitchFamily="34" charset="0"/>
                </a:rPr>
                <a:t>Extensible</a:t>
              </a:r>
              <a:r>
                <a:rPr lang="en-US">
                  <a:solidFill>
                    <a:srgbClr val="505050"/>
                  </a:solidFill>
                  <a:latin typeface="Segoe UI Semibold" panose="020B0702040204020203" pitchFamily="34" charset="0"/>
                  <a:cs typeface="Segoe UI Semibold" panose="020B0702040204020203" pitchFamily="34" charset="0"/>
                </a:rPr>
                <a:t> </a:t>
              </a:r>
            </a:p>
            <a:p>
              <a:pPr algn="ctr" defTabSz="932597">
                <a:spcAft>
                  <a:spcPts val="600"/>
                </a:spcAft>
              </a:pPr>
              <a:r>
                <a:rPr lang="en-US">
                  <a:solidFill>
                    <a:srgbClr val="505050"/>
                  </a:solidFill>
                  <a:latin typeface="Segoe UI"/>
                  <a:cs typeface="Segoe UI Semibold" panose="020B0702040204020203" pitchFamily="34" charset="0"/>
                </a:rPr>
                <a:t>Modular, pluggable, </a:t>
              </a:r>
              <a:r>
                <a:rPr lang="en-US" err="1">
                  <a:solidFill>
                    <a:srgbClr val="505050"/>
                  </a:solidFill>
                  <a:latin typeface="Segoe UI"/>
                  <a:cs typeface="Segoe UI Semibold" panose="020B0702040204020203" pitchFamily="34" charset="0"/>
                </a:rPr>
                <a:t>hookable</a:t>
              </a:r>
              <a:r>
                <a:rPr lang="en-US">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21612"/>
            </a:xfrm>
            <a:prstGeom prst="rect">
              <a:avLst/>
            </a:prstGeom>
            <a:noFill/>
          </p:spPr>
          <p:txBody>
            <a:bodyPr wrap="square" lIns="146283" tIns="146283" rIns="146283" bIns="146283" rtlCol="0">
              <a:spAutoFit/>
            </a:bodyPr>
            <a:lstStyle/>
            <a:p>
              <a:pPr algn="ctr" defTabSz="932597">
                <a:spcAft>
                  <a:spcPts val="600"/>
                </a:spcAft>
              </a:pPr>
              <a:r>
                <a:rPr lang="en-US">
                  <a:solidFill>
                    <a:srgbClr val="0078D7"/>
                  </a:solidFill>
                  <a:latin typeface="Segoe UI Semibold" panose="020B0702040204020203" pitchFamily="34" charset="0"/>
                  <a:cs typeface="Segoe UI Semibold" panose="020B0702040204020203" pitchFamily="34" charset="0"/>
                </a:rPr>
                <a:t>Self-healing </a:t>
              </a:r>
            </a:p>
            <a:p>
              <a:pPr algn="ctr" defTabSz="932597">
                <a:spcAft>
                  <a:spcPts val="600"/>
                </a:spcAft>
              </a:pPr>
              <a:r>
                <a:rPr lang="en-US">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218237" y="4106411"/>
            <a:ext cx="0" cy="53641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8450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75208" y="515602"/>
            <a:ext cx="8819358" cy="871379"/>
          </a:xfrm>
        </p:spPr>
        <p:txBody>
          <a:bodyPr/>
          <a:lstStyle/>
          <a:p>
            <a:pPr algn="ctr"/>
            <a:r>
              <a:rPr lang="en-US" sz="4799">
                <a:solidFill>
                  <a:schemeClr val="tx1"/>
                </a:solidFill>
              </a:rPr>
              <a:t>Azure Container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722085" y="1328337"/>
            <a:ext cx="7125593" cy="672108"/>
          </a:xfrm>
          <a:prstGeom prst="rect">
            <a:avLst/>
          </a:prstGeom>
          <a:noFill/>
        </p:spPr>
        <p:txBody>
          <a:bodyPr wrap="square" lIns="146283" tIns="146283" rIns="146283" bIns="146283" rtlCol="0">
            <a:spAutoFit/>
          </a:bodyPr>
          <a:lstStyle/>
          <a:p>
            <a:pPr algn="ctr" defTabSz="932597">
              <a:spcAft>
                <a:spcPts val="600"/>
              </a:spcAft>
            </a:pPr>
            <a:r>
              <a:rPr lang="en-US" sz="2400">
                <a:solidFill>
                  <a:srgbClr val="0078D7"/>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222203" y="2095792"/>
            <a:ext cx="2125360" cy="132473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199">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3">
            <a:clrChange>
              <a:clrFrom>
                <a:srgbClr val="FFFFFF"/>
              </a:clrFrom>
              <a:clrTo>
                <a:srgbClr val="FFFFFF">
                  <a:alpha val="0"/>
                </a:srgbClr>
              </a:clrTo>
            </a:clrChange>
          </a:blip>
          <a:srcRect t="23199" b="23199"/>
          <a:stretch/>
        </p:blipFill>
        <p:spPr>
          <a:xfrm>
            <a:off x="6646078" y="2587723"/>
            <a:ext cx="1277605" cy="512238"/>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532505" y="3090436"/>
            <a:ext cx="1504751"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4"/>
          <a:stretch>
            <a:fillRect/>
          </a:stretch>
        </p:blipFill>
        <p:spPr>
          <a:xfrm>
            <a:off x="6952726" y="3877677"/>
            <a:ext cx="664312" cy="664312"/>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359528" y="5542381"/>
            <a:ext cx="3850718" cy="1088872"/>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359531" y="4999143"/>
            <a:ext cx="3850711" cy="4237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284881" y="3420523"/>
            <a:ext cx="0" cy="387528"/>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532505" y="4581705"/>
            <a:ext cx="1504751"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345124" y="2095791"/>
            <a:ext cx="204407" cy="2670554"/>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679773" y="2728458"/>
            <a:ext cx="2258455" cy="1254960"/>
          </a:xfrm>
          <a:prstGeom prst="rect">
            <a:avLst/>
          </a:prstGeom>
          <a:noFill/>
        </p:spPr>
        <p:txBody>
          <a:bodyPr wrap="square" lIns="0" tIns="0" rIns="0" bIns="0" rtlCol="0" anchor="ctr">
            <a:spAutoFit/>
          </a:bodyPr>
          <a:lstStyle/>
          <a:p>
            <a:pPr marL="171417" indent="-171417" defTabSz="932597">
              <a:spcAft>
                <a:spcPts val="600"/>
              </a:spcAft>
              <a:buFont typeface="Arial" panose="020B0604020202020204" pitchFamily="34" charset="0"/>
              <a:buChar char="•"/>
            </a:pPr>
            <a:r>
              <a:rPr lang="en-US" sz="1199">
                <a:solidFill>
                  <a:srgbClr val="505050"/>
                </a:solidFill>
                <a:latin typeface="Segoe UI"/>
                <a:cs typeface="Segoe UI Semibold" panose="020B0702040204020203" pitchFamily="34" charset="0"/>
              </a:rPr>
              <a:t>Managed control pane</a:t>
            </a:r>
          </a:p>
          <a:p>
            <a:pPr marL="171417" indent="-171417" defTabSz="932597">
              <a:spcAft>
                <a:spcPts val="600"/>
              </a:spcAft>
              <a:buFont typeface="Arial" panose="020B0604020202020204" pitchFamily="34" charset="0"/>
              <a:buChar char="•"/>
            </a:pPr>
            <a:r>
              <a:rPr lang="en-US" sz="1199">
                <a:solidFill>
                  <a:srgbClr val="505050"/>
                </a:solidFill>
                <a:latin typeface="Segoe UI"/>
                <a:cs typeface="Segoe UI Semibold" panose="020B0702040204020203" pitchFamily="34" charset="0"/>
              </a:rPr>
              <a:t>Automated upgrades, patches</a:t>
            </a:r>
          </a:p>
          <a:p>
            <a:pPr marL="171417" indent="-171417" defTabSz="932597">
              <a:spcAft>
                <a:spcPts val="600"/>
              </a:spcAft>
              <a:buFont typeface="Arial" panose="020B0604020202020204" pitchFamily="34" charset="0"/>
              <a:buChar char="•"/>
            </a:pPr>
            <a:r>
              <a:rPr lang="en-US" sz="1199">
                <a:solidFill>
                  <a:srgbClr val="505050"/>
                </a:solidFill>
                <a:latin typeface="Segoe UI"/>
                <a:cs typeface="Segoe UI Semibold" panose="020B0702040204020203" pitchFamily="34" charset="0"/>
              </a:rPr>
              <a:t>Easy cluster scaling</a:t>
            </a:r>
          </a:p>
          <a:p>
            <a:pPr marL="171417" indent="-171417" defTabSz="932597">
              <a:spcAft>
                <a:spcPts val="600"/>
              </a:spcAft>
              <a:buFont typeface="Arial" panose="020B0604020202020204" pitchFamily="34" charset="0"/>
              <a:buChar char="•"/>
            </a:pPr>
            <a:r>
              <a:rPr lang="en-US" sz="1199">
                <a:solidFill>
                  <a:srgbClr val="505050"/>
                </a:solidFill>
                <a:latin typeface="Segoe UI"/>
                <a:cs typeface="Segoe UI Semibold" panose="020B0702040204020203" pitchFamily="34" charset="0"/>
              </a:rPr>
              <a:t>Self-healing </a:t>
            </a:r>
          </a:p>
          <a:p>
            <a:pPr marL="171417" indent="-171417" defTabSz="932597">
              <a:spcAft>
                <a:spcPts val="600"/>
              </a:spcAft>
              <a:buFont typeface="Arial" panose="020B0604020202020204" pitchFamily="34" charset="0"/>
              <a:buChar char="•"/>
            </a:pPr>
            <a:r>
              <a:rPr lang="en-US" sz="1199">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324199" y="3032158"/>
            <a:ext cx="375632" cy="623671"/>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933717" y="3738956"/>
            <a:ext cx="1156594" cy="37642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933717" y="5063454"/>
            <a:ext cx="1156594" cy="37642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4062455" y="3342460"/>
            <a:ext cx="2785515" cy="1324316"/>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5078418" y="3852702"/>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5078418" y="4380540"/>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228402" y="5997580"/>
            <a:ext cx="454684" cy="472778"/>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7015050" y="5992355"/>
            <a:ext cx="559901" cy="483228"/>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934968" y="6011774"/>
            <a:ext cx="361605" cy="444391"/>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882" y="497"/>
            <a:ext cx="2133295" cy="6993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134179" y="497"/>
            <a:ext cx="0" cy="6993533"/>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88251" y="382772"/>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0078D7"/>
                </a:solidFill>
                <a:latin typeface="Segoe UI Semibold" panose="020B0702040204020203" pitchFamily="34" charset="0"/>
                <a:cs typeface="Segoe UI Semibold" panose="020B0702040204020203" pitchFamily="34" charset="0"/>
              </a:rPr>
              <a:t>Azure Container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88251" y="1670044"/>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88251" y="2957318"/>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88251" y="4244590"/>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Open Servic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88251" y="5531863"/>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Releas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88086" y="384206"/>
            <a:ext cx="558888" cy="539434"/>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34177" y="1682289"/>
            <a:ext cx="584572" cy="51848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66571" y="5557655"/>
            <a:ext cx="622418" cy="551516"/>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703852" y="2979315"/>
            <a:ext cx="660264" cy="523286"/>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6876" y="4179039"/>
            <a:ext cx="607056" cy="613185"/>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350331" y="4374192"/>
            <a:ext cx="366685" cy="604882"/>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196" name="Rectangle 195">
            <a:hlinkClick r:id="" action="ppaction://noaction"/>
            <a:extLst>
              <a:ext uri="{FF2B5EF4-FFF2-40B4-BE49-F238E27FC236}">
                <a16:creationId xmlns:a16="http://schemas.microsoft.com/office/drawing/2014/main" id="{64874C7B-B461-4DEC-AB70-64432852022F}"/>
              </a:ext>
            </a:extLst>
          </p:cNvPr>
          <p:cNvSpPr/>
          <p:nvPr/>
        </p:nvSpPr>
        <p:spPr bwMode="auto">
          <a:xfrm>
            <a:off x="271788" y="206777"/>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196">
            <a:hlinkClick r:id="" action="ppaction://noaction"/>
            <a:extLst>
              <a:ext uri="{FF2B5EF4-FFF2-40B4-BE49-F238E27FC236}">
                <a16:creationId xmlns:a16="http://schemas.microsoft.com/office/drawing/2014/main" id="{ADAE33BE-2700-4550-9494-921A5AB680EB}"/>
              </a:ext>
            </a:extLst>
          </p:cNvPr>
          <p:cNvSpPr/>
          <p:nvPr/>
        </p:nvSpPr>
        <p:spPr bwMode="auto">
          <a:xfrm>
            <a:off x="271788" y="15083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 action="ppaction://noaction"/>
            <a:extLst>
              <a:ext uri="{FF2B5EF4-FFF2-40B4-BE49-F238E27FC236}">
                <a16:creationId xmlns:a16="http://schemas.microsoft.com/office/drawing/2014/main" id="{8DF4F80D-3983-45AF-A3F1-62673B7DD3DB}"/>
              </a:ext>
            </a:extLst>
          </p:cNvPr>
          <p:cNvSpPr/>
          <p:nvPr/>
        </p:nvSpPr>
        <p:spPr bwMode="auto">
          <a:xfrm>
            <a:off x="271788" y="2809910"/>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 action="ppaction://noaction"/>
            <a:extLst>
              <a:ext uri="{FF2B5EF4-FFF2-40B4-BE49-F238E27FC236}">
                <a16:creationId xmlns:a16="http://schemas.microsoft.com/office/drawing/2014/main" id="{378FAF47-E2BB-4ED0-B2E6-09C20DA68B7A}"/>
              </a:ext>
            </a:extLst>
          </p:cNvPr>
          <p:cNvSpPr/>
          <p:nvPr/>
        </p:nvSpPr>
        <p:spPr bwMode="auto">
          <a:xfrm>
            <a:off x="271788" y="4111476"/>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 action="ppaction://noaction"/>
            <a:extLst>
              <a:ext uri="{FF2B5EF4-FFF2-40B4-BE49-F238E27FC236}">
                <a16:creationId xmlns:a16="http://schemas.microsoft.com/office/drawing/2014/main" id="{E7F8B864-A0C0-4E5B-8925-70A7A29F939B}"/>
              </a:ext>
            </a:extLst>
          </p:cNvPr>
          <p:cNvSpPr/>
          <p:nvPr/>
        </p:nvSpPr>
        <p:spPr bwMode="auto">
          <a:xfrm>
            <a:off x="275808" y="54130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3162936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448454" y="515602"/>
            <a:ext cx="8726843" cy="871379"/>
          </a:xfrm>
        </p:spPr>
        <p:txBody>
          <a:bodyPr/>
          <a:lstStyle/>
          <a:p>
            <a:pPr algn="ctr"/>
            <a:r>
              <a:rPr lang="en-US" sz="4799">
                <a:solidFill>
                  <a:schemeClr val="tx1"/>
                </a:solidFill>
              </a:rPr>
              <a:t>Azure Container Instances (ACI)</a:t>
            </a:r>
            <a:endParaRPr lang="en-US" sz="4799">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150026" y="1328337"/>
            <a:ext cx="8269711" cy="672108"/>
          </a:xfrm>
          <a:prstGeom prst="rect">
            <a:avLst/>
          </a:prstGeom>
          <a:noFill/>
        </p:spPr>
        <p:txBody>
          <a:bodyPr wrap="square" lIns="146283" tIns="146283" rIns="146283" bIns="146283" rtlCol="0">
            <a:spAutoFit/>
          </a:bodyPr>
          <a:lstStyle/>
          <a:p>
            <a:pPr algn="ctr" defTabSz="932597">
              <a:spcAft>
                <a:spcPts val="600"/>
              </a:spcAft>
            </a:pPr>
            <a:r>
              <a:rPr lang="en-US" sz="2400">
                <a:solidFill>
                  <a:srgbClr val="0078D7"/>
                </a:solidFill>
                <a:latin typeface="Segoe UI"/>
                <a:cs typeface="Segoe UI Semibold" panose="020B0702040204020203" pitchFamily="34" charset="0"/>
              </a:rPr>
              <a:t>Easily run containers on Azure with a single command</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749834" y="644038"/>
            <a:ext cx="1049770" cy="282513"/>
          </a:xfrm>
          <a:prstGeom prst="rect">
            <a:avLst/>
          </a:prstGeom>
          <a:noFill/>
        </p:spPr>
        <p:txBody>
          <a:bodyPr wrap="square" lIns="0" tIns="0" rIns="0" bIns="0" rtlCol="0" anchor="t">
            <a:spAutoFit/>
          </a:bodyPr>
          <a:lstStyle/>
          <a:p>
            <a:pPr defTabSz="932597">
              <a:spcAft>
                <a:spcPts val="600"/>
              </a:spcAft>
            </a:pPr>
            <a:r>
              <a:rPr lang="en-US">
                <a:solidFill>
                  <a:srgbClr val="0078D7"/>
                </a:solidFill>
                <a:latin typeface="Segoe UI Semibold" panose="020B0702040204020203" pitchFamily="34" charset="0"/>
                <a:cs typeface="Segoe UI Semibold" panose="020B0702040204020203" pitchFamily="34" charset="0"/>
              </a:rPr>
              <a:t>PREVIEW</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950162" y="5716188"/>
            <a:ext cx="146891" cy="146891"/>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211437" y="5716188"/>
            <a:ext cx="146891" cy="146891"/>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472710" y="5716188"/>
            <a:ext cx="146891" cy="146891"/>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194865" y="4611430"/>
            <a:ext cx="2180035" cy="860450"/>
          </a:xfrm>
          <a:prstGeom prst="rect">
            <a:avLst/>
          </a:prstGeom>
          <a:noFill/>
        </p:spPr>
        <p:txBody>
          <a:bodyPr wrap="square" lIns="146283" tIns="146283" rIns="146283" bIns="146283" rtlCol="0" anchor="t">
            <a:spAutoFit/>
          </a:bodyPr>
          <a:lstStyle/>
          <a:p>
            <a:pPr algn="ctr" defTabSz="932597">
              <a:spcAft>
                <a:spcPts val="600"/>
              </a:spcAft>
            </a:pPr>
            <a:r>
              <a:rPr lang="en-US">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508733" y="4611430"/>
            <a:ext cx="2074848" cy="860450"/>
          </a:xfrm>
          <a:prstGeom prst="rect">
            <a:avLst/>
          </a:prstGeom>
          <a:noFill/>
        </p:spPr>
        <p:txBody>
          <a:bodyPr wrap="square" lIns="146283" tIns="146283" rIns="146283" bIns="146283" rtlCol="0" anchor="t">
            <a:spAutoFit/>
          </a:bodyPr>
          <a:lstStyle/>
          <a:p>
            <a:pPr algn="ctr" defTabSz="932597">
              <a:spcAft>
                <a:spcPts val="600"/>
              </a:spcAft>
            </a:pPr>
            <a:r>
              <a:rPr lang="en-US">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83214" y="4611429"/>
            <a:ext cx="2480786" cy="849421"/>
          </a:xfrm>
          <a:prstGeom prst="rect">
            <a:avLst/>
          </a:prstGeom>
          <a:noFill/>
        </p:spPr>
        <p:txBody>
          <a:bodyPr wrap="square" lIns="146283" tIns="146283" rIns="146283" bIns="146283" rtlCol="0" anchor="t">
            <a:spAutoFit/>
          </a:bodyPr>
          <a:lstStyle/>
          <a:p>
            <a:pPr algn="ctr" defTabSz="932597">
              <a:spcAft>
                <a:spcPts val="600"/>
              </a:spcAft>
            </a:pPr>
            <a:r>
              <a:rPr lang="en-US">
                <a:solidFill>
                  <a:srgbClr val="505050"/>
                </a:solidFill>
                <a:latin typeface="Segoe UI"/>
                <a:cs typeface="Segoe UI Semibold" panose="020B0702040204020203" pitchFamily="34" charset="0"/>
              </a:rPr>
              <a:t>Start using </a:t>
            </a:r>
            <a:br>
              <a:rPr lang="en-US">
                <a:solidFill>
                  <a:srgbClr val="505050"/>
                </a:solidFill>
                <a:latin typeface="Segoe UI"/>
                <a:cs typeface="Segoe UI Semibold" panose="020B0702040204020203" pitchFamily="34" charset="0"/>
              </a:rPr>
            </a:br>
            <a:r>
              <a:rPr lang="en-US">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220328" y="5789633"/>
            <a:ext cx="28678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481603" y="5789633"/>
            <a:ext cx="28678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882" y="497"/>
            <a:ext cx="2133295" cy="6993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134179" y="497"/>
            <a:ext cx="0" cy="6993533"/>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A6A9806-AC3C-4321-A57E-D4B7AD2ACE38}"/>
              </a:ext>
            </a:extLst>
          </p:cNvPr>
          <p:cNvSpPr/>
          <p:nvPr/>
        </p:nvSpPr>
        <p:spPr bwMode="auto">
          <a:xfrm>
            <a:off x="388251" y="382772"/>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Service (AKS)</a:t>
            </a:r>
          </a:p>
        </p:txBody>
      </p: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88251" y="1670044"/>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0078D7"/>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88251" y="2957318"/>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88251" y="4244590"/>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Open Servic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88251" y="5531863"/>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Releas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Automation Tools</a:t>
            </a:r>
          </a:p>
        </p:txBody>
      </p:sp>
      <p:grpSp>
        <p:nvGrpSpPr>
          <p:cNvPr id="122" name="Group 121">
            <a:extLst>
              <a:ext uri="{FF2B5EF4-FFF2-40B4-BE49-F238E27FC236}">
                <a16:creationId xmlns:a16="http://schemas.microsoft.com/office/drawing/2014/main" id="{7E9E5CE1-ED93-45D4-9B82-EAC5D18BDADA}"/>
              </a:ext>
            </a:extLst>
          </p:cNvPr>
          <p:cNvGrpSpPr/>
          <p:nvPr/>
        </p:nvGrpSpPr>
        <p:grpSpPr>
          <a:xfrm>
            <a:off x="788086" y="384206"/>
            <a:ext cx="558888" cy="539434"/>
            <a:chOff x="2368476" y="589018"/>
            <a:chExt cx="1012508" cy="977265"/>
          </a:xfrm>
        </p:grpSpPr>
        <p:sp>
          <p:nvSpPr>
            <p:cNvPr id="123" name="Freeform: Shape 122">
              <a:extLst>
                <a:ext uri="{FF2B5EF4-FFF2-40B4-BE49-F238E27FC236}">
                  <a16:creationId xmlns:a16="http://schemas.microsoft.com/office/drawing/2014/main" id="{62C38428-54A2-4625-9B05-50265EBE86A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4" name="Freeform: Shape 123">
              <a:extLst>
                <a:ext uri="{FF2B5EF4-FFF2-40B4-BE49-F238E27FC236}">
                  <a16:creationId xmlns:a16="http://schemas.microsoft.com/office/drawing/2014/main" id="{41D2B17A-9C58-44A6-8154-5436D524868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5" name="Freeform: Shape 124">
              <a:extLst>
                <a:ext uri="{FF2B5EF4-FFF2-40B4-BE49-F238E27FC236}">
                  <a16:creationId xmlns:a16="http://schemas.microsoft.com/office/drawing/2014/main" id="{DA1D6F92-9B13-49C0-B32E-AE5BF5F470D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6" name="Freeform: Shape 125">
              <a:extLst>
                <a:ext uri="{FF2B5EF4-FFF2-40B4-BE49-F238E27FC236}">
                  <a16:creationId xmlns:a16="http://schemas.microsoft.com/office/drawing/2014/main" id="{233EE497-8677-436A-9D89-93DDFEFE68E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7" name="Freeform: Shape 126">
              <a:extLst>
                <a:ext uri="{FF2B5EF4-FFF2-40B4-BE49-F238E27FC236}">
                  <a16:creationId xmlns:a16="http://schemas.microsoft.com/office/drawing/2014/main" id="{6ECA0C40-413B-4376-8F8E-D23AE22AA34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8" name="Freeform: Shape 127">
              <a:extLst>
                <a:ext uri="{FF2B5EF4-FFF2-40B4-BE49-F238E27FC236}">
                  <a16:creationId xmlns:a16="http://schemas.microsoft.com/office/drawing/2014/main" id="{A540C014-7D4D-4CA6-A1EB-2CD1322251F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29" name="Freeform: Shape 128">
              <a:extLst>
                <a:ext uri="{FF2B5EF4-FFF2-40B4-BE49-F238E27FC236}">
                  <a16:creationId xmlns:a16="http://schemas.microsoft.com/office/drawing/2014/main" id="{7157D009-4B08-46CE-8CE3-996CFFE62E6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0" name="Freeform: Shape 129">
              <a:extLst>
                <a:ext uri="{FF2B5EF4-FFF2-40B4-BE49-F238E27FC236}">
                  <a16:creationId xmlns:a16="http://schemas.microsoft.com/office/drawing/2014/main" id="{8695E83A-5E6C-4985-B418-4ED04473F39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1" name="Freeform: Shape 130">
              <a:extLst>
                <a:ext uri="{FF2B5EF4-FFF2-40B4-BE49-F238E27FC236}">
                  <a16:creationId xmlns:a16="http://schemas.microsoft.com/office/drawing/2014/main" id="{DAAB41AB-4162-4B47-8772-F1D6BDA04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2" name="Freeform: Shape 131">
              <a:extLst>
                <a:ext uri="{FF2B5EF4-FFF2-40B4-BE49-F238E27FC236}">
                  <a16:creationId xmlns:a16="http://schemas.microsoft.com/office/drawing/2014/main" id="{E4B449FC-73BD-4875-9299-2A2240822F1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3" name="Freeform: Shape 132">
              <a:extLst>
                <a:ext uri="{FF2B5EF4-FFF2-40B4-BE49-F238E27FC236}">
                  <a16:creationId xmlns:a16="http://schemas.microsoft.com/office/drawing/2014/main" id="{ED8DC8B2-DBB8-4667-BD52-E31402F789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4" name="Freeform: Shape 133">
              <a:extLst>
                <a:ext uri="{FF2B5EF4-FFF2-40B4-BE49-F238E27FC236}">
                  <a16:creationId xmlns:a16="http://schemas.microsoft.com/office/drawing/2014/main" id="{53369C62-0E9A-4DD4-833C-D4D7B538F2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5" name="Freeform: Shape 134">
              <a:extLst>
                <a:ext uri="{FF2B5EF4-FFF2-40B4-BE49-F238E27FC236}">
                  <a16:creationId xmlns:a16="http://schemas.microsoft.com/office/drawing/2014/main" id="{06371ABD-5359-49A8-9EC0-29EF06CCDF9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6" name="Freeform: Shape 135">
              <a:extLst>
                <a:ext uri="{FF2B5EF4-FFF2-40B4-BE49-F238E27FC236}">
                  <a16:creationId xmlns:a16="http://schemas.microsoft.com/office/drawing/2014/main" id="{F6C2DB64-505B-4AD8-A750-F94DDB1C1BA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7" name="Freeform: Shape 136">
              <a:extLst>
                <a:ext uri="{FF2B5EF4-FFF2-40B4-BE49-F238E27FC236}">
                  <a16:creationId xmlns:a16="http://schemas.microsoft.com/office/drawing/2014/main" id="{08DFB8B9-9C48-4C5E-93AF-6844559CA27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8" name="Freeform: Shape 137">
              <a:extLst>
                <a:ext uri="{FF2B5EF4-FFF2-40B4-BE49-F238E27FC236}">
                  <a16:creationId xmlns:a16="http://schemas.microsoft.com/office/drawing/2014/main" id="{20930F80-3B0F-449E-9678-621020396CF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39" name="Freeform: Shape 138">
              <a:extLst>
                <a:ext uri="{FF2B5EF4-FFF2-40B4-BE49-F238E27FC236}">
                  <a16:creationId xmlns:a16="http://schemas.microsoft.com/office/drawing/2014/main" id="{15525E96-2EF2-4BE1-936A-AEEADFFFE1B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0" name="Freeform: Shape 139">
              <a:extLst>
                <a:ext uri="{FF2B5EF4-FFF2-40B4-BE49-F238E27FC236}">
                  <a16:creationId xmlns:a16="http://schemas.microsoft.com/office/drawing/2014/main" id="{BE520F7C-1695-402E-9DE2-86A32A24E92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1" name="Freeform: Shape 140">
              <a:extLst>
                <a:ext uri="{FF2B5EF4-FFF2-40B4-BE49-F238E27FC236}">
                  <a16:creationId xmlns:a16="http://schemas.microsoft.com/office/drawing/2014/main" id="{1FB26398-DC3D-46BB-BA8B-776A495C0D4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2" name="Freeform: Shape 141">
              <a:extLst>
                <a:ext uri="{FF2B5EF4-FFF2-40B4-BE49-F238E27FC236}">
                  <a16:creationId xmlns:a16="http://schemas.microsoft.com/office/drawing/2014/main" id="{979D6F95-694A-40B2-B321-B7C1DB6F0A4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3" name="Freeform: Shape 142">
              <a:extLst>
                <a:ext uri="{FF2B5EF4-FFF2-40B4-BE49-F238E27FC236}">
                  <a16:creationId xmlns:a16="http://schemas.microsoft.com/office/drawing/2014/main" id="{8460072F-512B-40AE-B9BF-D2E89994631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44" name="Group 143">
            <a:extLst>
              <a:ext uri="{FF2B5EF4-FFF2-40B4-BE49-F238E27FC236}">
                <a16:creationId xmlns:a16="http://schemas.microsoft.com/office/drawing/2014/main" id="{B6103B89-9AFF-4C5B-AC23-ECF162F3B229}"/>
              </a:ext>
            </a:extLst>
          </p:cNvPr>
          <p:cNvGrpSpPr/>
          <p:nvPr/>
        </p:nvGrpSpPr>
        <p:grpSpPr>
          <a:xfrm>
            <a:off x="734177" y="1682289"/>
            <a:ext cx="584572" cy="51848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66571" y="5557655"/>
            <a:ext cx="622418" cy="551516"/>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703852" y="2979315"/>
            <a:ext cx="660264" cy="523286"/>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6876" y="4179039"/>
            <a:ext cx="607056" cy="613185"/>
          </a:xfrm>
          <a:prstGeom prst="rect">
            <a:avLst/>
          </a:prstGeom>
        </p:spPr>
      </p:pic>
      <p:sp>
        <p:nvSpPr>
          <p:cNvPr id="78" name="Rectangle 77">
            <a:hlinkClick r:id="" action="ppaction://noaction"/>
            <a:extLst>
              <a:ext uri="{FF2B5EF4-FFF2-40B4-BE49-F238E27FC236}">
                <a16:creationId xmlns:a16="http://schemas.microsoft.com/office/drawing/2014/main" id="{7C83731F-3554-4300-B144-1B06FC3A006B}"/>
              </a:ext>
            </a:extLst>
          </p:cNvPr>
          <p:cNvSpPr/>
          <p:nvPr/>
        </p:nvSpPr>
        <p:spPr bwMode="auto">
          <a:xfrm>
            <a:off x="271788" y="206777"/>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 action="ppaction://noaction"/>
            <a:extLst>
              <a:ext uri="{FF2B5EF4-FFF2-40B4-BE49-F238E27FC236}">
                <a16:creationId xmlns:a16="http://schemas.microsoft.com/office/drawing/2014/main" id="{64C54B03-8F8B-469B-A9F9-7B7C1A0287AF}"/>
              </a:ext>
            </a:extLst>
          </p:cNvPr>
          <p:cNvSpPr/>
          <p:nvPr/>
        </p:nvSpPr>
        <p:spPr bwMode="auto">
          <a:xfrm>
            <a:off x="271788" y="15083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 action="ppaction://noaction"/>
            <a:extLst>
              <a:ext uri="{FF2B5EF4-FFF2-40B4-BE49-F238E27FC236}">
                <a16:creationId xmlns:a16="http://schemas.microsoft.com/office/drawing/2014/main" id="{3693B592-4837-4C7E-B715-BC947D7BEFF2}"/>
              </a:ext>
            </a:extLst>
          </p:cNvPr>
          <p:cNvSpPr/>
          <p:nvPr/>
        </p:nvSpPr>
        <p:spPr bwMode="auto">
          <a:xfrm>
            <a:off x="271788" y="2809910"/>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 action="ppaction://noaction"/>
            <a:extLst>
              <a:ext uri="{FF2B5EF4-FFF2-40B4-BE49-F238E27FC236}">
                <a16:creationId xmlns:a16="http://schemas.microsoft.com/office/drawing/2014/main" id="{629A8EFE-D633-4011-A3ED-9C61D346F2D7}"/>
              </a:ext>
            </a:extLst>
          </p:cNvPr>
          <p:cNvSpPr/>
          <p:nvPr/>
        </p:nvSpPr>
        <p:spPr bwMode="auto">
          <a:xfrm>
            <a:off x="271788" y="4111476"/>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 action="ppaction://noaction"/>
            <a:extLst>
              <a:ext uri="{FF2B5EF4-FFF2-40B4-BE49-F238E27FC236}">
                <a16:creationId xmlns:a16="http://schemas.microsoft.com/office/drawing/2014/main" id="{51A213CA-EAC8-426A-A0E8-4DE2BF1DABB8}"/>
              </a:ext>
            </a:extLst>
          </p:cNvPr>
          <p:cNvSpPr/>
          <p:nvPr/>
        </p:nvSpPr>
        <p:spPr bwMode="auto">
          <a:xfrm>
            <a:off x="275808" y="54130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49187" y="2420213"/>
            <a:ext cx="2593940" cy="1981885"/>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66544" y="2678399"/>
            <a:ext cx="2836678" cy="1465512"/>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43615" y="2365735"/>
            <a:ext cx="2356448" cy="2090843"/>
          </a:xfrm>
          <a:prstGeom prst="rect">
            <a:avLst/>
          </a:prstGeom>
        </p:spPr>
      </p:pic>
    </p:spTree>
    <p:extLst>
      <p:ext uri="{BB962C8B-B14F-4D97-AF65-F5344CB8AC3E}">
        <p14:creationId xmlns:p14="http://schemas.microsoft.com/office/powerpoint/2010/main" val="23302280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722085" y="1328337"/>
            <a:ext cx="7125593" cy="672108"/>
          </a:xfrm>
          <a:prstGeom prst="rect">
            <a:avLst/>
          </a:prstGeom>
          <a:noFill/>
        </p:spPr>
        <p:txBody>
          <a:bodyPr wrap="square" lIns="146283" tIns="146283" rIns="146283" bIns="146283" rtlCol="0">
            <a:spAutoFit/>
          </a:bodyPr>
          <a:lstStyle/>
          <a:p>
            <a:pPr algn="ctr" defTabSz="932597">
              <a:spcAft>
                <a:spcPts val="600"/>
              </a:spcAft>
            </a:pPr>
            <a:r>
              <a:rPr lang="en-US" sz="2400">
                <a:solidFill>
                  <a:srgbClr val="0078D7"/>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731517" y="3726979"/>
            <a:ext cx="1241840" cy="124184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72802" y="3091515"/>
            <a:ext cx="375632" cy="623671"/>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82319" y="3798314"/>
            <a:ext cx="1156594" cy="37642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82319" y="5235008"/>
            <a:ext cx="1156594" cy="37642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9011929" y="3155571"/>
            <a:ext cx="2790313" cy="2384656"/>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726951" y="3726979"/>
            <a:ext cx="620610" cy="1241840"/>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910659" y="5566865"/>
            <a:ext cx="1162292" cy="758184"/>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245491" y="6430885"/>
            <a:ext cx="49262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491804" y="6328897"/>
            <a:ext cx="0" cy="10199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631925" y="5566867"/>
            <a:ext cx="1162292" cy="758184"/>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966758" y="6430887"/>
            <a:ext cx="49262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213071" y="6328899"/>
            <a:ext cx="0" cy="10199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910659" y="2252807"/>
            <a:ext cx="1162292" cy="758184"/>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100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245491" y="3116827"/>
            <a:ext cx="49262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491804" y="3014839"/>
            <a:ext cx="0" cy="10199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631925" y="2252807"/>
            <a:ext cx="1162292" cy="758184"/>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100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966758" y="3116827"/>
            <a:ext cx="49262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213071" y="3014839"/>
            <a:ext cx="0" cy="10199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992086" y="5644082"/>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992086" y="5966393"/>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513655" y="5966393"/>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715793" y="5644082"/>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715793" y="5966393"/>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237362" y="5966393"/>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992086" y="233875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992086" y="266106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513655" y="266106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715793" y="233875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715793" y="266106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237362" y="266106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904513" y="1965380"/>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637623" y="1965380"/>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904513" y="6531296"/>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637623" y="6531296"/>
            <a:ext cx="1156594" cy="188212"/>
          </a:xfrm>
          <a:prstGeom prst="rect">
            <a:avLst/>
          </a:prstGeom>
          <a:noFill/>
        </p:spPr>
        <p:txBody>
          <a:bodyPr wrap="square" lIns="0" tIns="0" rIns="0" bIns="0" rtlCol="0" anchor="t">
            <a:spAutoFit/>
          </a:bodyPr>
          <a:lstStyle/>
          <a:p>
            <a:pPr algn="ctr" defTabSz="932597">
              <a:spcAft>
                <a:spcPts val="600"/>
              </a:spcAft>
            </a:pPr>
            <a:r>
              <a:rPr lang="en-US" sz="1199">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517046" y="3025603"/>
            <a:ext cx="536768" cy="865985"/>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651912" y="3026453"/>
            <a:ext cx="536768" cy="86428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664415" y="4792559"/>
            <a:ext cx="511764" cy="86428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529549" y="4791708"/>
            <a:ext cx="511764" cy="865985"/>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828551" y="4590012"/>
            <a:ext cx="805570" cy="251123"/>
          </a:xfrm>
          <a:prstGeom prst="rect">
            <a:avLst/>
          </a:prstGeom>
          <a:noFill/>
        </p:spPr>
        <p:txBody>
          <a:bodyPr wrap="square" lIns="0" tIns="0" rIns="0" bIns="0" rtlCol="0" anchor="t">
            <a:spAutoFit/>
          </a:bodyPr>
          <a:lstStyle/>
          <a:p>
            <a:pPr algn="ctr" defTabSz="932597">
              <a:spcAft>
                <a:spcPts val="600"/>
              </a:spcAft>
            </a:pPr>
            <a:r>
              <a:rPr lang="en-US" sz="80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973357" y="4347899"/>
            <a:ext cx="2038572"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9150354" y="329886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661054" y="329886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10171753" y="329886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682453" y="329886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1193154" y="329886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9150354" y="366735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661054" y="366735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10171753" y="366735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682453" y="366735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1193154" y="3667351"/>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9150354" y="4031009"/>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661054" y="4031009"/>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10171753" y="4031009"/>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682453" y="4031009"/>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1193154" y="4031009"/>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9150354" y="4399497"/>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661054" y="4399497"/>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10171753" y="4399497"/>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682453" y="4399497"/>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1193154" y="4399497"/>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9150354" y="4763642"/>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661054" y="4763642"/>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10171753" y="4763642"/>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682453" y="4763642"/>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1193154" y="4763642"/>
            <a:ext cx="470664" cy="32724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92946" y="3629553"/>
            <a:ext cx="2038571" cy="14242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6053731" y="3894735"/>
            <a:ext cx="597413" cy="466694"/>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145593" y="3997418"/>
            <a:ext cx="413682" cy="260142"/>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448454" y="515602"/>
            <a:ext cx="8726843" cy="871379"/>
          </a:xfrm>
        </p:spPr>
        <p:txBody>
          <a:bodyPr/>
          <a:lstStyle/>
          <a:p>
            <a:pPr algn="ctr"/>
            <a:r>
              <a:rPr lang="en-US" sz="4799">
                <a:solidFill>
                  <a:schemeClr val="tx1"/>
                </a:solidFill>
              </a:rPr>
              <a:t>Azure Container Instances (ACI)</a:t>
            </a:r>
            <a:endParaRPr lang="en-US" sz="4799">
              <a:solidFill>
                <a:schemeClr val="tx1"/>
              </a:solidFill>
              <a:latin typeface="Segoe UI Semibold" panose="020B0702040204020203" pitchFamily="34" charset="0"/>
              <a:cs typeface="Segoe UI Semibold" panose="020B0702040204020203" pitchFamily="34" charset="0"/>
            </a:endParaRPr>
          </a:p>
        </p:txBody>
      </p:sp>
      <p:sp>
        <p:nvSpPr>
          <p:cNvPr id="152" name="TextBox 151">
            <a:extLst>
              <a:ext uri="{FF2B5EF4-FFF2-40B4-BE49-F238E27FC236}">
                <a16:creationId xmlns:a16="http://schemas.microsoft.com/office/drawing/2014/main" id="{FF3C4D05-553D-4566-934D-EC88D8BB5DEE}"/>
              </a:ext>
            </a:extLst>
          </p:cNvPr>
          <p:cNvSpPr txBox="1"/>
          <p:nvPr/>
        </p:nvSpPr>
        <p:spPr>
          <a:xfrm>
            <a:off x="10749834" y="644038"/>
            <a:ext cx="1049770" cy="282513"/>
          </a:xfrm>
          <a:prstGeom prst="rect">
            <a:avLst/>
          </a:prstGeom>
          <a:noFill/>
        </p:spPr>
        <p:txBody>
          <a:bodyPr wrap="square" lIns="0" tIns="0" rIns="0" bIns="0" rtlCol="0" anchor="t">
            <a:spAutoFit/>
          </a:bodyPr>
          <a:lstStyle/>
          <a:p>
            <a:pPr defTabSz="932597">
              <a:spcAft>
                <a:spcPts val="600"/>
              </a:spcAft>
            </a:pPr>
            <a:r>
              <a:rPr lang="en-US">
                <a:solidFill>
                  <a:srgbClr val="0078D7"/>
                </a:solidFill>
                <a:latin typeface="Segoe UI Semibold" panose="020B0702040204020203" pitchFamily="34" charset="0"/>
                <a:cs typeface="Segoe UI Semibold" panose="020B0702040204020203" pitchFamily="34" charset="0"/>
              </a:rPr>
              <a:t>PREVIEW</a:t>
            </a: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882" y="497"/>
            <a:ext cx="2133295" cy="6993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134179" y="497"/>
            <a:ext cx="0" cy="6993533"/>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5" name="Rectangle: Rounded Corners 254">
            <a:extLst>
              <a:ext uri="{FF2B5EF4-FFF2-40B4-BE49-F238E27FC236}">
                <a16:creationId xmlns:a16="http://schemas.microsoft.com/office/drawing/2014/main" id="{054E4349-914A-4F44-80BE-ABCA62E50D13}"/>
              </a:ext>
            </a:extLst>
          </p:cNvPr>
          <p:cNvSpPr/>
          <p:nvPr/>
        </p:nvSpPr>
        <p:spPr bwMode="auto">
          <a:xfrm>
            <a:off x="388251" y="382772"/>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Service (AKS)</a:t>
            </a:r>
          </a:p>
        </p:txBody>
      </p: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88251" y="1670044"/>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0078D7"/>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88251" y="2957318"/>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88251" y="4244590"/>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Open Servic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88251" y="5531863"/>
            <a:ext cx="1358557" cy="1079891"/>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91427" rIns="45713" bIns="91427"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1199">
                <a:solidFill>
                  <a:srgbClr val="505050"/>
                </a:solidFill>
                <a:latin typeface="Segoe UI"/>
                <a:cs typeface="Segoe UI" panose="020B0502040204020203" pitchFamily="34" charset="0"/>
              </a:rPr>
              <a:t>Release </a:t>
            </a:r>
            <a:br>
              <a:rPr lang="en-US" sz="1199">
                <a:solidFill>
                  <a:srgbClr val="505050"/>
                </a:solidFill>
                <a:latin typeface="Segoe UI"/>
                <a:cs typeface="Segoe UI" panose="020B0502040204020203" pitchFamily="34" charset="0"/>
              </a:rPr>
            </a:br>
            <a:r>
              <a:rPr lang="en-US" sz="1199">
                <a:solidFill>
                  <a:srgbClr val="505050"/>
                </a:solidFill>
                <a:latin typeface="Segoe UI"/>
                <a:cs typeface="Segoe UI" panose="020B0502040204020203" pitchFamily="34" charset="0"/>
              </a:rPr>
              <a:t>Automation Tools</a:t>
            </a:r>
          </a:p>
        </p:txBody>
      </p:sp>
      <p:grpSp>
        <p:nvGrpSpPr>
          <p:cNvPr id="260" name="Group 259">
            <a:extLst>
              <a:ext uri="{FF2B5EF4-FFF2-40B4-BE49-F238E27FC236}">
                <a16:creationId xmlns:a16="http://schemas.microsoft.com/office/drawing/2014/main" id="{7B2FAE51-1CED-4599-B05E-3C7977B2F386}"/>
              </a:ext>
            </a:extLst>
          </p:cNvPr>
          <p:cNvGrpSpPr/>
          <p:nvPr/>
        </p:nvGrpSpPr>
        <p:grpSpPr>
          <a:xfrm>
            <a:off x="788086" y="384206"/>
            <a:ext cx="558888" cy="539434"/>
            <a:chOff x="2368476" y="589018"/>
            <a:chExt cx="1012508" cy="977265"/>
          </a:xfrm>
        </p:grpSpPr>
        <p:sp>
          <p:nvSpPr>
            <p:cNvPr id="261" name="Freeform: Shape 260">
              <a:extLst>
                <a:ext uri="{FF2B5EF4-FFF2-40B4-BE49-F238E27FC236}">
                  <a16:creationId xmlns:a16="http://schemas.microsoft.com/office/drawing/2014/main" id="{E9833A59-D74E-46A2-9569-486F6397DB5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2" name="Freeform: Shape 261">
              <a:extLst>
                <a:ext uri="{FF2B5EF4-FFF2-40B4-BE49-F238E27FC236}">
                  <a16:creationId xmlns:a16="http://schemas.microsoft.com/office/drawing/2014/main" id="{00A9CA38-260B-4146-AE97-14580C461EB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3" name="Freeform: Shape 262">
              <a:extLst>
                <a:ext uri="{FF2B5EF4-FFF2-40B4-BE49-F238E27FC236}">
                  <a16:creationId xmlns:a16="http://schemas.microsoft.com/office/drawing/2014/main" id="{CA2CF305-1C7D-46B8-BA64-10F1387FBC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4" name="Freeform: Shape 263">
              <a:extLst>
                <a:ext uri="{FF2B5EF4-FFF2-40B4-BE49-F238E27FC236}">
                  <a16:creationId xmlns:a16="http://schemas.microsoft.com/office/drawing/2014/main" id="{327409D3-D316-4842-9027-D2F64F3BE3BD}"/>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5" name="Freeform: Shape 264">
              <a:extLst>
                <a:ext uri="{FF2B5EF4-FFF2-40B4-BE49-F238E27FC236}">
                  <a16:creationId xmlns:a16="http://schemas.microsoft.com/office/drawing/2014/main" id="{D9DA4BAA-456D-414F-9713-9E3092993DC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6" name="Freeform: Shape 265">
              <a:extLst>
                <a:ext uri="{FF2B5EF4-FFF2-40B4-BE49-F238E27FC236}">
                  <a16:creationId xmlns:a16="http://schemas.microsoft.com/office/drawing/2014/main" id="{0A76FE2E-074F-4501-BFEF-49CFCD05194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7" name="Freeform: Shape 266">
              <a:extLst>
                <a:ext uri="{FF2B5EF4-FFF2-40B4-BE49-F238E27FC236}">
                  <a16:creationId xmlns:a16="http://schemas.microsoft.com/office/drawing/2014/main" id="{477DFBC3-3D29-40CB-A020-3756F8976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8" name="Freeform: Shape 267">
              <a:extLst>
                <a:ext uri="{FF2B5EF4-FFF2-40B4-BE49-F238E27FC236}">
                  <a16:creationId xmlns:a16="http://schemas.microsoft.com/office/drawing/2014/main" id="{F6E9592E-F461-4C1C-9AC0-ED3E1F5B02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69" name="Freeform: Shape 268">
              <a:extLst>
                <a:ext uri="{FF2B5EF4-FFF2-40B4-BE49-F238E27FC236}">
                  <a16:creationId xmlns:a16="http://schemas.microsoft.com/office/drawing/2014/main" id="{36ABE9BF-8C78-448E-AC9A-E717B6ADFD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0" name="Freeform: Shape 269">
              <a:extLst>
                <a:ext uri="{FF2B5EF4-FFF2-40B4-BE49-F238E27FC236}">
                  <a16:creationId xmlns:a16="http://schemas.microsoft.com/office/drawing/2014/main" id="{49B55C70-A7EA-4168-B9A6-51EA8E862D6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1" name="Freeform: Shape 270">
              <a:extLst>
                <a:ext uri="{FF2B5EF4-FFF2-40B4-BE49-F238E27FC236}">
                  <a16:creationId xmlns:a16="http://schemas.microsoft.com/office/drawing/2014/main" id="{31833294-2529-4218-8D5E-E82D0BCE2D5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2" name="Freeform: Shape 271">
              <a:extLst>
                <a:ext uri="{FF2B5EF4-FFF2-40B4-BE49-F238E27FC236}">
                  <a16:creationId xmlns:a16="http://schemas.microsoft.com/office/drawing/2014/main" id="{A1B1F3D7-21F1-4B10-B8BD-E34239E9E44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3" name="Freeform: Shape 272">
              <a:extLst>
                <a:ext uri="{FF2B5EF4-FFF2-40B4-BE49-F238E27FC236}">
                  <a16:creationId xmlns:a16="http://schemas.microsoft.com/office/drawing/2014/main" id="{9BE0F075-4DB4-4CA2-B4B7-B5EA03CA8B0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4" name="Freeform: Shape 273">
              <a:extLst>
                <a:ext uri="{FF2B5EF4-FFF2-40B4-BE49-F238E27FC236}">
                  <a16:creationId xmlns:a16="http://schemas.microsoft.com/office/drawing/2014/main" id="{9A53D985-970F-4AE9-819A-48E6E7BDAAC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5" name="Freeform: Shape 274">
              <a:extLst>
                <a:ext uri="{FF2B5EF4-FFF2-40B4-BE49-F238E27FC236}">
                  <a16:creationId xmlns:a16="http://schemas.microsoft.com/office/drawing/2014/main" id="{6545C5A8-444A-4BBE-B933-6CED9C97B164}"/>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6" name="Freeform: Shape 275">
              <a:extLst>
                <a:ext uri="{FF2B5EF4-FFF2-40B4-BE49-F238E27FC236}">
                  <a16:creationId xmlns:a16="http://schemas.microsoft.com/office/drawing/2014/main" id="{9D49EE6B-FCBD-4DBC-8A43-44C6D5CC6EC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7" name="Freeform: Shape 276">
              <a:extLst>
                <a:ext uri="{FF2B5EF4-FFF2-40B4-BE49-F238E27FC236}">
                  <a16:creationId xmlns:a16="http://schemas.microsoft.com/office/drawing/2014/main" id="{811F8674-7236-4BD2-A0CD-D1F23717E6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8" name="Freeform: Shape 277">
              <a:extLst>
                <a:ext uri="{FF2B5EF4-FFF2-40B4-BE49-F238E27FC236}">
                  <a16:creationId xmlns:a16="http://schemas.microsoft.com/office/drawing/2014/main" id="{D4A21F63-2712-414A-8398-1E7ED98925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79" name="Freeform: Shape 278">
              <a:extLst>
                <a:ext uri="{FF2B5EF4-FFF2-40B4-BE49-F238E27FC236}">
                  <a16:creationId xmlns:a16="http://schemas.microsoft.com/office/drawing/2014/main" id="{5DEDD26B-3691-4803-BFA5-6325E84695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0" name="Freeform: Shape 279">
              <a:extLst>
                <a:ext uri="{FF2B5EF4-FFF2-40B4-BE49-F238E27FC236}">
                  <a16:creationId xmlns:a16="http://schemas.microsoft.com/office/drawing/2014/main" id="{05B1FB7A-028F-4F27-9000-E12904326E3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1" name="Freeform: Shape 280">
              <a:extLst>
                <a:ext uri="{FF2B5EF4-FFF2-40B4-BE49-F238E27FC236}">
                  <a16:creationId xmlns:a16="http://schemas.microsoft.com/office/drawing/2014/main" id="{E9308D33-6F3F-4A4C-8E6F-0AC76CC4FFF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282" name="Group 281">
            <a:extLst>
              <a:ext uri="{FF2B5EF4-FFF2-40B4-BE49-F238E27FC236}">
                <a16:creationId xmlns:a16="http://schemas.microsoft.com/office/drawing/2014/main" id="{292987F5-DC3D-4BC8-AB4C-F6EFF8109FC8}"/>
              </a:ext>
            </a:extLst>
          </p:cNvPr>
          <p:cNvGrpSpPr/>
          <p:nvPr/>
        </p:nvGrpSpPr>
        <p:grpSpPr>
          <a:xfrm>
            <a:off x="734177" y="1682289"/>
            <a:ext cx="584572" cy="51848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66571" y="5557655"/>
            <a:ext cx="622418" cy="551516"/>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32597"/>
              <a:endParaRPr lang="en-US">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703852" y="2979315"/>
            <a:ext cx="660264" cy="523286"/>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32597"/>
              <a:endParaRPr lang="en-US">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6876" y="4179039"/>
            <a:ext cx="607056" cy="613185"/>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76293" y="4533756"/>
            <a:ext cx="366685" cy="604882"/>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238607" y="2338757"/>
            <a:ext cx="477879" cy="281419"/>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513655" y="2338757"/>
            <a:ext cx="477879" cy="281419"/>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238607" y="5644082"/>
            <a:ext cx="477879" cy="281419"/>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513655" y="5644082"/>
            <a:ext cx="477879" cy="281419"/>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237362" y="5644082"/>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513655" y="5644082"/>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237362" y="233875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513655" y="2338757"/>
            <a:ext cx="477879" cy="28141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000">
                <a:solidFill>
                  <a:srgbClr val="505050"/>
                </a:solidFill>
                <a:latin typeface="Segoe UI"/>
                <a:cs typeface="Segoe UI" pitchFamily="34" charset="0"/>
              </a:rPr>
              <a:t>Pod</a:t>
            </a:r>
          </a:p>
        </p:txBody>
      </p:sp>
      <p:sp>
        <p:nvSpPr>
          <p:cNvPr id="192" name="Rectangle 191">
            <a:hlinkClick r:id="" action="ppaction://noaction"/>
            <a:extLst>
              <a:ext uri="{FF2B5EF4-FFF2-40B4-BE49-F238E27FC236}">
                <a16:creationId xmlns:a16="http://schemas.microsoft.com/office/drawing/2014/main" id="{9260A7E8-A587-45A8-A31C-BAAA7B20EEBC}"/>
              </a:ext>
            </a:extLst>
          </p:cNvPr>
          <p:cNvSpPr/>
          <p:nvPr/>
        </p:nvSpPr>
        <p:spPr bwMode="auto">
          <a:xfrm>
            <a:off x="271788" y="206777"/>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Rectangle 192">
            <a:hlinkClick r:id="" action="ppaction://noaction"/>
            <a:extLst>
              <a:ext uri="{FF2B5EF4-FFF2-40B4-BE49-F238E27FC236}">
                <a16:creationId xmlns:a16="http://schemas.microsoft.com/office/drawing/2014/main" id="{6EE51DFC-1874-4429-905A-B0DA1BD04C3A}"/>
              </a:ext>
            </a:extLst>
          </p:cNvPr>
          <p:cNvSpPr/>
          <p:nvPr/>
        </p:nvSpPr>
        <p:spPr bwMode="auto">
          <a:xfrm>
            <a:off x="271788" y="15083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 action="ppaction://noaction"/>
            <a:extLst>
              <a:ext uri="{FF2B5EF4-FFF2-40B4-BE49-F238E27FC236}">
                <a16:creationId xmlns:a16="http://schemas.microsoft.com/office/drawing/2014/main" id="{B7573816-AD6C-4C25-985D-59E711D39741}"/>
              </a:ext>
            </a:extLst>
          </p:cNvPr>
          <p:cNvSpPr/>
          <p:nvPr/>
        </p:nvSpPr>
        <p:spPr bwMode="auto">
          <a:xfrm>
            <a:off x="271788" y="2809910"/>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 action="ppaction://noaction"/>
            <a:extLst>
              <a:ext uri="{FF2B5EF4-FFF2-40B4-BE49-F238E27FC236}">
                <a16:creationId xmlns:a16="http://schemas.microsoft.com/office/drawing/2014/main" id="{F2A8DF63-F0A2-4F5B-959B-5A88D9B785A2}"/>
              </a:ext>
            </a:extLst>
          </p:cNvPr>
          <p:cNvSpPr/>
          <p:nvPr/>
        </p:nvSpPr>
        <p:spPr bwMode="auto">
          <a:xfrm>
            <a:off x="271788" y="4111476"/>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 action="ppaction://noaction"/>
            <a:extLst>
              <a:ext uri="{FF2B5EF4-FFF2-40B4-BE49-F238E27FC236}">
                <a16:creationId xmlns:a16="http://schemas.microsoft.com/office/drawing/2014/main" id="{2B7367D7-66EA-4B90-AF86-C4754B81C99B}"/>
              </a:ext>
            </a:extLst>
          </p:cNvPr>
          <p:cNvSpPr/>
          <p:nvPr/>
        </p:nvSpPr>
        <p:spPr bwMode="auto">
          <a:xfrm>
            <a:off x="275808" y="5413043"/>
            <a:ext cx="1574134" cy="1255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022194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vailability Zones (Public Preview)</a:t>
            </a:r>
          </a:p>
        </p:txBody>
      </p:sp>
      <p:sp>
        <p:nvSpPr>
          <p:cNvPr id="3" name="Text Placeholder 2">
            <a:extLst>
              <a:ext uri="{FF2B5EF4-FFF2-40B4-BE49-F238E27FC236}">
                <a16:creationId xmlns:a16="http://schemas.microsoft.com/office/drawing/2014/main" id="{6B96101A-D398-4B1E-BB53-13C497838E3A}"/>
              </a:ext>
            </a:extLst>
          </p:cNvPr>
          <p:cNvSpPr>
            <a:spLocks noGrp="1"/>
          </p:cNvSpPr>
          <p:nvPr>
            <p:ph type="body" sz="quarter" idx="10"/>
          </p:nvPr>
        </p:nvSpPr>
        <p:spPr>
          <a:xfrm>
            <a:off x="254806" y="1213017"/>
            <a:ext cx="6954031" cy="4807470"/>
          </a:xfrm>
        </p:spPr>
        <p:txBody>
          <a:bodyPr/>
          <a:lstStyle/>
          <a:p>
            <a:r>
              <a:rPr lang="en-US" sz="2400" dirty="0">
                <a:latin typeface="+mn-lt"/>
              </a:rPr>
              <a:t>Highly Available Applications  within regions with Availability Zones</a:t>
            </a:r>
          </a:p>
          <a:p>
            <a:pPr marL="342900" indent="-342900">
              <a:buFont typeface="Arial" panose="020B0604020202020204" pitchFamily="34" charset="0"/>
              <a:buChar char="•"/>
            </a:pPr>
            <a:r>
              <a:rPr lang="en-US" sz="2400" dirty="0">
                <a:latin typeface="+mn-lt"/>
              </a:rPr>
              <a:t>Availability Zones help to protect you from datacenter-level failures</a:t>
            </a:r>
          </a:p>
          <a:p>
            <a:pPr marL="342900" indent="-342900">
              <a:buFont typeface="Arial" panose="020B0604020202020204" pitchFamily="34" charset="0"/>
              <a:buChar char="•"/>
            </a:pPr>
            <a:r>
              <a:rPr lang="en-US" sz="2400" dirty="0">
                <a:latin typeface="+mn-lt"/>
              </a:rPr>
              <a:t>Located inside an Azure region, and each one has its own independent power source, network, and cooling</a:t>
            </a:r>
          </a:p>
          <a:p>
            <a:pPr marL="342900" indent="-342900">
              <a:buFont typeface="Arial" panose="020B0604020202020204" pitchFamily="34" charset="0"/>
              <a:buChar char="•"/>
            </a:pPr>
            <a:r>
              <a:rPr lang="en-US" sz="2400" dirty="0">
                <a:latin typeface="+mn-lt"/>
              </a:rPr>
              <a:t>To ensure resiliency, there's a minimum of three separate zones in all enabled regions</a:t>
            </a:r>
          </a:p>
          <a:p>
            <a:pPr marL="342900" indent="-342900">
              <a:buFont typeface="Arial" panose="020B0604020202020204" pitchFamily="34" charset="0"/>
              <a:buChar char="•"/>
            </a:pPr>
            <a:r>
              <a:rPr lang="en-US" sz="2400" dirty="0">
                <a:latin typeface="+mn-lt"/>
              </a:rPr>
              <a:t>Physical &amp; logical separation of Availability Zones within a region protects applications and data from zone-level failures.</a:t>
            </a:r>
          </a:p>
          <a:p>
            <a:pPr marL="800100" indent="-342900">
              <a:spcAft>
                <a:spcPts val="600"/>
              </a:spcAft>
              <a:buFont typeface="Arial" panose="020B0604020202020204" pitchFamily="34" charset="0"/>
              <a:buChar char="•"/>
            </a:pPr>
            <a:endParaRPr lang="en-US" sz="1800" dirty="0"/>
          </a:p>
        </p:txBody>
      </p:sp>
      <p:pic>
        <p:nvPicPr>
          <p:cNvPr id="4" name="Picture 3">
            <a:extLst>
              <a:ext uri="{FF2B5EF4-FFF2-40B4-BE49-F238E27FC236}">
                <a16:creationId xmlns:a16="http://schemas.microsoft.com/office/drawing/2014/main" id="{F7AEBE7F-97E6-4BE7-9472-924AD855A760}"/>
              </a:ext>
            </a:extLst>
          </p:cNvPr>
          <p:cNvPicPr>
            <a:picLocks noChangeAspect="1"/>
          </p:cNvPicPr>
          <p:nvPr/>
        </p:nvPicPr>
        <p:blipFill>
          <a:blip r:embed="rId3"/>
          <a:stretch>
            <a:fillRect/>
          </a:stretch>
        </p:blipFill>
        <p:spPr>
          <a:xfrm>
            <a:off x="7818437" y="1592262"/>
            <a:ext cx="4073217" cy="3500787"/>
          </a:xfrm>
          <a:prstGeom prst="rect">
            <a:avLst/>
          </a:prstGeom>
        </p:spPr>
      </p:pic>
    </p:spTree>
    <p:extLst>
      <p:ext uri="{BB962C8B-B14F-4D97-AF65-F5344CB8AC3E}">
        <p14:creationId xmlns:p14="http://schemas.microsoft.com/office/powerpoint/2010/main" val="211511385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398" y="295684"/>
            <a:ext cx="11888046" cy="1093589"/>
          </a:xfrm>
        </p:spPr>
        <p:txBody>
          <a:bodyPr/>
          <a:lstStyle/>
          <a:p>
            <a:r>
              <a:rPr lang="en-US"/>
              <a:t>Azure Storage Services</a:t>
            </a:r>
          </a:p>
        </p:txBody>
      </p:sp>
      <p:sp>
        <p:nvSpPr>
          <p:cNvPr id="7" name="Rectangle 6"/>
          <p:cNvSpPr/>
          <p:nvPr/>
        </p:nvSpPr>
        <p:spPr bwMode="auto">
          <a:xfrm>
            <a:off x="2754576" y="2513146"/>
            <a:ext cx="2331422" cy="31822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gradFill>
                  <a:gsLst>
                    <a:gs pos="0">
                      <a:srgbClr val="FFFFFF"/>
                    </a:gs>
                    <a:gs pos="100000">
                      <a:srgbClr val="FFFFFF"/>
                    </a:gs>
                  </a:gsLst>
                  <a:lin ang="5400000" scaled="0"/>
                </a:gradFill>
                <a:latin typeface="Segoe UI"/>
                <a:ea typeface="Segoe UI" pitchFamily="34" charset="0"/>
                <a:cs typeface="Segoe UI" pitchFamily="34" charset="0"/>
              </a:rPr>
              <a:t>Files</a:t>
            </a:r>
          </a:p>
          <a:p>
            <a:pPr defTabSz="856678" fontAlgn="base">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Fully Managed File Shares in the Cloud</a:t>
            </a:r>
          </a:p>
          <a:p>
            <a:pPr defTabSz="856773" fontAlgn="base">
              <a:spcBef>
                <a:spcPct val="0"/>
              </a:spcBef>
              <a:spcAft>
                <a:spcPct val="0"/>
              </a:spcAft>
            </a:pP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56773" fontAlgn="base">
              <a:spcBef>
                <a:spcPct val="0"/>
              </a:spcBef>
              <a:spcAft>
                <a:spcPct val="0"/>
              </a:spcAft>
            </a:pPr>
            <a:endParaRPr lang="en-US" sz="14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81021" y="2513146"/>
            <a:ext cx="2331422" cy="31822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gradFill>
                  <a:gsLst>
                    <a:gs pos="0">
                      <a:srgbClr val="FFFFFF"/>
                    </a:gs>
                    <a:gs pos="100000">
                      <a:srgbClr val="FFFFFF"/>
                    </a:gs>
                  </a:gsLst>
                  <a:lin ang="5400000" scaled="0"/>
                </a:gradFill>
                <a:latin typeface="Segoe UI"/>
                <a:ea typeface="Segoe UI" pitchFamily="34" charset="0"/>
                <a:cs typeface="Segoe UI" pitchFamily="34" charset="0"/>
              </a:rPr>
              <a:t>Disks</a:t>
            </a:r>
          </a:p>
          <a:p>
            <a:pPr defTabSz="856773" fontAlgn="base">
              <a:spcBef>
                <a:spcPct val="0"/>
              </a:spcBef>
              <a:spcAft>
                <a:spcPct val="0"/>
              </a:spcAft>
            </a:pPr>
            <a:r>
              <a:rPr lang="en-US" sz="160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56773" fontAlgn="base">
              <a:spcBef>
                <a:spcPct val="0"/>
              </a:spcBef>
              <a:spcAft>
                <a:spcPct val="0"/>
              </a:spcAft>
            </a:pP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81021" y="5751127"/>
            <a:ext cx="11825648" cy="9461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ctr" anchorCtr="0" forceAA="0" compatLnSpc="1">
            <a:prstTxWarp prst="textNoShape">
              <a:avLst/>
            </a:prstTxWarp>
            <a:noAutofit/>
          </a:bodyPr>
          <a:lstStyle/>
          <a:p>
            <a:pPr algn="ctr" defTabSz="856773" fontAlgn="base">
              <a:spcBef>
                <a:spcPct val="0"/>
              </a:spcBef>
              <a:spcAft>
                <a:spcPct val="0"/>
              </a:spcAft>
            </a:pPr>
            <a:r>
              <a:rPr lang="en-US" sz="280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56773" fontAlgn="base">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Durability, Encryption at Rest, Strongly Consistent Replication, Fault Tolerance, Auto Load-Balancing</a:t>
            </a: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p:cNvGrpSpPr/>
          <p:nvPr/>
        </p:nvGrpSpPr>
        <p:grpSpPr>
          <a:xfrm>
            <a:off x="149687" y="1211555"/>
            <a:ext cx="5500245" cy="1394303"/>
            <a:chOff x="148911" y="1211263"/>
            <a:chExt cx="5500947" cy="1394481"/>
          </a:xfrm>
        </p:grpSpPr>
        <p:sp>
          <p:nvSpPr>
            <p:cNvPr id="45" name="Rectangle 44"/>
            <p:cNvSpPr/>
            <p:nvPr/>
          </p:nvSpPr>
          <p:spPr bwMode="auto">
            <a:xfrm>
              <a:off x="380276" y="1211263"/>
              <a:ext cx="4705578" cy="125871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r>
                <a:rPr lang="en-US" sz="2800" b="1" kern="0" spc="-3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39907" tIns="146264" rIns="182831" bIns="146264" rtlCol="0">
                <a:spAutoFit/>
              </a:bodyPr>
              <a:lstStyle/>
              <a:p>
                <a:pPr algn="ct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grpSp>
        <p:grpSp>
          <p:nvGrpSpPr>
            <p:cNvPr id="55" name="Group 54"/>
            <p:cNvGrpSpPr/>
            <p:nvPr/>
          </p:nvGrpSpPr>
          <p:grpSpPr>
            <a:xfrm>
              <a:off x="148911" y="1864676"/>
              <a:ext cx="1718120" cy="671565"/>
              <a:chOff x="7270490" y="5111698"/>
              <a:chExt cx="1718120" cy="671565"/>
            </a:xfrm>
          </p:grpSpPr>
          <p:sp>
            <p:nvSpPr>
              <p:cNvPr id="48" name="Freeform 21"/>
              <p:cNvSpPr>
                <a:spLocks noChangeAspect="1" noEditPoints="1"/>
              </p:cNvSpPr>
              <p:nvPr/>
            </p:nvSpPr>
            <p:spPr bwMode="auto">
              <a:xfrm>
                <a:off x="8110978" y="5111698"/>
                <a:ext cx="276726" cy="23829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sp>
            <p:nvSpPr>
              <p:cNvPr id="50" name="TextBox 49"/>
              <p:cNvSpPr txBox="1"/>
              <p:nvPr/>
            </p:nvSpPr>
            <p:spPr>
              <a:xfrm>
                <a:off x="7270490" y="5266271"/>
                <a:ext cx="1718120"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826579"/>
              <a:ext cx="2719933" cy="731950"/>
              <a:chOff x="9659512" y="5051313"/>
              <a:chExt cx="2719933" cy="731950"/>
            </a:xfrm>
          </p:grpSpPr>
          <p:sp>
            <p:nvSpPr>
              <p:cNvPr id="49" name="Freeform 21"/>
              <p:cNvSpPr>
                <a:spLocks noChangeAspect="1" noEditPoints="1"/>
              </p:cNvSpPr>
              <p:nvPr/>
            </p:nvSpPr>
            <p:spPr bwMode="auto">
              <a:xfrm>
                <a:off x="10676210" y="5051313"/>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endParaRPr lang="en-US" sz="2400" kern="0">
                  <a:ln w="3175">
                    <a:noFill/>
                  </a:ln>
                  <a:gradFill>
                    <a:gsLst>
                      <a:gs pos="83772">
                        <a:schemeClr val="tx1"/>
                      </a:gs>
                      <a:gs pos="42857">
                        <a:schemeClr val="tx1"/>
                      </a:gs>
                    </a:gsLst>
                    <a:lin ang="5400000" scaled="0"/>
                  </a:gradFill>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128131"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Object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Highly scalable, REST based cloud object store</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Block Blobs: Sequential file I/O</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Cool Tier Available</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Page Blobs: Random-write pattern data</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Append Blobs</a:t>
            </a:r>
          </a:p>
        </p:txBody>
      </p:sp>
      <p:sp>
        <p:nvSpPr>
          <p:cNvPr id="61" name="Rectangle 60"/>
          <p:cNvSpPr/>
          <p:nvPr/>
        </p:nvSpPr>
        <p:spPr bwMode="auto">
          <a:xfrm>
            <a:off x="9875245"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Queue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Reliable queues at scale for cloud services</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cs typeface="Segoe UI" pitchFamily="34" charset="0"/>
              </a:rPr>
              <a:t>Decouple and scale components</a:t>
            </a:r>
          </a:p>
          <a:p>
            <a:pPr defTabSz="856773" fontAlgn="base">
              <a:spcBef>
                <a:spcPct val="0"/>
              </a:spcBef>
              <a:spcAft>
                <a:spcPct val="0"/>
              </a:spcAft>
            </a:pPr>
            <a:r>
              <a:rPr lang="en-US" sz="1400">
                <a:solidFill>
                  <a:schemeClr val="bg1">
                    <a:lumMod val="75000"/>
                  </a:schemeClr>
                </a:soli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501688"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Table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Massive auto-scaling NoSQL store</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Dynamic scaling based on load</a:t>
            </a:r>
          </a:p>
          <a:p>
            <a:pPr defTabSz="856773" fontAlgn="base">
              <a:spcBef>
                <a:spcPct val="0"/>
              </a:spcBef>
              <a:spcAft>
                <a:spcPct val="0"/>
              </a:spcAft>
            </a:pPr>
            <a:endParaRPr lang="en-US" sz="14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Scale to PBs of table data </a:t>
            </a:r>
          </a:p>
          <a:p>
            <a:pPr defTabSz="856773" fontAlgn="base">
              <a:spcBef>
                <a:spcPct val="0"/>
              </a:spcBef>
              <a:spcAft>
                <a:spcPct val="0"/>
              </a:spcAft>
            </a:pPr>
            <a:endParaRPr lang="en-US" sz="14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Fast key/value lookups</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p:txBody>
      </p:sp>
      <p:grpSp>
        <p:nvGrpSpPr>
          <p:cNvPr id="12" name="Group 11"/>
          <p:cNvGrpSpPr/>
          <p:nvPr/>
        </p:nvGrpSpPr>
        <p:grpSpPr>
          <a:xfrm>
            <a:off x="5133298" y="1214210"/>
            <a:ext cx="7944627" cy="1298936"/>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r>
                <a:rPr lang="en-US" sz="2800" b="1" kern="0" spc="-3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9595" tIns="44798" rIns="89595" bIns="44798" numCol="1" anchor="t" anchorCtr="0" compatLnSpc="1">
                <a:prstTxWarp prst="textNoShape">
                  <a:avLst/>
                </a:prstTxWarp>
              </a:bodyPr>
              <a:lstStyle/>
              <a:p>
                <a:pPr defTabSz="932504"/>
                <a:endParaRPr lang="en-US" sz="1763" kern="0">
                  <a:gradFill>
                    <a:gsLst>
                      <a:gs pos="83772">
                        <a:schemeClr val="tx1"/>
                      </a:gs>
                      <a:gs pos="42857">
                        <a:schemeClr val="tx1"/>
                      </a:gs>
                    </a:gsLst>
                    <a:lin ang="5400000" scaled="0"/>
                  </a:gradFill>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grpSp>
          <p:sp>
            <p:nvSpPr>
              <p:cNvPr id="69" name="TextBox 68"/>
              <p:cNvSpPr txBox="1"/>
              <p:nvPr/>
            </p:nvSpPr>
            <p:spPr>
              <a:xfrm>
                <a:off x="2187551" y="503608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5" tIns="44798" rIns="89595" bIns="44798" numCol="1" anchor="t" anchorCtr="0" compatLnSpc="1">
                <a:prstTxWarp prst="textNoShape">
                  <a:avLst/>
                </a:prstTxWarp>
              </a:bodyPr>
              <a:lstStyle/>
              <a:p>
                <a:pPr defTabSz="932504"/>
                <a:endParaRPr lang="en-US" sz="1763" kern="0">
                  <a:gradFill>
                    <a:gsLst>
                      <a:gs pos="83772">
                        <a:schemeClr val="tx1"/>
                      </a:gs>
                      <a:gs pos="42857">
                        <a:schemeClr val="tx1"/>
                      </a:gs>
                    </a:gsLst>
                    <a:lin ang="5400000" scaled="0"/>
                  </a:gradFill>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sp>
            <p:nvSpPr>
              <p:cNvPr id="80" name="TextBox 79"/>
              <p:cNvSpPr txBox="1"/>
              <p:nvPr/>
            </p:nvSpPr>
            <p:spPr>
              <a:xfrm>
                <a:off x="3790297" y="5095254"/>
                <a:ext cx="2719933"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55113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12" name="Rectangle 11"/>
          <p:cNvSpPr/>
          <p:nvPr/>
        </p:nvSpPr>
        <p:spPr bwMode="auto">
          <a:xfrm>
            <a:off x="1994007" y="3999129"/>
            <a:ext cx="10441586" cy="2995396"/>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99" name="Group 98">
            <a:extLst>
              <a:ext uri="{FF2B5EF4-FFF2-40B4-BE49-F238E27FC236}">
                <a16:creationId xmlns:a16="http://schemas.microsoft.com/office/drawing/2014/main" id="{6F7B5166-8C23-4293-BFE4-E0BD2A13DD0F}"/>
              </a:ext>
            </a:extLst>
          </p:cNvPr>
          <p:cNvGrpSpPr/>
          <p:nvPr/>
        </p:nvGrpSpPr>
        <p:grpSpPr>
          <a:xfrm>
            <a:off x="772861" y="2572439"/>
            <a:ext cx="460244" cy="449535"/>
            <a:chOff x="2088630" y="3287843"/>
            <a:chExt cx="429718" cy="419725"/>
          </a:xfrm>
          <a:noFill/>
        </p:grpSpPr>
        <p:sp>
          <p:nvSpPr>
            <p:cNvPr id="100" name="Rectangle 99">
              <a:extLst>
                <a:ext uri="{FF2B5EF4-FFF2-40B4-BE49-F238E27FC236}">
                  <a16:creationId xmlns:a16="http://schemas.microsoft.com/office/drawing/2014/main" id="{C840E4CD-B3CC-41AD-A838-A57FE913746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Unparalleled developer productivity</a:t>
            </a:r>
          </a:p>
        </p:txBody>
      </p:sp>
      <p:sp>
        <p:nvSpPr>
          <p:cNvPr id="61" name="Rectangle 60">
            <a:extLst>
              <a:ext uri="{FF2B5EF4-FFF2-40B4-BE49-F238E27FC236}">
                <a16:creationId xmlns:a16="http://schemas.microsoft.com/office/drawing/2014/main" id="{A0FEC0FD-68EB-4D5F-A3CD-0634C19DDC2D}"/>
              </a:ext>
            </a:extLst>
          </p:cNvPr>
          <p:cNvSpPr/>
          <p:nvPr/>
        </p:nvSpPr>
        <p:spPr>
          <a:xfrm>
            <a:off x="2311956"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endParaRPr lang="en-US" sz="2400" dirty="0">
              <a:solidFill>
                <a:srgbClr val="0089CF"/>
              </a:solidFill>
              <a:latin typeface="Segoe UI Semilight"/>
              <a:cs typeface="Segoe UI Semibold" panose="020B0702040204020203" pitchFamily="34" charset="0"/>
            </a:endParaRP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Visual Studios</a:t>
            </a:r>
            <a:b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3rd parti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DevOps</a:t>
            </a:r>
            <a:endParaRPr lang="en-US" sz="1836"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2" name="Rectangle 61">
            <a:extLst>
              <a:ext uri="{FF2B5EF4-FFF2-40B4-BE49-F238E27FC236}">
                <a16:creationId xmlns:a16="http://schemas.microsoft.com/office/drawing/2014/main" id="{88B2E40D-B0D1-4BEB-A2FB-79233FE853A4}"/>
              </a:ext>
            </a:extLst>
          </p:cNvPr>
          <p:cNvSpPr/>
          <p:nvPr/>
        </p:nvSpPr>
        <p:spPr>
          <a:xfrm>
            <a:off x="8819892"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2040" dirty="0">
                <a:solidFill>
                  <a:srgbClr val="0078D7"/>
                </a:solidFill>
                <a:latin typeface="Segoe UI Semilight"/>
                <a:cs typeface="Segoe UI Semibold" panose="020B0702040204020203" pitchFamily="34" charset="0"/>
              </a:rPr>
              <a:t>Unified management</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Single cloud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Policy</a:t>
            </a:r>
          </a:p>
          <a:p>
            <a:pPr algn="ctr" defTabSz="932418">
              <a:spcAft>
                <a:spcPts val="600"/>
              </a:spcAft>
              <a:defRPr/>
            </a:pPr>
            <a:endParaRPr lang="en-US" sz="2040"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3" name="Rectangle 62">
            <a:extLst>
              <a:ext uri="{FF2B5EF4-FFF2-40B4-BE49-F238E27FC236}">
                <a16:creationId xmlns:a16="http://schemas.microsoft.com/office/drawing/2014/main" id="{37C39AD3-141D-469A-BE7A-9E5982A6B280}"/>
              </a:ext>
            </a:extLst>
          </p:cNvPr>
          <p:cNvSpPr/>
          <p:nvPr/>
        </p:nvSpPr>
        <p:spPr>
          <a:xfrm>
            <a:off x="5377707" y="2583940"/>
            <a:ext cx="3485758"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2040" dirty="0">
                <a:solidFill>
                  <a:srgbClr val="0078D7"/>
                </a:solidFill>
                <a:latin typeface="Segoe UI Semilight"/>
                <a:cs typeface="Segoe UI Semibold" panose="020B0702040204020203" pitchFamily="34" charset="0"/>
              </a:rPr>
              <a:t>100+ services</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Azure functions</a:t>
            </a:r>
            <a:br>
              <a:rPr lang="en-US" sz="1632" dirty="0">
                <a:gradFill>
                  <a:gsLst>
                    <a:gs pos="0">
                      <a:srgbClr val="4F504F"/>
                    </a:gs>
                    <a:gs pos="100000">
                      <a:srgbClr val="4F504F"/>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Kubernet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Logic apps</a:t>
            </a:r>
          </a:p>
        </p:txBody>
      </p:sp>
      <p:sp>
        <p:nvSpPr>
          <p:cNvPr id="83" name="Rectangle 82">
            <a:extLst>
              <a:ext uri="{FF2B5EF4-FFF2-40B4-BE49-F238E27FC236}">
                <a16:creationId xmlns:a16="http://schemas.microsoft.com/office/drawing/2014/main" id="{9171D429-CF38-4D04-8340-6FA5B4D9811D}"/>
              </a:ext>
            </a:extLst>
          </p:cNvPr>
          <p:cNvSpPr/>
          <p:nvPr/>
        </p:nvSpPr>
        <p:spPr>
          <a:xfrm>
            <a:off x="2686148" y="2584866"/>
            <a:ext cx="2255136" cy="414353"/>
          </a:xfrm>
          <a:prstGeom prst="rect">
            <a:avLst/>
          </a:prstGeom>
        </p:spPr>
        <p:txBody>
          <a:bodyPr wrap="none">
            <a:spAutoFit/>
          </a:bodyPr>
          <a:lstStyle/>
          <a:p>
            <a:pPr algn="ctr" defTabSz="932418">
              <a:spcAft>
                <a:spcPts val="600"/>
              </a:spcAft>
              <a:defRPr/>
            </a:pPr>
            <a:r>
              <a:rPr lang="en-US" sz="2040" dirty="0">
                <a:solidFill>
                  <a:srgbClr val="0078D7"/>
                </a:solidFill>
                <a:latin typeface="Segoe UI Semilight"/>
                <a:cs typeface="Segoe UI Semibold" panose="020B0702040204020203" pitchFamily="34" charset="0"/>
              </a:rPr>
              <a:t>Integrated tooling</a:t>
            </a:r>
          </a:p>
        </p:txBody>
      </p:sp>
      <p:grpSp>
        <p:nvGrpSpPr>
          <p:cNvPr id="86" name="Group 85"/>
          <p:cNvGrpSpPr/>
          <p:nvPr/>
        </p:nvGrpSpPr>
        <p:grpSpPr>
          <a:xfrm>
            <a:off x="3385492" y="1618971"/>
            <a:ext cx="856447" cy="780141"/>
            <a:chOff x="1687513" y="3995738"/>
            <a:chExt cx="3902075" cy="3554412"/>
          </a:xfrm>
          <a:solidFill>
            <a:schemeClr val="accent1"/>
          </a:solidFill>
        </p:grpSpPr>
        <p:sp>
          <p:nvSpPr>
            <p:cNvPr id="87" name="Freeform 1"/>
            <p:cNvSpPr>
              <a:spLocks noChangeArrowheads="1"/>
            </p:cNvSpPr>
            <p:nvPr/>
          </p:nvSpPr>
          <p:spPr bwMode="auto">
            <a:xfrm>
              <a:off x="2960688" y="3995738"/>
              <a:ext cx="1357312" cy="3554412"/>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88" name="Freeform 2"/>
            <p:cNvSpPr>
              <a:spLocks noChangeArrowheads="1"/>
            </p:cNvSpPr>
            <p:nvPr/>
          </p:nvSpPr>
          <p:spPr bwMode="auto">
            <a:xfrm>
              <a:off x="1687513" y="5108575"/>
              <a:ext cx="787400" cy="1325563"/>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89" name="Freeform 3"/>
            <p:cNvSpPr>
              <a:spLocks noChangeArrowheads="1"/>
            </p:cNvSpPr>
            <p:nvPr/>
          </p:nvSpPr>
          <p:spPr bwMode="auto">
            <a:xfrm>
              <a:off x="4805363" y="5108575"/>
              <a:ext cx="784225" cy="1325563"/>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90" name="Freeform 4"/>
          <p:cNvSpPr>
            <a:spLocks noChangeArrowheads="1"/>
          </p:cNvSpPr>
          <p:nvPr/>
        </p:nvSpPr>
        <p:spPr bwMode="auto">
          <a:xfrm>
            <a:off x="9971991" y="1670121"/>
            <a:ext cx="702722" cy="677841"/>
          </a:xfrm>
          <a:custGeom>
            <a:avLst/>
            <a:gdLst>
              <a:gd name="T0" fmla="*/ 1967 w 8219"/>
              <a:gd name="T1" fmla="*/ 5533 h 7930"/>
              <a:gd name="T2" fmla="*/ 2194 w 8219"/>
              <a:gd name="T3" fmla="*/ 6165 h 7930"/>
              <a:gd name="T4" fmla="*/ 1780 w 8219"/>
              <a:gd name="T5" fmla="*/ 6782 h 7930"/>
              <a:gd name="T6" fmla="*/ 1069 w 8219"/>
              <a:gd name="T7" fmla="*/ 6813 h 7930"/>
              <a:gd name="T8" fmla="*/ 570 w 8219"/>
              <a:gd name="T9" fmla="*/ 6243 h 7930"/>
              <a:gd name="T10" fmla="*/ 749 w 8219"/>
              <a:gd name="T11" fmla="*/ 5596 h 7930"/>
              <a:gd name="T12" fmla="*/ 1100 w 8219"/>
              <a:gd name="T13" fmla="*/ 4495 h 7930"/>
              <a:gd name="T14" fmla="*/ 1725 w 8219"/>
              <a:gd name="T15" fmla="*/ 2763 h 7930"/>
              <a:gd name="T16" fmla="*/ 2966 w 8219"/>
              <a:gd name="T17" fmla="*/ 2076 h 7930"/>
              <a:gd name="T18" fmla="*/ 3715 w 8219"/>
              <a:gd name="T19" fmla="*/ 2591 h 7930"/>
              <a:gd name="T20" fmla="*/ 4605 w 8219"/>
              <a:gd name="T21" fmla="*/ 2568 h 7930"/>
              <a:gd name="T22" fmla="*/ 5362 w 8219"/>
              <a:gd name="T23" fmla="*/ 1998 h 7930"/>
              <a:gd name="T24" fmla="*/ 6657 w 8219"/>
              <a:gd name="T25" fmla="*/ 2934 h 7930"/>
              <a:gd name="T26" fmla="*/ 7126 w 8219"/>
              <a:gd name="T27" fmla="*/ 4823 h 7930"/>
              <a:gd name="T28" fmla="*/ 6579 w 8219"/>
              <a:gd name="T29" fmla="*/ 4784 h 7930"/>
              <a:gd name="T30" fmla="*/ 5588 w 8219"/>
              <a:gd name="T31" fmla="*/ 5565 h 7930"/>
              <a:gd name="T32" fmla="*/ 5627 w 8219"/>
              <a:gd name="T33" fmla="*/ 6665 h 7930"/>
              <a:gd name="T34" fmla="*/ 5237 w 8219"/>
              <a:gd name="T35" fmla="*/ 7235 h 7930"/>
              <a:gd name="T36" fmla="*/ 3239 w 8219"/>
              <a:gd name="T37" fmla="*/ 7297 h 7930"/>
              <a:gd name="T38" fmla="*/ 2685 w 8219"/>
              <a:gd name="T39" fmla="*/ 6555 h 7930"/>
              <a:gd name="T40" fmla="*/ 2576 w 8219"/>
              <a:gd name="T41" fmla="*/ 5447 h 7930"/>
              <a:gd name="T42" fmla="*/ 1514 w 8219"/>
              <a:gd name="T43" fmla="*/ 4761 h 7930"/>
              <a:gd name="T44" fmla="*/ 1100 w 8219"/>
              <a:gd name="T45" fmla="*/ 4495 h 7930"/>
              <a:gd name="T46" fmla="*/ 4707 w 8219"/>
              <a:gd name="T47" fmla="*/ 773 h 7930"/>
              <a:gd name="T48" fmla="*/ 4932 w 8219"/>
              <a:gd name="T49" fmla="*/ 1405 h 7930"/>
              <a:gd name="T50" fmla="*/ 4519 w 8219"/>
              <a:gd name="T51" fmla="*/ 2021 h 7930"/>
              <a:gd name="T52" fmla="*/ 3809 w 8219"/>
              <a:gd name="T53" fmla="*/ 2052 h 7930"/>
              <a:gd name="T54" fmla="*/ 3309 w 8219"/>
              <a:gd name="T55" fmla="*/ 1483 h 7930"/>
              <a:gd name="T56" fmla="*/ 3489 w 8219"/>
              <a:gd name="T57" fmla="*/ 835 h 7930"/>
              <a:gd name="T58" fmla="*/ 6852 w 8219"/>
              <a:gd name="T59" fmla="*/ 6876 h 7930"/>
              <a:gd name="T60" fmla="*/ 6228 w 8219"/>
              <a:gd name="T61" fmla="*/ 6594 h 7930"/>
              <a:gd name="T62" fmla="*/ 6048 w 8219"/>
              <a:gd name="T63" fmla="*/ 5931 h 7930"/>
              <a:gd name="T64" fmla="*/ 6548 w 8219"/>
              <a:gd name="T65" fmla="*/ 5353 h 7930"/>
              <a:gd name="T66" fmla="*/ 7258 w 8219"/>
              <a:gd name="T67" fmla="*/ 5393 h 7930"/>
              <a:gd name="T68" fmla="*/ 7671 w 8219"/>
              <a:gd name="T69" fmla="*/ 6010 h 7930"/>
              <a:gd name="T70" fmla="*/ 7446 w 8219"/>
              <a:gd name="T71" fmla="*/ 6649 h 7930"/>
              <a:gd name="T72" fmla="*/ 0 w 8219"/>
              <a:gd name="T73" fmla="*/ 6079 h 7930"/>
              <a:gd name="T74" fmla="*/ 609 w 8219"/>
              <a:gd name="T75" fmla="*/ 7196 h 7930"/>
              <a:gd name="T76" fmla="*/ 1733 w 8219"/>
              <a:gd name="T77" fmla="*/ 7382 h 7930"/>
              <a:gd name="T78" fmla="*/ 2599 w 8219"/>
              <a:gd name="T79" fmla="*/ 7625 h 7930"/>
              <a:gd name="T80" fmla="*/ 3972 w 8219"/>
              <a:gd name="T81" fmla="*/ 7929 h 7930"/>
              <a:gd name="T82" fmla="*/ 5276 w 8219"/>
              <a:gd name="T83" fmla="*/ 7773 h 7930"/>
              <a:gd name="T84" fmla="*/ 6314 w 8219"/>
              <a:gd name="T85" fmla="*/ 7312 h 7930"/>
              <a:gd name="T86" fmla="*/ 7258 w 8219"/>
              <a:gd name="T87" fmla="*/ 7351 h 7930"/>
              <a:gd name="T88" fmla="*/ 8155 w 8219"/>
              <a:gd name="T89" fmla="*/ 6493 h 7930"/>
              <a:gd name="T90" fmla="*/ 8000 w 8219"/>
              <a:gd name="T91" fmla="*/ 5369 h 7930"/>
              <a:gd name="T92" fmla="*/ 7632 w 8219"/>
              <a:gd name="T93" fmla="*/ 3981 h 7930"/>
              <a:gd name="T94" fmla="*/ 7203 w 8219"/>
              <a:gd name="T95" fmla="*/ 2802 h 7930"/>
              <a:gd name="T96" fmla="*/ 6275 w 8219"/>
              <a:gd name="T97" fmla="*/ 1795 h 7930"/>
              <a:gd name="T98" fmla="*/ 5479 w 8219"/>
              <a:gd name="T99" fmla="*/ 1319 h 7930"/>
              <a:gd name="T100" fmla="*/ 4878 w 8219"/>
              <a:gd name="T101" fmla="*/ 227 h 7930"/>
              <a:gd name="T102" fmla="*/ 3707 w 8219"/>
              <a:gd name="T103" fmla="*/ 55 h 7930"/>
              <a:gd name="T104" fmla="*/ 2802 w 8219"/>
              <a:gd name="T105" fmla="*/ 929 h 7930"/>
              <a:gd name="T106" fmla="*/ 2272 w 8219"/>
              <a:gd name="T107" fmla="*/ 1592 h 7930"/>
              <a:gd name="T108" fmla="*/ 1312 w 8219"/>
              <a:gd name="T109" fmla="*/ 2396 h 7930"/>
              <a:gd name="T110" fmla="*/ 671 w 8219"/>
              <a:gd name="T111" fmla="*/ 3606 h 7930"/>
              <a:gd name="T112" fmla="*/ 562 w 8219"/>
              <a:gd name="T113" fmla="*/ 4644 h 7930"/>
              <a:gd name="T114" fmla="*/ 110 w 8219"/>
              <a:gd name="T115" fmla="*/ 5643 h 7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9" h="7930">
                <a:moveTo>
                  <a:pt x="1374" y="5283"/>
                </a:moveTo>
                <a:lnTo>
                  <a:pt x="1374" y="5283"/>
                </a:lnTo>
                <a:lnTo>
                  <a:pt x="1460" y="5291"/>
                </a:lnTo>
                <a:lnTo>
                  <a:pt x="1545" y="5307"/>
                </a:lnTo>
                <a:lnTo>
                  <a:pt x="1623" y="5322"/>
                </a:lnTo>
                <a:lnTo>
                  <a:pt x="1702" y="5353"/>
                </a:lnTo>
                <a:lnTo>
                  <a:pt x="1780" y="5393"/>
                </a:lnTo>
                <a:lnTo>
                  <a:pt x="1842" y="5432"/>
                </a:lnTo>
                <a:lnTo>
                  <a:pt x="1904" y="5479"/>
                </a:lnTo>
                <a:lnTo>
                  <a:pt x="1967" y="5533"/>
                </a:lnTo>
                <a:lnTo>
                  <a:pt x="2014" y="5596"/>
                </a:lnTo>
                <a:lnTo>
                  <a:pt x="2061" y="5658"/>
                </a:lnTo>
                <a:lnTo>
                  <a:pt x="2100" y="5720"/>
                </a:lnTo>
                <a:lnTo>
                  <a:pt x="2131" y="5791"/>
                </a:lnTo>
                <a:lnTo>
                  <a:pt x="2162" y="5861"/>
                </a:lnTo>
                <a:lnTo>
                  <a:pt x="2178" y="5931"/>
                </a:lnTo>
                <a:lnTo>
                  <a:pt x="2194" y="6010"/>
                </a:lnTo>
                <a:lnTo>
                  <a:pt x="2194" y="6079"/>
                </a:lnTo>
                <a:lnTo>
                  <a:pt x="2194" y="6079"/>
                </a:lnTo>
                <a:lnTo>
                  <a:pt x="2194" y="6165"/>
                </a:lnTo>
                <a:lnTo>
                  <a:pt x="2178" y="6243"/>
                </a:lnTo>
                <a:lnTo>
                  <a:pt x="2162" y="6322"/>
                </a:lnTo>
                <a:lnTo>
                  <a:pt x="2131" y="6400"/>
                </a:lnTo>
                <a:lnTo>
                  <a:pt x="2100" y="6470"/>
                </a:lnTo>
                <a:lnTo>
                  <a:pt x="2061" y="6532"/>
                </a:lnTo>
                <a:lnTo>
                  <a:pt x="2014" y="6594"/>
                </a:lnTo>
                <a:lnTo>
                  <a:pt x="1967" y="6649"/>
                </a:lnTo>
                <a:lnTo>
                  <a:pt x="1904" y="6704"/>
                </a:lnTo>
                <a:lnTo>
                  <a:pt x="1842" y="6743"/>
                </a:lnTo>
                <a:lnTo>
                  <a:pt x="1780" y="6782"/>
                </a:lnTo>
                <a:lnTo>
                  <a:pt x="1702" y="6813"/>
                </a:lnTo>
                <a:lnTo>
                  <a:pt x="1623" y="6837"/>
                </a:lnTo>
                <a:lnTo>
                  <a:pt x="1545" y="6860"/>
                </a:lnTo>
                <a:lnTo>
                  <a:pt x="1460" y="6868"/>
                </a:lnTo>
                <a:lnTo>
                  <a:pt x="1374" y="6876"/>
                </a:lnTo>
                <a:lnTo>
                  <a:pt x="1374" y="6876"/>
                </a:lnTo>
                <a:lnTo>
                  <a:pt x="1296" y="6868"/>
                </a:lnTo>
                <a:lnTo>
                  <a:pt x="1218" y="6860"/>
                </a:lnTo>
                <a:lnTo>
                  <a:pt x="1147" y="6837"/>
                </a:lnTo>
                <a:lnTo>
                  <a:pt x="1069" y="6813"/>
                </a:lnTo>
                <a:lnTo>
                  <a:pt x="1000" y="6782"/>
                </a:lnTo>
                <a:lnTo>
                  <a:pt x="929" y="6743"/>
                </a:lnTo>
                <a:lnTo>
                  <a:pt x="867" y="6704"/>
                </a:lnTo>
                <a:lnTo>
                  <a:pt x="804" y="6649"/>
                </a:lnTo>
                <a:lnTo>
                  <a:pt x="749" y="6594"/>
                </a:lnTo>
                <a:lnTo>
                  <a:pt x="702" y="6532"/>
                </a:lnTo>
                <a:lnTo>
                  <a:pt x="656" y="6470"/>
                </a:lnTo>
                <a:lnTo>
                  <a:pt x="625" y="6400"/>
                </a:lnTo>
                <a:lnTo>
                  <a:pt x="594" y="6322"/>
                </a:lnTo>
                <a:lnTo>
                  <a:pt x="570" y="6243"/>
                </a:lnTo>
                <a:lnTo>
                  <a:pt x="555" y="6165"/>
                </a:lnTo>
                <a:lnTo>
                  <a:pt x="555" y="6079"/>
                </a:lnTo>
                <a:lnTo>
                  <a:pt x="555" y="6079"/>
                </a:lnTo>
                <a:lnTo>
                  <a:pt x="555" y="6010"/>
                </a:lnTo>
                <a:lnTo>
                  <a:pt x="570" y="5931"/>
                </a:lnTo>
                <a:lnTo>
                  <a:pt x="594" y="5861"/>
                </a:lnTo>
                <a:lnTo>
                  <a:pt x="625" y="5791"/>
                </a:lnTo>
                <a:lnTo>
                  <a:pt x="656" y="5720"/>
                </a:lnTo>
                <a:lnTo>
                  <a:pt x="702" y="5658"/>
                </a:lnTo>
                <a:lnTo>
                  <a:pt x="749" y="5596"/>
                </a:lnTo>
                <a:lnTo>
                  <a:pt x="804" y="5533"/>
                </a:lnTo>
                <a:lnTo>
                  <a:pt x="867" y="5479"/>
                </a:lnTo>
                <a:lnTo>
                  <a:pt x="929" y="5432"/>
                </a:lnTo>
                <a:lnTo>
                  <a:pt x="1000" y="5393"/>
                </a:lnTo>
                <a:lnTo>
                  <a:pt x="1069" y="5353"/>
                </a:lnTo>
                <a:lnTo>
                  <a:pt x="1147" y="5322"/>
                </a:lnTo>
                <a:lnTo>
                  <a:pt x="1218" y="5307"/>
                </a:lnTo>
                <a:lnTo>
                  <a:pt x="1296" y="5291"/>
                </a:lnTo>
                <a:lnTo>
                  <a:pt x="1374" y="5283"/>
                </a:lnTo>
                <a:close/>
                <a:moveTo>
                  <a:pt x="1100" y="4495"/>
                </a:moveTo>
                <a:lnTo>
                  <a:pt x="1100" y="4495"/>
                </a:lnTo>
                <a:lnTo>
                  <a:pt x="1108" y="4285"/>
                </a:lnTo>
                <a:lnTo>
                  <a:pt x="1132" y="4074"/>
                </a:lnTo>
                <a:lnTo>
                  <a:pt x="1179" y="3871"/>
                </a:lnTo>
                <a:lnTo>
                  <a:pt x="1233" y="3668"/>
                </a:lnTo>
                <a:lnTo>
                  <a:pt x="1304" y="3473"/>
                </a:lnTo>
                <a:lnTo>
                  <a:pt x="1390" y="3285"/>
                </a:lnTo>
                <a:lnTo>
                  <a:pt x="1491" y="3107"/>
                </a:lnTo>
                <a:lnTo>
                  <a:pt x="1600" y="2934"/>
                </a:lnTo>
                <a:lnTo>
                  <a:pt x="1725" y="2763"/>
                </a:lnTo>
                <a:lnTo>
                  <a:pt x="1866" y="2607"/>
                </a:lnTo>
                <a:lnTo>
                  <a:pt x="2014" y="2458"/>
                </a:lnTo>
                <a:lnTo>
                  <a:pt x="2170" y="2326"/>
                </a:lnTo>
                <a:lnTo>
                  <a:pt x="2333" y="2201"/>
                </a:lnTo>
                <a:lnTo>
                  <a:pt x="2505" y="2092"/>
                </a:lnTo>
                <a:lnTo>
                  <a:pt x="2693" y="1998"/>
                </a:lnTo>
                <a:lnTo>
                  <a:pt x="2880" y="1913"/>
                </a:lnTo>
                <a:lnTo>
                  <a:pt x="2880" y="1913"/>
                </a:lnTo>
                <a:lnTo>
                  <a:pt x="2919" y="1998"/>
                </a:lnTo>
                <a:lnTo>
                  <a:pt x="2966" y="2076"/>
                </a:lnTo>
                <a:lnTo>
                  <a:pt x="3021" y="2154"/>
                </a:lnTo>
                <a:lnTo>
                  <a:pt x="3083" y="2225"/>
                </a:lnTo>
                <a:lnTo>
                  <a:pt x="3145" y="2287"/>
                </a:lnTo>
                <a:lnTo>
                  <a:pt x="3215" y="2350"/>
                </a:lnTo>
                <a:lnTo>
                  <a:pt x="3286" y="2403"/>
                </a:lnTo>
                <a:lnTo>
                  <a:pt x="3364" y="2450"/>
                </a:lnTo>
                <a:lnTo>
                  <a:pt x="3450" y="2497"/>
                </a:lnTo>
                <a:lnTo>
                  <a:pt x="3535" y="2536"/>
                </a:lnTo>
                <a:lnTo>
                  <a:pt x="3621" y="2568"/>
                </a:lnTo>
                <a:lnTo>
                  <a:pt x="3715" y="2591"/>
                </a:lnTo>
                <a:lnTo>
                  <a:pt x="3809" y="2615"/>
                </a:lnTo>
                <a:lnTo>
                  <a:pt x="3910" y="2630"/>
                </a:lnTo>
                <a:lnTo>
                  <a:pt x="4011" y="2638"/>
                </a:lnTo>
                <a:lnTo>
                  <a:pt x="4113" y="2638"/>
                </a:lnTo>
                <a:lnTo>
                  <a:pt x="4113" y="2638"/>
                </a:lnTo>
                <a:lnTo>
                  <a:pt x="4215" y="2638"/>
                </a:lnTo>
                <a:lnTo>
                  <a:pt x="4316" y="2630"/>
                </a:lnTo>
                <a:lnTo>
                  <a:pt x="4409" y="2615"/>
                </a:lnTo>
                <a:lnTo>
                  <a:pt x="4511" y="2591"/>
                </a:lnTo>
                <a:lnTo>
                  <a:pt x="4605" y="2568"/>
                </a:lnTo>
                <a:lnTo>
                  <a:pt x="4691" y="2536"/>
                </a:lnTo>
                <a:lnTo>
                  <a:pt x="4776" y="2497"/>
                </a:lnTo>
                <a:lnTo>
                  <a:pt x="4862" y="2450"/>
                </a:lnTo>
                <a:lnTo>
                  <a:pt x="4948" y="2403"/>
                </a:lnTo>
                <a:lnTo>
                  <a:pt x="5026" y="2350"/>
                </a:lnTo>
                <a:lnTo>
                  <a:pt x="5105" y="2287"/>
                </a:lnTo>
                <a:lnTo>
                  <a:pt x="5174" y="2225"/>
                </a:lnTo>
                <a:lnTo>
                  <a:pt x="5237" y="2154"/>
                </a:lnTo>
                <a:lnTo>
                  <a:pt x="5299" y="2076"/>
                </a:lnTo>
                <a:lnTo>
                  <a:pt x="5362" y="1998"/>
                </a:lnTo>
                <a:lnTo>
                  <a:pt x="5416" y="1913"/>
                </a:lnTo>
                <a:lnTo>
                  <a:pt x="5416" y="1913"/>
                </a:lnTo>
                <a:lnTo>
                  <a:pt x="5603" y="1998"/>
                </a:lnTo>
                <a:lnTo>
                  <a:pt x="5783" y="2092"/>
                </a:lnTo>
                <a:lnTo>
                  <a:pt x="5955" y="2201"/>
                </a:lnTo>
                <a:lnTo>
                  <a:pt x="6111" y="2326"/>
                </a:lnTo>
                <a:lnTo>
                  <a:pt x="6267" y="2458"/>
                </a:lnTo>
                <a:lnTo>
                  <a:pt x="6407" y="2607"/>
                </a:lnTo>
                <a:lnTo>
                  <a:pt x="6532" y="2763"/>
                </a:lnTo>
                <a:lnTo>
                  <a:pt x="6657" y="2934"/>
                </a:lnTo>
                <a:lnTo>
                  <a:pt x="6759" y="3107"/>
                </a:lnTo>
                <a:lnTo>
                  <a:pt x="6852" y="3285"/>
                </a:lnTo>
                <a:lnTo>
                  <a:pt x="6938" y="3473"/>
                </a:lnTo>
                <a:lnTo>
                  <a:pt x="7001" y="3668"/>
                </a:lnTo>
                <a:lnTo>
                  <a:pt x="7055" y="3871"/>
                </a:lnTo>
                <a:lnTo>
                  <a:pt x="7094" y="4074"/>
                </a:lnTo>
                <a:lnTo>
                  <a:pt x="7118" y="4285"/>
                </a:lnTo>
                <a:lnTo>
                  <a:pt x="7126" y="4495"/>
                </a:lnTo>
                <a:lnTo>
                  <a:pt x="7126" y="4495"/>
                </a:lnTo>
                <a:lnTo>
                  <a:pt x="7126" y="4823"/>
                </a:lnTo>
                <a:lnTo>
                  <a:pt x="7126" y="4823"/>
                </a:lnTo>
                <a:lnTo>
                  <a:pt x="7102" y="4823"/>
                </a:lnTo>
                <a:lnTo>
                  <a:pt x="7071" y="4816"/>
                </a:lnTo>
                <a:lnTo>
                  <a:pt x="7016" y="4792"/>
                </a:lnTo>
                <a:lnTo>
                  <a:pt x="6946" y="4769"/>
                </a:lnTo>
                <a:lnTo>
                  <a:pt x="6899" y="4761"/>
                </a:lnTo>
                <a:lnTo>
                  <a:pt x="6852" y="4761"/>
                </a:lnTo>
                <a:lnTo>
                  <a:pt x="6852" y="4761"/>
                </a:lnTo>
                <a:lnTo>
                  <a:pt x="6712" y="4761"/>
                </a:lnTo>
                <a:lnTo>
                  <a:pt x="6579" y="4784"/>
                </a:lnTo>
                <a:lnTo>
                  <a:pt x="6446" y="4816"/>
                </a:lnTo>
                <a:lnTo>
                  <a:pt x="6322" y="4862"/>
                </a:lnTo>
                <a:lnTo>
                  <a:pt x="6197" y="4916"/>
                </a:lnTo>
                <a:lnTo>
                  <a:pt x="6087" y="4987"/>
                </a:lnTo>
                <a:lnTo>
                  <a:pt x="5978" y="5057"/>
                </a:lnTo>
                <a:lnTo>
                  <a:pt x="5885" y="5143"/>
                </a:lnTo>
                <a:lnTo>
                  <a:pt x="5799" y="5237"/>
                </a:lnTo>
                <a:lnTo>
                  <a:pt x="5713" y="5338"/>
                </a:lnTo>
                <a:lnTo>
                  <a:pt x="5650" y="5447"/>
                </a:lnTo>
                <a:lnTo>
                  <a:pt x="5588" y="5565"/>
                </a:lnTo>
                <a:lnTo>
                  <a:pt x="5542" y="5689"/>
                </a:lnTo>
                <a:lnTo>
                  <a:pt x="5510" y="5814"/>
                </a:lnTo>
                <a:lnTo>
                  <a:pt x="5487" y="5947"/>
                </a:lnTo>
                <a:lnTo>
                  <a:pt x="5479" y="6079"/>
                </a:lnTo>
                <a:lnTo>
                  <a:pt x="5479" y="6079"/>
                </a:lnTo>
                <a:lnTo>
                  <a:pt x="5487" y="6204"/>
                </a:lnTo>
                <a:lnTo>
                  <a:pt x="5510" y="6329"/>
                </a:lnTo>
                <a:lnTo>
                  <a:pt x="5534" y="6447"/>
                </a:lnTo>
                <a:lnTo>
                  <a:pt x="5572" y="6555"/>
                </a:lnTo>
                <a:lnTo>
                  <a:pt x="5627" y="6665"/>
                </a:lnTo>
                <a:lnTo>
                  <a:pt x="5681" y="6766"/>
                </a:lnTo>
                <a:lnTo>
                  <a:pt x="5752" y="6860"/>
                </a:lnTo>
                <a:lnTo>
                  <a:pt x="5822" y="6938"/>
                </a:lnTo>
                <a:lnTo>
                  <a:pt x="5822" y="6938"/>
                </a:lnTo>
                <a:lnTo>
                  <a:pt x="5736" y="7000"/>
                </a:lnTo>
                <a:lnTo>
                  <a:pt x="5635" y="7055"/>
                </a:lnTo>
                <a:lnTo>
                  <a:pt x="5542" y="7102"/>
                </a:lnTo>
                <a:lnTo>
                  <a:pt x="5440" y="7149"/>
                </a:lnTo>
                <a:lnTo>
                  <a:pt x="5338" y="7196"/>
                </a:lnTo>
                <a:lnTo>
                  <a:pt x="5237" y="7235"/>
                </a:lnTo>
                <a:lnTo>
                  <a:pt x="5019" y="7297"/>
                </a:lnTo>
                <a:lnTo>
                  <a:pt x="4799" y="7343"/>
                </a:lnTo>
                <a:lnTo>
                  <a:pt x="4574" y="7375"/>
                </a:lnTo>
                <a:lnTo>
                  <a:pt x="4339" y="7398"/>
                </a:lnTo>
                <a:lnTo>
                  <a:pt x="4113" y="7406"/>
                </a:lnTo>
                <a:lnTo>
                  <a:pt x="4113" y="7406"/>
                </a:lnTo>
                <a:lnTo>
                  <a:pt x="3887" y="7398"/>
                </a:lnTo>
                <a:lnTo>
                  <a:pt x="3660" y="7375"/>
                </a:lnTo>
                <a:lnTo>
                  <a:pt x="3450" y="7343"/>
                </a:lnTo>
                <a:lnTo>
                  <a:pt x="3239" y="7297"/>
                </a:lnTo>
                <a:lnTo>
                  <a:pt x="3036" y="7235"/>
                </a:lnTo>
                <a:lnTo>
                  <a:pt x="2841" y="7149"/>
                </a:lnTo>
                <a:lnTo>
                  <a:pt x="2654" y="7055"/>
                </a:lnTo>
                <a:lnTo>
                  <a:pt x="2560" y="7000"/>
                </a:lnTo>
                <a:lnTo>
                  <a:pt x="2466" y="6938"/>
                </a:lnTo>
                <a:lnTo>
                  <a:pt x="2466" y="6938"/>
                </a:lnTo>
                <a:lnTo>
                  <a:pt x="2537" y="6860"/>
                </a:lnTo>
                <a:lnTo>
                  <a:pt x="2599" y="6766"/>
                </a:lnTo>
                <a:lnTo>
                  <a:pt x="2646" y="6665"/>
                </a:lnTo>
                <a:lnTo>
                  <a:pt x="2685" y="6555"/>
                </a:lnTo>
                <a:lnTo>
                  <a:pt x="2708" y="6447"/>
                </a:lnTo>
                <a:lnTo>
                  <a:pt x="2731" y="6329"/>
                </a:lnTo>
                <a:lnTo>
                  <a:pt x="2739" y="6204"/>
                </a:lnTo>
                <a:lnTo>
                  <a:pt x="2739" y="6079"/>
                </a:lnTo>
                <a:lnTo>
                  <a:pt x="2739" y="6079"/>
                </a:lnTo>
                <a:lnTo>
                  <a:pt x="2731" y="5947"/>
                </a:lnTo>
                <a:lnTo>
                  <a:pt x="2716" y="5814"/>
                </a:lnTo>
                <a:lnTo>
                  <a:pt x="2678" y="5689"/>
                </a:lnTo>
                <a:lnTo>
                  <a:pt x="2638" y="5565"/>
                </a:lnTo>
                <a:lnTo>
                  <a:pt x="2576" y="5447"/>
                </a:lnTo>
                <a:lnTo>
                  <a:pt x="2505" y="5338"/>
                </a:lnTo>
                <a:lnTo>
                  <a:pt x="2427" y="5237"/>
                </a:lnTo>
                <a:lnTo>
                  <a:pt x="2341" y="5143"/>
                </a:lnTo>
                <a:lnTo>
                  <a:pt x="2240" y="5057"/>
                </a:lnTo>
                <a:lnTo>
                  <a:pt x="2139" y="4987"/>
                </a:lnTo>
                <a:lnTo>
                  <a:pt x="2021" y="4916"/>
                </a:lnTo>
                <a:lnTo>
                  <a:pt x="1904" y="4862"/>
                </a:lnTo>
                <a:lnTo>
                  <a:pt x="1780" y="4816"/>
                </a:lnTo>
                <a:lnTo>
                  <a:pt x="1647" y="4784"/>
                </a:lnTo>
                <a:lnTo>
                  <a:pt x="1514" y="4761"/>
                </a:lnTo>
                <a:lnTo>
                  <a:pt x="1374" y="4761"/>
                </a:lnTo>
                <a:lnTo>
                  <a:pt x="1374" y="4761"/>
                </a:lnTo>
                <a:lnTo>
                  <a:pt x="1351" y="4761"/>
                </a:lnTo>
                <a:lnTo>
                  <a:pt x="1319" y="4769"/>
                </a:lnTo>
                <a:lnTo>
                  <a:pt x="1265" y="4792"/>
                </a:lnTo>
                <a:lnTo>
                  <a:pt x="1186" y="4816"/>
                </a:lnTo>
                <a:lnTo>
                  <a:pt x="1147" y="4823"/>
                </a:lnTo>
                <a:lnTo>
                  <a:pt x="1100" y="4823"/>
                </a:lnTo>
                <a:lnTo>
                  <a:pt x="1100" y="4823"/>
                </a:lnTo>
                <a:lnTo>
                  <a:pt x="1100" y="4495"/>
                </a:lnTo>
                <a:close/>
                <a:moveTo>
                  <a:pt x="4113" y="523"/>
                </a:moveTo>
                <a:lnTo>
                  <a:pt x="4113" y="523"/>
                </a:lnTo>
                <a:lnTo>
                  <a:pt x="4199" y="531"/>
                </a:lnTo>
                <a:lnTo>
                  <a:pt x="4285" y="547"/>
                </a:lnTo>
                <a:lnTo>
                  <a:pt x="4362" y="562"/>
                </a:lnTo>
                <a:lnTo>
                  <a:pt x="4441" y="594"/>
                </a:lnTo>
                <a:lnTo>
                  <a:pt x="4519" y="633"/>
                </a:lnTo>
                <a:lnTo>
                  <a:pt x="4581" y="672"/>
                </a:lnTo>
                <a:lnTo>
                  <a:pt x="4644" y="718"/>
                </a:lnTo>
                <a:lnTo>
                  <a:pt x="4707" y="773"/>
                </a:lnTo>
                <a:lnTo>
                  <a:pt x="4753" y="835"/>
                </a:lnTo>
                <a:lnTo>
                  <a:pt x="4799" y="898"/>
                </a:lnTo>
                <a:lnTo>
                  <a:pt x="4839" y="960"/>
                </a:lnTo>
                <a:lnTo>
                  <a:pt x="4870" y="1031"/>
                </a:lnTo>
                <a:lnTo>
                  <a:pt x="4901" y="1101"/>
                </a:lnTo>
                <a:lnTo>
                  <a:pt x="4917" y="1171"/>
                </a:lnTo>
                <a:lnTo>
                  <a:pt x="4932" y="1249"/>
                </a:lnTo>
                <a:lnTo>
                  <a:pt x="4932" y="1319"/>
                </a:lnTo>
                <a:lnTo>
                  <a:pt x="4932" y="1319"/>
                </a:lnTo>
                <a:lnTo>
                  <a:pt x="4932" y="1405"/>
                </a:lnTo>
                <a:lnTo>
                  <a:pt x="4917" y="1483"/>
                </a:lnTo>
                <a:lnTo>
                  <a:pt x="4901" y="1561"/>
                </a:lnTo>
                <a:lnTo>
                  <a:pt x="4870" y="1639"/>
                </a:lnTo>
                <a:lnTo>
                  <a:pt x="4839" y="1709"/>
                </a:lnTo>
                <a:lnTo>
                  <a:pt x="4799" y="1772"/>
                </a:lnTo>
                <a:lnTo>
                  <a:pt x="4753" y="1834"/>
                </a:lnTo>
                <a:lnTo>
                  <a:pt x="4707" y="1889"/>
                </a:lnTo>
                <a:lnTo>
                  <a:pt x="4644" y="1944"/>
                </a:lnTo>
                <a:lnTo>
                  <a:pt x="4581" y="1982"/>
                </a:lnTo>
                <a:lnTo>
                  <a:pt x="4519" y="2021"/>
                </a:lnTo>
                <a:lnTo>
                  <a:pt x="4441" y="2052"/>
                </a:lnTo>
                <a:lnTo>
                  <a:pt x="4362" y="2076"/>
                </a:lnTo>
                <a:lnTo>
                  <a:pt x="4285" y="2099"/>
                </a:lnTo>
                <a:lnTo>
                  <a:pt x="4199" y="2107"/>
                </a:lnTo>
                <a:lnTo>
                  <a:pt x="4113" y="2115"/>
                </a:lnTo>
                <a:lnTo>
                  <a:pt x="4113" y="2115"/>
                </a:lnTo>
                <a:lnTo>
                  <a:pt x="4035" y="2107"/>
                </a:lnTo>
                <a:lnTo>
                  <a:pt x="3957" y="2099"/>
                </a:lnTo>
                <a:lnTo>
                  <a:pt x="3887" y="2076"/>
                </a:lnTo>
                <a:lnTo>
                  <a:pt x="3809" y="2052"/>
                </a:lnTo>
                <a:lnTo>
                  <a:pt x="3739" y="2021"/>
                </a:lnTo>
                <a:lnTo>
                  <a:pt x="3668" y="1982"/>
                </a:lnTo>
                <a:lnTo>
                  <a:pt x="3606" y="1944"/>
                </a:lnTo>
                <a:lnTo>
                  <a:pt x="3543" y="1889"/>
                </a:lnTo>
                <a:lnTo>
                  <a:pt x="3489" y="1834"/>
                </a:lnTo>
                <a:lnTo>
                  <a:pt x="3442" y="1772"/>
                </a:lnTo>
                <a:lnTo>
                  <a:pt x="3395" y="1709"/>
                </a:lnTo>
                <a:lnTo>
                  <a:pt x="3364" y="1639"/>
                </a:lnTo>
                <a:lnTo>
                  <a:pt x="3333" y="1561"/>
                </a:lnTo>
                <a:lnTo>
                  <a:pt x="3309" y="1483"/>
                </a:lnTo>
                <a:lnTo>
                  <a:pt x="3294" y="1405"/>
                </a:lnTo>
                <a:lnTo>
                  <a:pt x="3294" y="1319"/>
                </a:lnTo>
                <a:lnTo>
                  <a:pt x="3294" y="1319"/>
                </a:lnTo>
                <a:lnTo>
                  <a:pt x="3294" y="1249"/>
                </a:lnTo>
                <a:lnTo>
                  <a:pt x="3309" y="1171"/>
                </a:lnTo>
                <a:lnTo>
                  <a:pt x="3333" y="1101"/>
                </a:lnTo>
                <a:lnTo>
                  <a:pt x="3364" y="1031"/>
                </a:lnTo>
                <a:lnTo>
                  <a:pt x="3395" y="960"/>
                </a:lnTo>
                <a:lnTo>
                  <a:pt x="3442" y="898"/>
                </a:lnTo>
                <a:lnTo>
                  <a:pt x="3489" y="835"/>
                </a:lnTo>
                <a:lnTo>
                  <a:pt x="3543" y="773"/>
                </a:lnTo>
                <a:lnTo>
                  <a:pt x="3606" y="718"/>
                </a:lnTo>
                <a:lnTo>
                  <a:pt x="3668" y="672"/>
                </a:lnTo>
                <a:lnTo>
                  <a:pt x="3739" y="633"/>
                </a:lnTo>
                <a:lnTo>
                  <a:pt x="3809" y="594"/>
                </a:lnTo>
                <a:lnTo>
                  <a:pt x="3887" y="562"/>
                </a:lnTo>
                <a:lnTo>
                  <a:pt x="3957" y="547"/>
                </a:lnTo>
                <a:lnTo>
                  <a:pt x="4035" y="531"/>
                </a:lnTo>
                <a:lnTo>
                  <a:pt x="4113" y="523"/>
                </a:lnTo>
                <a:close/>
                <a:moveTo>
                  <a:pt x="6852" y="6876"/>
                </a:moveTo>
                <a:lnTo>
                  <a:pt x="6852" y="6876"/>
                </a:lnTo>
                <a:lnTo>
                  <a:pt x="6774" y="6868"/>
                </a:lnTo>
                <a:lnTo>
                  <a:pt x="6696" y="6860"/>
                </a:lnTo>
                <a:lnTo>
                  <a:pt x="6626" y="6837"/>
                </a:lnTo>
                <a:lnTo>
                  <a:pt x="6548" y="6813"/>
                </a:lnTo>
                <a:lnTo>
                  <a:pt x="6477" y="6782"/>
                </a:lnTo>
                <a:lnTo>
                  <a:pt x="6407" y="6743"/>
                </a:lnTo>
                <a:lnTo>
                  <a:pt x="6345" y="6704"/>
                </a:lnTo>
                <a:lnTo>
                  <a:pt x="6283" y="6649"/>
                </a:lnTo>
                <a:lnTo>
                  <a:pt x="6228" y="6594"/>
                </a:lnTo>
                <a:lnTo>
                  <a:pt x="6181" y="6532"/>
                </a:lnTo>
                <a:lnTo>
                  <a:pt x="6134" y="6470"/>
                </a:lnTo>
                <a:lnTo>
                  <a:pt x="6103" y="6400"/>
                </a:lnTo>
                <a:lnTo>
                  <a:pt x="6072" y="6322"/>
                </a:lnTo>
                <a:lnTo>
                  <a:pt x="6048" y="6243"/>
                </a:lnTo>
                <a:lnTo>
                  <a:pt x="6033" y="6165"/>
                </a:lnTo>
                <a:lnTo>
                  <a:pt x="6033" y="6079"/>
                </a:lnTo>
                <a:lnTo>
                  <a:pt x="6033" y="6079"/>
                </a:lnTo>
                <a:lnTo>
                  <a:pt x="6033" y="6010"/>
                </a:lnTo>
                <a:lnTo>
                  <a:pt x="6048" y="5931"/>
                </a:lnTo>
                <a:lnTo>
                  <a:pt x="6072" y="5861"/>
                </a:lnTo>
                <a:lnTo>
                  <a:pt x="6103" y="5791"/>
                </a:lnTo>
                <a:lnTo>
                  <a:pt x="6134" y="5720"/>
                </a:lnTo>
                <a:lnTo>
                  <a:pt x="6181" y="5658"/>
                </a:lnTo>
                <a:lnTo>
                  <a:pt x="6228" y="5596"/>
                </a:lnTo>
                <a:lnTo>
                  <a:pt x="6283" y="5533"/>
                </a:lnTo>
                <a:lnTo>
                  <a:pt x="6345" y="5479"/>
                </a:lnTo>
                <a:lnTo>
                  <a:pt x="6407" y="5432"/>
                </a:lnTo>
                <a:lnTo>
                  <a:pt x="6477" y="5393"/>
                </a:lnTo>
                <a:lnTo>
                  <a:pt x="6548" y="5353"/>
                </a:lnTo>
                <a:lnTo>
                  <a:pt x="6626" y="5322"/>
                </a:lnTo>
                <a:lnTo>
                  <a:pt x="6696" y="5307"/>
                </a:lnTo>
                <a:lnTo>
                  <a:pt x="6774" y="5291"/>
                </a:lnTo>
                <a:lnTo>
                  <a:pt x="6852" y="5283"/>
                </a:lnTo>
                <a:lnTo>
                  <a:pt x="6852" y="5283"/>
                </a:lnTo>
                <a:lnTo>
                  <a:pt x="6938" y="5291"/>
                </a:lnTo>
                <a:lnTo>
                  <a:pt x="7024" y="5307"/>
                </a:lnTo>
                <a:lnTo>
                  <a:pt x="7102" y="5322"/>
                </a:lnTo>
                <a:lnTo>
                  <a:pt x="7180" y="5353"/>
                </a:lnTo>
                <a:lnTo>
                  <a:pt x="7258" y="5393"/>
                </a:lnTo>
                <a:lnTo>
                  <a:pt x="7320" y="5432"/>
                </a:lnTo>
                <a:lnTo>
                  <a:pt x="7383" y="5479"/>
                </a:lnTo>
                <a:lnTo>
                  <a:pt x="7446" y="5533"/>
                </a:lnTo>
                <a:lnTo>
                  <a:pt x="7492" y="5596"/>
                </a:lnTo>
                <a:lnTo>
                  <a:pt x="7539" y="5658"/>
                </a:lnTo>
                <a:lnTo>
                  <a:pt x="7579" y="5720"/>
                </a:lnTo>
                <a:lnTo>
                  <a:pt x="7609" y="5791"/>
                </a:lnTo>
                <a:lnTo>
                  <a:pt x="7640" y="5861"/>
                </a:lnTo>
                <a:lnTo>
                  <a:pt x="7656" y="5931"/>
                </a:lnTo>
                <a:lnTo>
                  <a:pt x="7671" y="6010"/>
                </a:lnTo>
                <a:lnTo>
                  <a:pt x="7671" y="6079"/>
                </a:lnTo>
                <a:lnTo>
                  <a:pt x="7671" y="6079"/>
                </a:lnTo>
                <a:lnTo>
                  <a:pt x="7671" y="6165"/>
                </a:lnTo>
                <a:lnTo>
                  <a:pt x="7656" y="6243"/>
                </a:lnTo>
                <a:lnTo>
                  <a:pt x="7640" y="6322"/>
                </a:lnTo>
                <a:lnTo>
                  <a:pt x="7609" y="6400"/>
                </a:lnTo>
                <a:lnTo>
                  <a:pt x="7579" y="6470"/>
                </a:lnTo>
                <a:lnTo>
                  <a:pt x="7539" y="6532"/>
                </a:lnTo>
                <a:lnTo>
                  <a:pt x="7492" y="6594"/>
                </a:lnTo>
                <a:lnTo>
                  <a:pt x="7446" y="6649"/>
                </a:lnTo>
                <a:lnTo>
                  <a:pt x="7383" y="6704"/>
                </a:lnTo>
                <a:lnTo>
                  <a:pt x="7320" y="6743"/>
                </a:lnTo>
                <a:lnTo>
                  <a:pt x="7258" y="6782"/>
                </a:lnTo>
                <a:lnTo>
                  <a:pt x="7180" y="6813"/>
                </a:lnTo>
                <a:lnTo>
                  <a:pt x="7102" y="6837"/>
                </a:lnTo>
                <a:lnTo>
                  <a:pt x="7024" y="6860"/>
                </a:lnTo>
                <a:lnTo>
                  <a:pt x="6938" y="6868"/>
                </a:lnTo>
                <a:lnTo>
                  <a:pt x="6852" y="6876"/>
                </a:lnTo>
                <a:close/>
                <a:moveTo>
                  <a:pt x="0" y="6079"/>
                </a:moveTo>
                <a:lnTo>
                  <a:pt x="0" y="6079"/>
                </a:lnTo>
                <a:lnTo>
                  <a:pt x="8" y="6228"/>
                </a:lnTo>
                <a:lnTo>
                  <a:pt x="32" y="6368"/>
                </a:lnTo>
                <a:lnTo>
                  <a:pt x="63" y="6493"/>
                </a:lnTo>
                <a:lnTo>
                  <a:pt x="110" y="6618"/>
                </a:lnTo>
                <a:lnTo>
                  <a:pt x="172" y="6735"/>
                </a:lnTo>
                <a:lnTo>
                  <a:pt x="235" y="6845"/>
                </a:lnTo>
                <a:lnTo>
                  <a:pt x="320" y="6945"/>
                </a:lnTo>
                <a:lnTo>
                  <a:pt x="406" y="7039"/>
                </a:lnTo>
                <a:lnTo>
                  <a:pt x="500" y="7117"/>
                </a:lnTo>
                <a:lnTo>
                  <a:pt x="609" y="7196"/>
                </a:lnTo>
                <a:lnTo>
                  <a:pt x="718" y="7258"/>
                </a:lnTo>
                <a:lnTo>
                  <a:pt x="843" y="7305"/>
                </a:lnTo>
                <a:lnTo>
                  <a:pt x="968" y="7351"/>
                </a:lnTo>
                <a:lnTo>
                  <a:pt x="1100" y="7375"/>
                </a:lnTo>
                <a:lnTo>
                  <a:pt x="1233" y="7398"/>
                </a:lnTo>
                <a:lnTo>
                  <a:pt x="1374" y="7406"/>
                </a:lnTo>
                <a:lnTo>
                  <a:pt x="1374" y="7406"/>
                </a:lnTo>
                <a:lnTo>
                  <a:pt x="1569" y="7398"/>
                </a:lnTo>
                <a:lnTo>
                  <a:pt x="1655" y="7398"/>
                </a:lnTo>
                <a:lnTo>
                  <a:pt x="1733" y="7382"/>
                </a:lnTo>
                <a:lnTo>
                  <a:pt x="1803" y="7367"/>
                </a:lnTo>
                <a:lnTo>
                  <a:pt x="1873" y="7343"/>
                </a:lnTo>
                <a:lnTo>
                  <a:pt x="1935" y="7312"/>
                </a:lnTo>
                <a:lnTo>
                  <a:pt x="1990" y="7274"/>
                </a:lnTo>
                <a:lnTo>
                  <a:pt x="1990" y="7274"/>
                </a:lnTo>
                <a:lnTo>
                  <a:pt x="2107" y="7351"/>
                </a:lnTo>
                <a:lnTo>
                  <a:pt x="2225" y="7429"/>
                </a:lnTo>
                <a:lnTo>
                  <a:pt x="2349" y="7500"/>
                </a:lnTo>
                <a:lnTo>
                  <a:pt x="2474" y="7570"/>
                </a:lnTo>
                <a:lnTo>
                  <a:pt x="2599" y="7625"/>
                </a:lnTo>
                <a:lnTo>
                  <a:pt x="2731" y="7680"/>
                </a:lnTo>
                <a:lnTo>
                  <a:pt x="2864" y="7734"/>
                </a:lnTo>
                <a:lnTo>
                  <a:pt x="2997" y="7773"/>
                </a:lnTo>
                <a:lnTo>
                  <a:pt x="3137" y="7812"/>
                </a:lnTo>
                <a:lnTo>
                  <a:pt x="3270" y="7843"/>
                </a:lnTo>
                <a:lnTo>
                  <a:pt x="3411" y="7874"/>
                </a:lnTo>
                <a:lnTo>
                  <a:pt x="3551" y="7890"/>
                </a:lnTo>
                <a:lnTo>
                  <a:pt x="3692" y="7913"/>
                </a:lnTo>
                <a:lnTo>
                  <a:pt x="3832" y="7921"/>
                </a:lnTo>
                <a:lnTo>
                  <a:pt x="3972" y="7929"/>
                </a:lnTo>
                <a:lnTo>
                  <a:pt x="4113" y="7929"/>
                </a:lnTo>
                <a:lnTo>
                  <a:pt x="4113" y="7929"/>
                </a:lnTo>
                <a:lnTo>
                  <a:pt x="4269" y="7929"/>
                </a:lnTo>
                <a:lnTo>
                  <a:pt x="4417" y="7921"/>
                </a:lnTo>
                <a:lnTo>
                  <a:pt x="4566" y="7913"/>
                </a:lnTo>
                <a:lnTo>
                  <a:pt x="4714" y="7890"/>
                </a:lnTo>
                <a:lnTo>
                  <a:pt x="4854" y="7874"/>
                </a:lnTo>
                <a:lnTo>
                  <a:pt x="5003" y="7843"/>
                </a:lnTo>
                <a:lnTo>
                  <a:pt x="5143" y="7812"/>
                </a:lnTo>
                <a:lnTo>
                  <a:pt x="5276" y="7773"/>
                </a:lnTo>
                <a:lnTo>
                  <a:pt x="5409" y="7734"/>
                </a:lnTo>
                <a:lnTo>
                  <a:pt x="5542" y="7680"/>
                </a:lnTo>
                <a:lnTo>
                  <a:pt x="5666" y="7625"/>
                </a:lnTo>
                <a:lnTo>
                  <a:pt x="5791" y="7570"/>
                </a:lnTo>
                <a:lnTo>
                  <a:pt x="5908" y="7500"/>
                </a:lnTo>
                <a:lnTo>
                  <a:pt x="6017" y="7429"/>
                </a:lnTo>
                <a:lnTo>
                  <a:pt x="6126" y="7351"/>
                </a:lnTo>
                <a:lnTo>
                  <a:pt x="6236" y="7274"/>
                </a:lnTo>
                <a:lnTo>
                  <a:pt x="6236" y="7274"/>
                </a:lnTo>
                <a:lnTo>
                  <a:pt x="6314" y="7312"/>
                </a:lnTo>
                <a:lnTo>
                  <a:pt x="6392" y="7343"/>
                </a:lnTo>
                <a:lnTo>
                  <a:pt x="6470" y="7367"/>
                </a:lnTo>
                <a:lnTo>
                  <a:pt x="6540" y="7382"/>
                </a:lnTo>
                <a:lnTo>
                  <a:pt x="6618" y="7398"/>
                </a:lnTo>
                <a:lnTo>
                  <a:pt x="6696" y="7398"/>
                </a:lnTo>
                <a:lnTo>
                  <a:pt x="6852" y="7406"/>
                </a:lnTo>
                <a:lnTo>
                  <a:pt x="6852" y="7406"/>
                </a:lnTo>
                <a:lnTo>
                  <a:pt x="6993" y="7398"/>
                </a:lnTo>
                <a:lnTo>
                  <a:pt x="7126" y="7375"/>
                </a:lnTo>
                <a:lnTo>
                  <a:pt x="7258" y="7351"/>
                </a:lnTo>
                <a:lnTo>
                  <a:pt x="7383" y="7305"/>
                </a:lnTo>
                <a:lnTo>
                  <a:pt x="7500" y="7258"/>
                </a:lnTo>
                <a:lnTo>
                  <a:pt x="7617" y="7196"/>
                </a:lnTo>
                <a:lnTo>
                  <a:pt x="7718" y="7117"/>
                </a:lnTo>
                <a:lnTo>
                  <a:pt x="7820" y="7039"/>
                </a:lnTo>
                <a:lnTo>
                  <a:pt x="7906" y="6945"/>
                </a:lnTo>
                <a:lnTo>
                  <a:pt x="7984" y="6845"/>
                </a:lnTo>
                <a:lnTo>
                  <a:pt x="8054" y="6735"/>
                </a:lnTo>
                <a:lnTo>
                  <a:pt x="8116" y="6618"/>
                </a:lnTo>
                <a:lnTo>
                  <a:pt x="8155" y="6493"/>
                </a:lnTo>
                <a:lnTo>
                  <a:pt x="8195" y="6368"/>
                </a:lnTo>
                <a:lnTo>
                  <a:pt x="8210" y="6228"/>
                </a:lnTo>
                <a:lnTo>
                  <a:pt x="8218" y="6079"/>
                </a:lnTo>
                <a:lnTo>
                  <a:pt x="8218" y="6079"/>
                </a:lnTo>
                <a:lnTo>
                  <a:pt x="8218" y="6010"/>
                </a:lnTo>
                <a:lnTo>
                  <a:pt x="8210" y="5931"/>
                </a:lnTo>
                <a:lnTo>
                  <a:pt x="8187" y="5783"/>
                </a:lnTo>
                <a:lnTo>
                  <a:pt x="8140" y="5643"/>
                </a:lnTo>
                <a:lnTo>
                  <a:pt x="8077" y="5502"/>
                </a:lnTo>
                <a:lnTo>
                  <a:pt x="8000" y="5369"/>
                </a:lnTo>
                <a:lnTo>
                  <a:pt x="7906" y="5245"/>
                </a:lnTo>
                <a:lnTo>
                  <a:pt x="7797" y="5128"/>
                </a:lnTo>
                <a:lnTo>
                  <a:pt x="7671" y="5018"/>
                </a:lnTo>
                <a:lnTo>
                  <a:pt x="7671" y="5018"/>
                </a:lnTo>
                <a:lnTo>
                  <a:pt x="7671" y="4495"/>
                </a:lnTo>
                <a:lnTo>
                  <a:pt x="7671" y="4495"/>
                </a:lnTo>
                <a:lnTo>
                  <a:pt x="7671" y="4363"/>
                </a:lnTo>
                <a:lnTo>
                  <a:pt x="7664" y="4238"/>
                </a:lnTo>
                <a:lnTo>
                  <a:pt x="7648" y="4105"/>
                </a:lnTo>
                <a:lnTo>
                  <a:pt x="7632" y="3981"/>
                </a:lnTo>
                <a:lnTo>
                  <a:pt x="7609" y="3856"/>
                </a:lnTo>
                <a:lnTo>
                  <a:pt x="7586" y="3730"/>
                </a:lnTo>
                <a:lnTo>
                  <a:pt x="7547" y="3606"/>
                </a:lnTo>
                <a:lnTo>
                  <a:pt x="7516" y="3489"/>
                </a:lnTo>
                <a:lnTo>
                  <a:pt x="7469" y="3372"/>
                </a:lnTo>
                <a:lnTo>
                  <a:pt x="7430" y="3246"/>
                </a:lnTo>
                <a:lnTo>
                  <a:pt x="7375" y="3138"/>
                </a:lnTo>
                <a:lnTo>
                  <a:pt x="7320" y="3020"/>
                </a:lnTo>
                <a:lnTo>
                  <a:pt x="7266" y="2911"/>
                </a:lnTo>
                <a:lnTo>
                  <a:pt x="7203" y="2802"/>
                </a:lnTo>
                <a:lnTo>
                  <a:pt x="7134" y="2693"/>
                </a:lnTo>
                <a:lnTo>
                  <a:pt x="7063" y="2591"/>
                </a:lnTo>
                <a:lnTo>
                  <a:pt x="6915" y="2396"/>
                </a:lnTo>
                <a:lnTo>
                  <a:pt x="6828" y="2295"/>
                </a:lnTo>
                <a:lnTo>
                  <a:pt x="6743" y="2209"/>
                </a:lnTo>
                <a:lnTo>
                  <a:pt x="6657" y="2115"/>
                </a:lnTo>
                <a:lnTo>
                  <a:pt x="6563" y="2029"/>
                </a:lnTo>
                <a:lnTo>
                  <a:pt x="6470" y="1951"/>
                </a:lnTo>
                <a:lnTo>
                  <a:pt x="6376" y="1874"/>
                </a:lnTo>
                <a:lnTo>
                  <a:pt x="6275" y="1795"/>
                </a:lnTo>
                <a:lnTo>
                  <a:pt x="6166" y="1725"/>
                </a:lnTo>
                <a:lnTo>
                  <a:pt x="6056" y="1655"/>
                </a:lnTo>
                <a:lnTo>
                  <a:pt x="5947" y="1592"/>
                </a:lnTo>
                <a:lnTo>
                  <a:pt x="5838" y="1538"/>
                </a:lnTo>
                <a:lnTo>
                  <a:pt x="5721" y="1483"/>
                </a:lnTo>
                <a:lnTo>
                  <a:pt x="5603" y="1429"/>
                </a:lnTo>
                <a:lnTo>
                  <a:pt x="5479" y="1390"/>
                </a:lnTo>
                <a:lnTo>
                  <a:pt x="5479" y="1390"/>
                </a:lnTo>
                <a:lnTo>
                  <a:pt x="5479" y="1319"/>
                </a:lnTo>
                <a:lnTo>
                  <a:pt x="5479" y="1319"/>
                </a:lnTo>
                <a:lnTo>
                  <a:pt x="5471" y="1186"/>
                </a:lnTo>
                <a:lnTo>
                  <a:pt x="5456" y="1054"/>
                </a:lnTo>
                <a:lnTo>
                  <a:pt x="5416" y="929"/>
                </a:lnTo>
                <a:lnTo>
                  <a:pt x="5377" y="804"/>
                </a:lnTo>
                <a:lnTo>
                  <a:pt x="5315" y="687"/>
                </a:lnTo>
                <a:lnTo>
                  <a:pt x="5244" y="578"/>
                </a:lnTo>
                <a:lnTo>
                  <a:pt x="5166" y="476"/>
                </a:lnTo>
                <a:lnTo>
                  <a:pt x="5081" y="382"/>
                </a:lnTo>
                <a:lnTo>
                  <a:pt x="4979" y="297"/>
                </a:lnTo>
                <a:lnTo>
                  <a:pt x="4878" y="227"/>
                </a:lnTo>
                <a:lnTo>
                  <a:pt x="4760" y="157"/>
                </a:lnTo>
                <a:lnTo>
                  <a:pt x="4644" y="102"/>
                </a:lnTo>
                <a:lnTo>
                  <a:pt x="4519" y="55"/>
                </a:lnTo>
                <a:lnTo>
                  <a:pt x="4386" y="24"/>
                </a:lnTo>
                <a:lnTo>
                  <a:pt x="4254" y="0"/>
                </a:lnTo>
                <a:lnTo>
                  <a:pt x="4113" y="0"/>
                </a:lnTo>
                <a:lnTo>
                  <a:pt x="4113" y="0"/>
                </a:lnTo>
                <a:lnTo>
                  <a:pt x="3972" y="0"/>
                </a:lnTo>
                <a:lnTo>
                  <a:pt x="3840" y="24"/>
                </a:lnTo>
                <a:lnTo>
                  <a:pt x="3707" y="55"/>
                </a:lnTo>
                <a:lnTo>
                  <a:pt x="3582" y="102"/>
                </a:lnTo>
                <a:lnTo>
                  <a:pt x="3458" y="157"/>
                </a:lnTo>
                <a:lnTo>
                  <a:pt x="3348" y="227"/>
                </a:lnTo>
                <a:lnTo>
                  <a:pt x="3239" y="297"/>
                </a:lnTo>
                <a:lnTo>
                  <a:pt x="3145" y="382"/>
                </a:lnTo>
                <a:lnTo>
                  <a:pt x="3060" y="476"/>
                </a:lnTo>
                <a:lnTo>
                  <a:pt x="2974" y="578"/>
                </a:lnTo>
                <a:lnTo>
                  <a:pt x="2911" y="687"/>
                </a:lnTo>
                <a:lnTo>
                  <a:pt x="2849" y="804"/>
                </a:lnTo>
                <a:lnTo>
                  <a:pt x="2802" y="929"/>
                </a:lnTo>
                <a:lnTo>
                  <a:pt x="2770" y="1054"/>
                </a:lnTo>
                <a:lnTo>
                  <a:pt x="2747" y="1186"/>
                </a:lnTo>
                <a:lnTo>
                  <a:pt x="2739" y="1319"/>
                </a:lnTo>
                <a:lnTo>
                  <a:pt x="2739" y="1319"/>
                </a:lnTo>
                <a:lnTo>
                  <a:pt x="2739" y="1390"/>
                </a:lnTo>
                <a:lnTo>
                  <a:pt x="2739" y="1390"/>
                </a:lnTo>
                <a:lnTo>
                  <a:pt x="2623" y="1429"/>
                </a:lnTo>
                <a:lnTo>
                  <a:pt x="2505" y="1483"/>
                </a:lnTo>
                <a:lnTo>
                  <a:pt x="2388" y="1538"/>
                </a:lnTo>
                <a:lnTo>
                  <a:pt x="2272" y="1592"/>
                </a:lnTo>
                <a:lnTo>
                  <a:pt x="2162" y="1655"/>
                </a:lnTo>
                <a:lnTo>
                  <a:pt x="2061" y="1725"/>
                </a:lnTo>
                <a:lnTo>
                  <a:pt x="1951" y="1795"/>
                </a:lnTo>
                <a:lnTo>
                  <a:pt x="1850" y="1874"/>
                </a:lnTo>
                <a:lnTo>
                  <a:pt x="1756" y="1951"/>
                </a:lnTo>
                <a:lnTo>
                  <a:pt x="1655" y="2029"/>
                </a:lnTo>
                <a:lnTo>
                  <a:pt x="1569" y="2115"/>
                </a:lnTo>
                <a:lnTo>
                  <a:pt x="1475" y="2209"/>
                </a:lnTo>
                <a:lnTo>
                  <a:pt x="1390" y="2295"/>
                </a:lnTo>
                <a:lnTo>
                  <a:pt x="1312" y="2396"/>
                </a:lnTo>
                <a:lnTo>
                  <a:pt x="1155" y="2591"/>
                </a:lnTo>
                <a:lnTo>
                  <a:pt x="1085" y="2693"/>
                </a:lnTo>
                <a:lnTo>
                  <a:pt x="1023" y="2802"/>
                </a:lnTo>
                <a:lnTo>
                  <a:pt x="960" y="2911"/>
                </a:lnTo>
                <a:lnTo>
                  <a:pt x="898" y="3020"/>
                </a:lnTo>
                <a:lnTo>
                  <a:pt x="851" y="3138"/>
                </a:lnTo>
                <a:lnTo>
                  <a:pt x="796" y="3246"/>
                </a:lnTo>
                <a:lnTo>
                  <a:pt x="749" y="3372"/>
                </a:lnTo>
                <a:lnTo>
                  <a:pt x="710" y="3489"/>
                </a:lnTo>
                <a:lnTo>
                  <a:pt x="671" y="3606"/>
                </a:lnTo>
                <a:lnTo>
                  <a:pt x="641" y="3730"/>
                </a:lnTo>
                <a:lnTo>
                  <a:pt x="617" y="3856"/>
                </a:lnTo>
                <a:lnTo>
                  <a:pt x="594" y="3981"/>
                </a:lnTo>
                <a:lnTo>
                  <a:pt x="578" y="4105"/>
                </a:lnTo>
                <a:lnTo>
                  <a:pt x="562" y="4238"/>
                </a:lnTo>
                <a:lnTo>
                  <a:pt x="555" y="4363"/>
                </a:lnTo>
                <a:lnTo>
                  <a:pt x="555" y="4495"/>
                </a:lnTo>
                <a:lnTo>
                  <a:pt x="555" y="4495"/>
                </a:lnTo>
                <a:lnTo>
                  <a:pt x="555" y="4565"/>
                </a:lnTo>
                <a:lnTo>
                  <a:pt x="562" y="4644"/>
                </a:lnTo>
                <a:lnTo>
                  <a:pt x="586" y="4784"/>
                </a:lnTo>
                <a:lnTo>
                  <a:pt x="609" y="4909"/>
                </a:lnTo>
                <a:lnTo>
                  <a:pt x="617" y="4971"/>
                </a:lnTo>
                <a:lnTo>
                  <a:pt x="617" y="5018"/>
                </a:lnTo>
                <a:lnTo>
                  <a:pt x="617" y="5018"/>
                </a:lnTo>
                <a:lnTo>
                  <a:pt x="492" y="5128"/>
                </a:lnTo>
                <a:lnTo>
                  <a:pt x="375" y="5245"/>
                </a:lnTo>
                <a:lnTo>
                  <a:pt x="273" y="5369"/>
                </a:lnTo>
                <a:lnTo>
                  <a:pt x="180" y="5502"/>
                </a:lnTo>
                <a:lnTo>
                  <a:pt x="110" y="5643"/>
                </a:lnTo>
                <a:lnTo>
                  <a:pt x="78" y="5712"/>
                </a:lnTo>
                <a:lnTo>
                  <a:pt x="55" y="5783"/>
                </a:lnTo>
                <a:lnTo>
                  <a:pt x="32" y="5861"/>
                </a:lnTo>
                <a:lnTo>
                  <a:pt x="16" y="5931"/>
                </a:lnTo>
                <a:lnTo>
                  <a:pt x="8" y="6010"/>
                </a:lnTo>
                <a:lnTo>
                  <a:pt x="0" y="6079"/>
                </a:lnTo>
                <a:close/>
              </a:path>
            </a:pathLst>
          </a:custGeom>
          <a:solidFill>
            <a:schemeClr val="accent1"/>
          </a:solidFill>
          <a:ln>
            <a:noFill/>
          </a:ln>
          <a:effectLst/>
          <a:extLst/>
        </p:spPr>
        <p:txBody>
          <a:bodyPr wrap="none" anchor="ctr"/>
          <a:lstStyle/>
          <a:p>
            <a:pPr defTabSz="932597"/>
            <a:endParaRPr lang="en-US" sz="1836">
              <a:solidFill>
                <a:srgbClr val="505050"/>
              </a:solidFill>
              <a:latin typeface="Segoe UI"/>
            </a:endParaRPr>
          </a:p>
        </p:txBody>
      </p:sp>
      <p:grpSp>
        <p:nvGrpSpPr>
          <p:cNvPr id="91" name="Group 90"/>
          <p:cNvGrpSpPr/>
          <p:nvPr/>
        </p:nvGrpSpPr>
        <p:grpSpPr>
          <a:xfrm>
            <a:off x="6722543" y="1707921"/>
            <a:ext cx="795628" cy="602241"/>
            <a:chOff x="2524125" y="20638"/>
            <a:chExt cx="4748213" cy="3594100"/>
          </a:xfrm>
          <a:solidFill>
            <a:schemeClr val="accent1"/>
          </a:solidFill>
        </p:grpSpPr>
        <p:sp>
          <p:nvSpPr>
            <p:cNvPr id="97" name="Freeform 10"/>
            <p:cNvSpPr>
              <a:spLocks noChangeArrowheads="1"/>
            </p:cNvSpPr>
            <p:nvPr/>
          </p:nvSpPr>
          <p:spPr bwMode="auto">
            <a:xfrm>
              <a:off x="4729163" y="1338263"/>
              <a:ext cx="1168400" cy="1179512"/>
            </a:xfrm>
            <a:custGeom>
              <a:avLst/>
              <a:gdLst>
                <a:gd name="T0" fmla="*/ 2895 w 3247"/>
                <a:gd name="T1" fmla="*/ 640 h 3278"/>
                <a:gd name="T2" fmla="*/ 2606 w 3247"/>
                <a:gd name="T3" fmla="*/ 351 h 3278"/>
                <a:gd name="T4" fmla="*/ 2326 w 3247"/>
                <a:gd name="T5" fmla="*/ 484 h 3278"/>
                <a:gd name="T6" fmla="*/ 2138 w 3247"/>
                <a:gd name="T7" fmla="*/ 367 h 3278"/>
                <a:gd name="T8" fmla="*/ 1928 w 3247"/>
                <a:gd name="T9" fmla="*/ 296 h 3278"/>
                <a:gd name="T10" fmla="*/ 1857 w 3247"/>
                <a:gd name="T11" fmla="*/ 0 h 3278"/>
                <a:gd name="T12" fmla="*/ 1397 w 3247"/>
                <a:gd name="T13" fmla="*/ 0 h 3278"/>
                <a:gd name="T14" fmla="*/ 1311 w 3247"/>
                <a:gd name="T15" fmla="*/ 296 h 3278"/>
                <a:gd name="T16" fmla="*/ 1085 w 3247"/>
                <a:gd name="T17" fmla="*/ 367 h 3278"/>
                <a:gd name="T18" fmla="*/ 812 w 3247"/>
                <a:gd name="T19" fmla="*/ 523 h 3278"/>
                <a:gd name="T20" fmla="*/ 641 w 3247"/>
                <a:gd name="T21" fmla="*/ 351 h 3278"/>
                <a:gd name="T22" fmla="*/ 469 w 3247"/>
                <a:gd name="T23" fmla="*/ 819 h 3278"/>
                <a:gd name="T24" fmla="*/ 391 w 3247"/>
                <a:gd name="T25" fmla="*/ 960 h 3278"/>
                <a:gd name="T26" fmla="*/ 235 w 3247"/>
                <a:gd name="T27" fmla="*/ 1405 h 3278"/>
                <a:gd name="T28" fmla="*/ 0 w 3247"/>
                <a:gd name="T29" fmla="*/ 1873 h 3278"/>
                <a:gd name="T30" fmla="*/ 235 w 3247"/>
                <a:gd name="T31" fmla="*/ 1873 h 3278"/>
                <a:gd name="T32" fmla="*/ 391 w 3247"/>
                <a:gd name="T33" fmla="*/ 2325 h 3278"/>
                <a:gd name="T34" fmla="*/ 298 w 3247"/>
                <a:gd name="T35" fmla="*/ 2630 h 3278"/>
                <a:gd name="T36" fmla="*/ 641 w 3247"/>
                <a:gd name="T37" fmla="*/ 2981 h 3278"/>
                <a:gd name="T38" fmla="*/ 945 w 3247"/>
                <a:gd name="T39" fmla="*/ 2887 h 3278"/>
                <a:gd name="T40" fmla="*/ 1397 w 3247"/>
                <a:gd name="T41" fmla="*/ 3044 h 3278"/>
                <a:gd name="T42" fmla="*/ 1397 w 3247"/>
                <a:gd name="T43" fmla="*/ 3277 h 3278"/>
                <a:gd name="T44" fmla="*/ 1857 w 3247"/>
                <a:gd name="T45" fmla="*/ 3044 h 3278"/>
                <a:gd name="T46" fmla="*/ 2138 w 3247"/>
                <a:gd name="T47" fmla="*/ 2942 h 3278"/>
                <a:gd name="T48" fmla="*/ 2326 w 3247"/>
                <a:gd name="T49" fmla="*/ 2848 h 3278"/>
                <a:gd name="T50" fmla="*/ 2606 w 3247"/>
                <a:gd name="T51" fmla="*/ 2981 h 3278"/>
                <a:gd name="T52" fmla="*/ 2895 w 3247"/>
                <a:gd name="T53" fmla="*/ 2630 h 3278"/>
                <a:gd name="T54" fmla="*/ 2809 w 3247"/>
                <a:gd name="T55" fmla="*/ 2325 h 3278"/>
                <a:gd name="T56" fmla="*/ 2911 w 3247"/>
                <a:gd name="T57" fmla="*/ 2115 h 3278"/>
                <a:gd name="T58" fmla="*/ 2957 w 3247"/>
                <a:gd name="T59" fmla="*/ 1873 h 3278"/>
                <a:gd name="T60" fmla="*/ 3246 w 3247"/>
                <a:gd name="T61" fmla="*/ 1873 h 3278"/>
                <a:gd name="T62" fmla="*/ 2957 w 3247"/>
                <a:gd name="T63" fmla="*/ 1405 h 3278"/>
                <a:gd name="T64" fmla="*/ 2911 w 3247"/>
                <a:gd name="T65" fmla="*/ 1186 h 3278"/>
                <a:gd name="T66" fmla="*/ 2724 w 3247"/>
                <a:gd name="T67" fmla="*/ 819 h 3278"/>
                <a:gd name="T68" fmla="*/ 1530 w 3247"/>
                <a:gd name="T69" fmla="*/ 2568 h 3278"/>
                <a:gd name="T70" fmla="*/ 1256 w 3247"/>
                <a:gd name="T71" fmla="*/ 2497 h 3278"/>
                <a:gd name="T72" fmla="*/ 1030 w 3247"/>
                <a:gd name="T73" fmla="*/ 2364 h 3278"/>
                <a:gd name="T74" fmla="*/ 851 w 3247"/>
                <a:gd name="T75" fmla="*/ 2162 h 3278"/>
                <a:gd name="T76" fmla="*/ 742 w 3247"/>
                <a:gd name="T77" fmla="*/ 1919 h 3278"/>
                <a:gd name="T78" fmla="*/ 704 w 3247"/>
                <a:gd name="T79" fmla="*/ 1639 h 3278"/>
                <a:gd name="T80" fmla="*/ 719 w 3247"/>
                <a:gd name="T81" fmla="*/ 1444 h 3278"/>
                <a:gd name="T82" fmla="*/ 812 w 3247"/>
                <a:gd name="T83" fmla="*/ 1186 h 3278"/>
                <a:gd name="T84" fmla="*/ 968 w 3247"/>
                <a:gd name="T85" fmla="*/ 968 h 3278"/>
                <a:gd name="T86" fmla="*/ 1178 w 3247"/>
                <a:gd name="T87" fmla="*/ 811 h 3278"/>
                <a:gd name="T88" fmla="*/ 1436 w 3247"/>
                <a:gd name="T89" fmla="*/ 718 h 3278"/>
                <a:gd name="T90" fmla="*/ 1623 w 3247"/>
                <a:gd name="T91" fmla="*/ 702 h 3278"/>
                <a:gd name="T92" fmla="*/ 1881 w 3247"/>
                <a:gd name="T93" fmla="*/ 741 h 3278"/>
                <a:gd name="T94" fmla="*/ 2122 w 3247"/>
                <a:gd name="T95" fmla="*/ 858 h 3278"/>
                <a:gd name="T96" fmla="*/ 2326 w 3247"/>
                <a:gd name="T97" fmla="*/ 1038 h 3278"/>
                <a:gd name="T98" fmla="*/ 2473 w 3247"/>
                <a:gd name="T99" fmla="*/ 1272 h 3278"/>
                <a:gd name="T100" fmla="*/ 2544 w 3247"/>
                <a:gd name="T101" fmla="*/ 1537 h 3278"/>
                <a:gd name="T102" fmla="*/ 2544 w 3247"/>
                <a:gd name="T103" fmla="*/ 1733 h 3278"/>
                <a:gd name="T104" fmla="*/ 2473 w 3247"/>
                <a:gd name="T105" fmla="*/ 2005 h 3278"/>
                <a:gd name="T106" fmla="*/ 2326 w 3247"/>
                <a:gd name="T107" fmla="*/ 2240 h 3278"/>
                <a:gd name="T108" fmla="*/ 2122 w 3247"/>
                <a:gd name="T109" fmla="*/ 2419 h 3278"/>
                <a:gd name="T110" fmla="*/ 1881 w 3247"/>
                <a:gd name="T111" fmla="*/ 2528 h 3278"/>
                <a:gd name="T112" fmla="*/ 1623 w 3247"/>
                <a:gd name="T113" fmla="*/ 2575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7" h="3278">
                  <a:moveTo>
                    <a:pt x="2724" y="819"/>
                  </a:moveTo>
                  <a:lnTo>
                    <a:pt x="2724" y="819"/>
                  </a:lnTo>
                  <a:lnTo>
                    <a:pt x="2895" y="640"/>
                  </a:lnTo>
                  <a:lnTo>
                    <a:pt x="2895" y="640"/>
                  </a:lnTo>
                  <a:lnTo>
                    <a:pt x="2606" y="351"/>
                  </a:lnTo>
                  <a:lnTo>
                    <a:pt x="2606" y="351"/>
                  </a:lnTo>
                  <a:lnTo>
                    <a:pt x="2380" y="523"/>
                  </a:lnTo>
                  <a:lnTo>
                    <a:pt x="2380" y="523"/>
                  </a:lnTo>
                  <a:lnTo>
                    <a:pt x="2326" y="484"/>
                  </a:lnTo>
                  <a:lnTo>
                    <a:pt x="2271" y="437"/>
                  </a:lnTo>
                  <a:lnTo>
                    <a:pt x="2208" y="398"/>
                  </a:lnTo>
                  <a:lnTo>
                    <a:pt x="2138" y="367"/>
                  </a:lnTo>
                  <a:lnTo>
                    <a:pt x="2068" y="335"/>
                  </a:lnTo>
                  <a:lnTo>
                    <a:pt x="1997" y="312"/>
                  </a:lnTo>
                  <a:lnTo>
                    <a:pt x="1928" y="296"/>
                  </a:lnTo>
                  <a:lnTo>
                    <a:pt x="1857" y="288"/>
                  </a:lnTo>
                  <a:lnTo>
                    <a:pt x="1857" y="288"/>
                  </a:lnTo>
                  <a:lnTo>
                    <a:pt x="1857" y="0"/>
                  </a:lnTo>
                  <a:lnTo>
                    <a:pt x="1857" y="0"/>
                  </a:lnTo>
                  <a:lnTo>
                    <a:pt x="1397" y="0"/>
                  </a:lnTo>
                  <a:lnTo>
                    <a:pt x="1397" y="0"/>
                  </a:lnTo>
                  <a:lnTo>
                    <a:pt x="1397" y="288"/>
                  </a:lnTo>
                  <a:lnTo>
                    <a:pt x="1397" y="288"/>
                  </a:lnTo>
                  <a:lnTo>
                    <a:pt x="1311" y="296"/>
                  </a:lnTo>
                  <a:lnTo>
                    <a:pt x="1233" y="312"/>
                  </a:lnTo>
                  <a:lnTo>
                    <a:pt x="1155" y="335"/>
                  </a:lnTo>
                  <a:lnTo>
                    <a:pt x="1085" y="367"/>
                  </a:lnTo>
                  <a:lnTo>
                    <a:pt x="1014" y="398"/>
                  </a:lnTo>
                  <a:lnTo>
                    <a:pt x="945" y="437"/>
                  </a:lnTo>
                  <a:lnTo>
                    <a:pt x="812" y="523"/>
                  </a:lnTo>
                  <a:lnTo>
                    <a:pt x="812" y="523"/>
                  </a:lnTo>
                  <a:lnTo>
                    <a:pt x="641" y="351"/>
                  </a:lnTo>
                  <a:lnTo>
                    <a:pt x="641" y="351"/>
                  </a:lnTo>
                  <a:lnTo>
                    <a:pt x="298" y="640"/>
                  </a:lnTo>
                  <a:lnTo>
                    <a:pt x="298" y="640"/>
                  </a:lnTo>
                  <a:lnTo>
                    <a:pt x="469" y="819"/>
                  </a:lnTo>
                  <a:lnTo>
                    <a:pt x="469" y="819"/>
                  </a:lnTo>
                  <a:lnTo>
                    <a:pt x="430" y="890"/>
                  </a:lnTo>
                  <a:lnTo>
                    <a:pt x="391" y="960"/>
                  </a:lnTo>
                  <a:lnTo>
                    <a:pt x="329" y="1108"/>
                  </a:lnTo>
                  <a:lnTo>
                    <a:pt x="235" y="1405"/>
                  </a:lnTo>
                  <a:lnTo>
                    <a:pt x="235" y="1405"/>
                  </a:lnTo>
                  <a:lnTo>
                    <a:pt x="0" y="1405"/>
                  </a:lnTo>
                  <a:lnTo>
                    <a:pt x="0" y="1405"/>
                  </a:lnTo>
                  <a:lnTo>
                    <a:pt x="0" y="1873"/>
                  </a:lnTo>
                  <a:lnTo>
                    <a:pt x="0" y="1873"/>
                  </a:lnTo>
                  <a:lnTo>
                    <a:pt x="235" y="1873"/>
                  </a:lnTo>
                  <a:lnTo>
                    <a:pt x="235" y="1873"/>
                  </a:lnTo>
                  <a:lnTo>
                    <a:pt x="282" y="2037"/>
                  </a:lnTo>
                  <a:lnTo>
                    <a:pt x="329" y="2185"/>
                  </a:lnTo>
                  <a:lnTo>
                    <a:pt x="391" y="2325"/>
                  </a:lnTo>
                  <a:lnTo>
                    <a:pt x="469" y="2458"/>
                  </a:lnTo>
                  <a:lnTo>
                    <a:pt x="469" y="2458"/>
                  </a:lnTo>
                  <a:lnTo>
                    <a:pt x="298" y="2630"/>
                  </a:lnTo>
                  <a:lnTo>
                    <a:pt x="298" y="2630"/>
                  </a:lnTo>
                  <a:lnTo>
                    <a:pt x="641" y="2981"/>
                  </a:lnTo>
                  <a:lnTo>
                    <a:pt x="641" y="2981"/>
                  </a:lnTo>
                  <a:lnTo>
                    <a:pt x="812" y="2809"/>
                  </a:lnTo>
                  <a:lnTo>
                    <a:pt x="812" y="2809"/>
                  </a:lnTo>
                  <a:lnTo>
                    <a:pt x="945" y="2887"/>
                  </a:lnTo>
                  <a:lnTo>
                    <a:pt x="1085" y="2942"/>
                  </a:lnTo>
                  <a:lnTo>
                    <a:pt x="1233" y="2997"/>
                  </a:lnTo>
                  <a:lnTo>
                    <a:pt x="1397" y="3044"/>
                  </a:lnTo>
                  <a:lnTo>
                    <a:pt x="1397" y="3044"/>
                  </a:lnTo>
                  <a:lnTo>
                    <a:pt x="1397" y="3277"/>
                  </a:lnTo>
                  <a:lnTo>
                    <a:pt x="1397" y="3277"/>
                  </a:lnTo>
                  <a:lnTo>
                    <a:pt x="1857" y="3277"/>
                  </a:lnTo>
                  <a:lnTo>
                    <a:pt x="1857" y="3277"/>
                  </a:lnTo>
                  <a:lnTo>
                    <a:pt x="1857" y="3044"/>
                  </a:lnTo>
                  <a:lnTo>
                    <a:pt x="1857" y="3044"/>
                  </a:lnTo>
                  <a:lnTo>
                    <a:pt x="1997" y="2997"/>
                  </a:lnTo>
                  <a:lnTo>
                    <a:pt x="2138" y="2942"/>
                  </a:lnTo>
                  <a:lnTo>
                    <a:pt x="2208" y="2919"/>
                  </a:lnTo>
                  <a:lnTo>
                    <a:pt x="2271" y="2887"/>
                  </a:lnTo>
                  <a:lnTo>
                    <a:pt x="2326" y="2848"/>
                  </a:lnTo>
                  <a:lnTo>
                    <a:pt x="2380" y="2809"/>
                  </a:lnTo>
                  <a:lnTo>
                    <a:pt x="2380" y="2809"/>
                  </a:lnTo>
                  <a:lnTo>
                    <a:pt x="2606" y="2981"/>
                  </a:lnTo>
                  <a:lnTo>
                    <a:pt x="2606" y="2981"/>
                  </a:lnTo>
                  <a:lnTo>
                    <a:pt x="2895" y="2630"/>
                  </a:lnTo>
                  <a:lnTo>
                    <a:pt x="2895" y="2630"/>
                  </a:lnTo>
                  <a:lnTo>
                    <a:pt x="2724" y="2458"/>
                  </a:lnTo>
                  <a:lnTo>
                    <a:pt x="2724" y="2458"/>
                  </a:lnTo>
                  <a:lnTo>
                    <a:pt x="2809" y="2325"/>
                  </a:lnTo>
                  <a:lnTo>
                    <a:pt x="2848" y="2256"/>
                  </a:lnTo>
                  <a:lnTo>
                    <a:pt x="2887" y="2185"/>
                  </a:lnTo>
                  <a:lnTo>
                    <a:pt x="2911" y="2115"/>
                  </a:lnTo>
                  <a:lnTo>
                    <a:pt x="2934" y="2037"/>
                  </a:lnTo>
                  <a:lnTo>
                    <a:pt x="2950" y="1958"/>
                  </a:lnTo>
                  <a:lnTo>
                    <a:pt x="2957" y="1873"/>
                  </a:lnTo>
                  <a:lnTo>
                    <a:pt x="2957" y="1873"/>
                  </a:lnTo>
                  <a:lnTo>
                    <a:pt x="3246" y="1873"/>
                  </a:lnTo>
                  <a:lnTo>
                    <a:pt x="3246" y="1873"/>
                  </a:lnTo>
                  <a:lnTo>
                    <a:pt x="3246" y="1405"/>
                  </a:lnTo>
                  <a:lnTo>
                    <a:pt x="2957" y="1405"/>
                  </a:lnTo>
                  <a:lnTo>
                    <a:pt x="2957" y="1405"/>
                  </a:lnTo>
                  <a:lnTo>
                    <a:pt x="2950" y="1335"/>
                  </a:lnTo>
                  <a:lnTo>
                    <a:pt x="2934" y="1264"/>
                  </a:lnTo>
                  <a:lnTo>
                    <a:pt x="2911" y="1186"/>
                  </a:lnTo>
                  <a:lnTo>
                    <a:pt x="2887" y="1108"/>
                  </a:lnTo>
                  <a:lnTo>
                    <a:pt x="2809" y="960"/>
                  </a:lnTo>
                  <a:lnTo>
                    <a:pt x="2724" y="819"/>
                  </a:lnTo>
                  <a:close/>
                  <a:moveTo>
                    <a:pt x="1623" y="2575"/>
                  </a:moveTo>
                  <a:lnTo>
                    <a:pt x="1623" y="2575"/>
                  </a:lnTo>
                  <a:lnTo>
                    <a:pt x="1530" y="2568"/>
                  </a:lnTo>
                  <a:lnTo>
                    <a:pt x="1436" y="2552"/>
                  </a:lnTo>
                  <a:lnTo>
                    <a:pt x="1342" y="2528"/>
                  </a:lnTo>
                  <a:lnTo>
                    <a:pt x="1256" y="2497"/>
                  </a:lnTo>
                  <a:lnTo>
                    <a:pt x="1178" y="2458"/>
                  </a:lnTo>
                  <a:lnTo>
                    <a:pt x="1101" y="2419"/>
                  </a:lnTo>
                  <a:lnTo>
                    <a:pt x="1030" y="2364"/>
                  </a:lnTo>
                  <a:lnTo>
                    <a:pt x="968" y="2302"/>
                  </a:lnTo>
                  <a:lnTo>
                    <a:pt x="906" y="2240"/>
                  </a:lnTo>
                  <a:lnTo>
                    <a:pt x="851" y="2162"/>
                  </a:lnTo>
                  <a:lnTo>
                    <a:pt x="812" y="2084"/>
                  </a:lnTo>
                  <a:lnTo>
                    <a:pt x="773" y="2005"/>
                  </a:lnTo>
                  <a:lnTo>
                    <a:pt x="742" y="1919"/>
                  </a:lnTo>
                  <a:lnTo>
                    <a:pt x="719" y="1826"/>
                  </a:lnTo>
                  <a:lnTo>
                    <a:pt x="704" y="1733"/>
                  </a:lnTo>
                  <a:lnTo>
                    <a:pt x="704" y="1639"/>
                  </a:lnTo>
                  <a:lnTo>
                    <a:pt x="704" y="1639"/>
                  </a:lnTo>
                  <a:lnTo>
                    <a:pt x="704" y="1537"/>
                  </a:lnTo>
                  <a:lnTo>
                    <a:pt x="719" y="1444"/>
                  </a:lnTo>
                  <a:lnTo>
                    <a:pt x="742" y="1358"/>
                  </a:lnTo>
                  <a:lnTo>
                    <a:pt x="773" y="1272"/>
                  </a:lnTo>
                  <a:lnTo>
                    <a:pt x="812" y="1186"/>
                  </a:lnTo>
                  <a:lnTo>
                    <a:pt x="851" y="1108"/>
                  </a:lnTo>
                  <a:lnTo>
                    <a:pt x="906" y="1038"/>
                  </a:lnTo>
                  <a:lnTo>
                    <a:pt x="968" y="968"/>
                  </a:lnTo>
                  <a:lnTo>
                    <a:pt x="1030" y="913"/>
                  </a:lnTo>
                  <a:lnTo>
                    <a:pt x="1101" y="858"/>
                  </a:lnTo>
                  <a:lnTo>
                    <a:pt x="1178" y="811"/>
                  </a:lnTo>
                  <a:lnTo>
                    <a:pt x="1256" y="772"/>
                  </a:lnTo>
                  <a:lnTo>
                    <a:pt x="1342" y="741"/>
                  </a:lnTo>
                  <a:lnTo>
                    <a:pt x="1436" y="718"/>
                  </a:lnTo>
                  <a:lnTo>
                    <a:pt x="1530" y="702"/>
                  </a:lnTo>
                  <a:lnTo>
                    <a:pt x="1623" y="702"/>
                  </a:lnTo>
                  <a:lnTo>
                    <a:pt x="1623" y="702"/>
                  </a:lnTo>
                  <a:lnTo>
                    <a:pt x="1709" y="702"/>
                  </a:lnTo>
                  <a:lnTo>
                    <a:pt x="1795" y="718"/>
                  </a:lnTo>
                  <a:lnTo>
                    <a:pt x="1881" y="741"/>
                  </a:lnTo>
                  <a:lnTo>
                    <a:pt x="1966" y="772"/>
                  </a:lnTo>
                  <a:lnTo>
                    <a:pt x="2044" y="811"/>
                  </a:lnTo>
                  <a:lnTo>
                    <a:pt x="2122" y="858"/>
                  </a:lnTo>
                  <a:lnTo>
                    <a:pt x="2193" y="913"/>
                  </a:lnTo>
                  <a:lnTo>
                    <a:pt x="2263" y="968"/>
                  </a:lnTo>
                  <a:lnTo>
                    <a:pt x="2326" y="1038"/>
                  </a:lnTo>
                  <a:lnTo>
                    <a:pt x="2380" y="1108"/>
                  </a:lnTo>
                  <a:lnTo>
                    <a:pt x="2426" y="1186"/>
                  </a:lnTo>
                  <a:lnTo>
                    <a:pt x="2473" y="1272"/>
                  </a:lnTo>
                  <a:lnTo>
                    <a:pt x="2505" y="1358"/>
                  </a:lnTo>
                  <a:lnTo>
                    <a:pt x="2528" y="1444"/>
                  </a:lnTo>
                  <a:lnTo>
                    <a:pt x="2544" y="1537"/>
                  </a:lnTo>
                  <a:lnTo>
                    <a:pt x="2552" y="1639"/>
                  </a:lnTo>
                  <a:lnTo>
                    <a:pt x="2552" y="1639"/>
                  </a:lnTo>
                  <a:lnTo>
                    <a:pt x="2544" y="1733"/>
                  </a:lnTo>
                  <a:lnTo>
                    <a:pt x="2528" y="1826"/>
                  </a:lnTo>
                  <a:lnTo>
                    <a:pt x="2505" y="1919"/>
                  </a:lnTo>
                  <a:lnTo>
                    <a:pt x="2473" y="2005"/>
                  </a:lnTo>
                  <a:lnTo>
                    <a:pt x="2426" y="2084"/>
                  </a:lnTo>
                  <a:lnTo>
                    <a:pt x="2380" y="2162"/>
                  </a:lnTo>
                  <a:lnTo>
                    <a:pt x="2326" y="2240"/>
                  </a:lnTo>
                  <a:lnTo>
                    <a:pt x="2263" y="2302"/>
                  </a:lnTo>
                  <a:lnTo>
                    <a:pt x="2193" y="2364"/>
                  </a:lnTo>
                  <a:lnTo>
                    <a:pt x="2122" y="2419"/>
                  </a:lnTo>
                  <a:lnTo>
                    <a:pt x="2044" y="2458"/>
                  </a:lnTo>
                  <a:lnTo>
                    <a:pt x="1966" y="2497"/>
                  </a:lnTo>
                  <a:lnTo>
                    <a:pt x="1881" y="2528"/>
                  </a:lnTo>
                  <a:lnTo>
                    <a:pt x="1795" y="2552"/>
                  </a:lnTo>
                  <a:lnTo>
                    <a:pt x="1709" y="2568"/>
                  </a:lnTo>
                  <a:lnTo>
                    <a:pt x="1623" y="2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11"/>
            <p:cNvSpPr>
              <a:spLocks noChangeArrowheads="1"/>
            </p:cNvSpPr>
            <p:nvPr/>
          </p:nvSpPr>
          <p:spPr bwMode="auto">
            <a:xfrm>
              <a:off x="3898900" y="515938"/>
              <a:ext cx="1146175" cy="1160462"/>
            </a:xfrm>
            <a:custGeom>
              <a:avLst/>
              <a:gdLst>
                <a:gd name="T0" fmla="*/ 2380 w 3185"/>
                <a:gd name="T1" fmla="*/ 2723 h 3224"/>
                <a:gd name="T2" fmla="*/ 2568 w 3185"/>
                <a:gd name="T3" fmla="*/ 2590 h 3224"/>
                <a:gd name="T4" fmla="*/ 2731 w 3185"/>
                <a:gd name="T5" fmla="*/ 2411 h 3224"/>
                <a:gd name="T6" fmla="*/ 3013 w 3185"/>
                <a:gd name="T7" fmla="*/ 2458 h 3224"/>
                <a:gd name="T8" fmla="*/ 3184 w 3185"/>
                <a:gd name="T9" fmla="*/ 1990 h 3224"/>
                <a:gd name="T10" fmla="*/ 2973 w 3185"/>
                <a:gd name="T11" fmla="*/ 1849 h 3224"/>
                <a:gd name="T12" fmla="*/ 2997 w 3185"/>
                <a:gd name="T13" fmla="*/ 1592 h 3224"/>
                <a:gd name="T14" fmla="*/ 2973 w 3185"/>
                <a:gd name="T15" fmla="*/ 1357 h 3224"/>
                <a:gd name="T16" fmla="*/ 3184 w 3185"/>
                <a:gd name="T17" fmla="*/ 1170 h 3224"/>
                <a:gd name="T18" fmla="*/ 2778 w 3185"/>
                <a:gd name="T19" fmla="*/ 819 h 3224"/>
                <a:gd name="T20" fmla="*/ 2676 w 3185"/>
                <a:gd name="T21" fmla="*/ 702 h 3224"/>
                <a:gd name="T22" fmla="*/ 2442 w 3185"/>
                <a:gd name="T23" fmla="*/ 499 h 3224"/>
                <a:gd name="T24" fmla="*/ 2427 w 3185"/>
                <a:gd name="T25" fmla="*/ 179 h 3224"/>
                <a:gd name="T26" fmla="*/ 2021 w 3185"/>
                <a:gd name="T27" fmla="*/ 0 h 3224"/>
                <a:gd name="T28" fmla="*/ 1841 w 3185"/>
                <a:gd name="T29" fmla="*/ 218 h 3224"/>
                <a:gd name="T30" fmla="*/ 1615 w 3185"/>
                <a:gd name="T31" fmla="*/ 194 h 3224"/>
                <a:gd name="T32" fmla="*/ 1358 w 3185"/>
                <a:gd name="T33" fmla="*/ 218 h 3224"/>
                <a:gd name="T34" fmla="*/ 1217 w 3185"/>
                <a:gd name="T35" fmla="*/ 0 h 3224"/>
                <a:gd name="T36" fmla="*/ 749 w 3185"/>
                <a:gd name="T37" fmla="*/ 179 h 3224"/>
                <a:gd name="T38" fmla="*/ 733 w 3185"/>
                <a:gd name="T39" fmla="*/ 499 h 3224"/>
                <a:gd name="T40" fmla="*/ 500 w 3185"/>
                <a:gd name="T41" fmla="*/ 702 h 3224"/>
                <a:gd name="T42" fmla="*/ 406 w 3185"/>
                <a:gd name="T43" fmla="*/ 819 h 3224"/>
                <a:gd name="T44" fmla="*/ 0 w 3185"/>
                <a:gd name="T45" fmla="*/ 1170 h 3224"/>
                <a:gd name="T46" fmla="*/ 226 w 3185"/>
                <a:gd name="T47" fmla="*/ 1287 h 3224"/>
                <a:gd name="T48" fmla="*/ 187 w 3185"/>
                <a:gd name="T49" fmla="*/ 1506 h 3224"/>
                <a:gd name="T50" fmla="*/ 195 w 3185"/>
                <a:gd name="T51" fmla="*/ 1755 h 3224"/>
                <a:gd name="T52" fmla="*/ 226 w 3185"/>
                <a:gd name="T53" fmla="*/ 1935 h 3224"/>
                <a:gd name="T54" fmla="*/ 172 w 3185"/>
                <a:gd name="T55" fmla="*/ 2458 h 3224"/>
                <a:gd name="T56" fmla="*/ 406 w 3185"/>
                <a:gd name="T57" fmla="*/ 2341 h 3224"/>
                <a:gd name="T58" fmla="*/ 554 w 3185"/>
                <a:gd name="T59" fmla="*/ 2536 h 3224"/>
                <a:gd name="T60" fmla="*/ 733 w 3185"/>
                <a:gd name="T61" fmla="*/ 2692 h 3224"/>
                <a:gd name="T62" fmla="*/ 866 w 3185"/>
                <a:gd name="T63" fmla="*/ 2754 h 3224"/>
                <a:gd name="T64" fmla="*/ 1217 w 3185"/>
                <a:gd name="T65" fmla="*/ 3223 h 3224"/>
                <a:gd name="T66" fmla="*/ 1272 w 3185"/>
                <a:gd name="T67" fmla="*/ 2988 h 3224"/>
                <a:gd name="T68" fmla="*/ 2021 w 3185"/>
                <a:gd name="T69" fmla="*/ 3223 h 3224"/>
                <a:gd name="T70" fmla="*/ 2427 w 3185"/>
                <a:gd name="T71" fmla="*/ 3043 h 3224"/>
                <a:gd name="T72" fmla="*/ 1966 w 3185"/>
                <a:gd name="T73" fmla="*/ 2458 h 3224"/>
                <a:gd name="T74" fmla="*/ 1693 w 3185"/>
                <a:gd name="T75" fmla="*/ 2520 h 3224"/>
                <a:gd name="T76" fmla="*/ 1420 w 3185"/>
                <a:gd name="T77" fmla="*/ 2497 h 3224"/>
                <a:gd name="T78" fmla="*/ 1170 w 3185"/>
                <a:gd name="T79" fmla="*/ 2395 h 3224"/>
                <a:gd name="T80" fmla="*/ 952 w 3185"/>
                <a:gd name="T81" fmla="*/ 2239 h 3224"/>
                <a:gd name="T82" fmla="*/ 788 w 3185"/>
                <a:gd name="T83" fmla="*/ 2021 h 3224"/>
                <a:gd name="T84" fmla="*/ 710 w 3185"/>
                <a:gd name="T85" fmla="*/ 1849 h 3224"/>
                <a:gd name="T86" fmla="*/ 663 w 3185"/>
                <a:gd name="T87" fmla="*/ 1576 h 3224"/>
                <a:gd name="T88" fmla="*/ 694 w 3185"/>
                <a:gd name="T89" fmla="*/ 1318 h 3224"/>
                <a:gd name="T90" fmla="*/ 804 w 3185"/>
                <a:gd name="T91" fmla="*/ 1076 h 3224"/>
                <a:gd name="T92" fmla="*/ 976 w 3185"/>
                <a:gd name="T93" fmla="*/ 866 h 3224"/>
                <a:gd name="T94" fmla="*/ 1217 w 3185"/>
                <a:gd name="T95" fmla="*/ 702 h 3224"/>
                <a:gd name="T96" fmla="*/ 1405 w 3185"/>
                <a:gd name="T97" fmla="*/ 655 h 3224"/>
                <a:gd name="T98" fmla="*/ 1693 w 3185"/>
                <a:gd name="T99" fmla="*/ 655 h 3224"/>
                <a:gd name="T100" fmla="*/ 1951 w 3185"/>
                <a:gd name="T101" fmla="*/ 725 h 3224"/>
                <a:gd name="T102" fmla="*/ 2177 w 3185"/>
                <a:gd name="T103" fmla="*/ 866 h 3224"/>
                <a:gd name="T104" fmla="*/ 2349 w 3185"/>
                <a:gd name="T105" fmla="*/ 1069 h 3224"/>
                <a:gd name="T106" fmla="*/ 2427 w 3185"/>
                <a:gd name="T107" fmla="*/ 1233 h 3224"/>
                <a:gd name="T108" fmla="*/ 2513 w 3185"/>
                <a:gd name="T109" fmla="*/ 1506 h 3224"/>
                <a:gd name="T110" fmla="*/ 2505 w 3185"/>
                <a:gd name="T111" fmla="*/ 1778 h 3224"/>
                <a:gd name="T112" fmla="*/ 2419 w 3185"/>
                <a:gd name="T113" fmla="*/ 2037 h 3224"/>
                <a:gd name="T114" fmla="*/ 2263 w 3185"/>
                <a:gd name="T115" fmla="*/ 2262 h 3224"/>
                <a:gd name="T116" fmla="*/ 2052 w 3185"/>
                <a:gd name="T117" fmla="*/ 2427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5" h="3224">
                  <a:moveTo>
                    <a:pt x="2309" y="2754"/>
                  </a:moveTo>
                  <a:lnTo>
                    <a:pt x="2309" y="2754"/>
                  </a:lnTo>
                  <a:lnTo>
                    <a:pt x="2380" y="2723"/>
                  </a:lnTo>
                  <a:lnTo>
                    <a:pt x="2442" y="2692"/>
                  </a:lnTo>
                  <a:lnTo>
                    <a:pt x="2505" y="2645"/>
                  </a:lnTo>
                  <a:lnTo>
                    <a:pt x="2568" y="2590"/>
                  </a:lnTo>
                  <a:lnTo>
                    <a:pt x="2622" y="2536"/>
                  </a:lnTo>
                  <a:lnTo>
                    <a:pt x="2676" y="2474"/>
                  </a:lnTo>
                  <a:lnTo>
                    <a:pt x="2731" y="2411"/>
                  </a:lnTo>
                  <a:lnTo>
                    <a:pt x="2778" y="2341"/>
                  </a:lnTo>
                  <a:lnTo>
                    <a:pt x="2778" y="2341"/>
                  </a:lnTo>
                  <a:lnTo>
                    <a:pt x="3013" y="2458"/>
                  </a:lnTo>
                  <a:lnTo>
                    <a:pt x="3013" y="2458"/>
                  </a:lnTo>
                  <a:lnTo>
                    <a:pt x="3184" y="1990"/>
                  </a:lnTo>
                  <a:lnTo>
                    <a:pt x="3184" y="1990"/>
                  </a:lnTo>
                  <a:lnTo>
                    <a:pt x="2950" y="1935"/>
                  </a:lnTo>
                  <a:lnTo>
                    <a:pt x="2950" y="1935"/>
                  </a:lnTo>
                  <a:lnTo>
                    <a:pt x="2973" y="1849"/>
                  </a:lnTo>
                  <a:lnTo>
                    <a:pt x="2981" y="1755"/>
                  </a:lnTo>
                  <a:lnTo>
                    <a:pt x="2989" y="1678"/>
                  </a:lnTo>
                  <a:lnTo>
                    <a:pt x="2997" y="1592"/>
                  </a:lnTo>
                  <a:lnTo>
                    <a:pt x="2989" y="1506"/>
                  </a:lnTo>
                  <a:lnTo>
                    <a:pt x="2981" y="1435"/>
                  </a:lnTo>
                  <a:lnTo>
                    <a:pt x="2973" y="1357"/>
                  </a:lnTo>
                  <a:lnTo>
                    <a:pt x="2950" y="1287"/>
                  </a:lnTo>
                  <a:lnTo>
                    <a:pt x="2950" y="1287"/>
                  </a:lnTo>
                  <a:lnTo>
                    <a:pt x="3184" y="1170"/>
                  </a:lnTo>
                  <a:lnTo>
                    <a:pt x="3184" y="1170"/>
                  </a:lnTo>
                  <a:lnTo>
                    <a:pt x="3013" y="764"/>
                  </a:lnTo>
                  <a:lnTo>
                    <a:pt x="2778" y="819"/>
                  </a:lnTo>
                  <a:lnTo>
                    <a:pt x="2778" y="819"/>
                  </a:lnTo>
                  <a:lnTo>
                    <a:pt x="2731" y="757"/>
                  </a:lnTo>
                  <a:lnTo>
                    <a:pt x="2676" y="702"/>
                  </a:lnTo>
                  <a:lnTo>
                    <a:pt x="2622" y="647"/>
                  </a:lnTo>
                  <a:lnTo>
                    <a:pt x="2568" y="592"/>
                  </a:lnTo>
                  <a:lnTo>
                    <a:pt x="2442" y="499"/>
                  </a:lnTo>
                  <a:lnTo>
                    <a:pt x="2309" y="413"/>
                  </a:lnTo>
                  <a:lnTo>
                    <a:pt x="2309" y="413"/>
                  </a:lnTo>
                  <a:lnTo>
                    <a:pt x="2427" y="179"/>
                  </a:lnTo>
                  <a:lnTo>
                    <a:pt x="2427" y="179"/>
                  </a:lnTo>
                  <a:lnTo>
                    <a:pt x="2021" y="0"/>
                  </a:lnTo>
                  <a:lnTo>
                    <a:pt x="2021" y="0"/>
                  </a:lnTo>
                  <a:lnTo>
                    <a:pt x="1912" y="233"/>
                  </a:lnTo>
                  <a:lnTo>
                    <a:pt x="1912" y="233"/>
                  </a:lnTo>
                  <a:lnTo>
                    <a:pt x="1841" y="218"/>
                  </a:lnTo>
                  <a:lnTo>
                    <a:pt x="1772" y="202"/>
                  </a:lnTo>
                  <a:lnTo>
                    <a:pt x="1693" y="194"/>
                  </a:lnTo>
                  <a:lnTo>
                    <a:pt x="1615" y="194"/>
                  </a:lnTo>
                  <a:lnTo>
                    <a:pt x="1529" y="194"/>
                  </a:lnTo>
                  <a:lnTo>
                    <a:pt x="1443" y="202"/>
                  </a:lnTo>
                  <a:lnTo>
                    <a:pt x="1358" y="218"/>
                  </a:lnTo>
                  <a:lnTo>
                    <a:pt x="1272" y="233"/>
                  </a:lnTo>
                  <a:lnTo>
                    <a:pt x="1272" y="233"/>
                  </a:lnTo>
                  <a:lnTo>
                    <a:pt x="1217" y="0"/>
                  </a:lnTo>
                  <a:lnTo>
                    <a:pt x="1217" y="0"/>
                  </a:lnTo>
                  <a:lnTo>
                    <a:pt x="749" y="179"/>
                  </a:lnTo>
                  <a:lnTo>
                    <a:pt x="749" y="179"/>
                  </a:lnTo>
                  <a:lnTo>
                    <a:pt x="866" y="413"/>
                  </a:lnTo>
                  <a:lnTo>
                    <a:pt x="866" y="413"/>
                  </a:lnTo>
                  <a:lnTo>
                    <a:pt x="733" y="499"/>
                  </a:lnTo>
                  <a:lnTo>
                    <a:pt x="616" y="592"/>
                  </a:lnTo>
                  <a:lnTo>
                    <a:pt x="554" y="647"/>
                  </a:lnTo>
                  <a:lnTo>
                    <a:pt x="500" y="702"/>
                  </a:lnTo>
                  <a:lnTo>
                    <a:pt x="453" y="757"/>
                  </a:lnTo>
                  <a:lnTo>
                    <a:pt x="406" y="819"/>
                  </a:lnTo>
                  <a:lnTo>
                    <a:pt x="406" y="819"/>
                  </a:lnTo>
                  <a:lnTo>
                    <a:pt x="172" y="764"/>
                  </a:lnTo>
                  <a:lnTo>
                    <a:pt x="172" y="764"/>
                  </a:lnTo>
                  <a:lnTo>
                    <a:pt x="0" y="1170"/>
                  </a:lnTo>
                  <a:lnTo>
                    <a:pt x="0" y="1170"/>
                  </a:lnTo>
                  <a:lnTo>
                    <a:pt x="226" y="1287"/>
                  </a:lnTo>
                  <a:lnTo>
                    <a:pt x="226" y="1287"/>
                  </a:lnTo>
                  <a:lnTo>
                    <a:pt x="210" y="1357"/>
                  </a:lnTo>
                  <a:lnTo>
                    <a:pt x="195" y="1435"/>
                  </a:lnTo>
                  <a:lnTo>
                    <a:pt x="187" y="1506"/>
                  </a:lnTo>
                  <a:lnTo>
                    <a:pt x="187" y="1592"/>
                  </a:lnTo>
                  <a:lnTo>
                    <a:pt x="187" y="1678"/>
                  </a:lnTo>
                  <a:lnTo>
                    <a:pt x="195" y="1755"/>
                  </a:lnTo>
                  <a:lnTo>
                    <a:pt x="210" y="1849"/>
                  </a:lnTo>
                  <a:lnTo>
                    <a:pt x="226" y="1935"/>
                  </a:lnTo>
                  <a:lnTo>
                    <a:pt x="226" y="1935"/>
                  </a:lnTo>
                  <a:lnTo>
                    <a:pt x="0" y="1990"/>
                  </a:lnTo>
                  <a:lnTo>
                    <a:pt x="0" y="1990"/>
                  </a:lnTo>
                  <a:lnTo>
                    <a:pt x="172" y="2458"/>
                  </a:lnTo>
                  <a:lnTo>
                    <a:pt x="172" y="2458"/>
                  </a:lnTo>
                  <a:lnTo>
                    <a:pt x="406" y="2341"/>
                  </a:lnTo>
                  <a:lnTo>
                    <a:pt x="406" y="2341"/>
                  </a:lnTo>
                  <a:lnTo>
                    <a:pt x="453" y="2411"/>
                  </a:lnTo>
                  <a:lnTo>
                    <a:pt x="500" y="2474"/>
                  </a:lnTo>
                  <a:lnTo>
                    <a:pt x="554" y="2536"/>
                  </a:lnTo>
                  <a:lnTo>
                    <a:pt x="616" y="2590"/>
                  </a:lnTo>
                  <a:lnTo>
                    <a:pt x="671" y="2645"/>
                  </a:lnTo>
                  <a:lnTo>
                    <a:pt x="733" y="2692"/>
                  </a:lnTo>
                  <a:lnTo>
                    <a:pt x="804" y="2723"/>
                  </a:lnTo>
                  <a:lnTo>
                    <a:pt x="866" y="2754"/>
                  </a:lnTo>
                  <a:lnTo>
                    <a:pt x="866" y="2754"/>
                  </a:lnTo>
                  <a:lnTo>
                    <a:pt x="749" y="3043"/>
                  </a:lnTo>
                  <a:lnTo>
                    <a:pt x="749" y="3043"/>
                  </a:lnTo>
                  <a:lnTo>
                    <a:pt x="1217" y="3223"/>
                  </a:lnTo>
                  <a:lnTo>
                    <a:pt x="1217" y="3223"/>
                  </a:lnTo>
                  <a:lnTo>
                    <a:pt x="1272" y="2988"/>
                  </a:lnTo>
                  <a:lnTo>
                    <a:pt x="1272" y="2988"/>
                  </a:lnTo>
                  <a:lnTo>
                    <a:pt x="1912" y="2988"/>
                  </a:lnTo>
                  <a:lnTo>
                    <a:pt x="1912" y="2988"/>
                  </a:lnTo>
                  <a:lnTo>
                    <a:pt x="2021" y="3223"/>
                  </a:lnTo>
                  <a:lnTo>
                    <a:pt x="2021" y="3223"/>
                  </a:lnTo>
                  <a:lnTo>
                    <a:pt x="2427" y="3043"/>
                  </a:lnTo>
                  <a:lnTo>
                    <a:pt x="2427" y="3043"/>
                  </a:lnTo>
                  <a:lnTo>
                    <a:pt x="2309" y="2754"/>
                  </a:lnTo>
                  <a:close/>
                  <a:moveTo>
                    <a:pt x="1966" y="2458"/>
                  </a:moveTo>
                  <a:lnTo>
                    <a:pt x="1966" y="2458"/>
                  </a:lnTo>
                  <a:lnTo>
                    <a:pt x="1880" y="2489"/>
                  </a:lnTo>
                  <a:lnTo>
                    <a:pt x="1787" y="2505"/>
                  </a:lnTo>
                  <a:lnTo>
                    <a:pt x="1693" y="2520"/>
                  </a:lnTo>
                  <a:lnTo>
                    <a:pt x="1607" y="2520"/>
                  </a:lnTo>
                  <a:lnTo>
                    <a:pt x="1514" y="2513"/>
                  </a:lnTo>
                  <a:lnTo>
                    <a:pt x="1420" y="2497"/>
                  </a:lnTo>
                  <a:lnTo>
                    <a:pt x="1335" y="2474"/>
                  </a:lnTo>
                  <a:lnTo>
                    <a:pt x="1249" y="2442"/>
                  </a:lnTo>
                  <a:lnTo>
                    <a:pt x="1170" y="2395"/>
                  </a:lnTo>
                  <a:lnTo>
                    <a:pt x="1092" y="2348"/>
                  </a:lnTo>
                  <a:lnTo>
                    <a:pt x="1014" y="2302"/>
                  </a:lnTo>
                  <a:lnTo>
                    <a:pt x="952" y="2239"/>
                  </a:lnTo>
                  <a:lnTo>
                    <a:pt x="890" y="2169"/>
                  </a:lnTo>
                  <a:lnTo>
                    <a:pt x="835" y="2099"/>
                  </a:lnTo>
                  <a:lnTo>
                    <a:pt x="788" y="2021"/>
                  </a:lnTo>
                  <a:lnTo>
                    <a:pt x="749" y="1935"/>
                  </a:lnTo>
                  <a:lnTo>
                    <a:pt x="749" y="1935"/>
                  </a:lnTo>
                  <a:lnTo>
                    <a:pt x="710" y="1849"/>
                  </a:lnTo>
                  <a:lnTo>
                    <a:pt x="686" y="1755"/>
                  </a:lnTo>
                  <a:lnTo>
                    <a:pt x="671" y="1670"/>
                  </a:lnTo>
                  <a:lnTo>
                    <a:pt x="663" y="1576"/>
                  </a:lnTo>
                  <a:lnTo>
                    <a:pt x="663" y="1490"/>
                  </a:lnTo>
                  <a:lnTo>
                    <a:pt x="671" y="1404"/>
                  </a:lnTo>
                  <a:lnTo>
                    <a:pt x="694" y="1318"/>
                  </a:lnTo>
                  <a:lnTo>
                    <a:pt x="718" y="1233"/>
                  </a:lnTo>
                  <a:lnTo>
                    <a:pt x="757" y="1155"/>
                  </a:lnTo>
                  <a:lnTo>
                    <a:pt x="804" y="1076"/>
                  </a:lnTo>
                  <a:lnTo>
                    <a:pt x="858" y="998"/>
                  </a:lnTo>
                  <a:lnTo>
                    <a:pt x="913" y="928"/>
                  </a:lnTo>
                  <a:lnTo>
                    <a:pt x="976" y="866"/>
                  </a:lnTo>
                  <a:lnTo>
                    <a:pt x="1053" y="804"/>
                  </a:lnTo>
                  <a:lnTo>
                    <a:pt x="1131" y="749"/>
                  </a:lnTo>
                  <a:lnTo>
                    <a:pt x="1217" y="702"/>
                  </a:lnTo>
                  <a:lnTo>
                    <a:pt x="1217" y="702"/>
                  </a:lnTo>
                  <a:lnTo>
                    <a:pt x="1311" y="678"/>
                  </a:lnTo>
                  <a:lnTo>
                    <a:pt x="1405" y="655"/>
                  </a:lnTo>
                  <a:lnTo>
                    <a:pt x="1506" y="647"/>
                  </a:lnTo>
                  <a:lnTo>
                    <a:pt x="1600" y="647"/>
                  </a:lnTo>
                  <a:lnTo>
                    <a:pt x="1693" y="655"/>
                  </a:lnTo>
                  <a:lnTo>
                    <a:pt x="1780" y="671"/>
                  </a:lnTo>
                  <a:lnTo>
                    <a:pt x="1865" y="694"/>
                  </a:lnTo>
                  <a:lnTo>
                    <a:pt x="1951" y="725"/>
                  </a:lnTo>
                  <a:lnTo>
                    <a:pt x="2029" y="764"/>
                  </a:lnTo>
                  <a:lnTo>
                    <a:pt x="2107" y="811"/>
                  </a:lnTo>
                  <a:lnTo>
                    <a:pt x="2177" y="866"/>
                  </a:lnTo>
                  <a:lnTo>
                    <a:pt x="2240" y="928"/>
                  </a:lnTo>
                  <a:lnTo>
                    <a:pt x="2294" y="990"/>
                  </a:lnTo>
                  <a:lnTo>
                    <a:pt x="2349" y="1069"/>
                  </a:lnTo>
                  <a:lnTo>
                    <a:pt x="2396" y="1147"/>
                  </a:lnTo>
                  <a:lnTo>
                    <a:pt x="2427" y="1233"/>
                  </a:lnTo>
                  <a:lnTo>
                    <a:pt x="2427" y="1233"/>
                  </a:lnTo>
                  <a:lnTo>
                    <a:pt x="2466" y="1318"/>
                  </a:lnTo>
                  <a:lnTo>
                    <a:pt x="2497" y="1412"/>
                  </a:lnTo>
                  <a:lnTo>
                    <a:pt x="2513" y="1506"/>
                  </a:lnTo>
                  <a:lnTo>
                    <a:pt x="2521" y="1599"/>
                  </a:lnTo>
                  <a:lnTo>
                    <a:pt x="2521" y="1686"/>
                  </a:lnTo>
                  <a:lnTo>
                    <a:pt x="2505" y="1778"/>
                  </a:lnTo>
                  <a:lnTo>
                    <a:pt x="2489" y="1872"/>
                  </a:lnTo>
                  <a:lnTo>
                    <a:pt x="2458" y="1958"/>
                  </a:lnTo>
                  <a:lnTo>
                    <a:pt x="2419" y="2037"/>
                  </a:lnTo>
                  <a:lnTo>
                    <a:pt x="2380" y="2115"/>
                  </a:lnTo>
                  <a:lnTo>
                    <a:pt x="2325" y="2192"/>
                  </a:lnTo>
                  <a:lnTo>
                    <a:pt x="2263" y="2262"/>
                  </a:lnTo>
                  <a:lnTo>
                    <a:pt x="2201" y="2325"/>
                  </a:lnTo>
                  <a:lnTo>
                    <a:pt x="2131" y="2380"/>
                  </a:lnTo>
                  <a:lnTo>
                    <a:pt x="2052" y="2427"/>
                  </a:lnTo>
                  <a:lnTo>
                    <a:pt x="1966" y="245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12"/>
            <p:cNvSpPr>
              <a:spLocks noChangeArrowheads="1"/>
            </p:cNvSpPr>
            <p:nvPr/>
          </p:nvSpPr>
          <p:spPr bwMode="auto">
            <a:xfrm>
              <a:off x="2524125" y="20638"/>
              <a:ext cx="4748213" cy="3594100"/>
            </a:xfrm>
            <a:custGeom>
              <a:avLst/>
              <a:gdLst>
                <a:gd name="T0" fmla="*/ 13188 w 13189"/>
                <a:gd name="T1" fmla="*/ 8311 h 9982"/>
                <a:gd name="T2" fmla="*/ 13188 w 13189"/>
                <a:gd name="T3" fmla="*/ 0 h 9982"/>
                <a:gd name="T4" fmla="*/ 0 w 13189"/>
                <a:gd name="T5" fmla="*/ 0 h 9982"/>
                <a:gd name="T6" fmla="*/ 0 w 13189"/>
                <a:gd name="T7" fmla="*/ 8311 h 9982"/>
                <a:gd name="T8" fmla="*/ 6197 w 13189"/>
                <a:gd name="T9" fmla="*/ 8311 h 9982"/>
                <a:gd name="T10" fmla="*/ 6197 w 13189"/>
                <a:gd name="T11" fmla="*/ 9146 h 9982"/>
                <a:gd name="T12" fmla="*/ 4105 w 13189"/>
                <a:gd name="T13" fmla="*/ 9146 h 9982"/>
                <a:gd name="T14" fmla="*/ 4105 w 13189"/>
                <a:gd name="T15" fmla="*/ 9981 h 9982"/>
                <a:gd name="T16" fmla="*/ 9083 w 13189"/>
                <a:gd name="T17" fmla="*/ 9981 h 9982"/>
                <a:gd name="T18" fmla="*/ 9083 w 13189"/>
                <a:gd name="T19" fmla="*/ 9146 h 9982"/>
                <a:gd name="T20" fmla="*/ 7032 w 13189"/>
                <a:gd name="T21" fmla="*/ 9146 h 9982"/>
                <a:gd name="T22" fmla="*/ 7032 w 13189"/>
                <a:gd name="T23" fmla="*/ 8311 h 9982"/>
                <a:gd name="T24" fmla="*/ 13188 w 13189"/>
                <a:gd name="T25" fmla="*/ 8311 h 9982"/>
                <a:gd name="T26" fmla="*/ 828 w 13189"/>
                <a:gd name="T27" fmla="*/ 7476 h 9982"/>
                <a:gd name="T28" fmla="*/ 828 w 13189"/>
                <a:gd name="T29" fmla="*/ 835 h 9982"/>
                <a:gd name="T30" fmla="*/ 12361 w 13189"/>
                <a:gd name="T31" fmla="*/ 835 h 9982"/>
                <a:gd name="T32" fmla="*/ 12361 w 13189"/>
                <a:gd name="T33" fmla="*/ 7476 h 9982"/>
                <a:gd name="T34" fmla="*/ 828 w 13189"/>
                <a:gd name="T35" fmla="*/ 7476 h 9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89" h="9982">
                  <a:moveTo>
                    <a:pt x="13188" y="8311"/>
                  </a:moveTo>
                  <a:lnTo>
                    <a:pt x="13188" y="0"/>
                  </a:lnTo>
                  <a:lnTo>
                    <a:pt x="0" y="0"/>
                  </a:lnTo>
                  <a:lnTo>
                    <a:pt x="0" y="8311"/>
                  </a:lnTo>
                  <a:lnTo>
                    <a:pt x="6197" y="8311"/>
                  </a:lnTo>
                  <a:lnTo>
                    <a:pt x="6197" y="9146"/>
                  </a:lnTo>
                  <a:lnTo>
                    <a:pt x="4105" y="9146"/>
                  </a:lnTo>
                  <a:lnTo>
                    <a:pt x="4105" y="9981"/>
                  </a:lnTo>
                  <a:lnTo>
                    <a:pt x="9083" y="9981"/>
                  </a:lnTo>
                  <a:lnTo>
                    <a:pt x="9083" y="9146"/>
                  </a:lnTo>
                  <a:lnTo>
                    <a:pt x="7032" y="9146"/>
                  </a:lnTo>
                  <a:lnTo>
                    <a:pt x="7032" y="8311"/>
                  </a:lnTo>
                  <a:lnTo>
                    <a:pt x="13188" y="8311"/>
                  </a:lnTo>
                  <a:close/>
                  <a:moveTo>
                    <a:pt x="828" y="7476"/>
                  </a:moveTo>
                  <a:lnTo>
                    <a:pt x="828" y="835"/>
                  </a:lnTo>
                  <a:lnTo>
                    <a:pt x="12361" y="835"/>
                  </a:lnTo>
                  <a:lnTo>
                    <a:pt x="12361" y="7476"/>
                  </a:lnTo>
                  <a:lnTo>
                    <a:pt x="828" y="747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9" name="Group 18"/>
          <p:cNvGrpSpPr/>
          <p:nvPr/>
        </p:nvGrpSpPr>
        <p:grpSpPr>
          <a:xfrm>
            <a:off x="4110645" y="4014935"/>
            <a:ext cx="5826739" cy="2909759"/>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17673">
              <a:off x="5824855" y="5385639"/>
              <a:ext cx="2198366" cy="311866"/>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 FEEDBACK</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algn="ctr" defTabSz="932418">
                <a:defRPr/>
              </a:pPr>
              <a:r>
                <a:rPr lang="en-US" sz="1224">
                  <a:solidFill>
                    <a:srgbClr val="001F50"/>
                  </a:solidFill>
                  <a:latin typeface="Segoe UI Semibold" panose="020B0702040204020203" pitchFamily="34" charset="0"/>
                  <a:cs typeface="Segoe UI Semibold" panose="020B0702040204020203" pitchFamily="34" charset="0"/>
                </a:rPr>
                <a:t>DEPLOY</a:t>
              </a:r>
              <a:endParaRPr lang="en-US" sz="1224" dirty="0">
                <a:solidFill>
                  <a:srgbClr val="001F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135719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400"/>
                                  </p:stCondLst>
                                  <p:childTnLst>
                                    <p:set>
                                      <p:cBhvr>
                                        <p:cTn id="11" dur="1" fill="hold">
                                          <p:stCondLst>
                                            <p:cond delay="0"/>
                                          </p:stCondLst>
                                        </p:cTn>
                                        <p:tgtEl>
                                          <p:spTgt spid="61"/>
                                        </p:tgtEl>
                                        <p:attrNameLst>
                                          <p:attrName>style.visibility</p:attrName>
                                        </p:attrNameLst>
                                      </p:cBhvr>
                                      <p:to>
                                        <p:strVal val="visible"/>
                                      </p:to>
                                    </p:set>
                                    <p:animEffect transition="in" filter="fade">
                                      <p:cBhvr>
                                        <p:cTn id="12" dur="300"/>
                                        <p:tgtEl>
                                          <p:spTgt spid="61"/>
                                        </p:tgtEl>
                                      </p:cBhvr>
                                    </p:animEffect>
                                  </p:childTnLst>
                                </p:cTn>
                              </p:par>
                              <p:par>
                                <p:cTn id="13" presetID="42" presetClass="path" presetSubtype="0" decel="100000" fill="hold" grpId="1" nodeType="withEffect">
                                  <p:stCondLst>
                                    <p:cond delay="0"/>
                                  </p:stCondLst>
                                  <p:childTnLst>
                                    <p:animMotion origin="layout" path="M -8.33333E-7 1.11111E-6 L -8.33333E-7 0.1338 " pathEditMode="relative" rAng="0" ptsTypes="AA">
                                      <p:cBhvr>
                                        <p:cTn id="14" dur="700" spd="-100000" fill="hold"/>
                                        <p:tgtEl>
                                          <p:spTgt spid="61"/>
                                        </p:tgtEl>
                                        <p:attrNameLst>
                                          <p:attrName>ppt_x</p:attrName>
                                          <p:attrName>ppt_y</p:attrName>
                                        </p:attrNameLst>
                                      </p:cBhvr>
                                      <p:rCtr x="0" y="6690"/>
                                    </p:animMotion>
                                  </p:childTnLst>
                                </p:cTn>
                              </p:par>
                              <p:par>
                                <p:cTn id="15" presetID="10" presetClass="entr" presetSubtype="0" fill="hold" grpId="0" nodeType="withEffect">
                                  <p:stCondLst>
                                    <p:cond delay="6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300"/>
                                        <p:tgtEl>
                                          <p:spTgt spid="63"/>
                                        </p:tgtEl>
                                      </p:cBhvr>
                                    </p:animEffect>
                                  </p:childTnLst>
                                </p:cTn>
                              </p:par>
                              <p:par>
                                <p:cTn id="18" presetID="42" presetClass="path" presetSubtype="0" decel="100000" fill="hold" grpId="1" nodeType="withEffect">
                                  <p:stCondLst>
                                    <p:cond delay="250"/>
                                  </p:stCondLst>
                                  <p:childTnLst>
                                    <p:animMotion origin="layout" path="M 3.95833E-6 1.11111E-6 L 3.95833E-6 0.1338 " pathEditMode="relative" rAng="0" ptsTypes="AA">
                                      <p:cBhvr>
                                        <p:cTn id="19" dur="700" spd="-100000" fill="hold"/>
                                        <p:tgtEl>
                                          <p:spTgt spid="63"/>
                                        </p:tgtEl>
                                        <p:attrNameLst>
                                          <p:attrName>ppt_x</p:attrName>
                                          <p:attrName>ppt_y</p:attrName>
                                        </p:attrNameLst>
                                      </p:cBhvr>
                                      <p:rCtr x="0" y="6690"/>
                                    </p:animMotion>
                                  </p:childTnLst>
                                </p:cTn>
                              </p:par>
                              <p:par>
                                <p:cTn id="20" presetID="10" presetClass="entr" presetSubtype="0" fill="hold" nodeType="withEffect">
                                  <p:stCondLst>
                                    <p:cond delay="65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par>
                                <p:cTn id="23" presetID="10" presetClass="entr" presetSubtype="0" fill="hold" grpId="0" nodeType="withEffect">
                                  <p:stCondLst>
                                    <p:cond delay="900"/>
                                  </p:stCondLst>
                                  <p:childTnLst>
                                    <p:set>
                                      <p:cBhvr>
                                        <p:cTn id="24" dur="1" fill="hold">
                                          <p:stCondLst>
                                            <p:cond delay="0"/>
                                          </p:stCondLst>
                                        </p:cTn>
                                        <p:tgtEl>
                                          <p:spTgt spid="62"/>
                                        </p:tgtEl>
                                        <p:attrNameLst>
                                          <p:attrName>style.visibility</p:attrName>
                                        </p:attrNameLst>
                                      </p:cBhvr>
                                      <p:to>
                                        <p:strVal val="visible"/>
                                      </p:to>
                                    </p:set>
                                    <p:animEffect transition="in" filter="fade">
                                      <p:cBhvr>
                                        <p:cTn id="25" dur="300"/>
                                        <p:tgtEl>
                                          <p:spTgt spid="62"/>
                                        </p:tgtEl>
                                      </p:cBhvr>
                                    </p:animEffect>
                                  </p:childTnLst>
                                </p:cTn>
                              </p:par>
                              <p:par>
                                <p:cTn id="26" presetID="42" presetClass="path" presetSubtype="0" decel="100000" fill="hold" grpId="1" nodeType="withEffect">
                                  <p:stCondLst>
                                    <p:cond delay="500"/>
                                  </p:stCondLst>
                                  <p:childTnLst>
                                    <p:animMotion origin="layout" path="M 1.875E-6 1.11111E-6 L 1.875E-6 0.1338 " pathEditMode="relative" rAng="0" ptsTypes="AA">
                                      <p:cBhvr>
                                        <p:cTn id="27" dur="700" spd="-100000" fill="hold"/>
                                        <p:tgtEl>
                                          <p:spTgt spid="62"/>
                                        </p:tgtEl>
                                        <p:attrNameLst>
                                          <p:attrName>ppt_x</p:attrName>
                                          <p:attrName>ppt_y</p:attrName>
                                        </p:attrNameLst>
                                      </p:cBhvr>
                                      <p:rCtr x="0" y="6690"/>
                                    </p:animMotion>
                                  </p:childTnLst>
                                </p:cTn>
                              </p:par>
                              <p:par>
                                <p:cTn id="28" presetID="10" presetClass="entr" presetSubtype="0" fill="hold" grpId="0" nodeType="withEffect">
                                  <p:stCondLst>
                                    <p:cond delay="90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500"/>
                                        <p:tgtEl>
                                          <p:spTgt spid="90"/>
                                        </p:tgtEl>
                                      </p:cBhvr>
                                    </p:animEffect>
                                  </p:childTnLst>
                                </p:cTn>
                              </p:par>
                              <p:par>
                                <p:cTn id="31" presetID="10" presetClass="entr" presetSubtype="0" fill="hold" grpId="0" nodeType="withEffect">
                                  <p:stCondLst>
                                    <p:cond delay="40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300"/>
                                        <p:tgtEl>
                                          <p:spTgt spid="83"/>
                                        </p:tgtEl>
                                      </p:cBhvr>
                                    </p:animEffect>
                                  </p:childTnLst>
                                </p:cTn>
                              </p:par>
                              <p:par>
                                <p:cTn id="34" presetID="42" presetClass="path" presetSubtype="0" decel="100000" fill="hold" grpId="1" nodeType="withEffect">
                                  <p:stCondLst>
                                    <p:cond delay="0"/>
                                  </p:stCondLst>
                                  <p:childTnLst>
                                    <p:animMotion origin="layout" path="M -6.25E-7 -1.11111E-6 L -6.25E-7 0.1338 " pathEditMode="relative" rAng="0" ptsTypes="AA">
                                      <p:cBhvr>
                                        <p:cTn id="35" dur="700" spd="-100000" fill="hold"/>
                                        <p:tgtEl>
                                          <p:spTgt spid="83"/>
                                        </p:tgtEl>
                                        <p:attrNameLst>
                                          <p:attrName>ppt_x</p:attrName>
                                          <p:attrName>ppt_y</p:attrName>
                                        </p:attrNameLst>
                                      </p:cBhvr>
                                      <p:rCtr x="0" y="6690"/>
                                    </p:animMotion>
                                  </p:childTnLst>
                                </p:cTn>
                              </p:par>
                              <p:par>
                                <p:cTn id="36" presetID="10" presetClass="entr" presetSubtype="0" fill="hold" nodeType="withEffect">
                                  <p:stCondLst>
                                    <p:cond delay="40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childTnLst>
                          </p:cTn>
                        </p:par>
                        <p:par>
                          <p:cTn id="39" fill="hold">
                            <p:stCondLst>
                              <p:cond delay="1400"/>
                            </p:stCondLst>
                            <p:childTnLst>
                              <p:par>
                                <p:cTn id="40" presetID="10" presetClass="entr" presetSubtype="0"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9"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dissolve">
                                      <p:cBhvr>
                                        <p:cTn id="45"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0" grpId="0"/>
      <p:bldP spid="60" grpId="1"/>
      <p:bldP spid="61" grpId="0"/>
      <p:bldP spid="61" grpId="1"/>
      <p:bldP spid="62" grpId="0"/>
      <p:bldP spid="62" grpId="1"/>
      <p:bldP spid="63" grpId="0"/>
      <p:bldP spid="63" grpId="1"/>
      <p:bldP spid="83" grpId="0"/>
      <p:bldP spid="83" grpId="1"/>
      <p:bldP spid="9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File Sync</a:t>
            </a:r>
            <a:br>
              <a:rPr lang="en-US" dirty="0"/>
            </a:br>
            <a:endParaRPr lang="en-US" dirty="0"/>
          </a:p>
        </p:txBody>
      </p:sp>
      <p:sp>
        <p:nvSpPr>
          <p:cNvPr id="3" name="Text Placeholder 2">
            <a:extLst>
              <a:ext uri="{FF2B5EF4-FFF2-40B4-BE49-F238E27FC236}">
                <a16:creationId xmlns:a16="http://schemas.microsoft.com/office/drawing/2014/main" id="{FE98F88A-A763-4710-A2FE-585CCBA2633C}"/>
              </a:ext>
            </a:extLst>
          </p:cNvPr>
          <p:cNvSpPr>
            <a:spLocks noGrp="1"/>
          </p:cNvSpPr>
          <p:nvPr>
            <p:ph type="body" sz="quarter" idx="10"/>
          </p:nvPr>
        </p:nvSpPr>
        <p:spPr>
          <a:xfrm>
            <a:off x="274638" y="1212850"/>
            <a:ext cx="6857999" cy="5262979"/>
          </a:xfrm>
        </p:spPr>
        <p:txBody>
          <a:bodyPr/>
          <a:lstStyle/>
          <a:p>
            <a:r>
              <a:rPr lang="en-US" sz="2000" dirty="0">
                <a:latin typeface="+mn-lt"/>
              </a:rPr>
              <a:t>New capability of Azure Files - sync existing directories &amp; files from Windows Server 2012R2 and 2016 to Azure Files. </a:t>
            </a:r>
          </a:p>
          <a:p>
            <a:pPr marL="342900" indent="-342900">
              <a:buFont typeface="Arial" panose="020B0604020202020204" pitchFamily="34" charset="0"/>
              <a:buChar char="•"/>
            </a:pPr>
            <a:r>
              <a:rPr lang="en-US" sz="2000" b="1" dirty="0">
                <a:latin typeface="+mn-lt"/>
              </a:rPr>
              <a:t>Multi-site sync and access </a:t>
            </a:r>
            <a:r>
              <a:rPr lang="en-US" sz="2000" dirty="0">
                <a:latin typeface="+mn-lt"/>
              </a:rPr>
              <a:t>– Sync between Azure File Shares ,Windows Servers, your branch offices.</a:t>
            </a:r>
          </a:p>
          <a:p>
            <a:pPr marL="342900" indent="-342900">
              <a:buFont typeface="Arial" panose="020B0604020202020204" pitchFamily="34" charset="0"/>
              <a:buChar char="•"/>
            </a:pPr>
            <a:r>
              <a:rPr lang="en-US" sz="2000" b="1" dirty="0">
                <a:latin typeface="+mn-lt"/>
              </a:rPr>
              <a:t>Cloud tiering (server becomes cache)</a:t>
            </a:r>
            <a:r>
              <a:rPr lang="en-US" sz="2000" dirty="0">
                <a:latin typeface="+mn-lt"/>
              </a:rPr>
              <a:t> – Servers low on capacity can benefit from cloud-tiering feature.  Less recently used data removed from the local server and recalled when used.</a:t>
            </a:r>
          </a:p>
          <a:p>
            <a:pPr marL="342900" indent="-342900">
              <a:buFont typeface="Arial" panose="020B0604020202020204" pitchFamily="34" charset="0"/>
              <a:buChar char="•"/>
            </a:pPr>
            <a:r>
              <a:rPr lang="en-US" sz="2000" b="1" dirty="0">
                <a:latin typeface="+mn-lt"/>
              </a:rPr>
              <a:t>Integrated server data backup</a:t>
            </a:r>
            <a:r>
              <a:rPr lang="en-US" sz="2000" dirty="0">
                <a:latin typeface="+mn-lt"/>
              </a:rPr>
              <a:t> –File Sync works with Azure Backup to provide integrated backup and restoration. </a:t>
            </a:r>
          </a:p>
          <a:p>
            <a:pPr marL="342900" indent="-342900">
              <a:buFont typeface="Arial" panose="020B0604020202020204" pitchFamily="34" charset="0"/>
              <a:buChar char="•"/>
            </a:pPr>
            <a:r>
              <a:rPr lang="en-US" sz="2000" b="1" dirty="0">
                <a:latin typeface="+mn-lt"/>
              </a:rPr>
              <a:t>Direct cloud data access</a:t>
            </a:r>
            <a:r>
              <a:rPr lang="en-US" sz="2000" dirty="0">
                <a:latin typeface="+mn-lt"/>
              </a:rPr>
              <a:t> – (lift and shift) can be done with sync to allow both on premise &amp; cloud access to the same data during the migration. </a:t>
            </a:r>
          </a:p>
          <a:p>
            <a:endParaRPr lang="en-US" sz="3600" dirty="0"/>
          </a:p>
        </p:txBody>
      </p:sp>
      <p:pic>
        <p:nvPicPr>
          <p:cNvPr id="8" name="Picture 7">
            <a:extLst>
              <a:ext uri="{FF2B5EF4-FFF2-40B4-BE49-F238E27FC236}">
                <a16:creationId xmlns:a16="http://schemas.microsoft.com/office/drawing/2014/main" id="{5D92F99F-7640-47CE-9EED-3DE0091DB21F}"/>
              </a:ext>
            </a:extLst>
          </p:cNvPr>
          <p:cNvPicPr>
            <a:picLocks noChangeAspect="1"/>
          </p:cNvPicPr>
          <p:nvPr/>
        </p:nvPicPr>
        <p:blipFill>
          <a:blip r:embed="rId3"/>
          <a:stretch>
            <a:fillRect/>
          </a:stretch>
        </p:blipFill>
        <p:spPr>
          <a:xfrm>
            <a:off x="7095989" y="1212849"/>
            <a:ext cx="5029200" cy="2039666"/>
          </a:xfrm>
          <a:prstGeom prst="rect">
            <a:avLst/>
          </a:prstGeom>
        </p:spPr>
      </p:pic>
    </p:spTree>
    <p:extLst>
      <p:ext uri="{BB962C8B-B14F-4D97-AF65-F5344CB8AC3E}">
        <p14:creationId xmlns:p14="http://schemas.microsoft.com/office/powerpoint/2010/main" val="99792970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Data Box</a:t>
            </a:r>
          </a:p>
        </p:txBody>
      </p:sp>
      <p:sp>
        <p:nvSpPr>
          <p:cNvPr id="3" name="Text Placeholder 2">
            <a:extLst>
              <a:ext uri="{FF2B5EF4-FFF2-40B4-BE49-F238E27FC236}">
                <a16:creationId xmlns:a16="http://schemas.microsoft.com/office/drawing/2014/main" id="{FFBE86F5-D48B-48D6-9993-0A0812A70AF0}"/>
              </a:ext>
            </a:extLst>
          </p:cNvPr>
          <p:cNvSpPr>
            <a:spLocks noGrp="1"/>
          </p:cNvSpPr>
          <p:nvPr>
            <p:ph type="body" sz="quarter" idx="10"/>
          </p:nvPr>
        </p:nvSpPr>
        <p:spPr>
          <a:xfrm>
            <a:off x="274638" y="1212849"/>
            <a:ext cx="7848599" cy="5890843"/>
          </a:xfrm>
        </p:spPr>
        <p:txBody>
          <a:bodyPr/>
          <a:lstStyle/>
          <a:p>
            <a:pPr marL="342900" indent="-342900">
              <a:buFont typeface="Arial" panose="020B0604020202020204" pitchFamily="34" charset="0"/>
              <a:buChar char="•"/>
            </a:pPr>
            <a:r>
              <a:rPr lang="en-US" sz="2400" dirty="0">
                <a:latin typeface="+mn-lt"/>
              </a:rPr>
              <a:t>Azure Data Box service allows terabytes of data transfer to Azure</a:t>
            </a:r>
          </a:p>
          <a:p>
            <a:pPr marL="342900" indent="-342900">
              <a:buFont typeface="Arial" panose="020B0604020202020204" pitchFamily="34" charset="0"/>
              <a:buChar char="•"/>
            </a:pPr>
            <a:r>
              <a:rPr lang="en-US" sz="2400" dirty="0">
                <a:latin typeface="+mn-lt"/>
              </a:rPr>
              <a:t>The Azure Data Box provides a secure, tamper-resistant method for quick and simple transfer of your data to Azure. </a:t>
            </a:r>
          </a:p>
          <a:p>
            <a:pPr marL="809271" lvl="1" indent="-342900">
              <a:buFont typeface="Arial" panose="020B0604020202020204" pitchFamily="34" charset="0"/>
              <a:buChar char="•"/>
            </a:pPr>
            <a:r>
              <a:rPr lang="en-US" sz="2400" dirty="0"/>
              <a:t>Order the Data Box through the Azure portal. </a:t>
            </a:r>
          </a:p>
          <a:p>
            <a:pPr marL="809271" lvl="1" indent="-342900">
              <a:buFont typeface="Arial" panose="020B0604020202020204" pitchFamily="34" charset="0"/>
              <a:buChar char="•"/>
            </a:pPr>
            <a:r>
              <a:rPr lang="en-US" sz="2400" dirty="0"/>
              <a:t>Connect it to your existing network</a:t>
            </a:r>
          </a:p>
          <a:p>
            <a:pPr marL="809271" lvl="1" indent="-342900">
              <a:buFont typeface="Arial" panose="020B0604020202020204" pitchFamily="34" charset="0"/>
              <a:buChar char="•"/>
            </a:pPr>
            <a:r>
              <a:rPr lang="en-US" sz="2400" dirty="0"/>
              <a:t>Load your data onto the Data Box using standard NAS protocols (SMB/CIFS).</a:t>
            </a:r>
          </a:p>
          <a:p>
            <a:pPr marL="809271" lvl="1" indent="-342900">
              <a:buFont typeface="Arial" panose="020B0604020202020204" pitchFamily="34" charset="0"/>
              <a:buChar char="•"/>
            </a:pPr>
            <a:r>
              <a:rPr lang="en-US" sz="2400" dirty="0"/>
              <a:t>Data is automatically protected using 256-AES encryption. </a:t>
            </a:r>
          </a:p>
          <a:p>
            <a:pPr marL="809271" lvl="1" indent="-342900">
              <a:buFont typeface="Arial" panose="020B0604020202020204" pitchFamily="34" charset="0"/>
              <a:buChar char="•"/>
            </a:pPr>
            <a:r>
              <a:rPr lang="en-US" sz="2400" dirty="0"/>
              <a:t>The Data Box is returned to the Azure Data Center to be uploaded to Azure, then the device is securely erased.</a:t>
            </a:r>
          </a:p>
          <a:p>
            <a:endParaRPr lang="en-US" dirty="0"/>
          </a:p>
        </p:txBody>
      </p:sp>
      <p:pic>
        <p:nvPicPr>
          <p:cNvPr id="5" name="Picture 4">
            <a:extLst>
              <a:ext uri="{FF2B5EF4-FFF2-40B4-BE49-F238E27FC236}">
                <a16:creationId xmlns:a16="http://schemas.microsoft.com/office/drawing/2014/main" id="{1CEBC94A-489C-40C1-847E-9D19B949E659}"/>
              </a:ext>
            </a:extLst>
          </p:cNvPr>
          <p:cNvPicPr>
            <a:picLocks noChangeAspect="1"/>
          </p:cNvPicPr>
          <p:nvPr/>
        </p:nvPicPr>
        <p:blipFill>
          <a:blip r:embed="rId3"/>
          <a:stretch>
            <a:fillRect/>
          </a:stretch>
        </p:blipFill>
        <p:spPr>
          <a:xfrm>
            <a:off x="8199437" y="2582862"/>
            <a:ext cx="3710124" cy="2743200"/>
          </a:xfrm>
          <a:prstGeom prst="rect">
            <a:avLst/>
          </a:prstGeom>
        </p:spPr>
      </p:pic>
    </p:spTree>
    <p:extLst>
      <p:ext uri="{BB962C8B-B14F-4D97-AF65-F5344CB8AC3E}">
        <p14:creationId xmlns:p14="http://schemas.microsoft.com/office/powerpoint/2010/main" val="48729067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 name="Text Placeholder 41"/>
          <p:cNvSpPr txBox="1">
            <a:spLocks/>
          </p:cNvSpPr>
          <p:nvPr/>
        </p:nvSpPr>
        <p:spPr>
          <a:xfrm>
            <a:off x="308493" y="2159480"/>
            <a:ext cx="4998213" cy="470833"/>
          </a:xfrm>
          <a:prstGeom prst="rect">
            <a:avLst/>
          </a:prstGeom>
        </p:spPr>
        <p:txBody>
          <a:bodyPr vert="horz" wrap="square" lIns="146286" tIns="91429" rIns="146286" bIns="91429" rtlCol="0">
            <a:noAutofit/>
          </a:bodyPr>
          <a:lstStyle>
            <a:lvl1pPr marL="0" marR="0" indent="0" algn="l" defTabSz="932444" rtl="0" eaLnBrk="1" fontAlgn="auto" latinLnBrk="0" hangingPunct="1">
              <a:lnSpc>
                <a:spcPct val="90000"/>
              </a:lnSpc>
              <a:spcBef>
                <a:spcPct val="20000"/>
              </a:spcBef>
              <a:spcAft>
                <a:spcPts val="0"/>
              </a:spcAft>
              <a:buClrTx/>
              <a:buSzPct val="90000"/>
              <a:buFont typeface="Arial" pitchFamily="34" charset="0"/>
              <a:buNone/>
              <a:tabLst/>
              <a:defRPr sz="2448" kern="1200" spc="0" baseline="0">
                <a:solidFill>
                  <a:schemeClr val="accent2"/>
                </a:solidFill>
                <a:latin typeface="+mn-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1200"/>
              </a:spcBef>
              <a:buClr>
                <a:schemeClr val="tx1"/>
              </a:buClr>
            </a:pPr>
            <a:r>
              <a:rPr lang="en-US" sz="2800">
                <a:gradFill>
                  <a:gsLst>
                    <a:gs pos="1250">
                      <a:schemeClr val="tx2"/>
                    </a:gs>
                    <a:gs pos="99000">
                      <a:schemeClr val="tx2"/>
                    </a:gs>
                  </a:gsLst>
                  <a:lin ang="5400000" scaled="0"/>
                </a:gradFill>
                <a:latin typeface="+mj-lt"/>
              </a:rPr>
              <a:t>Overview</a:t>
            </a:r>
            <a:endParaRPr lang="en-US" sz="16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Managed disks simplifies the experience for managing storage and capacity planning in virtual machines</a:t>
            </a:r>
          </a:p>
          <a:p>
            <a:pPr defTabSz="932563">
              <a:spcBef>
                <a:spcPts val="1200"/>
              </a:spcBef>
              <a:buClr>
                <a:schemeClr val="tx1"/>
              </a:buClr>
            </a:pPr>
            <a:endParaRPr lang="en-US" sz="20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Disks, images &amp; snapshots treated as native top level resources</a:t>
            </a:r>
          </a:p>
          <a:p>
            <a:pPr defTabSz="932563">
              <a:spcBef>
                <a:spcPts val="1200"/>
              </a:spcBef>
              <a:buClr>
                <a:schemeClr val="tx1"/>
              </a:buClr>
            </a:pPr>
            <a:endParaRPr lang="en-US" sz="20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Increases resiliency by abstracting </a:t>
            </a:r>
            <a:br>
              <a:rPr lang="en-US" sz="2000">
                <a:gradFill>
                  <a:gsLst>
                    <a:gs pos="1250">
                      <a:schemeClr val="tx1"/>
                    </a:gs>
                    <a:gs pos="99000">
                      <a:schemeClr val="tx1"/>
                    </a:gs>
                  </a:gsLst>
                  <a:lin ang="5400000" scaled="0"/>
                </a:gradFill>
              </a:rPr>
            </a:br>
            <a:r>
              <a:rPr lang="en-US" sz="2000">
                <a:gradFill>
                  <a:gsLst>
                    <a:gs pos="1250">
                      <a:schemeClr val="tx1"/>
                    </a:gs>
                    <a:gs pos="99000">
                      <a:schemeClr val="tx1"/>
                    </a:gs>
                  </a:gsLst>
                  <a:lin ang="5400000" scaled="0"/>
                </a:gradFill>
              </a:rPr>
              <a:t>the underlying architecture from the user and minimizing mistakes</a:t>
            </a:r>
          </a:p>
        </p:txBody>
      </p:sp>
      <p:sp>
        <p:nvSpPr>
          <p:cNvPr id="2" name="Title 1"/>
          <p:cNvSpPr>
            <a:spLocks noGrp="1"/>
          </p:cNvSpPr>
          <p:nvPr>
            <p:ph type="title"/>
          </p:nvPr>
        </p:nvSpPr>
        <p:spPr/>
        <p:txBody>
          <a:bodyPr/>
          <a:lstStyle/>
          <a:p>
            <a:r>
              <a:rPr lang="en-US"/>
              <a:t>Managed disks</a:t>
            </a:r>
            <a:br>
              <a:rPr lang="en-US"/>
            </a:br>
            <a:r>
              <a:rPr lang="en-US" sz="2000" spc="0">
                <a:latin typeface="+mn-lt"/>
              </a:rPr>
              <a:t>Simple scalability and high resiliency </a:t>
            </a:r>
          </a:p>
        </p:txBody>
      </p:sp>
      <p:grpSp>
        <p:nvGrpSpPr>
          <p:cNvPr id="14" name="Group 13"/>
          <p:cNvGrpSpPr/>
          <p:nvPr/>
        </p:nvGrpSpPr>
        <p:grpSpPr>
          <a:xfrm>
            <a:off x="5761355" y="0"/>
            <a:ext cx="6675120" cy="6994525"/>
            <a:chOff x="5761355" y="0"/>
            <a:chExt cx="6675120" cy="6994525"/>
          </a:xfrm>
        </p:grpSpPr>
        <p:sp>
          <p:nvSpPr>
            <p:cNvPr id="44" name="Rectangle 43"/>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41" name="Rounded Rectangle 40"/>
            <p:cNvSpPr/>
            <p:nvPr/>
          </p:nvSpPr>
          <p:spPr bwMode="auto">
            <a:xfrm>
              <a:off x="6678772" y="1211262"/>
              <a:ext cx="4840286" cy="4572000"/>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8485227" y="2017869"/>
              <a:ext cx="1227377" cy="33078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1</a:t>
              </a:r>
            </a:p>
          </p:txBody>
        </p:sp>
        <p:sp>
          <p:nvSpPr>
            <p:cNvPr id="30" name="Rectangle 29"/>
            <p:cNvSpPr/>
            <p:nvPr/>
          </p:nvSpPr>
          <p:spPr bwMode="auto">
            <a:xfrm>
              <a:off x="9810298"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2</a:t>
              </a:r>
            </a:p>
          </p:txBody>
        </p:sp>
        <p:sp>
          <p:nvSpPr>
            <p:cNvPr id="27" name="Rectangle 26"/>
            <p:cNvSpPr/>
            <p:nvPr/>
          </p:nvSpPr>
          <p:spPr bwMode="auto">
            <a:xfrm>
              <a:off x="7160155"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0</a:t>
              </a:r>
            </a:p>
          </p:txBody>
        </p:sp>
        <p:sp>
          <p:nvSpPr>
            <p:cNvPr id="18" name="Left Brace 17"/>
            <p:cNvSpPr/>
            <p:nvPr/>
          </p:nvSpPr>
          <p:spPr>
            <a:xfrm rot="5400000">
              <a:off x="8974090" y="571889"/>
              <a:ext cx="249650" cy="2660040"/>
            </a:xfrm>
            <a:prstGeom prst="leftBrace">
              <a:avLst>
                <a:gd name="adj1" fmla="val 8333"/>
                <a:gd name="adj2" fmla="val 49881"/>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33" name="TextBox 32"/>
            <p:cNvSpPr txBox="1"/>
            <p:nvPr/>
          </p:nvSpPr>
          <p:spPr>
            <a:xfrm>
              <a:off x="9440105" y="6529003"/>
              <a:ext cx="1098699" cy="392415"/>
            </a:xfrm>
            <a:prstGeom prst="rect">
              <a:avLst/>
            </a:prstGeom>
            <a:noFill/>
          </p:spPr>
          <p:txBody>
            <a:bodyPr wrap="none" lIns="182880" tIns="146304" rIns="182880" bIns="146304" rtlCol="0">
              <a:spAutoFit/>
            </a:bodyPr>
            <a:lstStyle/>
            <a:p>
              <a:pPr>
                <a:lnSpc>
                  <a:spcPct val="90000"/>
                </a:lnSpc>
              </a:pPr>
              <a:r>
                <a:rPr lang="en-US" sz="700">
                  <a:gradFill>
                    <a:gsLst>
                      <a:gs pos="2917">
                        <a:schemeClr val="tx1"/>
                      </a:gs>
                      <a:gs pos="30000">
                        <a:schemeClr val="tx1"/>
                      </a:gs>
                    </a:gsLst>
                    <a:lin ang="5400000" scaled="0"/>
                  </a:gradFill>
                </a:rPr>
                <a:t>Storage Account 2</a:t>
              </a:r>
            </a:p>
          </p:txBody>
        </p:sp>
        <p:sp>
          <p:nvSpPr>
            <p:cNvPr id="37" name="TextBox 36"/>
            <p:cNvSpPr txBox="1"/>
            <p:nvPr/>
          </p:nvSpPr>
          <p:spPr>
            <a:xfrm>
              <a:off x="8086394" y="1359200"/>
              <a:ext cx="2025042" cy="517065"/>
            </a:xfrm>
            <a:prstGeom prst="rect">
              <a:avLst/>
            </a:prstGeom>
            <a:noFill/>
          </p:spPr>
          <p:txBody>
            <a:bodyPr wrap="none" lIns="182880" tIns="146304" rIns="182880" bIns="146304" rtlCol="0">
              <a:spAutoFit/>
            </a:bodyPr>
            <a:lstStyle/>
            <a:p>
              <a:pPr>
                <a:lnSpc>
                  <a:spcPct val="90000"/>
                </a:lnSpc>
              </a:pPr>
              <a:r>
                <a:rPr lang="en-US" sz="16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AVAILABILITY SET</a:t>
              </a:r>
            </a:p>
          </p:txBody>
        </p:sp>
        <p:sp>
          <p:nvSpPr>
            <p:cNvPr id="38" name="Down Arrow 37"/>
            <p:cNvSpPr/>
            <p:nvPr/>
          </p:nvSpPr>
          <p:spPr bwMode="auto">
            <a:xfrm>
              <a:off x="7627130"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 name="Down Arrow 37"/>
            <p:cNvSpPr/>
            <p:nvPr/>
          </p:nvSpPr>
          <p:spPr bwMode="auto">
            <a:xfrm>
              <a:off x="8952202"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Down Arrow 37"/>
            <p:cNvSpPr/>
            <p:nvPr/>
          </p:nvSpPr>
          <p:spPr bwMode="auto">
            <a:xfrm>
              <a:off x="10277273"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7234375" y="3467100"/>
              <a:ext cx="1078937" cy="1774273"/>
              <a:chOff x="7234375" y="3467100"/>
              <a:chExt cx="1078937" cy="1774273"/>
            </a:xfrm>
          </p:grpSpPr>
          <p:sp>
            <p:nvSpPr>
              <p:cNvPr id="78" name="Rectangle 77"/>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79" name="TextBox 78"/>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5" name="Group 4"/>
              <p:cNvGrpSpPr/>
              <p:nvPr/>
            </p:nvGrpSpPr>
            <p:grpSpPr>
              <a:xfrm>
                <a:off x="7274621" y="3561933"/>
                <a:ext cx="998445" cy="536575"/>
                <a:chOff x="7428951" y="3572028"/>
                <a:chExt cx="689785" cy="370698"/>
              </a:xfrm>
            </p:grpSpPr>
            <p:grpSp>
              <p:nvGrpSpPr>
                <p:cNvPr id="80" name="Group 79"/>
                <p:cNvGrpSpPr/>
                <p:nvPr/>
              </p:nvGrpSpPr>
              <p:grpSpPr>
                <a:xfrm>
                  <a:off x="7428951" y="3572028"/>
                  <a:ext cx="370698" cy="370698"/>
                  <a:chOff x="10024583" y="5200003"/>
                  <a:chExt cx="1428919" cy="1428919"/>
                </a:xfrm>
              </p:grpSpPr>
              <p:sp>
                <p:nvSpPr>
                  <p:cNvPr id="81" name="Rectangle: Rounded Corners 80"/>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86" name="Group 85"/>
                <p:cNvGrpSpPr/>
                <p:nvPr/>
              </p:nvGrpSpPr>
              <p:grpSpPr>
                <a:xfrm>
                  <a:off x="7748038" y="3572028"/>
                  <a:ext cx="370698" cy="370698"/>
                  <a:chOff x="10024583" y="5200003"/>
                  <a:chExt cx="1428919" cy="1428919"/>
                </a:xfrm>
              </p:grpSpPr>
              <p:sp>
                <p:nvSpPr>
                  <p:cNvPr id="87" name="Rectangle: Rounded Corners 8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92" name="Group 91"/>
              <p:cNvGrpSpPr/>
              <p:nvPr/>
            </p:nvGrpSpPr>
            <p:grpSpPr>
              <a:xfrm>
                <a:off x="7453326" y="4193599"/>
                <a:ext cx="641034" cy="641034"/>
                <a:chOff x="10867935" y="5095960"/>
                <a:chExt cx="534870" cy="534870"/>
              </a:xfrm>
            </p:grpSpPr>
            <p:sp>
              <p:nvSpPr>
                <p:cNvPr id="93" name="Rectangle 9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95" name="Group 94"/>
            <p:cNvGrpSpPr/>
            <p:nvPr/>
          </p:nvGrpSpPr>
          <p:grpSpPr>
            <a:xfrm>
              <a:off x="8559447" y="3467100"/>
              <a:ext cx="1078937" cy="1774273"/>
              <a:chOff x="7234375" y="3467100"/>
              <a:chExt cx="1078937" cy="1774273"/>
            </a:xfrm>
          </p:grpSpPr>
          <p:sp>
            <p:nvSpPr>
              <p:cNvPr id="96" name="Rectangle 95"/>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97" name="TextBox 96"/>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98" name="Group 97"/>
              <p:cNvGrpSpPr/>
              <p:nvPr/>
            </p:nvGrpSpPr>
            <p:grpSpPr>
              <a:xfrm>
                <a:off x="7274621" y="3561933"/>
                <a:ext cx="998445" cy="536575"/>
                <a:chOff x="7428951" y="3572028"/>
                <a:chExt cx="689785" cy="370698"/>
              </a:xfrm>
            </p:grpSpPr>
            <p:grpSp>
              <p:nvGrpSpPr>
                <p:cNvPr id="102" name="Group 101"/>
                <p:cNvGrpSpPr/>
                <p:nvPr/>
              </p:nvGrpSpPr>
              <p:grpSpPr>
                <a:xfrm>
                  <a:off x="7428951" y="3572028"/>
                  <a:ext cx="370698" cy="370698"/>
                  <a:chOff x="10024583" y="5200003"/>
                  <a:chExt cx="1428919" cy="1428919"/>
                </a:xfrm>
              </p:grpSpPr>
              <p:sp>
                <p:nvSpPr>
                  <p:cNvPr id="106" name="Rectangle: Rounded Corners 105"/>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7" name="Picture 10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03" name="Group 102"/>
                <p:cNvGrpSpPr/>
                <p:nvPr/>
              </p:nvGrpSpPr>
              <p:grpSpPr>
                <a:xfrm>
                  <a:off x="7748038" y="3572028"/>
                  <a:ext cx="370698" cy="370698"/>
                  <a:chOff x="10024583" y="5200003"/>
                  <a:chExt cx="1428919" cy="1428919"/>
                </a:xfrm>
              </p:grpSpPr>
              <p:sp>
                <p:nvSpPr>
                  <p:cNvPr id="104" name="Rectangle: Rounded Corners 103"/>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99" name="Group 98"/>
              <p:cNvGrpSpPr/>
              <p:nvPr/>
            </p:nvGrpSpPr>
            <p:grpSpPr>
              <a:xfrm>
                <a:off x="7453326" y="4193599"/>
                <a:ext cx="641034" cy="641034"/>
                <a:chOff x="10867935" y="5095960"/>
                <a:chExt cx="534870" cy="534870"/>
              </a:xfrm>
            </p:grpSpPr>
            <p:sp>
              <p:nvSpPr>
                <p:cNvPr id="100" name="Rectangle 99"/>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1" name="Picture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108" name="Group 107"/>
            <p:cNvGrpSpPr/>
            <p:nvPr/>
          </p:nvGrpSpPr>
          <p:grpSpPr>
            <a:xfrm>
              <a:off x="9884518" y="3467100"/>
              <a:ext cx="1078937" cy="1774273"/>
              <a:chOff x="7234375" y="3467100"/>
              <a:chExt cx="1078937" cy="1774273"/>
            </a:xfrm>
          </p:grpSpPr>
          <p:sp>
            <p:nvSpPr>
              <p:cNvPr id="109" name="Rectangle 108"/>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10" name="TextBox 109"/>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111" name="Group 110"/>
              <p:cNvGrpSpPr/>
              <p:nvPr/>
            </p:nvGrpSpPr>
            <p:grpSpPr>
              <a:xfrm>
                <a:off x="7274621" y="3561933"/>
                <a:ext cx="998445" cy="536575"/>
                <a:chOff x="7428951" y="3572028"/>
                <a:chExt cx="689785" cy="370698"/>
              </a:xfrm>
            </p:grpSpPr>
            <p:grpSp>
              <p:nvGrpSpPr>
                <p:cNvPr id="115" name="Group 114"/>
                <p:cNvGrpSpPr/>
                <p:nvPr/>
              </p:nvGrpSpPr>
              <p:grpSpPr>
                <a:xfrm>
                  <a:off x="7428951" y="3572028"/>
                  <a:ext cx="370698" cy="370698"/>
                  <a:chOff x="10024583" y="5200003"/>
                  <a:chExt cx="1428919" cy="1428919"/>
                </a:xfrm>
              </p:grpSpPr>
              <p:sp>
                <p:nvSpPr>
                  <p:cNvPr id="119" name="Rectangle: Rounded Corners 118"/>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20" name="Picture 1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16" name="Group 115"/>
                <p:cNvGrpSpPr/>
                <p:nvPr/>
              </p:nvGrpSpPr>
              <p:grpSpPr>
                <a:xfrm>
                  <a:off x="7748038" y="3572028"/>
                  <a:ext cx="370698" cy="370698"/>
                  <a:chOff x="10024583" y="5200003"/>
                  <a:chExt cx="1428919" cy="1428919"/>
                </a:xfrm>
              </p:grpSpPr>
              <p:sp>
                <p:nvSpPr>
                  <p:cNvPr id="117" name="Rectangle: Rounded Corners 11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18" name="Picture 1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112" name="Group 111"/>
              <p:cNvGrpSpPr/>
              <p:nvPr/>
            </p:nvGrpSpPr>
            <p:grpSpPr>
              <a:xfrm>
                <a:off x="7453326" y="4193599"/>
                <a:ext cx="641034" cy="641034"/>
                <a:chOff x="10867935" y="5095960"/>
                <a:chExt cx="534870" cy="534870"/>
              </a:xfrm>
            </p:grpSpPr>
            <p:sp>
              <p:nvSpPr>
                <p:cNvPr id="113" name="Rectangle 11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14" name="Picture 1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sp>
          <p:nvSpPr>
            <p:cNvPr id="10" name="Rectangle 9"/>
            <p:cNvSpPr/>
            <p:nvPr/>
          </p:nvSpPr>
          <p:spPr bwMode="auto">
            <a:xfrm>
              <a:off x="7529514"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21" name="Rectangle 120"/>
            <p:cNvSpPr/>
            <p:nvPr/>
          </p:nvSpPr>
          <p:spPr bwMode="auto">
            <a:xfrm>
              <a:off x="885348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22" name="Rectangle 121"/>
            <p:cNvSpPr/>
            <p:nvPr/>
          </p:nvSpPr>
          <p:spPr bwMode="auto">
            <a:xfrm>
              <a:off x="1016793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7123" y="2230573"/>
              <a:ext cx="853440" cy="853440"/>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2195" y="2230573"/>
              <a:ext cx="853440" cy="853440"/>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7266" y="2230573"/>
              <a:ext cx="853440" cy="853440"/>
            </a:xfrm>
            <a:prstGeom prst="rect">
              <a:avLst/>
            </a:prstGeom>
          </p:spPr>
        </p:pic>
      </p:grpSp>
      <p:grpSp>
        <p:nvGrpSpPr>
          <p:cNvPr id="72" name="Group 71">
            <a:extLst>
              <a:ext uri="{FF2B5EF4-FFF2-40B4-BE49-F238E27FC236}">
                <a16:creationId xmlns:a16="http://schemas.microsoft.com/office/drawing/2014/main" id="{DBB2E859-67CD-41B2-814C-F3B90A555732}"/>
              </a:ext>
            </a:extLst>
          </p:cNvPr>
          <p:cNvGrpSpPr/>
          <p:nvPr/>
        </p:nvGrpSpPr>
        <p:grpSpPr>
          <a:xfrm>
            <a:off x="10954363" y="-335268"/>
            <a:ext cx="1488190" cy="1744298"/>
            <a:chOff x="10745492" y="-292054"/>
            <a:chExt cx="1697062" cy="1989116"/>
          </a:xfrm>
        </p:grpSpPr>
        <p:sp>
          <p:nvSpPr>
            <p:cNvPr id="74" name="Diagonal Stripe 73">
              <a:extLst>
                <a:ext uri="{FF2B5EF4-FFF2-40B4-BE49-F238E27FC236}">
                  <a16:creationId xmlns:a16="http://schemas.microsoft.com/office/drawing/2014/main" id="{4E00F7DE-CF58-4350-A174-C2C3FCA5D8E3}"/>
                </a:ext>
              </a:extLst>
            </p:cNvPr>
            <p:cNvSpPr/>
            <p:nvPr/>
          </p:nvSpPr>
          <p:spPr bwMode="auto">
            <a:xfrm rot="5400000">
              <a:off x="10745492" y="0"/>
              <a:ext cx="1697062" cy="1697062"/>
            </a:xfrm>
            <a:prstGeom prst="diagStripe">
              <a:avLst/>
            </a:prstGeom>
            <a:solidFill>
              <a:srgbClr val="BAD80A"/>
            </a:solidFill>
            <a:ln>
              <a:noFill/>
              <a:headEnd type="none" w="med" len="med"/>
              <a:tailEnd type="none" w="med" len="med"/>
            </a:ln>
            <a:effectLst>
              <a:outerShdw dist="762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a:solidFill>
                  <a:srgbClr val="BAD80A"/>
                </a:solidFill>
                <a:ea typeface="Segoe UI" pitchFamily="34" charset="0"/>
                <a:cs typeface="Segoe UI" pitchFamily="34" charset="0"/>
              </a:endParaRPr>
            </a:p>
          </p:txBody>
        </p:sp>
        <p:sp>
          <p:nvSpPr>
            <p:cNvPr id="75" name="TextBox 74">
              <a:extLst>
                <a:ext uri="{FF2B5EF4-FFF2-40B4-BE49-F238E27FC236}">
                  <a16:creationId xmlns:a16="http://schemas.microsoft.com/office/drawing/2014/main" id="{ADD275B3-B10C-447C-99F6-8A43AACF9ABB}"/>
                </a:ext>
              </a:extLst>
            </p:cNvPr>
            <p:cNvSpPr txBox="1"/>
            <p:nvPr/>
          </p:nvSpPr>
          <p:spPr>
            <a:xfrm rot="2704426">
              <a:off x="10827029" y="372054"/>
              <a:ext cx="1917854" cy="589637"/>
            </a:xfrm>
            <a:prstGeom prst="rect">
              <a:avLst/>
            </a:prstGeom>
            <a:noFill/>
          </p:spPr>
          <p:txBody>
            <a:bodyPr wrap="none" lIns="182880" tIns="146304" rIns="182880" bIns="146304" rtlCol="0">
              <a:spAutoFit/>
            </a:bodyPr>
            <a:lstStyle/>
            <a:p>
              <a:pPr>
                <a:lnSpc>
                  <a:spcPct val="90000"/>
                </a:lnSpc>
                <a:spcAft>
                  <a:spcPts val="600"/>
                </a:spcAft>
              </a:pPr>
              <a:r>
                <a:rPr lang="en-GB" sz="1600" b="1">
                  <a:solidFill>
                    <a:srgbClr val="647406"/>
                  </a:solidFill>
                </a:rPr>
                <a:t>  GA Jan 2017</a:t>
              </a:r>
            </a:p>
          </p:txBody>
        </p:sp>
      </p:grpSp>
      <p:sp>
        <p:nvSpPr>
          <p:cNvPr id="64" name="Content Placeholder 2">
            <a:extLst>
              <a:ext uri="{FF2B5EF4-FFF2-40B4-BE49-F238E27FC236}">
                <a16:creationId xmlns:a16="http://schemas.microsoft.com/office/drawing/2014/main" id="{49D28A7E-E470-4310-9CC7-26C2430FB087}"/>
              </a:ext>
            </a:extLst>
          </p:cNvPr>
          <p:cNvSpPr txBox="1">
            <a:spLocks/>
          </p:cNvSpPr>
          <p:nvPr/>
        </p:nvSpPr>
        <p:spPr>
          <a:xfrm>
            <a:off x="5196077" y="2231874"/>
            <a:ext cx="6863952" cy="3127010"/>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rescriptive microservice platform</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ateful and stateless microservices</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NET and Java API’s </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 Server and Linux</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eploy on Azure, Azure Stack, VMware, OpenStack, AWS</a:t>
            </a:r>
          </a:p>
        </p:txBody>
      </p:sp>
    </p:spTree>
    <p:extLst>
      <p:ext uri="{BB962C8B-B14F-4D97-AF65-F5344CB8AC3E}">
        <p14:creationId xmlns:p14="http://schemas.microsoft.com/office/powerpoint/2010/main" val="2846946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35" presetClass="path" presetSubtype="0" decel="100000" fill="hold" grpId="1" nodeType="withEffect">
                                  <p:stCondLst>
                                    <p:cond delay="250"/>
                                  </p:stCondLst>
                                  <p:childTnLst>
                                    <p:animMotion origin="layout" path="M -3.14526E-6 -2.00182E-6 L -0.02374 -2.00182E-6 " pathEditMode="relative" rAng="0" ptsTypes="AA">
                                      <p:cBhvr>
                                        <p:cTn id="9" dur="750" spd="-100000" fill="hold"/>
                                        <p:tgtEl>
                                          <p:spTgt spid="45"/>
                                        </p:tgtEl>
                                        <p:attrNameLst>
                                          <p:attrName>ppt_x</p:attrName>
                                          <p:attrName>ppt_y</p:attrName>
                                        </p:attrNameLst>
                                      </p:cBhvr>
                                      <p:rCtr x="-1187" y="0"/>
                                    </p:animMotion>
                                  </p:childTnLst>
                                </p:cTn>
                              </p:par>
                              <p:par>
                                <p:cTn id="10" presetID="10" presetClass="entr" presetSubtype="0" fill="hold" grpId="0" nodeType="with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35" presetClass="path" presetSubtype="0" decel="100000" fill="hold" grpId="1" nodeType="withEffect">
                                  <p:stCondLst>
                                    <p:cond delay="0"/>
                                  </p:stCondLst>
                                  <p:childTnLst>
                                    <p:animMotion origin="layout" path="M -7.42915E-7 9.12392E-7 L -0.05285 9.12392E-7 " pathEditMode="relative" rAng="0" ptsTypes="AA">
                                      <p:cBhvr>
                                        <p:cTn id="14" dur="750" spd="-100000" fill="hold"/>
                                        <p:tgtEl>
                                          <p:spTgt spid="6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P spid="64" grpId="0"/>
      <p:bldP spid="64" grpId="1"/>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2: Virtual Machine Tutorial</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506600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Making use of the tutorials in Azure Doc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ose:</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Linux</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ose:</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rtal</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LI 2.0</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werShell</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eck the lab guide for parameter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eb server configuration section is optional</a:t>
            </a:r>
          </a:p>
        </p:txBody>
      </p:sp>
    </p:spTree>
    <p:extLst>
      <p:ext uri="{BB962C8B-B14F-4D97-AF65-F5344CB8AC3E}">
        <p14:creationId xmlns:p14="http://schemas.microsoft.com/office/powerpoint/2010/main" val="2287128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60418E-6 L -0.05285 3.60418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4"/>
          <p:cNvGrpSpPr>
            <a:grpSpLocks noChangeAspect="1"/>
          </p:cNvGrpSpPr>
          <p:nvPr/>
        </p:nvGrpSpPr>
        <p:grpSpPr bwMode="auto">
          <a:xfrm>
            <a:off x="6515364" y="1565243"/>
            <a:ext cx="5446156" cy="4515529"/>
            <a:chOff x="2863" y="318"/>
            <a:chExt cx="4354" cy="3610"/>
          </a:xfrm>
        </p:grpSpPr>
        <p:sp>
          <p:nvSpPr>
            <p:cNvPr id="82"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3"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4"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5"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6"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7"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8"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9"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0"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1"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2"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3"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4" name="Rectangle 16"/>
            <p:cNvSpPr>
              <a:spLocks noChangeArrowheads="1"/>
            </p:cNvSpPr>
            <p:nvPr/>
          </p:nvSpPr>
          <p:spPr bwMode="auto">
            <a:xfrm>
              <a:off x="3398" y="2838"/>
              <a:ext cx="497"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SQL - A</a:t>
              </a:r>
              <a:endParaRPr lang="en-US" altLang="en-US" sz="1122" kern="0">
                <a:solidFill>
                  <a:srgbClr val="00B0F0"/>
                </a:solidFill>
                <a:latin typeface="Segoe UI Semilight" panose="020B0402040204020203" pitchFamily="34" charset="0"/>
                <a:cs typeface="Segoe UI Semilight" panose="020B0402040204020203" pitchFamily="34" charset="0"/>
              </a:endParaRPr>
            </a:p>
          </p:txBody>
        </p:sp>
        <p:sp>
          <p:nvSpPr>
            <p:cNvPr id="95"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6"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7"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8"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9"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0"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1"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2"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3"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4"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5"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6"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7"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8"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9" name="Rectangle 31"/>
            <p:cNvSpPr>
              <a:spLocks noChangeArrowheads="1"/>
            </p:cNvSpPr>
            <p:nvPr/>
          </p:nvSpPr>
          <p:spPr bwMode="auto">
            <a:xfrm>
              <a:off x="4884" y="2838"/>
              <a:ext cx="51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Website</a:t>
              </a: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sp>
          <p:nvSpPr>
            <p:cNvPr id="110"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1"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2"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428" kern="0">
                <a:solidFill>
                  <a:srgbClr val="00B0F0"/>
                </a:solidFill>
                <a:latin typeface="Segoe UI Semilight" panose="020B0402040204020203" pitchFamily="34" charset="0"/>
                <a:cs typeface="Segoe UI Semilight" panose="020B0402040204020203" pitchFamily="34" charset="0"/>
              </a:endParaRPr>
            </a:p>
          </p:txBody>
        </p:sp>
        <p:sp>
          <p:nvSpPr>
            <p:cNvPr id="113"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4"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5"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6"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7"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8"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9"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0"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1"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2"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3"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4"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5" name="Rectangle 47"/>
            <p:cNvSpPr>
              <a:spLocks noChangeArrowheads="1"/>
            </p:cNvSpPr>
            <p:nvPr/>
          </p:nvSpPr>
          <p:spPr bwMode="auto">
            <a:xfrm>
              <a:off x="6417" y="2788"/>
              <a:ext cx="414"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Virtua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26" name="Rectangle 48"/>
            <p:cNvSpPr>
              <a:spLocks noChangeArrowheads="1"/>
            </p:cNvSpPr>
            <p:nvPr/>
          </p:nvSpPr>
          <p:spPr bwMode="auto">
            <a:xfrm>
              <a:off x="6417" y="2933"/>
              <a:ext cx="60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Machines</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27"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8"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9"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0"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1"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2" name="Rectangle 54"/>
            <p:cNvSpPr>
              <a:spLocks noChangeArrowheads="1"/>
            </p:cNvSpPr>
            <p:nvPr/>
          </p:nvSpPr>
          <p:spPr bwMode="auto">
            <a:xfrm>
              <a:off x="4731" y="523"/>
              <a:ext cx="416"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414042"/>
                  </a:solidFill>
                  <a:latin typeface="Segoe UI Semilight" panose="020B0402040204020203" pitchFamily="34" charset="0"/>
                  <a:cs typeface="Segoe UI Semilight" panose="020B0402040204020203" pitchFamily="34" charset="0"/>
                </a:rPr>
                <a:t>SQL-A</a:t>
              </a:r>
              <a:endParaRPr lang="en-US" altLang="en-US" sz="1071" kern="0">
                <a:solidFill>
                  <a:srgbClr val="00B0F0"/>
                </a:solidFill>
                <a:latin typeface="Segoe UI Semilight" panose="020B0402040204020203" pitchFamily="34" charset="0"/>
                <a:cs typeface="Segoe UI Semilight" panose="020B0402040204020203" pitchFamily="34" charset="0"/>
              </a:endParaRPr>
            </a:p>
          </p:txBody>
        </p:sp>
        <p:sp>
          <p:nvSpPr>
            <p:cNvPr id="133" name="Rectangle 55"/>
            <p:cNvSpPr>
              <a:spLocks noChangeArrowheads="1"/>
            </p:cNvSpPr>
            <p:nvPr/>
          </p:nvSpPr>
          <p:spPr bwMode="auto">
            <a:xfrm>
              <a:off x="4728" y="747"/>
              <a:ext cx="51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414042"/>
                  </a:solidFill>
                  <a:latin typeface="Segoe UI Semilight" panose="020B0402040204020203" pitchFamily="34" charset="0"/>
                  <a:cs typeface="Segoe UI Semilight" panose="020B0402040204020203" pitchFamily="34" charset="0"/>
                </a:rPr>
                <a:t>Website</a:t>
              </a:r>
              <a:endParaRPr lang="en-US" altLang="en-US" sz="1071" kern="0">
                <a:solidFill>
                  <a:srgbClr val="00B0F0"/>
                </a:solidFill>
                <a:latin typeface="Segoe UI Semilight" panose="020B0402040204020203" pitchFamily="34" charset="0"/>
                <a:cs typeface="Segoe UI Semilight" panose="020B0402040204020203" pitchFamily="34" charset="0"/>
              </a:endParaRPr>
            </a:p>
          </p:txBody>
        </p:sp>
        <p:sp>
          <p:nvSpPr>
            <p:cNvPr id="134" name="Rectangle 56"/>
            <p:cNvSpPr>
              <a:spLocks noChangeArrowheads="1"/>
            </p:cNvSpPr>
            <p:nvPr/>
          </p:nvSpPr>
          <p:spPr bwMode="auto">
            <a:xfrm>
              <a:off x="4713" y="987"/>
              <a:ext cx="636"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414042"/>
                  </a:solidFill>
                  <a:latin typeface="Segoe UI Semilight" panose="020B0402040204020203" pitchFamily="34" charset="0"/>
                  <a:cs typeface="Segoe UI Semilight" panose="020B0402040204020203" pitchFamily="34" charset="0"/>
                </a:rPr>
                <a:t>[SQL CONFIG] VM (2x)</a:t>
              </a:r>
              <a:endParaRPr lang="en-US" altLang="en-US" sz="1632" kern="0">
                <a:solidFill>
                  <a:srgbClr val="00B0F0"/>
                </a:solidFill>
                <a:latin typeface="Segoe UI Semilight" panose="020B0402040204020203" pitchFamily="34" charset="0"/>
                <a:cs typeface="Segoe UI Semilight" panose="020B0402040204020203" pitchFamily="34" charset="0"/>
              </a:endParaRPr>
            </a:p>
          </p:txBody>
        </p:sp>
        <p:sp>
          <p:nvSpPr>
            <p:cNvPr id="135"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6"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7"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8"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9"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0"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1"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2"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3"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4"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5"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46" name="Rectangle 68"/>
            <p:cNvSpPr>
              <a:spLocks noChangeArrowheads="1"/>
            </p:cNvSpPr>
            <p:nvPr/>
          </p:nvSpPr>
          <p:spPr bwMode="auto">
            <a:xfrm>
              <a:off x="6236" y="2141"/>
              <a:ext cx="595"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FFFFFF"/>
                  </a:solidFill>
                  <a:latin typeface="Segoe UI Semilight" panose="020B0402040204020203" pitchFamily="34" charset="0"/>
                  <a:cs typeface="Segoe UI Semilight" panose="020B0402040204020203" pitchFamily="34" charset="0"/>
                </a:rPr>
                <a:t>DEPENDS ON SQ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47"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48" name="Rectangle 70"/>
            <p:cNvSpPr>
              <a:spLocks noChangeArrowheads="1"/>
            </p:cNvSpPr>
            <p:nvPr/>
          </p:nvSpPr>
          <p:spPr bwMode="auto">
            <a:xfrm>
              <a:off x="4713" y="2141"/>
              <a:ext cx="595"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FFFFFF"/>
                  </a:solidFill>
                  <a:latin typeface="Segoe UI Semilight" panose="020B0402040204020203" pitchFamily="34" charset="0"/>
                  <a:cs typeface="Segoe UI Semilight" panose="020B0402040204020203" pitchFamily="34" charset="0"/>
                </a:rPr>
                <a:t>DEPENDS ON SQ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49"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0"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1"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2"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53" name="Rectangle 75"/>
            <p:cNvSpPr>
              <a:spLocks noChangeArrowheads="1"/>
            </p:cNvSpPr>
            <p:nvPr/>
          </p:nvSpPr>
          <p:spPr bwMode="auto">
            <a:xfrm>
              <a:off x="4023" y="3702"/>
              <a:ext cx="54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918" b="1" kern="0">
                  <a:solidFill>
                    <a:srgbClr val="FFFFFF"/>
                  </a:solidFill>
                  <a:latin typeface="Segoe UI Semilight" panose="020B0402040204020203" pitchFamily="34" charset="0"/>
                  <a:cs typeface="Segoe UI Semilight" panose="020B0402040204020203" pitchFamily="34" charset="0"/>
                </a:rPr>
                <a:t>SQLCONFIG</a:t>
              </a:r>
              <a:endParaRPr lang="en-US" altLang="en-US" sz="1224" kern="0">
                <a:solidFill>
                  <a:srgbClr val="00B0F0"/>
                </a:solidFill>
                <a:latin typeface="Segoe UI Semilight" panose="020B0402040204020203" pitchFamily="34" charset="0"/>
                <a:cs typeface="Segoe UI Semilight" panose="020B0402040204020203" pitchFamily="34" charset="0"/>
              </a:endParaRPr>
            </a:p>
          </p:txBody>
        </p:sp>
        <p:sp>
          <p:nvSpPr>
            <p:cNvPr id="154" name="Rectangle 76"/>
            <p:cNvSpPr>
              <a:spLocks noChangeArrowheads="1"/>
            </p:cNvSpPr>
            <p:nvPr/>
          </p:nvSpPr>
          <p:spPr bwMode="auto">
            <a:xfrm>
              <a:off x="4204" y="3702"/>
              <a:ext cx="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sp>
          <p:nvSpPr>
            <p:cNvPr id="155" name="Rectangle 77"/>
            <p:cNvSpPr>
              <a:spLocks noChangeArrowheads="1"/>
            </p:cNvSpPr>
            <p:nvPr/>
          </p:nvSpPr>
          <p:spPr bwMode="auto">
            <a:xfrm>
              <a:off x="4257" y="3702"/>
              <a:ext cx="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grpSp>
      <p:sp>
        <p:nvSpPr>
          <p:cNvPr id="79" name="Rectangle 78"/>
          <p:cNvSpPr/>
          <p:nvPr/>
        </p:nvSpPr>
        <p:spPr>
          <a:xfrm>
            <a:off x="882" y="0"/>
            <a:ext cx="12434712" cy="111438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sp>
        <p:nvSpPr>
          <p:cNvPr id="80" name="Title 2"/>
          <p:cNvSpPr txBox="1">
            <a:spLocks/>
          </p:cNvSpPr>
          <p:nvPr/>
        </p:nvSpPr>
        <p:spPr>
          <a:xfrm>
            <a:off x="176030" y="8961"/>
            <a:ext cx="11785489" cy="1096456"/>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5400" cap="all">
                <a:solidFill>
                  <a:schemeClr val="bg1"/>
                </a:solidFill>
                <a:latin typeface="+mn-lt"/>
                <a:ea typeface="Abyssinica SIL" panose="02000603020000020004" pitchFamily="2" charset="0"/>
                <a:cs typeface="Leelawadee UI" panose="020B0502040204020203" pitchFamily="34" charset="-34"/>
              </a:rPr>
              <a:t>Azure Resource Manager</a:t>
            </a:r>
          </a:p>
        </p:txBody>
      </p:sp>
      <p:sp>
        <p:nvSpPr>
          <p:cNvPr id="156" name="Rectangle 155"/>
          <p:cNvSpPr/>
          <p:nvPr/>
        </p:nvSpPr>
        <p:spPr>
          <a:xfrm>
            <a:off x="458627" y="2627292"/>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3</a:t>
            </a:r>
          </a:p>
        </p:txBody>
      </p:sp>
      <p:sp>
        <p:nvSpPr>
          <p:cNvPr id="157" name="Rectangle 156"/>
          <p:cNvSpPr/>
          <p:nvPr/>
        </p:nvSpPr>
        <p:spPr>
          <a:xfrm>
            <a:off x="1035907" y="2627292"/>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Repeated deployment in consistent state</a:t>
            </a:r>
          </a:p>
        </p:txBody>
      </p:sp>
      <p:sp>
        <p:nvSpPr>
          <p:cNvPr id="158" name="Rectangle 157"/>
          <p:cNvSpPr/>
          <p:nvPr/>
        </p:nvSpPr>
        <p:spPr>
          <a:xfrm>
            <a:off x="458627" y="2091695"/>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2</a:t>
            </a:r>
          </a:p>
        </p:txBody>
      </p:sp>
      <p:sp>
        <p:nvSpPr>
          <p:cNvPr id="159" name="Rectangle 158"/>
          <p:cNvSpPr/>
          <p:nvPr/>
        </p:nvSpPr>
        <p:spPr>
          <a:xfrm>
            <a:off x="1035907" y="2091695"/>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Simple orchestration</a:t>
            </a:r>
          </a:p>
        </p:txBody>
      </p:sp>
      <p:sp>
        <p:nvSpPr>
          <p:cNvPr id="160" name="Rectangle 159"/>
          <p:cNvSpPr/>
          <p:nvPr/>
        </p:nvSpPr>
        <p:spPr>
          <a:xfrm>
            <a:off x="458627" y="1557531"/>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1</a:t>
            </a:r>
          </a:p>
        </p:txBody>
      </p:sp>
      <p:sp>
        <p:nvSpPr>
          <p:cNvPr id="161" name="Rectangle 160"/>
          <p:cNvSpPr/>
          <p:nvPr/>
        </p:nvSpPr>
        <p:spPr>
          <a:xfrm>
            <a:off x="1035907" y="1557531"/>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Specify resources &amp; dependencies</a:t>
            </a:r>
          </a:p>
        </p:txBody>
      </p:sp>
      <p:sp>
        <p:nvSpPr>
          <p:cNvPr id="162" name="Rectangle 161"/>
          <p:cNvSpPr/>
          <p:nvPr/>
        </p:nvSpPr>
        <p:spPr>
          <a:xfrm>
            <a:off x="458627" y="3162890"/>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4</a:t>
            </a:r>
          </a:p>
        </p:txBody>
      </p:sp>
      <p:sp>
        <p:nvSpPr>
          <p:cNvPr id="163" name="Rectangle 162"/>
          <p:cNvSpPr/>
          <p:nvPr/>
        </p:nvSpPr>
        <p:spPr>
          <a:xfrm>
            <a:off x="1035907" y="3162890"/>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Incremental deployments</a:t>
            </a:r>
          </a:p>
        </p:txBody>
      </p:sp>
      <p:sp>
        <p:nvSpPr>
          <p:cNvPr id="164" name="Isosceles Triangle 163"/>
          <p:cNvSpPr/>
          <p:nvPr/>
        </p:nvSpPr>
        <p:spPr>
          <a:xfrm rot="10800000">
            <a:off x="8938173" y="1045368"/>
            <a:ext cx="467948" cy="403403"/>
          </a:xfrm>
          <a:prstGeom prst="triangle">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64"/>
          <p:cNvSpPr/>
          <p:nvPr/>
        </p:nvSpPr>
        <p:spPr>
          <a:xfrm>
            <a:off x="457064" y="3717658"/>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5</a:t>
            </a:r>
          </a:p>
        </p:txBody>
      </p:sp>
      <p:sp>
        <p:nvSpPr>
          <p:cNvPr id="166" name="Rectangle 165"/>
          <p:cNvSpPr/>
          <p:nvPr/>
        </p:nvSpPr>
        <p:spPr>
          <a:xfrm>
            <a:off x="1034344" y="3717658"/>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JSON based templates</a:t>
            </a:r>
          </a:p>
        </p:txBody>
      </p:sp>
      <p:grpSp>
        <p:nvGrpSpPr>
          <p:cNvPr id="167" name="Group 166">
            <a:extLst>
              <a:ext uri="{FF2B5EF4-FFF2-40B4-BE49-F238E27FC236}">
                <a16:creationId xmlns:a16="http://schemas.microsoft.com/office/drawing/2014/main" id="{29ED679D-AF24-432F-A27B-1AF3869DA376}"/>
              </a:ext>
            </a:extLst>
          </p:cNvPr>
          <p:cNvGrpSpPr/>
          <p:nvPr/>
        </p:nvGrpSpPr>
        <p:grpSpPr>
          <a:xfrm>
            <a:off x="7023561" y="1481038"/>
            <a:ext cx="4667284" cy="5334000"/>
            <a:chOff x="7082333" y="1481038"/>
            <a:chExt cx="4667284" cy="5334000"/>
          </a:xfrm>
        </p:grpSpPr>
        <p:grpSp>
          <p:nvGrpSpPr>
            <p:cNvPr id="168" name="Group 167">
              <a:extLst>
                <a:ext uri="{FF2B5EF4-FFF2-40B4-BE49-F238E27FC236}">
                  <a16:creationId xmlns:a16="http://schemas.microsoft.com/office/drawing/2014/main" id="{7BE60089-17E2-4BE6-81CF-28745CCE6A23}"/>
                </a:ext>
              </a:extLst>
            </p:cNvPr>
            <p:cNvGrpSpPr/>
            <p:nvPr/>
          </p:nvGrpSpPr>
          <p:grpSpPr>
            <a:xfrm>
              <a:off x="7082333" y="1481038"/>
              <a:ext cx="4419600" cy="2286000"/>
              <a:chOff x="6599237" y="4183062"/>
              <a:chExt cx="4419600" cy="2286000"/>
            </a:xfrm>
            <a:solidFill>
              <a:schemeClr val="tx1">
                <a:lumMod val="40000"/>
                <a:lumOff val="60000"/>
              </a:schemeClr>
            </a:solidFill>
          </p:grpSpPr>
          <p:sp>
            <p:nvSpPr>
              <p:cNvPr id="172" name="Scroll: Vertical 171">
                <a:extLst>
                  <a:ext uri="{FF2B5EF4-FFF2-40B4-BE49-F238E27FC236}">
                    <a16:creationId xmlns:a16="http://schemas.microsoft.com/office/drawing/2014/main" id="{93052A3B-4CC1-4BC2-937A-B436C572AD3C}"/>
                  </a:ext>
                </a:extLst>
              </p:cNvPr>
              <p:cNvSpPr/>
              <p:nvPr/>
            </p:nvSpPr>
            <p:spPr bwMode="auto">
              <a:xfrm>
                <a:off x="6599237" y="4183062"/>
                <a:ext cx="4419600" cy="2286000"/>
              </a:xfrm>
              <a:prstGeom prst="verticalScroll">
                <a:avLst/>
              </a:prstGeom>
              <a:grpFill/>
              <a:ln w="12700">
                <a:solidFill>
                  <a:schemeClr val="bg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en-GB" sz="2000">
                    <a:solidFill>
                      <a:schemeClr val="tx1">
                        <a:lumMod val="75000"/>
                      </a:schemeClr>
                    </a:solidFill>
                  </a:rPr>
                  <a:t>ARM Template</a:t>
                </a:r>
              </a:p>
              <a:p>
                <a:pPr algn="ctr" defTabSz="932472" fontAlgn="base">
                  <a:spcBef>
                    <a:spcPct val="0"/>
                  </a:spcBef>
                  <a:spcAft>
                    <a:spcPct val="0"/>
                  </a:spcAft>
                </a:pPr>
                <a:endParaRPr lang="en-GB" sz="2000">
                  <a:solidFill>
                    <a:schemeClr val="tx1">
                      <a:lumMod val="75000"/>
                    </a:schemeClr>
                  </a:solidFill>
                </a:endParaRPr>
              </a:p>
              <a:p>
                <a:pPr algn="ctr" defTabSz="932472" fontAlgn="base">
                  <a:spcBef>
                    <a:spcPct val="0"/>
                  </a:spcBef>
                  <a:spcAft>
                    <a:spcPct val="0"/>
                  </a:spcAft>
                </a:pPr>
                <a:endParaRPr lang="en-GB" sz="2000">
                  <a:solidFill>
                    <a:schemeClr val="tx1">
                      <a:lumMod val="75000"/>
                    </a:schemeClr>
                  </a:solidFill>
                </a:endParaRPr>
              </a:p>
            </p:txBody>
          </p:sp>
          <p:sp>
            <p:nvSpPr>
              <p:cNvPr id="173" name="TextBox 172">
                <a:extLst>
                  <a:ext uri="{FF2B5EF4-FFF2-40B4-BE49-F238E27FC236}">
                    <a16:creationId xmlns:a16="http://schemas.microsoft.com/office/drawing/2014/main" id="{F19AC39F-2F7B-4C11-A26A-2AA64EC39E3D}"/>
                  </a:ext>
                </a:extLst>
              </p:cNvPr>
              <p:cNvSpPr txBox="1"/>
              <p:nvPr/>
            </p:nvSpPr>
            <p:spPr>
              <a:xfrm>
                <a:off x="6903445" y="4792662"/>
                <a:ext cx="1981200" cy="1600200"/>
              </a:xfrm>
              <a:prstGeom prst="rect">
                <a:avLst/>
              </a:prstGeom>
              <a:grpFill/>
            </p:spPr>
            <p:txBody>
              <a:bodyPr wrap="none" lIns="182880" tIns="146304" rIns="182880" bIns="146304" rtlCol="0">
                <a:noAutofit/>
              </a:bodyPr>
              <a:lstStyle/>
              <a:p>
                <a:pPr>
                  <a:lnSpc>
                    <a:spcPct val="90000"/>
                  </a:lnSpc>
                  <a:spcBef>
                    <a:spcPts val="1200"/>
                  </a:spcBef>
                  <a:spcAft>
                    <a:spcPts val="600"/>
                  </a:spcAft>
                </a:pPr>
                <a:r>
                  <a:rPr lang="en-GB" sz="1000">
                    <a:solidFill>
                      <a:schemeClr val="tx1">
                        <a:lumMod val="75000"/>
                      </a:schemeClr>
                    </a:solidFill>
                    <a:latin typeface="Courier New" panose="02070309020205020404" pitchFamily="49" charset="0"/>
                    <a:cs typeface="Courier New" panose="02070309020205020404" pitchFamily="49" charset="0"/>
                  </a:rPr>
                  <a:t>{</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parameter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variable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resource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type: "</a:t>
                </a:r>
                <a:r>
                  <a:rPr lang="en-GB" sz="1000" err="1">
                    <a:solidFill>
                      <a:schemeClr val="tx1">
                        <a:lumMod val="75000"/>
                      </a:schemeClr>
                    </a:solidFill>
                    <a:latin typeface="Courier New" panose="02070309020205020404" pitchFamily="49" charset="0"/>
                    <a:cs typeface="Courier New" panose="02070309020205020404" pitchFamily="49" charset="0"/>
                  </a:rPr>
                  <a:t>Microsoft.Compute</a:t>
                </a:r>
                <a:r>
                  <a:rPr lang="en-GB" sz="1000">
                    <a:solidFill>
                      <a:schemeClr val="tx1">
                        <a:lumMod val="75000"/>
                      </a:schemeClr>
                    </a:solidFill>
                    <a:latin typeface="Courier New" panose="02070309020205020404" pitchFamily="49" charset="0"/>
                    <a:cs typeface="Courier New" panose="02070309020205020404" pitchFamily="49" charset="0"/>
                  </a:rPr>
                  <a:t>/</a:t>
                </a:r>
                <a:r>
                  <a:rPr lang="en-GB" sz="1000" err="1">
                    <a:solidFill>
                      <a:schemeClr val="tx1">
                        <a:lumMod val="75000"/>
                      </a:schemeClr>
                    </a:solidFill>
                    <a:latin typeface="Courier New" panose="02070309020205020404" pitchFamily="49" charset="0"/>
                    <a:cs typeface="Courier New" panose="02070309020205020404" pitchFamily="49" charset="0"/>
                  </a:rPr>
                  <a:t>virtualMachines</a:t>
                </a:r>
                <a:r>
                  <a:rPr lang="en-GB" sz="1000">
                    <a:solidFill>
                      <a:schemeClr val="tx1">
                        <a:lumMod val="75000"/>
                      </a:schemeClr>
                    </a:solidFill>
                    <a:latin typeface="Courier New" panose="02070309020205020404" pitchFamily="49" charset="0"/>
                    <a:cs typeface="Courier New" panose="02070309020205020404" pitchFamily="49" charset="0"/>
                  </a:rPr>
                  <a:t>"</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output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a:t>
                </a:r>
              </a:p>
            </p:txBody>
          </p:sp>
        </p:grpSp>
        <p:grpSp>
          <p:nvGrpSpPr>
            <p:cNvPr id="169" name="Group 168">
              <a:extLst>
                <a:ext uri="{FF2B5EF4-FFF2-40B4-BE49-F238E27FC236}">
                  <a16:creationId xmlns:a16="http://schemas.microsoft.com/office/drawing/2014/main" id="{EDC6C2C9-4DF4-4A24-AADA-1023B683607F}"/>
                </a:ext>
              </a:extLst>
            </p:cNvPr>
            <p:cNvGrpSpPr/>
            <p:nvPr/>
          </p:nvGrpSpPr>
          <p:grpSpPr>
            <a:xfrm>
              <a:off x="7586389" y="3599363"/>
              <a:ext cx="4163228" cy="3215675"/>
              <a:chOff x="7586389" y="3599363"/>
              <a:chExt cx="4163228" cy="3215675"/>
            </a:xfrm>
          </p:grpSpPr>
          <p:pic>
            <p:nvPicPr>
              <p:cNvPr id="170" name="Picture 169">
                <a:extLst>
                  <a:ext uri="{FF2B5EF4-FFF2-40B4-BE49-F238E27FC236}">
                    <a16:creationId xmlns:a16="http://schemas.microsoft.com/office/drawing/2014/main" id="{810AF3D8-1391-49AC-A189-9B55CA8B779A}"/>
                  </a:ext>
                </a:extLst>
              </p:cNvPr>
              <p:cNvPicPr>
                <a:picLocks noChangeAspect="1"/>
              </p:cNvPicPr>
              <p:nvPr/>
            </p:nvPicPr>
            <p:blipFill>
              <a:blip r:embed="rId3"/>
              <a:stretch>
                <a:fillRect/>
              </a:stretch>
            </p:blipFill>
            <p:spPr>
              <a:xfrm>
                <a:off x="7586389" y="4300438"/>
                <a:ext cx="4163228" cy="2514600"/>
              </a:xfrm>
              <a:prstGeom prst="rect">
                <a:avLst/>
              </a:prstGeom>
            </p:spPr>
          </p:pic>
          <p:sp>
            <p:nvSpPr>
              <p:cNvPr id="171" name="Isosceles Triangle 170">
                <a:extLst>
                  <a:ext uri="{FF2B5EF4-FFF2-40B4-BE49-F238E27FC236}">
                    <a16:creationId xmlns:a16="http://schemas.microsoft.com/office/drawing/2014/main" id="{EF9E40F5-E445-4ED6-B719-DF87192276DA}"/>
                  </a:ext>
                </a:extLst>
              </p:cNvPr>
              <p:cNvSpPr/>
              <p:nvPr/>
            </p:nvSpPr>
            <p:spPr bwMode="auto">
              <a:xfrm>
                <a:off x="8203107" y="3599363"/>
                <a:ext cx="479426" cy="701076"/>
              </a:xfrm>
              <a:prstGeom prst="triangle">
                <a:avLst>
                  <a:gd name="adj" fmla="val 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sz="2000">
                  <a:gradFill>
                    <a:gsLst>
                      <a:gs pos="0">
                        <a:srgbClr val="FFFFFF"/>
                      </a:gs>
                      <a:gs pos="100000">
                        <a:srgbClr val="FFFFFF"/>
                      </a:gs>
                    </a:gsLst>
                    <a:lin ang="5400000" scaled="0"/>
                  </a:gradFill>
                </a:endParaRPr>
              </a:p>
            </p:txBody>
          </p:sp>
        </p:grpSp>
      </p:grpSp>
      <p:sp>
        <p:nvSpPr>
          <p:cNvPr id="2" name="TextBox 1">
            <a:extLst>
              <a:ext uri="{FF2B5EF4-FFF2-40B4-BE49-F238E27FC236}">
                <a16:creationId xmlns:a16="http://schemas.microsoft.com/office/drawing/2014/main" id="{20264F3E-6384-466B-A817-4D691C062A57}"/>
              </a:ext>
            </a:extLst>
          </p:cNvPr>
          <p:cNvSpPr txBox="1"/>
          <p:nvPr/>
        </p:nvSpPr>
        <p:spPr>
          <a:xfrm>
            <a:off x="2653048" y="6494525"/>
            <a:ext cx="981679" cy="572464"/>
          </a:xfrm>
          <a:prstGeom prst="rect">
            <a:avLst/>
          </a:prstGeom>
          <a:noFill/>
        </p:spPr>
        <p:txBody>
          <a:bodyPr wrap="none" lIns="182880" tIns="146304" rIns="182880" bIns="146304" rtlCol="0">
            <a:spAutoFit/>
          </a:bodyPr>
          <a:lstStyle/>
          <a:p>
            <a:pPr>
              <a:lnSpc>
                <a:spcPct val="90000"/>
              </a:lnSpc>
              <a:spcAft>
                <a:spcPts val="600"/>
              </a:spcAft>
            </a:pPr>
            <a:r>
              <a:rPr lang="en-GB" sz="2000" b="1">
                <a:gradFill>
                  <a:gsLst>
                    <a:gs pos="2917">
                      <a:schemeClr val="tx1"/>
                    </a:gs>
                    <a:gs pos="30000">
                      <a:schemeClr val="tx1"/>
                    </a:gs>
                  </a:gsLst>
                  <a:lin ang="5400000" scaled="0"/>
                </a:gradFill>
              </a:rPr>
              <a:t>SDKs</a:t>
            </a:r>
          </a:p>
        </p:txBody>
      </p:sp>
      <p:pic>
        <p:nvPicPr>
          <p:cNvPr id="175" name="Picture 174" descr="A close up of a sign&#10;&#10;Description generated with high confidence">
            <a:extLst>
              <a:ext uri="{FF2B5EF4-FFF2-40B4-BE49-F238E27FC236}">
                <a16:creationId xmlns:a16="http://schemas.microsoft.com/office/drawing/2014/main" id="{822D0D51-34AA-41E9-97A7-07C167B688D4}"/>
              </a:ext>
            </a:extLst>
          </p:cNvPr>
          <p:cNvPicPr>
            <a:picLocks noChangeAspect="1"/>
          </p:cNvPicPr>
          <p:nvPr/>
        </p:nvPicPr>
        <p:blipFill>
          <a:blip r:embed="rId4"/>
          <a:stretch>
            <a:fillRect/>
          </a:stretch>
        </p:blipFill>
        <p:spPr>
          <a:xfrm>
            <a:off x="2219787" y="6030739"/>
            <a:ext cx="542066" cy="542066"/>
          </a:xfrm>
          <a:prstGeom prst="rect">
            <a:avLst/>
          </a:prstGeom>
        </p:spPr>
      </p:pic>
      <p:pic>
        <p:nvPicPr>
          <p:cNvPr id="176" name="Graphic 175">
            <a:extLst>
              <a:ext uri="{FF2B5EF4-FFF2-40B4-BE49-F238E27FC236}">
                <a16:creationId xmlns:a16="http://schemas.microsoft.com/office/drawing/2014/main" id="{C5265C41-3012-4B65-988E-1B00273FA4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11638" y="6058442"/>
            <a:ext cx="497694" cy="497694"/>
          </a:xfrm>
          <a:prstGeom prst="rect">
            <a:avLst/>
          </a:prstGeom>
        </p:spPr>
      </p:pic>
      <p:grpSp>
        <p:nvGrpSpPr>
          <p:cNvPr id="4" name="Group 3">
            <a:extLst>
              <a:ext uri="{FF2B5EF4-FFF2-40B4-BE49-F238E27FC236}">
                <a16:creationId xmlns:a16="http://schemas.microsoft.com/office/drawing/2014/main" id="{5D84005D-71A8-4150-95D2-DD7C90CA53F5}"/>
              </a:ext>
            </a:extLst>
          </p:cNvPr>
          <p:cNvGrpSpPr/>
          <p:nvPr/>
        </p:nvGrpSpPr>
        <p:grpSpPr>
          <a:xfrm>
            <a:off x="927605" y="5673111"/>
            <a:ext cx="894086" cy="894086"/>
            <a:chOff x="2867416" y="4366233"/>
            <a:chExt cx="1052311" cy="1052311"/>
          </a:xfrm>
        </p:grpSpPr>
        <p:pic>
          <p:nvPicPr>
            <p:cNvPr id="177" name="Graphic 176">
              <a:extLst>
                <a:ext uri="{FF2B5EF4-FFF2-40B4-BE49-F238E27FC236}">
                  <a16:creationId xmlns:a16="http://schemas.microsoft.com/office/drawing/2014/main" id="{7FBC87DF-AABD-4CC7-9965-8F8968B32F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67416" y="4366233"/>
              <a:ext cx="1052311" cy="1052311"/>
            </a:xfrm>
            <a:prstGeom prst="rect">
              <a:avLst/>
            </a:prstGeom>
          </p:spPr>
        </p:pic>
        <p:sp>
          <p:nvSpPr>
            <p:cNvPr id="3" name="TextBox 2">
              <a:extLst>
                <a:ext uri="{FF2B5EF4-FFF2-40B4-BE49-F238E27FC236}">
                  <a16:creationId xmlns:a16="http://schemas.microsoft.com/office/drawing/2014/main" id="{CE41C420-7A87-4557-B3BB-95B57388F416}"/>
                </a:ext>
              </a:extLst>
            </p:cNvPr>
            <p:cNvSpPr txBox="1"/>
            <p:nvPr/>
          </p:nvSpPr>
          <p:spPr>
            <a:xfrm>
              <a:off x="3031359" y="4449950"/>
              <a:ext cx="742062" cy="489363"/>
            </a:xfrm>
            <a:prstGeom prst="rect">
              <a:avLst/>
            </a:prstGeom>
            <a:noFill/>
          </p:spPr>
          <p:txBody>
            <a:bodyPr wrap="none" lIns="182880" tIns="146304" rIns="182880" bIns="146304" rtlCol="0">
              <a:spAutoFit/>
            </a:bodyPr>
            <a:lstStyle/>
            <a:p>
              <a:pPr>
                <a:lnSpc>
                  <a:spcPct val="90000"/>
                </a:lnSpc>
                <a:spcAft>
                  <a:spcPts val="600"/>
                </a:spcAft>
              </a:pPr>
              <a:r>
                <a:rPr lang="en-GB" sz="1400">
                  <a:solidFill>
                    <a:schemeClr val="bg1">
                      <a:lumMod val="95000"/>
                    </a:schemeClr>
                  </a:solidFill>
                </a:rPr>
                <a:t>bash</a:t>
              </a:r>
            </a:p>
          </p:txBody>
        </p:sp>
      </p:grpSp>
      <p:pic>
        <p:nvPicPr>
          <p:cNvPr id="178" name="Picture 177" descr="A picture containing monitor, thing, sitting, object&#10;&#10;Description generated with very high confidence">
            <a:extLst>
              <a:ext uri="{FF2B5EF4-FFF2-40B4-BE49-F238E27FC236}">
                <a16:creationId xmlns:a16="http://schemas.microsoft.com/office/drawing/2014/main" id="{51AF7DC5-09EB-4250-81A3-279E5A31E924}"/>
              </a:ext>
            </a:extLst>
          </p:cNvPr>
          <p:cNvPicPr>
            <a:picLocks noChangeAspect="1"/>
          </p:cNvPicPr>
          <p:nvPr/>
        </p:nvPicPr>
        <p:blipFill>
          <a:blip r:embed="rId9"/>
          <a:stretch>
            <a:fillRect/>
          </a:stretch>
        </p:blipFill>
        <p:spPr>
          <a:xfrm>
            <a:off x="1341363" y="4440143"/>
            <a:ext cx="792088" cy="792088"/>
          </a:xfrm>
          <a:prstGeom prst="rect">
            <a:avLst/>
          </a:prstGeom>
        </p:spPr>
      </p:pic>
      <p:pic>
        <p:nvPicPr>
          <p:cNvPr id="179" name="Picture 178">
            <a:extLst>
              <a:ext uri="{FF2B5EF4-FFF2-40B4-BE49-F238E27FC236}">
                <a16:creationId xmlns:a16="http://schemas.microsoft.com/office/drawing/2014/main" id="{773A6544-154E-4490-9368-49FCB76182C5}"/>
              </a:ext>
            </a:extLst>
          </p:cNvPr>
          <p:cNvPicPr>
            <a:picLocks noChangeAspect="1"/>
          </p:cNvPicPr>
          <p:nvPr/>
        </p:nvPicPr>
        <p:blipFill>
          <a:blip r:embed="rId10"/>
          <a:stretch>
            <a:fillRect/>
          </a:stretch>
        </p:blipFill>
        <p:spPr>
          <a:xfrm>
            <a:off x="467529" y="4778851"/>
            <a:ext cx="646482" cy="646482"/>
          </a:xfrm>
          <a:prstGeom prst="rect">
            <a:avLst/>
          </a:prstGeom>
        </p:spPr>
      </p:pic>
      <p:pic>
        <p:nvPicPr>
          <p:cNvPr id="180" name="Picture 179">
            <a:extLst>
              <a:ext uri="{FF2B5EF4-FFF2-40B4-BE49-F238E27FC236}">
                <a16:creationId xmlns:a16="http://schemas.microsoft.com/office/drawing/2014/main" id="{F13AFB3C-3255-49D3-95A3-BD9E707FBAAF}"/>
              </a:ext>
            </a:extLst>
          </p:cNvPr>
          <p:cNvPicPr>
            <a:picLocks noChangeAspect="1"/>
          </p:cNvPicPr>
          <p:nvPr/>
        </p:nvPicPr>
        <p:blipFill>
          <a:blip r:embed="rId11"/>
          <a:stretch>
            <a:fillRect/>
          </a:stretch>
        </p:blipFill>
        <p:spPr>
          <a:xfrm>
            <a:off x="4238188" y="5274737"/>
            <a:ext cx="607645" cy="607645"/>
          </a:xfrm>
          <a:prstGeom prst="rect">
            <a:avLst/>
          </a:prstGeom>
        </p:spPr>
      </p:pic>
      <p:pic>
        <p:nvPicPr>
          <p:cNvPr id="9" name="Graphic 8">
            <a:extLst>
              <a:ext uri="{FF2B5EF4-FFF2-40B4-BE49-F238E27FC236}">
                <a16:creationId xmlns:a16="http://schemas.microsoft.com/office/drawing/2014/main" id="{732E5DBD-5DC0-47B4-BB1A-61053A08285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04623" y="5731441"/>
            <a:ext cx="583166" cy="583166"/>
          </a:xfrm>
          <a:prstGeom prst="rect">
            <a:avLst/>
          </a:prstGeom>
        </p:spPr>
      </p:pic>
      <p:pic>
        <p:nvPicPr>
          <p:cNvPr id="11" name="Graphic 10">
            <a:extLst>
              <a:ext uri="{FF2B5EF4-FFF2-40B4-BE49-F238E27FC236}">
                <a16:creationId xmlns:a16="http://schemas.microsoft.com/office/drawing/2014/main" id="{6711997E-4B03-4878-ADD9-D0B2E10CCB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553941" y="6014565"/>
            <a:ext cx="574795" cy="574795"/>
          </a:xfrm>
          <a:prstGeom prst="rect">
            <a:avLst/>
          </a:prstGeom>
        </p:spPr>
      </p:pic>
      <p:sp>
        <p:nvSpPr>
          <p:cNvPr id="12" name="TextBox 11">
            <a:extLst>
              <a:ext uri="{FF2B5EF4-FFF2-40B4-BE49-F238E27FC236}">
                <a16:creationId xmlns:a16="http://schemas.microsoft.com/office/drawing/2014/main" id="{88FD2771-D219-478F-93B5-1F97FA217F2E}"/>
              </a:ext>
            </a:extLst>
          </p:cNvPr>
          <p:cNvSpPr txBox="1"/>
          <p:nvPr/>
        </p:nvSpPr>
        <p:spPr>
          <a:xfrm>
            <a:off x="1061497" y="5113318"/>
            <a:ext cx="2000997" cy="760208"/>
          </a:xfrm>
          <a:prstGeom prst="rect">
            <a:avLst/>
          </a:prstGeom>
          <a:noFill/>
        </p:spPr>
        <p:txBody>
          <a:bodyPr wrap="none" lIns="182880" tIns="146304" rIns="182880" bIns="146304" rtlCol="0">
            <a:spAutoFit/>
          </a:bodyPr>
          <a:lstStyle/>
          <a:p>
            <a:pPr>
              <a:lnSpc>
                <a:spcPct val="90000"/>
              </a:lnSpc>
              <a:spcAft>
                <a:spcPts val="600"/>
              </a:spcAft>
            </a:pPr>
            <a:r>
              <a:rPr lang="en-GB" sz="1400" b="1">
                <a:gradFill>
                  <a:gsLst>
                    <a:gs pos="2917">
                      <a:schemeClr val="tx1"/>
                    </a:gs>
                    <a:gs pos="30000">
                      <a:schemeClr val="tx1"/>
                    </a:gs>
                  </a:gsLst>
                  <a:lin ang="5400000" scaled="0"/>
                </a:gradFill>
              </a:rPr>
              <a:t>Cross platform CLIs</a:t>
            </a:r>
          </a:p>
          <a:p>
            <a:pPr>
              <a:lnSpc>
                <a:spcPct val="90000"/>
              </a:lnSpc>
              <a:spcAft>
                <a:spcPts val="600"/>
              </a:spcAft>
            </a:pPr>
            <a:r>
              <a:rPr lang="en-GB" sz="1400" b="1" err="1">
                <a:gradFill>
                  <a:gsLst>
                    <a:gs pos="2917">
                      <a:schemeClr val="tx1"/>
                    </a:gs>
                    <a:gs pos="30000">
                      <a:schemeClr val="tx1"/>
                    </a:gs>
                  </a:gsLst>
                  <a:lin ang="5400000" scaled="0"/>
                </a:gradFill>
              </a:rPr>
              <a:t>Powershell</a:t>
            </a:r>
            <a:endParaRPr lang="en-GB" sz="1400" b="1">
              <a:gradFill>
                <a:gsLst>
                  <a:gs pos="2917">
                    <a:schemeClr val="tx1"/>
                  </a:gs>
                  <a:gs pos="30000">
                    <a:schemeClr val="tx1"/>
                  </a:gs>
                </a:gsLst>
                <a:lin ang="5400000" scaled="0"/>
              </a:gradFill>
            </a:endParaRPr>
          </a:p>
        </p:txBody>
      </p:sp>
      <p:sp>
        <p:nvSpPr>
          <p:cNvPr id="181" name="TextBox 180">
            <a:extLst>
              <a:ext uri="{FF2B5EF4-FFF2-40B4-BE49-F238E27FC236}">
                <a16:creationId xmlns:a16="http://schemas.microsoft.com/office/drawing/2014/main" id="{20B593E0-2E12-4940-B63A-CAC4A61693A5}"/>
              </a:ext>
            </a:extLst>
          </p:cNvPr>
          <p:cNvSpPr txBox="1"/>
          <p:nvPr/>
        </p:nvSpPr>
        <p:spPr>
          <a:xfrm>
            <a:off x="4750266" y="5203265"/>
            <a:ext cx="1504836" cy="572464"/>
          </a:xfrm>
          <a:prstGeom prst="rect">
            <a:avLst/>
          </a:prstGeom>
          <a:noFill/>
        </p:spPr>
        <p:txBody>
          <a:bodyPr wrap="none" lIns="182880" tIns="146304" rIns="182880" bIns="146304" rtlCol="0">
            <a:spAutoFit/>
          </a:bodyPr>
          <a:lstStyle/>
          <a:p>
            <a:pPr>
              <a:lnSpc>
                <a:spcPct val="90000"/>
              </a:lnSpc>
              <a:spcAft>
                <a:spcPts val="600"/>
              </a:spcAft>
            </a:pPr>
            <a:r>
              <a:rPr lang="en-GB" sz="2000" b="1">
                <a:gradFill>
                  <a:gsLst>
                    <a:gs pos="2917">
                      <a:schemeClr val="tx1"/>
                    </a:gs>
                    <a:gs pos="30000">
                      <a:schemeClr val="tx1"/>
                    </a:gs>
                  </a:gsLst>
                  <a:lin ang="5400000" scaled="0"/>
                </a:gradFill>
              </a:rPr>
              <a:t>Dev tools</a:t>
            </a:r>
          </a:p>
        </p:txBody>
      </p:sp>
      <p:sp>
        <p:nvSpPr>
          <p:cNvPr id="15" name="TextBox 14">
            <a:extLst>
              <a:ext uri="{FF2B5EF4-FFF2-40B4-BE49-F238E27FC236}">
                <a16:creationId xmlns:a16="http://schemas.microsoft.com/office/drawing/2014/main" id="{6AB7F496-4190-4C62-BC10-C95D76ACF87E}"/>
              </a:ext>
            </a:extLst>
          </p:cNvPr>
          <p:cNvSpPr txBox="1"/>
          <p:nvPr/>
        </p:nvSpPr>
        <p:spPr>
          <a:xfrm>
            <a:off x="8693076" y="6366235"/>
            <a:ext cx="3557219" cy="572464"/>
          </a:xfrm>
          <a:prstGeom prst="rect">
            <a:avLst/>
          </a:prstGeom>
          <a:solidFill>
            <a:srgbClr val="1E1E1E"/>
          </a:solidFill>
        </p:spPr>
        <p:txBody>
          <a:bodyPr wrap="square" lIns="182880" tIns="146304" rIns="182880" bIns="146304" rtlCol="0">
            <a:spAutoFit/>
          </a:bodyPr>
          <a:lstStyle/>
          <a:p>
            <a:pPr>
              <a:lnSpc>
                <a:spcPct val="90000"/>
              </a:lnSpc>
              <a:spcAft>
                <a:spcPts val="600"/>
              </a:spcAft>
            </a:pPr>
            <a:r>
              <a:rPr lang="en-GB" sz="2000">
                <a:solidFill>
                  <a:schemeClr val="bg1"/>
                </a:solidFill>
              </a:rPr>
              <a:t>INFRASTRUCTURE AS CODE</a:t>
            </a:r>
          </a:p>
        </p:txBody>
      </p:sp>
    </p:spTree>
    <p:extLst>
      <p:ext uri="{BB962C8B-B14F-4D97-AF65-F5344CB8AC3E}">
        <p14:creationId xmlns:p14="http://schemas.microsoft.com/office/powerpoint/2010/main" val="4189124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wipe(up)">
                                      <p:cBhvr>
                                        <p:cTn id="7" dur="500"/>
                                        <p:tgtEl>
                                          <p:spTgt spid="7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160"/>
                                        </p:tgtEl>
                                        <p:attrNameLst>
                                          <p:attrName>style.visibility</p:attrName>
                                        </p:attrNameLst>
                                      </p:cBhvr>
                                      <p:to>
                                        <p:strVal val="visible"/>
                                      </p:to>
                                    </p:set>
                                    <p:animEffect transition="in" filter="wipe(up)">
                                      <p:cBhvr>
                                        <p:cTn id="14" dur="500"/>
                                        <p:tgtEl>
                                          <p:spTgt spid="160"/>
                                        </p:tgtEl>
                                      </p:cBhvr>
                                    </p:animEffect>
                                  </p:childTnLst>
                                </p:cTn>
                              </p:par>
                              <p:par>
                                <p:cTn id="15" presetID="22" presetClass="entr" presetSubtype="1" fill="hold" grpId="0" nodeType="withEffect">
                                  <p:stCondLst>
                                    <p:cond delay="0"/>
                                  </p:stCondLst>
                                  <p:childTnLst>
                                    <p:set>
                                      <p:cBhvr>
                                        <p:cTn id="16" dur="1" fill="hold">
                                          <p:stCondLst>
                                            <p:cond delay="0"/>
                                          </p:stCondLst>
                                        </p:cTn>
                                        <p:tgtEl>
                                          <p:spTgt spid="161"/>
                                        </p:tgtEl>
                                        <p:attrNameLst>
                                          <p:attrName>style.visibility</p:attrName>
                                        </p:attrNameLst>
                                      </p:cBhvr>
                                      <p:to>
                                        <p:strVal val="visible"/>
                                      </p:to>
                                    </p:set>
                                    <p:animEffect transition="in" filter="wipe(up)">
                                      <p:cBhvr>
                                        <p:cTn id="17" dur="500"/>
                                        <p:tgtEl>
                                          <p:spTgt spid="16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158"/>
                                        </p:tgtEl>
                                        <p:attrNameLst>
                                          <p:attrName>style.visibility</p:attrName>
                                        </p:attrNameLst>
                                      </p:cBhvr>
                                      <p:to>
                                        <p:strVal val="visible"/>
                                      </p:to>
                                    </p:set>
                                    <p:animEffect transition="in" filter="wipe(up)">
                                      <p:cBhvr>
                                        <p:cTn id="22" dur="500"/>
                                        <p:tgtEl>
                                          <p:spTgt spid="158"/>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59"/>
                                        </p:tgtEl>
                                        <p:attrNameLst>
                                          <p:attrName>style.visibility</p:attrName>
                                        </p:attrNameLst>
                                      </p:cBhvr>
                                      <p:to>
                                        <p:strVal val="visible"/>
                                      </p:to>
                                    </p:set>
                                    <p:animEffect transition="in" filter="wipe(up)">
                                      <p:cBhvr>
                                        <p:cTn id="25" dur="500"/>
                                        <p:tgtEl>
                                          <p:spTgt spid="159"/>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156"/>
                                        </p:tgtEl>
                                        <p:attrNameLst>
                                          <p:attrName>style.visibility</p:attrName>
                                        </p:attrNameLst>
                                      </p:cBhvr>
                                      <p:to>
                                        <p:strVal val="visible"/>
                                      </p:to>
                                    </p:set>
                                    <p:animEffect transition="in" filter="wipe(up)">
                                      <p:cBhvr>
                                        <p:cTn id="30" dur="500"/>
                                        <p:tgtEl>
                                          <p:spTgt spid="156"/>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57"/>
                                        </p:tgtEl>
                                        <p:attrNameLst>
                                          <p:attrName>style.visibility</p:attrName>
                                        </p:attrNameLst>
                                      </p:cBhvr>
                                      <p:to>
                                        <p:strVal val="visible"/>
                                      </p:to>
                                    </p:set>
                                    <p:animEffect transition="in" filter="wipe(up)">
                                      <p:cBhvr>
                                        <p:cTn id="33" dur="500"/>
                                        <p:tgtEl>
                                          <p:spTgt spid="15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162"/>
                                        </p:tgtEl>
                                        <p:attrNameLst>
                                          <p:attrName>style.visibility</p:attrName>
                                        </p:attrNameLst>
                                      </p:cBhvr>
                                      <p:to>
                                        <p:strVal val="visible"/>
                                      </p:to>
                                    </p:set>
                                    <p:animEffect transition="in" filter="wipe(up)">
                                      <p:cBhvr>
                                        <p:cTn id="38" dur="500"/>
                                        <p:tgtEl>
                                          <p:spTgt spid="16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63"/>
                                        </p:tgtEl>
                                        <p:attrNameLst>
                                          <p:attrName>style.visibility</p:attrName>
                                        </p:attrNameLst>
                                      </p:cBhvr>
                                      <p:to>
                                        <p:strVal val="visible"/>
                                      </p:to>
                                    </p:set>
                                    <p:animEffect transition="in" filter="wipe(up)">
                                      <p:cBhvr>
                                        <p:cTn id="41" dur="500"/>
                                        <p:tgtEl>
                                          <p:spTgt spid="16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64"/>
                                        </p:tgtEl>
                                        <p:attrNameLst>
                                          <p:attrName>style.visibility</p:attrName>
                                        </p:attrNameLst>
                                      </p:cBhvr>
                                      <p:to>
                                        <p:strVal val="visible"/>
                                      </p:to>
                                    </p:set>
                                    <p:animEffect transition="in" filter="wipe(up)">
                                      <p:cBhvr>
                                        <p:cTn id="44" dur="500"/>
                                        <p:tgtEl>
                                          <p:spTgt spid="164"/>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grpId="0" nodeType="clickEffect">
                                  <p:stCondLst>
                                    <p:cond delay="0"/>
                                  </p:stCondLst>
                                  <p:childTnLst>
                                    <p:set>
                                      <p:cBhvr>
                                        <p:cTn id="48" dur="1" fill="hold">
                                          <p:stCondLst>
                                            <p:cond delay="0"/>
                                          </p:stCondLst>
                                        </p:cTn>
                                        <p:tgtEl>
                                          <p:spTgt spid="165"/>
                                        </p:tgtEl>
                                        <p:attrNameLst>
                                          <p:attrName>style.visibility</p:attrName>
                                        </p:attrNameLst>
                                      </p:cBhvr>
                                      <p:to>
                                        <p:strVal val="visible"/>
                                      </p:to>
                                    </p:set>
                                    <p:animEffect transition="in" filter="wipe(up)">
                                      <p:cBhvr>
                                        <p:cTn id="49" dur="500"/>
                                        <p:tgtEl>
                                          <p:spTgt spid="165"/>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166"/>
                                        </p:tgtEl>
                                        <p:attrNameLst>
                                          <p:attrName>style.visibility</p:attrName>
                                        </p:attrNameLst>
                                      </p:cBhvr>
                                      <p:to>
                                        <p:strVal val="visible"/>
                                      </p:to>
                                    </p:set>
                                    <p:animEffect transition="in" filter="wipe(up)">
                                      <p:cBhvr>
                                        <p:cTn id="52" dur="500"/>
                                        <p:tgtEl>
                                          <p:spTgt spid="16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nodeType="clickEffect">
                                  <p:stCondLst>
                                    <p:cond delay="0"/>
                                  </p:stCondLst>
                                  <p:childTnLst>
                                    <p:animEffect transition="out" filter="fade">
                                      <p:cBhvr>
                                        <p:cTn id="56" dur="500"/>
                                        <p:tgtEl>
                                          <p:spTgt spid="81"/>
                                        </p:tgtEl>
                                      </p:cBhvr>
                                    </p:animEffect>
                                    <p:set>
                                      <p:cBhvr>
                                        <p:cTn id="57" dur="1" fill="hold">
                                          <p:stCondLst>
                                            <p:cond delay="499"/>
                                          </p:stCondLst>
                                        </p:cTn>
                                        <p:tgtEl>
                                          <p:spTgt spid="81"/>
                                        </p:tgtEl>
                                        <p:attrNameLst>
                                          <p:attrName>style.visibility</p:attrName>
                                        </p:attrNameLst>
                                      </p:cBhvr>
                                      <p:to>
                                        <p:strVal val="hidden"/>
                                      </p:to>
                                    </p:set>
                                  </p:childTnLst>
                                </p:cTn>
                              </p:par>
                              <p:par>
                                <p:cTn id="58" presetID="10" presetClass="entr" presetSubtype="0" fill="hold" nodeType="withEffect">
                                  <p:stCondLst>
                                    <p:cond delay="0"/>
                                  </p:stCondLst>
                                  <p:childTnLst>
                                    <p:set>
                                      <p:cBhvr>
                                        <p:cTn id="59" dur="1" fill="hold">
                                          <p:stCondLst>
                                            <p:cond delay="0"/>
                                          </p:stCondLst>
                                        </p:cTn>
                                        <p:tgtEl>
                                          <p:spTgt spid="167"/>
                                        </p:tgtEl>
                                        <p:attrNameLst>
                                          <p:attrName>style.visibility</p:attrName>
                                        </p:attrNameLst>
                                      </p:cBhvr>
                                      <p:to>
                                        <p:strVal val="visible"/>
                                      </p:to>
                                    </p:set>
                                    <p:animEffect transition="in" filter="fade">
                                      <p:cBhvr>
                                        <p:cTn id="60" dur="500"/>
                                        <p:tgtEl>
                                          <p:spTgt spid="167"/>
                                        </p:tgtEl>
                                      </p:cBhvr>
                                    </p:animEffect>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grpId="0" nodeType="clickEffect">
                                  <p:stCondLst>
                                    <p:cond delay="0"/>
                                  </p:stCondLst>
                                  <p:childTnLst>
                                    <p:set>
                                      <p:cBhvr>
                                        <p:cTn id="64" dur="1" fill="hold">
                                          <p:stCondLst>
                                            <p:cond delay="0"/>
                                          </p:stCondLst>
                                        </p:cTn>
                                        <p:tgtEl>
                                          <p:spTgt spid="2"/>
                                        </p:tgtEl>
                                        <p:attrNameLst>
                                          <p:attrName>style.visibility</p:attrName>
                                        </p:attrNameLst>
                                      </p:cBhvr>
                                      <p:to>
                                        <p:strVal val="visible"/>
                                      </p:to>
                                    </p:set>
                                    <p:anim calcmode="lin" valueType="num">
                                      <p:cBhvr additive="base">
                                        <p:cTn id="65" dur="500" fill="hold"/>
                                        <p:tgtEl>
                                          <p:spTgt spid="2"/>
                                        </p:tgtEl>
                                        <p:attrNameLst>
                                          <p:attrName>ppt_x</p:attrName>
                                        </p:attrNameLst>
                                      </p:cBhvr>
                                      <p:tavLst>
                                        <p:tav tm="0">
                                          <p:val>
                                            <p:strVal val="#ppt_x"/>
                                          </p:val>
                                        </p:tav>
                                        <p:tav tm="100000">
                                          <p:val>
                                            <p:strVal val="#ppt_x"/>
                                          </p:val>
                                        </p:tav>
                                      </p:tavLst>
                                    </p:anim>
                                    <p:anim calcmode="lin" valueType="num">
                                      <p:cBhvr additive="base">
                                        <p:cTn id="66" dur="500" fill="hold"/>
                                        <p:tgtEl>
                                          <p:spTgt spid="2"/>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175"/>
                                        </p:tgtEl>
                                        <p:attrNameLst>
                                          <p:attrName>style.visibility</p:attrName>
                                        </p:attrNameLst>
                                      </p:cBhvr>
                                      <p:to>
                                        <p:strVal val="visible"/>
                                      </p:to>
                                    </p:set>
                                    <p:anim calcmode="lin" valueType="num">
                                      <p:cBhvr additive="base">
                                        <p:cTn id="69" dur="500" fill="hold"/>
                                        <p:tgtEl>
                                          <p:spTgt spid="175"/>
                                        </p:tgtEl>
                                        <p:attrNameLst>
                                          <p:attrName>ppt_x</p:attrName>
                                        </p:attrNameLst>
                                      </p:cBhvr>
                                      <p:tavLst>
                                        <p:tav tm="0">
                                          <p:val>
                                            <p:strVal val="#ppt_x"/>
                                          </p:val>
                                        </p:tav>
                                        <p:tav tm="100000">
                                          <p:val>
                                            <p:strVal val="#ppt_x"/>
                                          </p:val>
                                        </p:tav>
                                      </p:tavLst>
                                    </p:anim>
                                    <p:anim calcmode="lin" valueType="num">
                                      <p:cBhvr additive="base">
                                        <p:cTn id="70" dur="500" fill="hold"/>
                                        <p:tgtEl>
                                          <p:spTgt spid="175"/>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176"/>
                                        </p:tgtEl>
                                        <p:attrNameLst>
                                          <p:attrName>style.visibility</p:attrName>
                                        </p:attrNameLst>
                                      </p:cBhvr>
                                      <p:to>
                                        <p:strVal val="visible"/>
                                      </p:to>
                                    </p:set>
                                    <p:anim calcmode="lin" valueType="num">
                                      <p:cBhvr additive="base">
                                        <p:cTn id="73" dur="500" fill="hold"/>
                                        <p:tgtEl>
                                          <p:spTgt spid="176"/>
                                        </p:tgtEl>
                                        <p:attrNameLst>
                                          <p:attrName>ppt_x</p:attrName>
                                        </p:attrNameLst>
                                      </p:cBhvr>
                                      <p:tavLst>
                                        <p:tav tm="0">
                                          <p:val>
                                            <p:strVal val="#ppt_x"/>
                                          </p:val>
                                        </p:tav>
                                        <p:tav tm="100000">
                                          <p:val>
                                            <p:strVal val="#ppt_x"/>
                                          </p:val>
                                        </p:tav>
                                      </p:tavLst>
                                    </p:anim>
                                    <p:anim calcmode="lin" valueType="num">
                                      <p:cBhvr additive="base">
                                        <p:cTn id="74" dur="500" fill="hold"/>
                                        <p:tgtEl>
                                          <p:spTgt spid="176"/>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4"/>
                                        </p:tgtEl>
                                        <p:attrNameLst>
                                          <p:attrName>style.visibility</p:attrName>
                                        </p:attrNameLst>
                                      </p:cBhvr>
                                      <p:to>
                                        <p:strVal val="visible"/>
                                      </p:to>
                                    </p:set>
                                    <p:anim calcmode="lin" valueType="num">
                                      <p:cBhvr additive="base">
                                        <p:cTn id="77" dur="500" fill="hold"/>
                                        <p:tgtEl>
                                          <p:spTgt spid="4"/>
                                        </p:tgtEl>
                                        <p:attrNameLst>
                                          <p:attrName>ppt_x</p:attrName>
                                        </p:attrNameLst>
                                      </p:cBhvr>
                                      <p:tavLst>
                                        <p:tav tm="0">
                                          <p:val>
                                            <p:strVal val="#ppt_x"/>
                                          </p:val>
                                        </p:tav>
                                        <p:tav tm="100000">
                                          <p:val>
                                            <p:strVal val="#ppt_x"/>
                                          </p:val>
                                        </p:tav>
                                      </p:tavLst>
                                    </p:anim>
                                    <p:anim calcmode="lin" valueType="num">
                                      <p:cBhvr additive="base">
                                        <p:cTn id="78" dur="500" fill="hold"/>
                                        <p:tgtEl>
                                          <p:spTgt spid="4"/>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178"/>
                                        </p:tgtEl>
                                        <p:attrNameLst>
                                          <p:attrName>style.visibility</p:attrName>
                                        </p:attrNameLst>
                                      </p:cBhvr>
                                      <p:to>
                                        <p:strVal val="visible"/>
                                      </p:to>
                                    </p:set>
                                    <p:anim calcmode="lin" valueType="num">
                                      <p:cBhvr additive="base">
                                        <p:cTn id="81" dur="500" fill="hold"/>
                                        <p:tgtEl>
                                          <p:spTgt spid="178"/>
                                        </p:tgtEl>
                                        <p:attrNameLst>
                                          <p:attrName>ppt_x</p:attrName>
                                        </p:attrNameLst>
                                      </p:cBhvr>
                                      <p:tavLst>
                                        <p:tav tm="0">
                                          <p:val>
                                            <p:strVal val="#ppt_x"/>
                                          </p:val>
                                        </p:tav>
                                        <p:tav tm="100000">
                                          <p:val>
                                            <p:strVal val="#ppt_x"/>
                                          </p:val>
                                        </p:tav>
                                      </p:tavLst>
                                    </p:anim>
                                    <p:anim calcmode="lin" valueType="num">
                                      <p:cBhvr additive="base">
                                        <p:cTn id="82" dur="500" fill="hold"/>
                                        <p:tgtEl>
                                          <p:spTgt spid="178"/>
                                        </p:tgtEl>
                                        <p:attrNameLst>
                                          <p:attrName>ppt_y</p:attrName>
                                        </p:attrNameLst>
                                      </p:cBhvr>
                                      <p:tavLst>
                                        <p:tav tm="0">
                                          <p:val>
                                            <p:strVal val="1+#ppt_h/2"/>
                                          </p:val>
                                        </p:tav>
                                        <p:tav tm="100000">
                                          <p:val>
                                            <p:strVal val="#ppt_y"/>
                                          </p:val>
                                        </p:tav>
                                      </p:tavLst>
                                    </p:anim>
                                  </p:childTnLst>
                                </p:cTn>
                              </p:par>
                              <p:par>
                                <p:cTn id="83" presetID="2" presetClass="entr" presetSubtype="4" fill="hold" nodeType="withEffect">
                                  <p:stCondLst>
                                    <p:cond delay="0"/>
                                  </p:stCondLst>
                                  <p:childTnLst>
                                    <p:set>
                                      <p:cBhvr>
                                        <p:cTn id="84" dur="1" fill="hold">
                                          <p:stCondLst>
                                            <p:cond delay="0"/>
                                          </p:stCondLst>
                                        </p:cTn>
                                        <p:tgtEl>
                                          <p:spTgt spid="179"/>
                                        </p:tgtEl>
                                        <p:attrNameLst>
                                          <p:attrName>style.visibility</p:attrName>
                                        </p:attrNameLst>
                                      </p:cBhvr>
                                      <p:to>
                                        <p:strVal val="visible"/>
                                      </p:to>
                                    </p:set>
                                    <p:anim calcmode="lin" valueType="num">
                                      <p:cBhvr additive="base">
                                        <p:cTn id="85" dur="500" fill="hold"/>
                                        <p:tgtEl>
                                          <p:spTgt spid="179"/>
                                        </p:tgtEl>
                                        <p:attrNameLst>
                                          <p:attrName>ppt_x</p:attrName>
                                        </p:attrNameLst>
                                      </p:cBhvr>
                                      <p:tavLst>
                                        <p:tav tm="0">
                                          <p:val>
                                            <p:strVal val="#ppt_x"/>
                                          </p:val>
                                        </p:tav>
                                        <p:tav tm="100000">
                                          <p:val>
                                            <p:strVal val="#ppt_x"/>
                                          </p:val>
                                        </p:tav>
                                      </p:tavLst>
                                    </p:anim>
                                    <p:anim calcmode="lin" valueType="num">
                                      <p:cBhvr additive="base">
                                        <p:cTn id="86" dur="500" fill="hold"/>
                                        <p:tgtEl>
                                          <p:spTgt spid="179"/>
                                        </p:tgtEl>
                                        <p:attrNameLst>
                                          <p:attrName>ppt_y</p:attrName>
                                        </p:attrNameLst>
                                      </p:cBhvr>
                                      <p:tavLst>
                                        <p:tav tm="0">
                                          <p:val>
                                            <p:strVal val="1+#ppt_h/2"/>
                                          </p:val>
                                        </p:tav>
                                        <p:tav tm="100000">
                                          <p:val>
                                            <p:strVal val="#ppt_y"/>
                                          </p:val>
                                        </p:tav>
                                      </p:tavLst>
                                    </p:anim>
                                  </p:childTnLst>
                                </p:cTn>
                              </p:par>
                              <p:par>
                                <p:cTn id="87" presetID="2" presetClass="entr" presetSubtype="4" fill="hold" nodeType="withEffect">
                                  <p:stCondLst>
                                    <p:cond delay="0"/>
                                  </p:stCondLst>
                                  <p:childTnLst>
                                    <p:set>
                                      <p:cBhvr>
                                        <p:cTn id="88" dur="1" fill="hold">
                                          <p:stCondLst>
                                            <p:cond delay="0"/>
                                          </p:stCondLst>
                                        </p:cTn>
                                        <p:tgtEl>
                                          <p:spTgt spid="180"/>
                                        </p:tgtEl>
                                        <p:attrNameLst>
                                          <p:attrName>style.visibility</p:attrName>
                                        </p:attrNameLst>
                                      </p:cBhvr>
                                      <p:to>
                                        <p:strVal val="visible"/>
                                      </p:to>
                                    </p:set>
                                    <p:anim calcmode="lin" valueType="num">
                                      <p:cBhvr additive="base">
                                        <p:cTn id="89" dur="500" fill="hold"/>
                                        <p:tgtEl>
                                          <p:spTgt spid="180"/>
                                        </p:tgtEl>
                                        <p:attrNameLst>
                                          <p:attrName>ppt_x</p:attrName>
                                        </p:attrNameLst>
                                      </p:cBhvr>
                                      <p:tavLst>
                                        <p:tav tm="0">
                                          <p:val>
                                            <p:strVal val="#ppt_x"/>
                                          </p:val>
                                        </p:tav>
                                        <p:tav tm="100000">
                                          <p:val>
                                            <p:strVal val="#ppt_x"/>
                                          </p:val>
                                        </p:tav>
                                      </p:tavLst>
                                    </p:anim>
                                    <p:anim calcmode="lin" valueType="num">
                                      <p:cBhvr additive="base">
                                        <p:cTn id="90" dur="500" fill="hold"/>
                                        <p:tgtEl>
                                          <p:spTgt spid="180"/>
                                        </p:tgtEl>
                                        <p:attrNameLst>
                                          <p:attrName>ppt_y</p:attrName>
                                        </p:attrNameLst>
                                      </p:cBhvr>
                                      <p:tavLst>
                                        <p:tav tm="0">
                                          <p:val>
                                            <p:strVal val="1+#ppt_h/2"/>
                                          </p:val>
                                        </p:tav>
                                        <p:tav tm="100000">
                                          <p:val>
                                            <p:strVal val="#ppt_y"/>
                                          </p:val>
                                        </p:tav>
                                      </p:tavLst>
                                    </p:anim>
                                  </p:childTnLst>
                                </p:cTn>
                              </p:par>
                              <p:par>
                                <p:cTn id="91" presetID="2" presetClass="entr" presetSubtype="4" fill="hold" nodeType="withEffect">
                                  <p:stCondLst>
                                    <p:cond delay="0"/>
                                  </p:stCondLst>
                                  <p:childTnLst>
                                    <p:set>
                                      <p:cBhvr>
                                        <p:cTn id="92" dur="1" fill="hold">
                                          <p:stCondLst>
                                            <p:cond delay="0"/>
                                          </p:stCondLst>
                                        </p:cTn>
                                        <p:tgtEl>
                                          <p:spTgt spid="9"/>
                                        </p:tgtEl>
                                        <p:attrNameLst>
                                          <p:attrName>style.visibility</p:attrName>
                                        </p:attrNameLst>
                                      </p:cBhvr>
                                      <p:to>
                                        <p:strVal val="visible"/>
                                      </p:to>
                                    </p:set>
                                    <p:anim calcmode="lin" valueType="num">
                                      <p:cBhvr additive="base">
                                        <p:cTn id="93" dur="500" fill="hold"/>
                                        <p:tgtEl>
                                          <p:spTgt spid="9"/>
                                        </p:tgtEl>
                                        <p:attrNameLst>
                                          <p:attrName>ppt_x</p:attrName>
                                        </p:attrNameLst>
                                      </p:cBhvr>
                                      <p:tavLst>
                                        <p:tav tm="0">
                                          <p:val>
                                            <p:strVal val="#ppt_x"/>
                                          </p:val>
                                        </p:tav>
                                        <p:tav tm="100000">
                                          <p:val>
                                            <p:strVal val="#ppt_x"/>
                                          </p:val>
                                        </p:tav>
                                      </p:tavLst>
                                    </p:anim>
                                    <p:anim calcmode="lin" valueType="num">
                                      <p:cBhvr additive="base">
                                        <p:cTn id="94" dur="500" fill="hold"/>
                                        <p:tgtEl>
                                          <p:spTgt spid="9"/>
                                        </p:tgtEl>
                                        <p:attrNameLst>
                                          <p:attrName>ppt_y</p:attrName>
                                        </p:attrNameLst>
                                      </p:cBhvr>
                                      <p:tavLst>
                                        <p:tav tm="0">
                                          <p:val>
                                            <p:strVal val="1+#ppt_h/2"/>
                                          </p:val>
                                        </p:tav>
                                        <p:tav tm="100000">
                                          <p:val>
                                            <p:strVal val="#ppt_y"/>
                                          </p:val>
                                        </p:tav>
                                      </p:tavLst>
                                    </p:anim>
                                  </p:childTnLst>
                                </p:cTn>
                              </p:par>
                              <p:par>
                                <p:cTn id="95" presetID="2" presetClass="entr" presetSubtype="4" fill="hold" nodeType="withEffect">
                                  <p:stCondLst>
                                    <p:cond delay="0"/>
                                  </p:stCondLst>
                                  <p:childTnLst>
                                    <p:set>
                                      <p:cBhvr>
                                        <p:cTn id="96" dur="1" fill="hold">
                                          <p:stCondLst>
                                            <p:cond delay="0"/>
                                          </p:stCondLst>
                                        </p:cTn>
                                        <p:tgtEl>
                                          <p:spTgt spid="11"/>
                                        </p:tgtEl>
                                        <p:attrNameLst>
                                          <p:attrName>style.visibility</p:attrName>
                                        </p:attrNameLst>
                                      </p:cBhvr>
                                      <p:to>
                                        <p:strVal val="visible"/>
                                      </p:to>
                                    </p:set>
                                    <p:anim calcmode="lin" valueType="num">
                                      <p:cBhvr additive="base">
                                        <p:cTn id="97" dur="500" fill="hold"/>
                                        <p:tgtEl>
                                          <p:spTgt spid="11"/>
                                        </p:tgtEl>
                                        <p:attrNameLst>
                                          <p:attrName>ppt_x</p:attrName>
                                        </p:attrNameLst>
                                      </p:cBhvr>
                                      <p:tavLst>
                                        <p:tav tm="0">
                                          <p:val>
                                            <p:strVal val="#ppt_x"/>
                                          </p:val>
                                        </p:tav>
                                        <p:tav tm="100000">
                                          <p:val>
                                            <p:strVal val="#ppt_x"/>
                                          </p:val>
                                        </p:tav>
                                      </p:tavLst>
                                    </p:anim>
                                    <p:anim calcmode="lin" valueType="num">
                                      <p:cBhvr additive="base">
                                        <p:cTn id="98" dur="500" fill="hold"/>
                                        <p:tgtEl>
                                          <p:spTgt spid="11"/>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12"/>
                                        </p:tgtEl>
                                        <p:attrNameLst>
                                          <p:attrName>style.visibility</p:attrName>
                                        </p:attrNameLst>
                                      </p:cBhvr>
                                      <p:to>
                                        <p:strVal val="visible"/>
                                      </p:to>
                                    </p:set>
                                    <p:anim calcmode="lin" valueType="num">
                                      <p:cBhvr additive="base">
                                        <p:cTn id="101" dur="500" fill="hold"/>
                                        <p:tgtEl>
                                          <p:spTgt spid="12"/>
                                        </p:tgtEl>
                                        <p:attrNameLst>
                                          <p:attrName>ppt_x</p:attrName>
                                        </p:attrNameLst>
                                      </p:cBhvr>
                                      <p:tavLst>
                                        <p:tav tm="0">
                                          <p:val>
                                            <p:strVal val="#ppt_x"/>
                                          </p:val>
                                        </p:tav>
                                        <p:tav tm="100000">
                                          <p:val>
                                            <p:strVal val="#ppt_x"/>
                                          </p:val>
                                        </p:tav>
                                      </p:tavLst>
                                    </p:anim>
                                    <p:anim calcmode="lin" valueType="num">
                                      <p:cBhvr additive="base">
                                        <p:cTn id="102" dur="500" fill="hold"/>
                                        <p:tgtEl>
                                          <p:spTgt spid="12"/>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181"/>
                                        </p:tgtEl>
                                        <p:attrNameLst>
                                          <p:attrName>style.visibility</p:attrName>
                                        </p:attrNameLst>
                                      </p:cBhvr>
                                      <p:to>
                                        <p:strVal val="visible"/>
                                      </p:to>
                                    </p:set>
                                    <p:anim calcmode="lin" valueType="num">
                                      <p:cBhvr additive="base">
                                        <p:cTn id="105" dur="500" fill="hold"/>
                                        <p:tgtEl>
                                          <p:spTgt spid="181"/>
                                        </p:tgtEl>
                                        <p:attrNameLst>
                                          <p:attrName>ppt_x</p:attrName>
                                        </p:attrNameLst>
                                      </p:cBhvr>
                                      <p:tavLst>
                                        <p:tav tm="0">
                                          <p:val>
                                            <p:strVal val="#ppt_x"/>
                                          </p:val>
                                        </p:tav>
                                        <p:tav tm="100000">
                                          <p:val>
                                            <p:strVal val="#ppt_x"/>
                                          </p:val>
                                        </p:tav>
                                      </p:tavLst>
                                    </p:anim>
                                    <p:anim calcmode="lin" valueType="num">
                                      <p:cBhvr additive="base">
                                        <p:cTn id="106" dur="500" fill="hold"/>
                                        <p:tgtEl>
                                          <p:spTgt spid="18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p:bldP spid="156" grpId="0" animBg="1"/>
      <p:bldP spid="157" grpId="0" animBg="1"/>
      <p:bldP spid="158" grpId="0" animBg="1"/>
      <p:bldP spid="159" grpId="0" animBg="1"/>
      <p:bldP spid="160" grpId="0" animBg="1"/>
      <p:bldP spid="161" grpId="0" animBg="1"/>
      <p:bldP spid="162" grpId="0" animBg="1"/>
      <p:bldP spid="163" grpId="0" animBg="1"/>
      <p:bldP spid="164" grpId="0" animBg="1"/>
      <p:bldP spid="165" grpId="0" animBg="1"/>
      <p:bldP spid="166" grpId="0" animBg="1"/>
      <p:bldP spid="2" grpId="0"/>
      <p:bldP spid="12" grpId="0"/>
      <p:bldP spid="181" grpId="0"/>
    </p:bld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05A39C26-DD93-4B64-8CD1-DB124DC40F20}"/>
              </a:ext>
            </a:extLst>
          </p:cNvPr>
          <p:cNvGrpSpPr/>
          <p:nvPr/>
        </p:nvGrpSpPr>
        <p:grpSpPr>
          <a:xfrm>
            <a:off x="8136880" y="1207943"/>
            <a:ext cx="648073" cy="651302"/>
            <a:chOff x="4706069" y="3575987"/>
            <a:chExt cx="648073" cy="651302"/>
          </a:xfrm>
        </p:grpSpPr>
        <p:sp>
          <p:nvSpPr>
            <p:cNvPr id="20" name="Rectangle 19">
              <a:extLst>
                <a:ext uri="{FF2B5EF4-FFF2-40B4-BE49-F238E27FC236}">
                  <a16:creationId xmlns:a16="http://schemas.microsoft.com/office/drawing/2014/main" id="{AC4DD3DF-2DEE-4E7F-80D0-ACAD15C3BB3E}"/>
                </a:ext>
              </a:extLst>
            </p:cNvPr>
            <p:cNvSpPr/>
            <p:nvPr/>
          </p:nvSpPr>
          <p:spPr bwMode="auto">
            <a:xfrm rot="20986602">
              <a:off x="4911192" y="3806345"/>
              <a:ext cx="263191" cy="2901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9" name="Graphic 18">
              <a:extLst>
                <a:ext uri="{FF2B5EF4-FFF2-40B4-BE49-F238E27FC236}">
                  <a16:creationId xmlns:a16="http://schemas.microsoft.com/office/drawing/2014/main" id="{1797653B-8FB9-42CC-9ACE-773D9442E96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37572" t="33839" r="38275" b="34797"/>
            <a:stretch/>
          </p:blipFill>
          <p:spPr>
            <a:xfrm>
              <a:off x="4706069" y="3575987"/>
              <a:ext cx="648073" cy="651302"/>
            </a:xfrm>
            <a:prstGeom prst="rect">
              <a:avLst/>
            </a:prstGeom>
          </p:spPr>
        </p:pic>
      </p:grpSp>
      <p:sp>
        <p:nvSpPr>
          <p:cNvPr id="16" name="Rectangle 15">
            <a:extLst>
              <a:ext uri="{FF2B5EF4-FFF2-40B4-BE49-F238E27FC236}">
                <a16:creationId xmlns:a16="http://schemas.microsoft.com/office/drawing/2014/main" id="{3AC99CB4-84EB-486B-B5FF-2F306EEE12C7}"/>
              </a:ext>
            </a:extLst>
          </p:cNvPr>
          <p:cNvSpPr/>
          <p:nvPr/>
        </p:nvSpPr>
        <p:spPr bwMode="auto">
          <a:xfrm>
            <a:off x="8233204" y="540172"/>
            <a:ext cx="479740" cy="5619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Role Based Access Control</a:t>
            </a:r>
          </a:p>
        </p:txBody>
      </p:sp>
      <p:pic>
        <p:nvPicPr>
          <p:cNvPr id="11" name="Graphic 10">
            <a:extLst>
              <a:ext uri="{FF2B5EF4-FFF2-40B4-BE49-F238E27FC236}">
                <a16:creationId xmlns:a16="http://schemas.microsoft.com/office/drawing/2014/main" id="{5479FA77-34F9-4299-A163-16506A7A1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8937" y="1617806"/>
            <a:ext cx="2020044" cy="1568192"/>
          </a:xfrm>
          <a:prstGeom prst="rect">
            <a:avLst/>
          </a:prstGeom>
        </p:spPr>
      </p:pic>
      <p:sp>
        <p:nvSpPr>
          <p:cNvPr id="12" name="TextBox 11">
            <a:extLst>
              <a:ext uri="{FF2B5EF4-FFF2-40B4-BE49-F238E27FC236}">
                <a16:creationId xmlns:a16="http://schemas.microsoft.com/office/drawing/2014/main" id="{A617BFBD-B169-4001-B630-8224CAAB236E}"/>
              </a:ext>
            </a:extLst>
          </p:cNvPr>
          <p:cNvSpPr txBox="1"/>
          <p:nvPr/>
        </p:nvSpPr>
        <p:spPr>
          <a:xfrm>
            <a:off x="1251370"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Subscription</a:t>
            </a:r>
          </a:p>
        </p:txBody>
      </p:sp>
      <p:sp>
        <p:nvSpPr>
          <p:cNvPr id="13" name="TextBox 12">
            <a:extLst>
              <a:ext uri="{FF2B5EF4-FFF2-40B4-BE49-F238E27FC236}">
                <a16:creationId xmlns:a16="http://schemas.microsoft.com/office/drawing/2014/main" id="{7F697DE1-F2C6-4339-9680-ADE7D3991C29}"/>
              </a:ext>
            </a:extLst>
          </p:cNvPr>
          <p:cNvSpPr txBox="1"/>
          <p:nvPr/>
        </p:nvSpPr>
        <p:spPr>
          <a:xfrm>
            <a:off x="1969765" y="1409030"/>
            <a:ext cx="3283528"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Global Administrator</a:t>
            </a:r>
          </a:p>
        </p:txBody>
      </p:sp>
      <p:pic>
        <p:nvPicPr>
          <p:cNvPr id="15" name="Graphic 14">
            <a:extLst>
              <a:ext uri="{FF2B5EF4-FFF2-40B4-BE49-F238E27FC236}">
                <a16:creationId xmlns:a16="http://schemas.microsoft.com/office/drawing/2014/main" id="{DE0FAD10-CEBF-4723-9710-CB363D24EA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02796" y="223180"/>
            <a:ext cx="1540556" cy="1195958"/>
          </a:xfrm>
          <a:prstGeom prst="rect">
            <a:avLst/>
          </a:prstGeom>
        </p:spPr>
      </p:pic>
      <p:sp>
        <p:nvSpPr>
          <p:cNvPr id="17" name="TextBox 16">
            <a:extLst>
              <a:ext uri="{FF2B5EF4-FFF2-40B4-BE49-F238E27FC236}">
                <a16:creationId xmlns:a16="http://schemas.microsoft.com/office/drawing/2014/main" id="{2CCDB27E-FD45-4C77-8BD5-21A33561AEFB}"/>
              </a:ext>
            </a:extLst>
          </p:cNvPr>
          <p:cNvSpPr txBox="1"/>
          <p:nvPr/>
        </p:nvSpPr>
        <p:spPr>
          <a:xfrm>
            <a:off x="8738517" y="544934"/>
            <a:ext cx="2862771"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Microsoft Account</a:t>
            </a:r>
          </a:p>
        </p:txBody>
      </p:sp>
      <p:sp>
        <p:nvSpPr>
          <p:cNvPr id="22" name="TextBox 21">
            <a:extLst>
              <a:ext uri="{FF2B5EF4-FFF2-40B4-BE49-F238E27FC236}">
                <a16:creationId xmlns:a16="http://schemas.microsoft.com/office/drawing/2014/main" id="{2CE792B5-CDBA-42A9-BA12-844559C477C8}"/>
              </a:ext>
            </a:extLst>
          </p:cNvPr>
          <p:cNvSpPr txBox="1"/>
          <p:nvPr/>
        </p:nvSpPr>
        <p:spPr>
          <a:xfrm>
            <a:off x="8738516" y="1180620"/>
            <a:ext cx="2293577"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Work Account</a:t>
            </a:r>
          </a:p>
        </p:txBody>
      </p:sp>
      <p:pic>
        <p:nvPicPr>
          <p:cNvPr id="25" name="Graphic 24">
            <a:extLst>
              <a:ext uri="{FF2B5EF4-FFF2-40B4-BE49-F238E27FC236}">
                <a16:creationId xmlns:a16="http://schemas.microsoft.com/office/drawing/2014/main" id="{AFDF1521-0A13-4C2F-B1A2-AE99841182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05261" y="1617806"/>
            <a:ext cx="2020044" cy="1568192"/>
          </a:xfrm>
          <a:prstGeom prst="rect">
            <a:avLst/>
          </a:prstGeom>
        </p:spPr>
      </p:pic>
      <p:sp>
        <p:nvSpPr>
          <p:cNvPr id="26" name="TextBox 25">
            <a:extLst>
              <a:ext uri="{FF2B5EF4-FFF2-40B4-BE49-F238E27FC236}">
                <a16:creationId xmlns:a16="http://schemas.microsoft.com/office/drawing/2014/main" id="{FFDA2DC0-9D2E-49E5-A566-43DAF8D83E51}"/>
              </a:ext>
            </a:extLst>
          </p:cNvPr>
          <p:cNvSpPr txBox="1"/>
          <p:nvPr/>
        </p:nvSpPr>
        <p:spPr>
          <a:xfrm>
            <a:off x="2689845"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solidFill>
                  <a:schemeClr val="bg1">
                    <a:lumMod val="40000"/>
                    <a:lumOff val="60000"/>
                  </a:schemeClr>
                </a:solidFill>
              </a:rPr>
              <a:t>Subscription</a:t>
            </a:r>
          </a:p>
        </p:txBody>
      </p:sp>
      <p:pic>
        <p:nvPicPr>
          <p:cNvPr id="27" name="Graphic 26">
            <a:extLst>
              <a:ext uri="{FF2B5EF4-FFF2-40B4-BE49-F238E27FC236}">
                <a16:creationId xmlns:a16="http://schemas.microsoft.com/office/drawing/2014/main" id="{2C094395-F41D-4D55-926E-8737F3D3D3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91585" y="1617806"/>
            <a:ext cx="2020044" cy="1568192"/>
          </a:xfrm>
          <a:prstGeom prst="rect">
            <a:avLst/>
          </a:prstGeom>
        </p:spPr>
      </p:pic>
      <p:sp>
        <p:nvSpPr>
          <p:cNvPr id="28" name="TextBox 27">
            <a:extLst>
              <a:ext uri="{FF2B5EF4-FFF2-40B4-BE49-F238E27FC236}">
                <a16:creationId xmlns:a16="http://schemas.microsoft.com/office/drawing/2014/main" id="{C3EAFE1F-EC8A-4B64-85B4-FB7DFDC4D546}"/>
              </a:ext>
            </a:extLst>
          </p:cNvPr>
          <p:cNvSpPr txBox="1"/>
          <p:nvPr/>
        </p:nvSpPr>
        <p:spPr>
          <a:xfrm>
            <a:off x="4182751"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solidFill>
                  <a:schemeClr val="bg1">
                    <a:lumMod val="40000"/>
                    <a:lumOff val="60000"/>
                  </a:schemeClr>
                </a:solidFill>
              </a:rPr>
              <a:t>Subscription</a:t>
            </a:r>
          </a:p>
        </p:txBody>
      </p:sp>
      <p:sp>
        <p:nvSpPr>
          <p:cNvPr id="29" name="Rectangle 28">
            <a:extLst>
              <a:ext uri="{FF2B5EF4-FFF2-40B4-BE49-F238E27FC236}">
                <a16:creationId xmlns:a16="http://schemas.microsoft.com/office/drawing/2014/main" id="{98D1E2D5-11B4-4641-A4EA-136EEDD5A8EB}"/>
              </a:ext>
            </a:extLst>
          </p:cNvPr>
          <p:cNvSpPr/>
          <p:nvPr/>
        </p:nvSpPr>
        <p:spPr>
          <a:xfrm>
            <a:off x="7010325" y="2125518"/>
            <a:ext cx="5256584" cy="5786199"/>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Global Admin by default</a:t>
            </a:r>
          </a:p>
          <a:p>
            <a:pPr marL="285750" indent="-285750">
              <a:spcAft>
                <a:spcPts val="600"/>
              </a:spcAft>
              <a:buFont typeface="Arial" panose="020B0604020202020204" pitchFamily="34" charset="0"/>
              <a:buChar char="•"/>
            </a:pPr>
            <a:r>
              <a:rPr lang="en-GB" sz="2000"/>
              <a:t>Can add and change Global Admins</a:t>
            </a:r>
          </a:p>
          <a:p>
            <a:pPr marL="285750" indent="-285750">
              <a:spcAft>
                <a:spcPts val="600"/>
              </a:spcAft>
              <a:buFont typeface="Arial" panose="020B0604020202020204" pitchFamily="34" charset="0"/>
              <a:buChar char="•"/>
            </a:pPr>
            <a:endParaRPr lang="en-GB" sz="2000"/>
          </a:p>
          <a:p>
            <a:pPr marL="285750" indent="-285750">
              <a:spcAft>
                <a:spcPts val="600"/>
              </a:spcAft>
              <a:buFont typeface="Arial" panose="020B0604020202020204" pitchFamily="34" charset="0"/>
              <a:buChar char="•"/>
            </a:pPr>
            <a:r>
              <a:rPr lang="en-GB" sz="2000"/>
              <a:t>Role Based Access Control on</a:t>
            </a:r>
          </a:p>
          <a:p>
            <a:pPr marL="752121" lvl="1" indent="-285750">
              <a:spcAft>
                <a:spcPts val="600"/>
              </a:spcAft>
              <a:buFont typeface="Arial" panose="020B0604020202020204" pitchFamily="34" charset="0"/>
              <a:buChar char="•"/>
            </a:pPr>
            <a:r>
              <a:rPr lang="en-GB" sz="2000"/>
              <a:t>Scope</a:t>
            </a:r>
          </a:p>
          <a:p>
            <a:pPr marL="1218492" lvl="2" indent="-285750">
              <a:spcAft>
                <a:spcPts val="600"/>
              </a:spcAft>
              <a:buFont typeface="Arial" panose="020B0604020202020204" pitchFamily="34" charset="0"/>
              <a:buChar char="•"/>
            </a:pPr>
            <a:r>
              <a:rPr lang="en-GB" sz="2000"/>
              <a:t>Subscription</a:t>
            </a:r>
          </a:p>
          <a:p>
            <a:pPr marL="1218492" lvl="2" indent="-285750">
              <a:spcAft>
                <a:spcPts val="600"/>
              </a:spcAft>
              <a:buFont typeface="Arial" panose="020B0604020202020204" pitchFamily="34" charset="0"/>
              <a:buChar char="•"/>
            </a:pPr>
            <a:r>
              <a:rPr lang="en-GB" sz="2000"/>
              <a:t>Resource Group</a:t>
            </a:r>
          </a:p>
          <a:p>
            <a:pPr marL="1218492" lvl="2" indent="-285750">
              <a:spcAft>
                <a:spcPts val="600"/>
              </a:spcAft>
              <a:buFont typeface="Arial" panose="020B0604020202020204" pitchFamily="34" charset="0"/>
              <a:buChar char="•"/>
            </a:pPr>
            <a:r>
              <a:rPr lang="en-GB" sz="2000"/>
              <a:t>Resource</a:t>
            </a:r>
          </a:p>
          <a:p>
            <a:pPr marL="752121" lvl="1" indent="-285750">
              <a:spcAft>
                <a:spcPts val="600"/>
              </a:spcAft>
              <a:buFont typeface="Arial" panose="020B0604020202020204" pitchFamily="34" charset="0"/>
              <a:buChar char="•"/>
            </a:pPr>
            <a:r>
              <a:rPr lang="en-GB" sz="2000"/>
              <a:t>Role</a:t>
            </a:r>
          </a:p>
          <a:p>
            <a:pPr marL="1218492" lvl="2" indent="-285750">
              <a:spcAft>
                <a:spcPts val="600"/>
              </a:spcAft>
              <a:buFont typeface="Arial" panose="020B0604020202020204" pitchFamily="34" charset="0"/>
              <a:buChar char="•"/>
            </a:pPr>
            <a:r>
              <a:rPr lang="en-GB" sz="2000">
                <a:hlinkClick r:id="rId11"/>
              </a:rPr>
              <a:t>Built In Roles</a:t>
            </a:r>
            <a:endParaRPr lang="en-GB" sz="2000"/>
          </a:p>
          <a:p>
            <a:pPr marL="1218492" lvl="2" indent="-285750">
              <a:spcAft>
                <a:spcPts val="600"/>
              </a:spcAft>
              <a:buFont typeface="Arial" panose="020B0604020202020204" pitchFamily="34" charset="0"/>
              <a:buChar char="•"/>
            </a:pPr>
            <a:r>
              <a:rPr lang="en-GB" sz="2000">
                <a:hlinkClick r:id="rId12"/>
              </a:rPr>
              <a:t>Custom Roles</a:t>
            </a:r>
            <a:endParaRPr lang="en-GB" sz="2000"/>
          </a:p>
          <a:p>
            <a:pPr marL="285750" indent="-285750">
              <a:spcAft>
                <a:spcPts val="600"/>
              </a:spcAft>
              <a:buFont typeface="Arial" panose="020B0604020202020204" pitchFamily="34" charset="0"/>
              <a:buChar char="•"/>
            </a:pPr>
            <a:r>
              <a:rPr lang="en-GB" sz="2000"/>
              <a:t>AAD Users &amp; Administrative Units</a:t>
            </a:r>
          </a:p>
          <a:p>
            <a:pPr marL="752121" lvl="1" indent="-285750">
              <a:spcAft>
                <a:spcPts val="600"/>
              </a:spcAft>
              <a:buFont typeface="Arial" panose="020B0604020202020204" pitchFamily="34" charset="0"/>
              <a:buChar char="•"/>
            </a:pPr>
            <a:endParaRPr lang="en-GB" sz="2000"/>
          </a:p>
          <a:p>
            <a:pPr marL="752121" lvl="1" indent="-285750">
              <a:spcAft>
                <a:spcPts val="600"/>
              </a:spcAft>
              <a:buFont typeface="Arial" panose="020B0604020202020204" pitchFamily="34" charset="0"/>
              <a:buChar char="•"/>
            </a:pPr>
            <a:endParaRPr lang="en-GB" sz="2000"/>
          </a:p>
          <a:p>
            <a:pPr marL="752121" lvl="1" indent="-285750">
              <a:spcAft>
                <a:spcPts val="600"/>
              </a:spcAft>
              <a:buFont typeface="Arial" panose="020B0604020202020204" pitchFamily="34" charset="0"/>
              <a:buChar char="•"/>
            </a:pPr>
            <a:endParaRPr lang="en-GB" sz="2000"/>
          </a:p>
        </p:txBody>
      </p:sp>
      <p:cxnSp>
        <p:nvCxnSpPr>
          <p:cNvPr id="31" name="Straight Connector 30">
            <a:extLst>
              <a:ext uri="{FF2B5EF4-FFF2-40B4-BE49-F238E27FC236}">
                <a16:creationId xmlns:a16="http://schemas.microsoft.com/office/drawing/2014/main" id="{49D4D9F8-1C3A-4145-B9DB-D085ACA1B41A}"/>
              </a:ext>
            </a:extLst>
          </p:cNvPr>
          <p:cNvCxnSpPr>
            <a:cxnSpLocks/>
          </p:cNvCxnSpPr>
          <p:nvPr/>
        </p:nvCxnSpPr>
        <p:spPr>
          <a:xfrm flipH="1">
            <a:off x="1921159" y="2921198"/>
            <a:ext cx="7800" cy="194421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4FA20E1-8FC3-4D33-B23A-69B7556D08BC}"/>
              </a:ext>
            </a:extLst>
          </p:cNvPr>
          <p:cNvCxnSpPr>
            <a:cxnSpLocks/>
          </p:cNvCxnSpPr>
          <p:nvPr/>
        </p:nvCxnSpPr>
        <p:spPr>
          <a:xfrm flipH="1">
            <a:off x="1914326" y="3425254"/>
            <a:ext cx="106355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636B15-62F0-4758-B7A8-801225E603AB}"/>
              </a:ext>
            </a:extLst>
          </p:cNvPr>
          <p:cNvCxnSpPr>
            <a:cxnSpLocks/>
          </p:cNvCxnSpPr>
          <p:nvPr/>
        </p:nvCxnSpPr>
        <p:spPr>
          <a:xfrm flipH="1" flipV="1">
            <a:off x="1914326" y="4858358"/>
            <a:ext cx="1063551" cy="705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C8B61995-FF2A-4B98-8FFB-3F8D1079156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56741" y="3187129"/>
            <a:ext cx="476250" cy="476250"/>
          </a:xfrm>
          <a:prstGeom prst="rect">
            <a:avLst/>
          </a:prstGeom>
        </p:spPr>
      </p:pic>
      <p:pic>
        <p:nvPicPr>
          <p:cNvPr id="47" name="Graphic 46">
            <a:extLst>
              <a:ext uri="{FF2B5EF4-FFF2-40B4-BE49-F238E27FC236}">
                <a16:creationId xmlns:a16="http://schemas.microsoft.com/office/drawing/2014/main" id="{9EEC19CE-B0CF-448E-9A8B-CBFEFDB19E5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56741" y="4620233"/>
            <a:ext cx="476250" cy="476250"/>
          </a:xfrm>
          <a:prstGeom prst="rect">
            <a:avLst/>
          </a:prstGeom>
        </p:spPr>
      </p:pic>
      <p:sp>
        <p:nvSpPr>
          <p:cNvPr id="48" name="TextBox 47">
            <a:extLst>
              <a:ext uri="{FF2B5EF4-FFF2-40B4-BE49-F238E27FC236}">
                <a16:creationId xmlns:a16="http://schemas.microsoft.com/office/drawing/2014/main" id="{F49B7A38-AFC9-4405-87EC-050E90FDDDEE}"/>
              </a:ext>
            </a:extLst>
          </p:cNvPr>
          <p:cNvSpPr txBox="1"/>
          <p:nvPr/>
        </p:nvSpPr>
        <p:spPr>
          <a:xfrm>
            <a:off x="3501751" y="3185998"/>
            <a:ext cx="1799082"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Resource Group A</a:t>
            </a:r>
          </a:p>
        </p:txBody>
      </p:sp>
      <p:sp>
        <p:nvSpPr>
          <p:cNvPr id="49" name="TextBox 48">
            <a:extLst>
              <a:ext uri="{FF2B5EF4-FFF2-40B4-BE49-F238E27FC236}">
                <a16:creationId xmlns:a16="http://schemas.microsoft.com/office/drawing/2014/main" id="{31A37694-C623-4429-BC91-F0772020BE8B}"/>
              </a:ext>
            </a:extLst>
          </p:cNvPr>
          <p:cNvSpPr txBox="1"/>
          <p:nvPr/>
        </p:nvSpPr>
        <p:spPr>
          <a:xfrm>
            <a:off x="3501751" y="4625660"/>
            <a:ext cx="1786258"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Resource Group B</a:t>
            </a:r>
          </a:p>
        </p:txBody>
      </p:sp>
      <p:cxnSp>
        <p:nvCxnSpPr>
          <p:cNvPr id="50" name="Straight Connector 49">
            <a:extLst>
              <a:ext uri="{FF2B5EF4-FFF2-40B4-BE49-F238E27FC236}">
                <a16:creationId xmlns:a16="http://schemas.microsoft.com/office/drawing/2014/main" id="{0230D330-E581-4BE0-9D26-DCF0C59BBC4F}"/>
              </a:ext>
            </a:extLst>
          </p:cNvPr>
          <p:cNvCxnSpPr>
            <a:cxnSpLocks/>
          </p:cNvCxnSpPr>
          <p:nvPr/>
        </p:nvCxnSpPr>
        <p:spPr>
          <a:xfrm>
            <a:off x="3294866" y="3648125"/>
            <a:ext cx="0" cy="78524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316FFE1-FA54-4072-AA4B-313D25BB00FA}"/>
              </a:ext>
            </a:extLst>
          </p:cNvPr>
          <p:cNvCxnSpPr>
            <a:cxnSpLocks/>
          </p:cNvCxnSpPr>
          <p:nvPr/>
        </p:nvCxnSpPr>
        <p:spPr>
          <a:xfrm>
            <a:off x="3294866" y="5081438"/>
            <a:ext cx="0" cy="13681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5" name="Graphic 54">
            <a:extLst>
              <a:ext uri="{FF2B5EF4-FFF2-40B4-BE49-F238E27FC236}">
                <a16:creationId xmlns:a16="http://schemas.microsoft.com/office/drawing/2014/main" id="{ACE8270F-B971-46AC-9FAC-5BF3BFCD3FD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73872" y="3556263"/>
            <a:ext cx="310133" cy="310133"/>
          </a:xfrm>
          <a:prstGeom prst="rect">
            <a:avLst/>
          </a:prstGeom>
        </p:spPr>
      </p:pic>
      <p:pic>
        <p:nvPicPr>
          <p:cNvPr id="57" name="Graphic 56">
            <a:extLst>
              <a:ext uri="{FF2B5EF4-FFF2-40B4-BE49-F238E27FC236}">
                <a16:creationId xmlns:a16="http://schemas.microsoft.com/office/drawing/2014/main" id="{F96FED0C-71C0-43EA-9AFB-571C1066395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73872" y="3899087"/>
            <a:ext cx="310133" cy="310133"/>
          </a:xfrm>
          <a:prstGeom prst="rect">
            <a:avLst/>
          </a:prstGeom>
        </p:spPr>
      </p:pic>
      <p:pic>
        <p:nvPicPr>
          <p:cNvPr id="61" name="Graphic 60">
            <a:extLst>
              <a:ext uri="{FF2B5EF4-FFF2-40B4-BE49-F238E27FC236}">
                <a16:creationId xmlns:a16="http://schemas.microsoft.com/office/drawing/2014/main" id="{7C590041-0425-475E-BC60-11C09FA97D1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415283" y="5462903"/>
            <a:ext cx="310133" cy="310133"/>
          </a:xfrm>
          <a:prstGeom prst="rect">
            <a:avLst/>
          </a:prstGeom>
        </p:spPr>
      </p:pic>
      <p:pic>
        <p:nvPicPr>
          <p:cNvPr id="65" name="Graphic 64">
            <a:extLst>
              <a:ext uri="{FF2B5EF4-FFF2-40B4-BE49-F238E27FC236}">
                <a16:creationId xmlns:a16="http://schemas.microsoft.com/office/drawing/2014/main" id="{02A1E9D1-C228-4337-A7C4-918059489B9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359269" y="5843164"/>
            <a:ext cx="396970" cy="396970"/>
          </a:xfrm>
          <a:prstGeom prst="rect">
            <a:avLst/>
          </a:prstGeom>
        </p:spPr>
      </p:pic>
      <p:pic>
        <p:nvPicPr>
          <p:cNvPr id="71" name="Graphic 70">
            <a:extLst>
              <a:ext uri="{FF2B5EF4-FFF2-40B4-BE49-F238E27FC236}">
                <a16:creationId xmlns:a16="http://schemas.microsoft.com/office/drawing/2014/main" id="{BCEF4B55-7921-4873-9E27-5DAD7992D00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402687" y="6310262"/>
            <a:ext cx="310133" cy="310133"/>
          </a:xfrm>
          <a:prstGeom prst="rect">
            <a:avLst/>
          </a:prstGeom>
        </p:spPr>
      </p:pic>
      <p:pic>
        <p:nvPicPr>
          <p:cNvPr id="75" name="Graphic 74">
            <a:extLst>
              <a:ext uri="{FF2B5EF4-FFF2-40B4-BE49-F238E27FC236}">
                <a16:creationId xmlns:a16="http://schemas.microsoft.com/office/drawing/2014/main" id="{DE7A42D5-9162-4260-80C3-4BFEA1A7435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473872" y="4241911"/>
            <a:ext cx="310133" cy="310133"/>
          </a:xfrm>
          <a:prstGeom prst="rect">
            <a:avLst/>
          </a:prstGeom>
        </p:spPr>
      </p:pic>
      <p:pic>
        <p:nvPicPr>
          <p:cNvPr id="81" name="Graphic 80">
            <a:extLst>
              <a:ext uri="{FF2B5EF4-FFF2-40B4-BE49-F238E27FC236}">
                <a16:creationId xmlns:a16="http://schemas.microsoft.com/office/drawing/2014/main" id="{08BFD8E9-B69C-470A-A735-40B1C0D1DFA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402688" y="5076632"/>
            <a:ext cx="310133" cy="310133"/>
          </a:xfrm>
          <a:prstGeom prst="rect">
            <a:avLst/>
          </a:prstGeom>
        </p:spPr>
      </p:pic>
      <p:pic>
        <p:nvPicPr>
          <p:cNvPr id="83" name="Graphic 82">
            <a:extLst>
              <a:ext uri="{FF2B5EF4-FFF2-40B4-BE49-F238E27FC236}">
                <a16:creationId xmlns:a16="http://schemas.microsoft.com/office/drawing/2014/main" id="{8FFA21AA-17A7-4CE4-9374-FB906EA166C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894269" y="3899928"/>
            <a:ext cx="310133" cy="310133"/>
          </a:xfrm>
          <a:prstGeom prst="rect">
            <a:avLst/>
          </a:prstGeom>
        </p:spPr>
      </p:pic>
      <p:pic>
        <p:nvPicPr>
          <p:cNvPr id="88" name="Graphic 87">
            <a:extLst>
              <a:ext uri="{FF2B5EF4-FFF2-40B4-BE49-F238E27FC236}">
                <a16:creationId xmlns:a16="http://schemas.microsoft.com/office/drawing/2014/main" id="{1B458430-AC91-43F9-B24C-296BE92E843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841973" y="5462903"/>
            <a:ext cx="310133" cy="310133"/>
          </a:xfrm>
          <a:prstGeom prst="rect">
            <a:avLst/>
          </a:prstGeom>
        </p:spPr>
      </p:pic>
      <p:pic>
        <p:nvPicPr>
          <p:cNvPr id="89" name="Graphic 88">
            <a:extLst>
              <a:ext uri="{FF2B5EF4-FFF2-40B4-BE49-F238E27FC236}">
                <a16:creationId xmlns:a16="http://schemas.microsoft.com/office/drawing/2014/main" id="{7460F6ED-7CB8-4FC8-8D87-61FEB289204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266975" y="5462902"/>
            <a:ext cx="310133" cy="310133"/>
          </a:xfrm>
          <a:prstGeom prst="rect">
            <a:avLst/>
          </a:prstGeom>
        </p:spPr>
      </p:pic>
      <p:sp>
        <p:nvSpPr>
          <p:cNvPr id="92" name="TextBox 91">
            <a:extLst>
              <a:ext uri="{FF2B5EF4-FFF2-40B4-BE49-F238E27FC236}">
                <a16:creationId xmlns:a16="http://schemas.microsoft.com/office/drawing/2014/main" id="{FE2EB0CC-ED4A-424F-87CF-39F4E441D0CB}"/>
              </a:ext>
            </a:extLst>
          </p:cNvPr>
          <p:cNvSpPr txBox="1"/>
          <p:nvPr/>
        </p:nvSpPr>
        <p:spPr>
          <a:xfrm rot="16200000">
            <a:off x="2701882" y="3798270"/>
            <a:ext cx="999312" cy="447815"/>
          </a:xfrm>
          <a:prstGeom prst="rect">
            <a:avLst/>
          </a:prstGeom>
          <a:noFill/>
        </p:spPr>
        <p:txBody>
          <a:bodyPr wrap="none" lIns="182880" tIns="146304" rIns="182880" bIns="146304" rtlCol="0">
            <a:spAutoFit/>
          </a:bodyPr>
          <a:lstStyle/>
          <a:p>
            <a:pPr algn="ctr">
              <a:lnSpc>
                <a:spcPct val="90000"/>
              </a:lnSpc>
              <a:spcAft>
                <a:spcPts val="600"/>
              </a:spcAft>
            </a:pPr>
            <a:r>
              <a:rPr lang="en-GB" sz="1100">
                <a:gradFill>
                  <a:gsLst>
                    <a:gs pos="2917">
                      <a:schemeClr val="tx1"/>
                    </a:gs>
                    <a:gs pos="30000">
                      <a:schemeClr val="tx1"/>
                    </a:gs>
                  </a:gsLst>
                  <a:lin ang="5400000" scaled="0"/>
                </a:gradFill>
              </a:rPr>
              <a:t>Resources</a:t>
            </a:r>
            <a:endParaRPr lang="en-GB" sz="1400">
              <a:gradFill>
                <a:gsLst>
                  <a:gs pos="2917">
                    <a:schemeClr val="tx1"/>
                  </a:gs>
                  <a:gs pos="30000">
                    <a:schemeClr val="tx1"/>
                  </a:gs>
                </a:gsLst>
                <a:lin ang="5400000" scaled="0"/>
              </a:gradFill>
            </a:endParaRPr>
          </a:p>
        </p:txBody>
      </p:sp>
      <p:sp>
        <p:nvSpPr>
          <p:cNvPr id="93" name="TextBox 92">
            <a:extLst>
              <a:ext uri="{FF2B5EF4-FFF2-40B4-BE49-F238E27FC236}">
                <a16:creationId xmlns:a16="http://schemas.microsoft.com/office/drawing/2014/main" id="{F379669F-C5D5-4870-82E7-960EFB0A972E}"/>
              </a:ext>
            </a:extLst>
          </p:cNvPr>
          <p:cNvSpPr txBox="1"/>
          <p:nvPr/>
        </p:nvSpPr>
        <p:spPr>
          <a:xfrm rot="16200000">
            <a:off x="2699199" y="5517969"/>
            <a:ext cx="999312" cy="447815"/>
          </a:xfrm>
          <a:prstGeom prst="rect">
            <a:avLst/>
          </a:prstGeom>
          <a:noFill/>
        </p:spPr>
        <p:txBody>
          <a:bodyPr wrap="none" lIns="182880" tIns="146304" rIns="182880" bIns="146304" rtlCol="0">
            <a:spAutoFit/>
          </a:bodyPr>
          <a:lstStyle/>
          <a:p>
            <a:pPr algn="ctr">
              <a:lnSpc>
                <a:spcPct val="90000"/>
              </a:lnSpc>
              <a:spcAft>
                <a:spcPts val="600"/>
              </a:spcAft>
            </a:pPr>
            <a:r>
              <a:rPr lang="en-GB" sz="1100">
                <a:gradFill>
                  <a:gsLst>
                    <a:gs pos="2917">
                      <a:schemeClr val="tx1"/>
                    </a:gs>
                    <a:gs pos="30000">
                      <a:schemeClr val="tx1"/>
                    </a:gs>
                  </a:gsLst>
                  <a:lin ang="5400000" scaled="0"/>
                </a:gradFill>
              </a:rPr>
              <a:t>Resources</a:t>
            </a:r>
            <a:endParaRPr lang="en-GB" sz="14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93282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a:xfrm>
            <a:off x="1636079" y="2926714"/>
            <a:ext cx="11889564" cy="917575"/>
          </a:xfrm>
        </p:spPr>
        <p:txBody>
          <a:bodyPr/>
          <a:lstStyle/>
          <a:p>
            <a:r>
              <a:rPr lang="en-GB" dirty="0"/>
              <a:t>Azure Blueprints Demo</a:t>
            </a:r>
          </a:p>
        </p:txBody>
      </p:sp>
    </p:spTree>
    <p:extLst>
      <p:ext uri="{BB962C8B-B14F-4D97-AF65-F5344CB8AC3E}">
        <p14:creationId xmlns:p14="http://schemas.microsoft.com/office/powerpoint/2010/main" val="2518556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Policy</a:t>
            </a:r>
          </a:p>
        </p:txBody>
      </p:sp>
      <p:sp>
        <p:nvSpPr>
          <p:cNvPr id="4" name="Text Placeholder 3">
            <a:extLst>
              <a:ext uri="{FF2B5EF4-FFF2-40B4-BE49-F238E27FC236}">
                <a16:creationId xmlns:a16="http://schemas.microsoft.com/office/drawing/2014/main" id="{592EDC51-FF7B-499D-903B-55D14A5A4D0E}"/>
              </a:ext>
            </a:extLst>
          </p:cNvPr>
          <p:cNvSpPr>
            <a:spLocks noGrp="1"/>
          </p:cNvSpPr>
          <p:nvPr>
            <p:ph type="body" sz="quarter" idx="10"/>
          </p:nvPr>
        </p:nvSpPr>
        <p:spPr>
          <a:xfrm>
            <a:off x="274638" y="1212850"/>
            <a:ext cx="7848599" cy="5706177"/>
          </a:xfrm>
        </p:spPr>
        <p:txBody>
          <a:bodyPr vert="horz" wrap="square" lIns="146304" tIns="91440" rIns="146304" bIns="91440" rtlCol="0" anchor="t">
            <a:spAutoFit/>
          </a:bodyPr>
          <a:lstStyle/>
          <a:p>
            <a:pPr marL="342900" indent="-342900">
              <a:buFont typeface="Arial" panose="020B0604020202020204" pitchFamily="34" charset="0"/>
              <a:buChar char="•"/>
            </a:pPr>
            <a:r>
              <a:rPr lang="en-US" sz="2800" dirty="0">
                <a:latin typeface="+mn-lt"/>
              </a:rPr>
              <a:t>Azure Policy -  a new service, allowing customers to assess and enforce enterprise-wide governing standards across their entire Azure environment </a:t>
            </a:r>
          </a:p>
          <a:p>
            <a:pPr marL="342900" indent="-342900">
              <a:buFont typeface="Arial" panose="020B0604020202020204" pitchFamily="34" charset="0"/>
              <a:buChar char="•"/>
            </a:pPr>
            <a:r>
              <a:rPr lang="en-US" sz="2800" dirty="0">
                <a:latin typeface="+mn-lt"/>
              </a:rPr>
              <a:t>Enforce control and compliance</a:t>
            </a:r>
          </a:p>
          <a:p>
            <a:pPr marL="342900" indent="-342900">
              <a:buFont typeface="Arial" panose="020B0604020202020204" pitchFamily="34" charset="0"/>
              <a:buChar char="•"/>
            </a:pPr>
            <a:r>
              <a:rPr lang="en-US" sz="2800" dirty="0">
                <a:latin typeface="+mn-lt"/>
              </a:rPr>
              <a:t>Evaluate Azure resources for policy violations  and run compliance state review across subscriptions</a:t>
            </a:r>
          </a:p>
          <a:p>
            <a:pPr marL="342900" indent="-342900">
              <a:buFont typeface="Arial" panose="020B0604020202020204" pitchFamily="34" charset="0"/>
              <a:buChar char="•"/>
            </a:pPr>
            <a:r>
              <a:rPr lang="en-US" sz="2800" dirty="0">
                <a:latin typeface="+mn-lt"/>
              </a:rPr>
              <a:t>Policy can be assigned at the Management Group level to have consistent standards across all Azure subscriptions for a division or company</a:t>
            </a:r>
            <a:endParaRPr lang="en-US" sz="2800" dirty="0">
              <a:latin typeface="+mn-lt"/>
              <a:cs typeface="Segoe UI Semilight"/>
            </a:endParaRPr>
          </a:p>
          <a:p>
            <a:endParaRPr lang="en-US" dirty="0"/>
          </a:p>
        </p:txBody>
      </p:sp>
      <p:pic>
        <p:nvPicPr>
          <p:cNvPr id="3" name="Picture 2">
            <a:extLst>
              <a:ext uri="{FF2B5EF4-FFF2-40B4-BE49-F238E27FC236}">
                <a16:creationId xmlns:a16="http://schemas.microsoft.com/office/drawing/2014/main" id="{C76AC8EE-377F-4EE0-BE6D-6E87239AA972}"/>
              </a:ext>
            </a:extLst>
          </p:cNvPr>
          <p:cNvPicPr>
            <a:picLocks noChangeAspect="1"/>
          </p:cNvPicPr>
          <p:nvPr/>
        </p:nvPicPr>
        <p:blipFill>
          <a:blip r:embed="rId3"/>
          <a:stretch>
            <a:fillRect/>
          </a:stretch>
        </p:blipFill>
        <p:spPr>
          <a:xfrm>
            <a:off x="8885237" y="1287462"/>
            <a:ext cx="3105150" cy="3276600"/>
          </a:xfrm>
          <a:prstGeom prst="rect">
            <a:avLst/>
          </a:prstGeom>
        </p:spPr>
      </p:pic>
    </p:spTree>
    <p:extLst>
      <p:ext uri="{BB962C8B-B14F-4D97-AF65-F5344CB8AC3E}">
        <p14:creationId xmlns:p14="http://schemas.microsoft.com/office/powerpoint/2010/main" val="143863659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56902"/>
            <a:ext cx="11889564" cy="917575"/>
          </a:xfrm>
        </p:spPr>
        <p:txBody>
          <a:bodyPr/>
          <a:lstStyle/>
          <a:p>
            <a:r>
              <a:rPr lang="en-GB"/>
              <a:t>Azure Monitor</a:t>
            </a:r>
          </a:p>
        </p:txBody>
      </p:sp>
      <p:sp>
        <p:nvSpPr>
          <p:cNvPr id="3" name="Text Placeholder 2"/>
          <p:cNvSpPr>
            <a:spLocks noGrp="1"/>
          </p:cNvSpPr>
          <p:nvPr>
            <p:ph type="body" sz="quarter" idx="10"/>
          </p:nvPr>
        </p:nvSpPr>
        <p:spPr>
          <a:xfrm>
            <a:off x="1283934" y="1481038"/>
            <a:ext cx="4935487" cy="4801314"/>
          </a:xfrm>
        </p:spPr>
        <p:txBody>
          <a:bodyPr/>
          <a:lstStyle/>
          <a:p>
            <a:pPr marL="571500" indent="-571500">
              <a:buFont typeface="Arial" panose="020B0604020202020204" pitchFamily="34" charset="0"/>
              <a:buChar char="•"/>
            </a:pPr>
            <a:r>
              <a:rPr lang="en-GB"/>
              <a:t>Metric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Activity Log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Diagnostic Log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Alerts</a:t>
            </a:r>
          </a:p>
        </p:txBody>
      </p:sp>
      <p:pic>
        <p:nvPicPr>
          <p:cNvPr id="4" name="Picture 3"/>
          <p:cNvPicPr>
            <a:picLocks noChangeAspect="1"/>
          </p:cNvPicPr>
          <p:nvPr/>
        </p:nvPicPr>
        <p:blipFill>
          <a:blip r:embed="rId3"/>
          <a:stretch>
            <a:fillRect/>
          </a:stretch>
        </p:blipFill>
        <p:spPr>
          <a:xfrm>
            <a:off x="961653" y="4073326"/>
            <a:ext cx="864096" cy="864096"/>
          </a:xfrm>
          <a:prstGeom prst="rect">
            <a:avLst/>
          </a:prstGeom>
        </p:spPr>
      </p:pic>
      <p:pic>
        <p:nvPicPr>
          <p:cNvPr id="5" name="Picture 4"/>
          <p:cNvPicPr>
            <a:picLocks noChangeAspect="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a:off x="961653" y="2749968"/>
            <a:ext cx="902068" cy="902068"/>
          </a:xfrm>
          <a:prstGeom prst="rect">
            <a:avLst/>
          </a:prstGeom>
        </p:spPr>
      </p:pic>
      <p:pic>
        <p:nvPicPr>
          <p:cNvPr id="6" name="Picture 5"/>
          <p:cNvPicPr>
            <a:picLocks noChangeAspect="1"/>
          </p:cNvPicPr>
          <p:nvPr/>
        </p:nvPicPr>
        <p:blipFill>
          <a:blip r:embed="rId6"/>
          <a:stretch>
            <a:fillRect/>
          </a:stretch>
        </p:blipFill>
        <p:spPr>
          <a:xfrm>
            <a:off x="961653" y="5585494"/>
            <a:ext cx="842510" cy="842510"/>
          </a:xfrm>
          <a:prstGeom prst="rect">
            <a:avLst/>
          </a:prstGeom>
        </p:spPr>
      </p:pic>
      <p:pic>
        <p:nvPicPr>
          <p:cNvPr id="7" name="Picture 6"/>
          <p:cNvPicPr>
            <a:picLocks noChangeAspect="1"/>
          </p:cNvPicPr>
          <p:nvPr/>
        </p:nvPicPr>
        <p:blipFill>
          <a:blip r:embed="rId7"/>
          <a:stretch>
            <a:fillRect/>
          </a:stretch>
        </p:blipFill>
        <p:spPr>
          <a:xfrm>
            <a:off x="961653" y="1247809"/>
            <a:ext cx="902068" cy="902068"/>
          </a:xfrm>
          <a:prstGeom prst="rect">
            <a:avLst/>
          </a:prstGeom>
        </p:spPr>
      </p:pic>
      <p:pic>
        <p:nvPicPr>
          <p:cNvPr id="8" name="Picture 7"/>
          <p:cNvPicPr>
            <a:picLocks noChangeAspect="1"/>
          </p:cNvPicPr>
          <p:nvPr/>
        </p:nvPicPr>
        <p:blipFill>
          <a:blip r:embed="rId8"/>
          <a:stretch>
            <a:fillRect/>
          </a:stretch>
        </p:blipFill>
        <p:spPr>
          <a:xfrm>
            <a:off x="7370365" y="3305630"/>
            <a:ext cx="1368152" cy="1368152"/>
          </a:xfrm>
          <a:prstGeom prst="rect">
            <a:avLst/>
          </a:prstGeom>
        </p:spPr>
      </p:pic>
      <p:sp>
        <p:nvSpPr>
          <p:cNvPr id="9" name="Right Brace 8"/>
          <p:cNvSpPr/>
          <p:nvPr/>
        </p:nvSpPr>
        <p:spPr>
          <a:xfrm>
            <a:off x="5643357" y="1697062"/>
            <a:ext cx="1152128" cy="4585289"/>
          </a:xfrm>
          <a:prstGeom prst="rightBrace">
            <a:avLst>
              <a:gd name="adj1" fmla="val 37193"/>
              <a:gd name="adj2" fmla="val 5000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Rectangle 9"/>
          <p:cNvSpPr/>
          <p:nvPr/>
        </p:nvSpPr>
        <p:spPr>
          <a:xfrm>
            <a:off x="8815594" y="3652036"/>
            <a:ext cx="3348609" cy="646331"/>
          </a:xfrm>
          <a:prstGeom prst="rect">
            <a:avLst/>
          </a:prstGeom>
        </p:spPr>
        <p:txBody>
          <a:bodyPr wrap="none" anchor="ctr">
            <a:spAutoFit/>
          </a:bodyPr>
          <a:lstStyle/>
          <a:p>
            <a:r>
              <a:rPr lang="en-GB" sz="3600" b="1"/>
              <a:t>Azure Monitor</a:t>
            </a:r>
          </a:p>
        </p:txBody>
      </p:sp>
      <p:sp>
        <p:nvSpPr>
          <p:cNvPr id="13" name="Title 1">
            <a:extLst>
              <a:ext uri="{FF2B5EF4-FFF2-40B4-BE49-F238E27FC236}">
                <a16:creationId xmlns:a16="http://schemas.microsoft.com/office/drawing/2014/main" id="{AE2C1BE8-83F8-4B46-91A1-AC41372AA375}"/>
              </a:ext>
            </a:extLst>
          </p:cNvPr>
          <p:cNvSpPr txBox="1">
            <a:spLocks/>
          </p:cNvSpPr>
          <p:nvPr/>
        </p:nvSpPr>
        <p:spPr>
          <a:xfrm>
            <a:off x="7226349" y="1149275"/>
            <a:ext cx="4824536"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lang="en-GB" sz="2800"/>
              <a:t>Health, metric &amp; audit view across all Azure resources</a:t>
            </a:r>
          </a:p>
        </p:txBody>
      </p:sp>
    </p:spTree>
    <p:extLst>
      <p:ext uri="{BB962C8B-B14F-4D97-AF65-F5344CB8AC3E}">
        <p14:creationId xmlns:p14="http://schemas.microsoft.com/office/powerpoint/2010/main" val="738685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en-US" dirty="0"/>
              <a:t>Azure Network Watcher</a:t>
            </a:r>
          </a:p>
        </p:txBody>
      </p:sp>
      <p:sp>
        <p:nvSpPr>
          <p:cNvPr id="3" name="Text Placeholder 2">
            <a:extLst>
              <a:ext uri="{FF2B5EF4-FFF2-40B4-BE49-F238E27FC236}">
                <a16:creationId xmlns:a16="http://schemas.microsoft.com/office/drawing/2014/main" id="{B2F55360-92CC-4ABD-95C4-A66F08174DD1}"/>
              </a:ext>
            </a:extLst>
          </p:cNvPr>
          <p:cNvSpPr>
            <a:spLocks noGrp="1"/>
          </p:cNvSpPr>
          <p:nvPr>
            <p:ph type="body" sz="quarter" idx="10"/>
          </p:nvPr>
        </p:nvSpPr>
        <p:spPr>
          <a:xfrm>
            <a:off x="274638" y="1212850"/>
            <a:ext cx="11888787" cy="3508653"/>
          </a:xfrm>
        </p:spPr>
        <p:txBody>
          <a:bodyPr/>
          <a:lstStyle/>
          <a:p>
            <a:pPr marL="342900" indent="-342900">
              <a:buFont typeface="Arial" panose="020B0604020202020204" pitchFamily="34" charset="0"/>
              <a:buChar char="•"/>
            </a:pPr>
            <a:r>
              <a:rPr lang="en-US" sz="2000" dirty="0">
                <a:latin typeface="+mn-lt"/>
              </a:rPr>
              <a:t>Provides Connectivity Check for Express Route circuits</a:t>
            </a:r>
          </a:p>
          <a:p>
            <a:pPr marL="342900" indent="-342900">
              <a:buFont typeface="Arial" panose="020B0604020202020204" pitchFamily="34" charset="0"/>
              <a:buChar char="•"/>
            </a:pPr>
            <a:r>
              <a:rPr lang="en-US" sz="2000" dirty="0">
                <a:latin typeface="+mn-lt"/>
              </a:rPr>
              <a:t>Identify hybrid connectivity issues</a:t>
            </a:r>
          </a:p>
          <a:p>
            <a:pPr marL="571500" lvl="1" indent="-342900">
              <a:buFont typeface="Arial" panose="020B0604020202020204" pitchFamily="34" charset="0"/>
              <a:buChar char="•"/>
            </a:pPr>
            <a:r>
              <a:rPr lang="en-US" sz="2000" dirty="0">
                <a:latin typeface="+mn-lt"/>
              </a:rPr>
              <a:t> From Azure VM to an on-premise machine connected over ER circuit</a:t>
            </a:r>
          </a:p>
          <a:p>
            <a:pPr marL="809271" lvl="1" indent="-342900">
              <a:buFont typeface="Arial" panose="020B0604020202020204" pitchFamily="34" charset="0"/>
              <a:buChar char="•"/>
            </a:pPr>
            <a:r>
              <a:rPr lang="en-US" sz="2000" b="1" dirty="0">
                <a:solidFill>
                  <a:schemeClr val="tx1"/>
                </a:solidFill>
              </a:rPr>
              <a:t>Hop by hop information </a:t>
            </a:r>
            <a:r>
              <a:rPr lang="en-US" sz="2000" dirty="0">
                <a:solidFill>
                  <a:schemeClr val="tx1"/>
                </a:solidFill>
              </a:rPr>
              <a:t>with latency from source VM to destination on-premise machine</a:t>
            </a:r>
          </a:p>
          <a:p>
            <a:pPr marL="809271" lvl="1" indent="-342900">
              <a:buFont typeface="Arial" panose="020B0604020202020204" pitchFamily="34" charset="0"/>
              <a:buChar char="•"/>
            </a:pPr>
            <a:r>
              <a:rPr lang="en-US" sz="2000" b="1" dirty="0">
                <a:solidFill>
                  <a:schemeClr val="tx1"/>
                </a:solidFill>
              </a:rPr>
              <a:t>Insights </a:t>
            </a:r>
            <a:r>
              <a:rPr lang="en-US" sz="2000" dirty="0">
                <a:solidFill>
                  <a:schemeClr val="tx1"/>
                </a:solidFill>
              </a:rPr>
              <a:t>into possible paths the packet can take between source and destination</a:t>
            </a:r>
          </a:p>
          <a:p>
            <a:pPr marL="809271" lvl="1" indent="-342900">
              <a:buFont typeface="Arial" panose="020B0604020202020204" pitchFamily="34" charset="0"/>
              <a:buChar char="•"/>
            </a:pPr>
            <a:r>
              <a:rPr lang="en-US" sz="2000" b="1" dirty="0"/>
              <a:t>Identify </a:t>
            </a:r>
            <a:r>
              <a:rPr lang="en-US" sz="2000" dirty="0"/>
              <a:t>potential configuration issues like:</a:t>
            </a:r>
          </a:p>
          <a:p>
            <a:pPr marL="1275642" lvl="2" indent="-342900">
              <a:buFont typeface="Arial" panose="020B0604020202020204" pitchFamily="34" charset="0"/>
              <a:buChar char="•"/>
            </a:pPr>
            <a:r>
              <a:rPr lang="en-US" sz="2000" dirty="0"/>
              <a:t>Traffic blocked by NSG or guest firewall</a:t>
            </a:r>
          </a:p>
          <a:p>
            <a:pPr marL="1275642" lvl="2" indent="-342900">
              <a:buFont typeface="Arial" panose="020B0604020202020204" pitchFamily="34" charset="0"/>
              <a:buChar char="•"/>
            </a:pPr>
            <a:r>
              <a:rPr lang="en-US" sz="2000" dirty="0"/>
              <a:t>Route issues due to user defined or system routes</a:t>
            </a:r>
          </a:p>
          <a:p>
            <a:pPr marL="1275642" lvl="2" indent="-342900">
              <a:buFont typeface="Arial" panose="020B0604020202020204" pitchFamily="34" charset="0"/>
              <a:buChar char="•"/>
            </a:pPr>
            <a:r>
              <a:rPr lang="en-US" sz="2000" dirty="0"/>
              <a:t>Incomplete or missing ARP (ARP) table entry</a:t>
            </a:r>
          </a:p>
          <a:p>
            <a:pPr marL="1275642" lvl="2" indent="-342900">
              <a:buFont typeface="Arial" panose="020B0604020202020204" pitchFamily="34" charset="0"/>
              <a:buChar char="•"/>
            </a:pPr>
            <a:r>
              <a:rPr lang="en-US" sz="2000" dirty="0"/>
              <a:t>missing routes in the ER gateway for destination</a:t>
            </a:r>
          </a:p>
        </p:txBody>
      </p:sp>
      <p:pic>
        <p:nvPicPr>
          <p:cNvPr id="4" name="Picture 3">
            <a:extLst>
              <a:ext uri="{FF2B5EF4-FFF2-40B4-BE49-F238E27FC236}">
                <a16:creationId xmlns:a16="http://schemas.microsoft.com/office/drawing/2014/main" id="{51BDA3E0-84FB-4553-BB74-119BFFE2EDEB}"/>
              </a:ext>
            </a:extLst>
          </p:cNvPr>
          <p:cNvPicPr>
            <a:picLocks noChangeAspect="1"/>
          </p:cNvPicPr>
          <p:nvPr/>
        </p:nvPicPr>
        <p:blipFill>
          <a:blip r:embed="rId3"/>
          <a:stretch>
            <a:fillRect/>
          </a:stretch>
        </p:blipFill>
        <p:spPr>
          <a:xfrm>
            <a:off x="7513637" y="4030662"/>
            <a:ext cx="4362450" cy="2559019"/>
          </a:xfrm>
          <a:prstGeom prst="rect">
            <a:avLst/>
          </a:prstGeom>
        </p:spPr>
      </p:pic>
    </p:spTree>
    <p:extLst>
      <p:ext uri="{BB962C8B-B14F-4D97-AF65-F5344CB8AC3E}">
        <p14:creationId xmlns:p14="http://schemas.microsoft.com/office/powerpoint/2010/main" val="2921280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4533234" y="1011218"/>
            <a:ext cx="5252111" cy="5252110"/>
          </a:xfrm>
          <a:prstGeom prst="ellipse">
            <a:avLst/>
          </a:pr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12CFE9B8-1473-4233-9F30-0622EC60960A}"/>
              </a:ext>
            </a:extLst>
          </p:cNvPr>
          <p:cNvSpPr/>
          <p:nvPr/>
        </p:nvSpPr>
        <p:spPr bwMode="auto">
          <a:xfrm>
            <a:off x="9265307" y="2172858"/>
            <a:ext cx="1773750" cy="7261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8C8C9719-37AD-4E22-A04C-147E6A8FC402}"/>
              </a:ext>
            </a:extLst>
          </p:cNvPr>
          <p:cNvSpPr/>
          <p:nvPr/>
        </p:nvSpPr>
        <p:spPr bwMode="auto">
          <a:xfrm>
            <a:off x="6678975" y="5758357"/>
            <a:ext cx="907965" cy="126741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B883C091-3680-4306-87FC-4269834A92F5}"/>
              </a:ext>
            </a:extLst>
          </p:cNvPr>
          <p:cNvSpPr/>
          <p:nvPr/>
        </p:nvSpPr>
        <p:spPr bwMode="auto">
          <a:xfrm>
            <a:off x="3258113" y="2142263"/>
            <a:ext cx="1773750" cy="76682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Oval 62"/>
          <p:cNvSpPr/>
          <p:nvPr/>
        </p:nvSpPr>
        <p:spPr bwMode="auto">
          <a:xfrm>
            <a:off x="5654150" y="2132133"/>
            <a:ext cx="3010280" cy="3010279"/>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387404" y="1885519"/>
            <a:ext cx="1005916"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Secure</a:t>
            </a:r>
          </a:p>
        </p:txBody>
      </p:sp>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589118" y="5911485"/>
            <a:ext cx="1124611"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Monitor</a:t>
            </a:r>
          </a:p>
        </p:txBody>
      </p:sp>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904348" y="1885519"/>
            <a:ext cx="1058561"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Govern</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393341" y="2166051"/>
            <a:ext cx="2038528" cy="709253"/>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Security Management</a:t>
            </a:r>
          </a:p>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Threat Protection</a:t>
            </a:r>
          </a:p>
        </p:txBody>
      </p:sp>
      <p:sp>
        <p:nvSpPr>
          <p:cNvPr id="79" name="Oval 78">
            <a:extLst>
              <a:ext uri="{FF2B5EF4-FFF2-40B4-BE49-F238E27FC236}">
                <a16:creationId xmlns:a16="http://schemas.microsoft.com/office/drawing/2014/main" id="{CF5685F8-EE31-4EEE-A137-3893EBE8E060}"/>
              </a:ext>
            </a:extLst>
          </p:cNvPr>
          <p:cNvSpPr/>
          <p:nvPr/>
        </p:nvSpPr>
        <p:spPr bwMode="auto">
          <a:xfrm>
            <a:off x="9324322" y="4216031"/>
            <a:ext cx="1773750" cy="73868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F5B1C3BE-F9AF-433F-81E8-DE3EE67B829F}"/>
              </a:ext>
            </a:extLst>
          </p:cNvPr>
          <p:cNvSpPr txBox="1"/>
          <p:nvPr/>
        </p:nvSpPr>
        <p:spPr>
          <a:xfrm>
            <a:off x="3054409" y="2166051"/>
            <a:ext cx="1873533" cy="709253"/>
          </a:xfrm>
          <a:prstGeom prst="rect">
            <a:avLst/>
          </a:prstGeom>
          <a:noFill/>
        </p:spPr>
        <p:txBody>
          <a:bodyPr wrap="none" lIns="182854" tIns="146283" rIns="182854" bIns="146283" rtlCol="0">
            <a:spAutoFit/>
          </a:bodyPr>
          <a:lstStyle/>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Policy Management</a:t>
            </a:r>
          </a:p>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Cost Management</a:t>
            </a:r>
          </a:p>
        </p:txBody>
      </p:sp>
      <p:sp>
        <p:nvSpPr>
          <p:cNvPr id="76" name="Oval 75">
            <a:extLst>
              <a:ext uri="{FF2B5EF4-FFF2-40B4-BE49-F238E27FC236}">
                <a16:creationId xmlns:a16="http://schemas.microsoft.com/office/drawing/2014/main" id="{63F975E0-310C-4521-846F-D6E091A04097}"/>
              </a:ext>
            </a:extLst>
          </p:cNvPr>
          <p:cNvSpPr/>
          <p:nvPr/>
        </p:nvSpPr>
        <p:spPr bwMode="auto">
          <a:xfrm>
            <a:off x="3448843" y="4325821"/>
            <a:ext cx="1773750" cy="61369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8315278" y="3806719"/>
            <a:ext cx="705164" cy="705164"/>
            <a:chOff x="543027" y="3837090"/>
            <a:chExt cx="509065" cy="50906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0"/>
              <a:ext cx="509065" cy="50906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900">
                <a:gradFill>
                  <a:gsLst>
                    <a:gs pos="0">
                      <a:srgbClr val="505050"/>
                    </a:gs>
                    <a:gs pos="100000">
                      <a:srgbClr val="505050"/>
                    </a:gs>
                  </a:gsLst>
                </a:gradFill>
                <a:latin typeface="Segoe UI"/>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5855114" y="2082820"/>
            <a:ext cx="702020" cy="702020"/>
            <a:chOff x="544162" y="3038125"/>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5"/>
              <a:ext cx="506795" cy="50679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900">
                <a:gradFill>
                  <a:gsLst>
                    <a:gs pos="0">
                      <a:srgbClr val="505050"/>
                    </a:gs>
                    <a:gs pos="100000">
                      <a:srgbClr val="505050"/>
                    </a:gs>
                  </a:gsLst>
                  <a:lin ang="5400000" scaled="1"/>
                </a:gradFill>
                <a:latin typeface="Segoe UI"/>
              </a:endParaRPr>
            </a:p>
          </p:txBody>
        </p:sp>
      </p:gr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8425455" y="2431452"/>
            <a:ext cx="688802" cy="2376"/>
          </a:xfrm>
          <a:prstGeom prst="bentConnector3">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5145903" y="2431453"/>
            <a:ext cx="688802" cy="2376"/>
          </a:xfrm>
          <a:prstGeom prst="bentConnector3">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7131015" y="5424357"/>
            <a:ext cx="497" cy="487128"/>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9BD64EFC-81A6-4DDF-B422-BE758F8FBB7E}"/>
              </a:ext>
            </a:extLst>
          </p:cNvPr>
          <p:cNvGrpSpPr/>
          <p:nvPr/>
        </p:nvGrpSpPr>
        <p:grpSpPr>
          <a:xfrm>
            <a:off x="5436792" y="3764707"/>
            <a:ext cx="764213" cy="764213"/>
            <a:chOff x="4270669" y="3638704"/>
            <a:chExt cx="551693" cy="551693"/>
          </a:xfrm>
          <a:effectLst/>
        </p:grpSpPr>
        <p:sp>
          <p:nvSpPr>
            <p:cNvPr id="45" name="Oval 44">
              <a:extLst>
                <a:ext uri="{FF2B5EF4-FFF2-40B4-BE49-F238E27FC236}">
                  <a16:creationId xmlns:a16="http://schemas.microsoft.com/office/drawing/2014/main" id="{3CFDDF8B-5104-4988-8546-B50E8A7FEB25}"/>
                </a:ext>
              </a:extLst>
            </p:cNvPr>
            <p:cNvSpPr/>
            <p:nvPr/>
          </p:nvSpPr>
          <p:spPr bwMode="auto">
            <a:xfrm>
              <a:off x="4270669" y="3638704"/>
              <a:ext cx="551693" cy="551693"/>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rocessing_E9F5">
              <a:extLst>
                <a:ext uri="{FF2B5EF4-FFF2-40B4-BE49-F238E27FC236}">
                  <a16:creationId xmlns:a16="http://schemas.microsoft.com/office/drawing/2014/main" id="{5EC28FC5-77D2-4773-A252-771734421A8F}"/>
                </a:ext>
              </a:extLst>
            </p:cNvPr>
            <p:cNvSpPr>
              <a:spLocks noChangeAspect="1" noEditPoints="1"/>
            </p:cNvSpPr>
            <p:nvPr/>
          </p:nvSpPr>
          <p:spPr bwMode="auto">
            <a:xfrm>
              <a:off x="4359029" y="3756092"/>
              <a:ext cx="375768" cy="32727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dirty="0">
                <a:solidFill>
                  <a:srgbClr val="505050"/>
                </a:solidFill>
                <a:latin typeface="Segoe UI"/>
              </a:endParaRPr>
            </a:p>
          </p:txBody>
        </p:sp>
      </p:grpSp>
      <p:grpSp>
        <p:nvGrpSpPr>
          <p:cNvPr id="5" name="Group 4">
            <a:extLst>
              <a:ext uri="{FF2B5EF4-FFF2-40B4-BE49-F238E27FC236}">
                <a16:creationId xmlns:a16="http://schemas.microsoft.com/office/drawing/2014/main" id="{95FE535D-6FBE-4A38-92CB-35EA27337062}"/>
              </a:ext>
            </a:extLst>
          </p:cNvPr>
          <p:cNvGrpSpPr/>
          <p:nvPr/>
        </p:nvGrpSpPr>
        <p:grpSpPr>
          <a:xfrm>
            <a:off x="7747251" y="2084523"/>
            <a:ext cx="698613" cy="698613"/>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gradFill>
                  <a:gsLst>
                    <a:gs pos="0">
                      <a:srgbClr val="505050"/>
                    </a:gs>
                    <a:gs pos="100000">
                      <a:srgbClr val="505050"/>
                    </a:gs>
                  </a:gsLst>
                </a:gradFill>
                <a:latin typeface="Segoe UI"/>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6812192" y="4855443"/>
            <a:ext cx="679457" cy="568914"/>
            <a:chOff x="5944128" y="4932798"/>
            <a:chExt cx="49050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490507" cy="41070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64" name="Rectangle 63">
            <a:extLst>
              <a:ext uri="{FF2B5EF4-FFF2-40B4-BE49-F238E27FC236}">
                <a16:creationId xmlns:a16="http://schemas.microsoft.com/office/drawing/2014/main" id="{4F665637-05CF-423C-AF80-6FCFD5196801}"/>
              </a:ext>
            </a:extLst>
          </p:cNvPr>
          <p:cNvSpPr/>
          <p:nvPr/>
        </p:nvSpPr>
        <p:spPr>
          <a:xfrm>
            <a:off x="5603821" y="6232342"/>
            <a:ext cx="3094355" cy="966785"/>
          </a:xfrm>
          <a:prstGeom prst="rect">
            <a:avLst/>
          </a:prstGeom>
          <a:noFill/>
        </p:spPr>
        <p:txBody>
          <a:bodyPr wrap="none" lIns="182854" tIns="146283" rIns="182854" bIns="146283" rtlCol="0">
            <a:spAutoFit/>
          </a:bodyPr>
          <a:lstStyle/>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App, Infra, &amp; Network Monitoring</a:t>
            </a:r>
          </a:p>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Log Analytics and Diagnostics</a:t>
            </a:r>
          </a:p>
          <a:p>
            <a:pPr defTabSz="950938">
              <a:lnSpc>
                <a:spcPct val="90000"/>
              </a:lnSpc>
              <a:spcBef>
                <a:spcPts val="300"/>
              </a:spcBef>
              <a:defRPr/>
            </a:pPr>
            <a:endPar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endParaRPr>
          </a:p>
        </p:txBody>
      </p:sp>
      <p:cxnSp>
        <p:nvCxnSpPr>
          <p:cNvPr id="72" name="Straight Connector 71">
            <a:extLst>
              <a:ext uri="{FF2B5EF4-FFF2-40B4-BE49-F238E27FC236}">
                <a16:creationId xmlns:a16="http://schemas.microsoft.com/office/drawing/2014/main" id="{DDA9197E-6702-4430-9385-46341AA9A62D}"/>
              </a:ext>
            </a:extLst>
          </p:cNvPr>
          <p:cNvCxnSpPr>
            <a:cxnSpLocks/>
          </p:cNvCxnSpPr>
          <p:nvPr/>
        </p:nvCxnSpPr>
        <p:spPr>
          <a:xfrm flipH="1">
            <a:off x="5098356" y="4354040"/>
            <a:ext cx="429580" cy="210121"/>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8993865" y="4374617"/>
            <a:ext cx="468099" cy="151193"/>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465594" y="4292194"/>
            <a:ext cx="1046788"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477243" y="4592117"/>
            <a:ext cx="2504151" cy="482719"/>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Backup &amp; Disaster Recovery</a:t>
            </a:r>
          </a:p>
        </p:txBody>
      </p:sp>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657647" y="4292194"/>
            <a:ext cx="1305105"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13563" y="4592117"/>
            <a:ext cx="2741761" cy="709253"/>
          </a:xfrm>
          <a:prstGeom prst="rect">
            <a:avLst/>
          </a:prstGeom>
          <a:noFill/>
        </p:spPr>
        <p:txBody>
          <a:bodyPr wrap="square" lIns="182854" tIns="146283" rIns="182854" bIns="146283" rtlCol="0">
            <a:spAutoFit/>
          </a:bodyPr>
          <a:lstStyle/>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Update Management, Scripting</a:t>
            </a:r>
          </a:p>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Automation, Configuration</a:t>
            </a:r>
          </a:p>
        </p:txBody>
      </p:sp>
      <p:sp>
        <p:nvSpPr>
          <p:cNvPr id="55" name="Title 1">
            <a:extLst>
              <a:ext uri="{FF2B5EF4-FFF2-40B4-BE49-F238E27FC236}">
                <a16:creationId xmlns:a16="http://schemas.microsoft.com/office/drawing/2014/main" id="{1EDC4AAE-ECE1-4AE2-AD0A-F9CD9D4B57C2}"/>
              </a:ext>
            </a:extLst>
          </p:cNvPr>
          <p:cNvSpPr txBox="1">
            <a:spLocks/>
          </p:cNvSpPr>
          <p:nvPr/>
        </p:nvSpPr>
        <p:spPr>
          <a:xfrm>
            <a:off x="2315951" y="219550"/>
            <a:ext cx="9630127" cy="595251"/>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Secure and well-managed for IT</a:t>
            </a:r>
          </a:p>
        </p:txBody>
      </p:sp>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726" t="8941" r="-1178" b="8941"/>
          <a:stretch/>
        </p:blipFill>
        <p:spPr>
          <a:xfrm>
            <a:off x="6044836" y="2515202"/>
            <a:ext cx="2234982" cy="2220895"/>
          </a:xfrm>
          <a:prstGeom prst="ellipse">
            <a:avLst/>
          </a:prstGeom>
          <a:ln>
            <a:noFill/>
          </a:ln>
          <a:effectLst>
            <a:softEdge rad="0"/>
          </a:effectLst>
        </p:spPr>
      </p:pic>
      <p:sp>
        <p:nvSpPr>
          <p:cNvPr id="3" name="Oval 2"/>
          <p:cNvSpPr/>
          <p:nvPr/>
        </p:nvSpPr>
        <p:spPr bwMode="auto">
          <a:xfrm>
            <a:off x="6042614" y="2513505"/>
            <a:ext cx="2231838" cy="2220895"/>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6042614" y="3202302"/>
            <a:ext cx="2231838" cy="593531"/>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2448" kern="0" spc="0" dirty="0">
                <a:solidFill>
                  <a:srgbClr val="FFFFFF"/>
                </a:solidFill>
                <a:latin typeface="Segoe UI Semilight"/>
                <a:cs typeface="Segoe UI Semilight" panose="020B0402040204020203" pitchFamily="34" charset="0"/>
              </a:rPr>
              <a:t>Azure</a:t>
            </a:r>
          </a:p>
          <a:p>
            <a:pPr defTabSz="914224">
              <a:defRPr/>
            </a:pPr>
            <a:r>
              <a:rPr lang="en-US" sz="2448" kern="0" spc="0" dirty="0">
                <a:solidFill>
                  <a:srgbClr val="FFFFFF"/>
                </a:solidFill>
                <a:latin typeface="Segoe UI Semilight"/>
                <a:cs typeface="Segoe UI Semilight" panose="020B0402040204020203" pitchFamily="34" charset="0"/>
              </a:rPr>
              <a:t>portal</a:t>
            </a:r>
            <a:endParaRPr lang="en-US" sz="2448" kern="0" spc="0" dirty="0">
              <a:solidFill>
                <a:srgbClr val="FFFFFF"/>
              </a:solidFill>
              <a:latin typeface="Segoe UI Light"/>
              <a:cs typeface="Segoe UI Semilight" panose="020B0402040204020203" pitchFamily="34" charset="0"/>
            </a:endParaRPr>
          </a:p>
        </p:txBody>
      </p:sp>
    </p:spTree>
    <p:extLst>
      <p:ext uri="{BB962C8B-B14F-4D97-AF65-F5344CB8AC3E}">
        <p14:creationId xmlns:p14="http://schemas.microsoft.com/office/powerpoint/2010/main" val="1866622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2.5E-6 -2.59259E-6 L 2.5E-6 0.04584 " pathEditMode="relative" rAng="0" ptsTypes="AA">
                                      <p:cBhvr>
                                        <p:cTn id="9" dur="500" spd="-100000" fill="hold"/>
                                        <p:tgtEl>
                                          <p:spTgt spid="55"/>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5" grpId="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53D86BF-D60D-4D45-AD9A-B2638811C3F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0" name="Rectangle 19">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21" name="Rectangle 20">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2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9" name="Freeform 28"/>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 name="Rectangle 14">
            <a:extLst>
              <a:ext uri="{FF2B5EF4-FFF2-40B4-BE49-F238E27FC236}">
                <a16:creationId xmlns:a16="http://schemas.microsoft.com/office/drawing/2014/main" id="{A1146EDB-2AF1-424A-9EF5-E4304E03BFAD}"/>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6" name="Rectangle 15">
            <a:extLst>
              <a:ext uri="{FF2B5EF4-FFF2-40B4-BE49-F238E27FC236}">
                <a16:creationId xmlns:a16="http://schemas.microsoft.com/office/drawing/2014/main" id="{B35646DF-8C43-4E4D-B624-7900389633A3}"/>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 name="speedometer_2">
            <a:extLst>
              <a:ext uri="{FF2B5EF4-FFF2-40B4-BE49-F238E27FC236}">
                <a16:creationId xmlns:a16="http://schemas.microsoft.com/office/drawing/2014/main" id="{6B36E8F2-7074-4E46-8F79-AB1429268D3C}"/>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 name="Group 18">
            <a:extLst>
              <a:ext uri="{FF2B5EF4-FFF2-40B4-BE49-F238E27FC236}">
                <a16:creationId xmlns:a16="http://schemas.microsoft.com/office/drawing/2014/main" id="{3063E2FD-E14B-41C4-8DA5-5C5F57591146}"/>
              </a:ext>
            </a:extLst>
          </p:cNvPr>
          <p:cNvGrpSpPr/>
          <p:nvPr/>
        </p:nvGrpSpPr>
        <p:grpSpPr>
          <a:xfrm>
            <a:off x="791606" y="2574304"/>
            <a:ext cx="460244" cy="449535"/>
            <a:chOff x="2088630" y="3287843"/>
            <a:chExt cx="429718" cy="419725"/>
          </a:xfrm>
          <a:noFill/>
        </p:grpSpPr>
        <p:sp>
          <p:nvSpPr>
            <p:cNvPr id="30" name="Rectangle 29">
              <a:extLst>
                <a:ext uri="{FF2B5EF4-FFF2-40B4-BE49-F238E27FC236}">
                  <a16:creationId xmlns:a16="http://schemas.microsoft.com/office/drawing/2014/main" id="{037D5AFB-935A-4FAB-8C62-922CAA8CE52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1" name="Rectangle 30">
              <a:extLst>
                <a:ext uri="{FF2B5EF4-FFF2-40B4-BE49-F238E27FC236}">
                  <a16:creationId xmlns:a16="http://schemas.microsoft.com/office/drawing/2014/main" id="{380087E5-6DB4-4B71-8C58-CE39C1BD283A}"/>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3" name="Title 1">
            <a:extLst>
              <a:ext uri="{FF2B5EF4-FFF2-40B4-BE49-F238E27FC236}">
                <a16:creationId xmlns:a16="http://schemas.microsoft.com/office/drawing/2014/main" id="{DD8C2ABE-87D9-4EFD-B245-F7078E0BB1A4}"/>
              </a:ext>
            </a:extLst>
          </p:cNvPr>
          <p:cNvSpPr txBox="1">
            <a:spLocks/>
          </p:cNvSpPr>
          <p:nvPr/>
        </p:nvSpPr>
        <p:spPr>
          <a:xfrm>
            <a:off x="2323772" y="2195616"/>
            <a:ext cx="7037263" cy="1139537"/>
          </a:xfrm>
          <a:prstGeom prst="rect">
            <a:avLst/>
          </a:prstGeom>
        </p:spPr>
        <p:txBody>
          <a:bodyPr lIns="149175" tIns="9324" rIns="149175" bIns="9324"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32384" fontAlgn="base">
              <a:spcAft>
                <a:spcPct val="0"/>
              </a:spcAft>
              <a:defRPr/>
            </a:pPr>
            <a:r>
              <a:rPr lang="en-US" sz="4799" spc="-102" dirty="0">
                <a:solidFill>
                  <a:srgbClr val="0078D7"/>
                </a:solidFill>
                <a:latin typeface="Segoe UI Light"/>
              </a:rPr>
              <a:t>Azure </a:t>
            </a:r>
          </a:p>
          <a:p>
            <a:pPr defTabSz="932384" fontAlgn="base">
              <a:spcAft>
                <a:spcPct val="0"/>
              </a:spcAft>
              <a:defRPr/>
            </a:pPr>
            <a:r>
              <a:rPr lang="en-US" sz="4799" spc="-102" dirty="0">
                <a:solidFill>
                  <a:srgbClr val="0078D7"/>
                </a:solidFill>
                <a:latin typeface="Segoe UI Light"/>
              </a:rPr>
              <a:t>Security Center</a:t>
            </a:r>
          </a:p>
        </p:txBody>
      </p:sp>
      <p:sp>
        <p:nvSpPr>
          <p:cNvPr id="34" name="Rectangle 33">
            <a:extLst>
              <a:ext uri="{FF2B5EF4-FFF2-40B4-BE49-F238E27FC236}">
                <a16:creationId xmlns:a16="http://schemas.microsoft.com/office/drawing/2014/main" id="{316EC6B7-3842-4ED7-84C9-FE9B4E62AB61}"/>
              </a:ext>
            </a:extLst>
          </p:cNvPr>
          <p:cNvSpPr/>
          <p:nvPr/>
        </p:nvSpPr>
        <p:spPr>
          <a:xfrm>
            <a:off x="2323773" y="3639637"/>
            <a:ext cx="4762040" cy="1443956"/>
          </a:xfrm>
          <a:prstGeom prst="rect">
            <a:avLst/>
          </a:prstGeom>
        </p:spPr>
        <p:txBody>
          <a:bodyPr wrap="square" lIns="149175">
            <a:spAutoFit/>
          </a:bodyPr>
          <a:lstStyle/>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Protection through best practices</a:t>
            </a:r>
          </a:p>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Detect threats and attacks</a:t>
            </a:r>
          </a:p>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Remediate issues</a:t>
            </a:r>
          </a:p>
        </p:txBody>
      </p:sp>
      <p:grpSp>
        <p:nvGrpSpPr>
          <p:cNvPr id="2" name="Group 1"/>
          <p:cNvGrpSpPr/>
          <p:nvPr/>
        </p:nvGrpSpPr>
        <p:grpSpPr>
          <a:xfrm>
            <a:off x="6259521" y="460920"/>
            <a:ext cx="6176073" cy="6462649"/>
            <a:chOff x="6136478" y="451924"/>
            <a:chExt cx="6055523" cy="6336506"/>
          </a:xfrm>
        </p:grpSpPr>
        <p:pic>
          <p:nvPicPr>
            <p:cNvPr id="42" name="Picture 41" descr="A screenshot of a computer&#10;&#10;Description generated with high confidence">
              <a:extLst>
                <a:ext uri="{FF2B5EF4-FFF2-40B4-BE49-F238E27FC236}">
                  <a16:creationId xmlns:a16="http://schemas.microsoft.com/office/drawing/2014/main" id="{B3FCFB3E-4F42-4D86-BF9D-9A2EE643B3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36478" y="451924"/>
              <a:ext cx="6055522" cy="6336506"/>
            </a:xfrm>
            <a:prstGeom prst="rect">
              <a:avLst/>
            </a:prstGeom>
          </p:spPr>
        </p:pic>
        <p:pic>
          <p:nvPicPr>
            <p:cNvPr id="43" name="Picture 42" descr="A screenshot of a computer&#10;&#10;Description generated with very high confidence">
              <a:extLst>
                <a:ext uri="{FF2B5EF4-FFF2-40B4-BE49-F238E27FC236}">
                  <a16:creationId xmlns:a16="http://schemas.microsoft.com/office/drawing/2014/main" id="{7F4BC64D-772A-494C-9045-9302C0F3B75A}"/>
                </a:ext>
              </a:extLst>
            </p:cNvPr>
            <p:cNvPicPr>
              <a:picLocks noChangeAspect="1"/>
            </p:cNvPicPr>
            <p:nvPr/>
          </p:nvPicPr>
          <p:blipFill rotWithShape="1">
            <a:blip r:embed="rId4"/>
            <a:srcRect r="19963" b="6321"/>
            <a:stretch/>
          </p:blipFill>
          <p:spPr>
            <a:xfrm>
              <a:off x="7100347" y="698726"/>
              <a:ext cx="5091654" cy="4307500"/>
            </a:xfrm>
            <a:prstGeom prst="rect">
              <a:avLst/>
            </a:prstGeom>
          </p:spPr>
        </p:pic>
      </p:grpSp>
    </p:spTree>
    <p:extLst>
      <p:ext uri="{BB962C8B-B14F-4D97-AF65-F5344CB8AC3E}">
        <p14:creationId xmlns:p14="http://schemas.microsoft.com/office/powerpoint/2010/main" val="3099750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600"/>
                                        <p:tgtEl>
                                          <p:spTgt spid="33"/>
                                        </p:tgtEl>
                                      </p:cBhvr>
                                    </p:animEffect>
                                  </p:childTnLst>
                                </p:cTn>
                              </p:par>
                              <p:par>
                                <p:cTn id="8" presetID="35" presetClass="path" presetSubtype="0" decel="100000" fill="hold" grpId="1" nodeType="withEffect">
                                  <p:stCondLst>
                                    <p:cond delay="0"/>
                                  </p:stCondLst>
                                  <p:childTnLst>
                                    <p:animMotion origin="layout" path="M -0.05553 0.00023 L -1.83304E-6 0.00023 " pathEditMode="relative" rAng="0" ptsTypes="AA">
                                      <p:cBhvr>
                                        <p:cTn id="9" dur="800" fill="hold"/>
                                        <p:tgtEl>
                                          <p:spTgt spid="33"/>
                                        </p:tgtEl>
                                        <p:attrNameLst>
                                          <p:attrName>ppt_x</p:attrName>
                                          <p:attrName>ppt_y</p:attrName>
                                        </p:attrNameLst>
                                      </p:cBhvr>
                                      <p:rCtr x="2770" y="0"/>
                                    </p:animMotion>
                                  </p:childTnLst>
                                </p:cTn>
                              </p:par>
                              <p:par>
                                <p:cTn id="10" presetID="10" presetClass="entr" presetSubtype="0" fill="hold" grpId="0" nodeType="with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600"/>
                                        <p:tgtEl>
                                          <p:spTgt spid="34"/>
                                        </p:tgtEl>
                                      </p:cBhvr>
                                    </p:animEffect>
                                  </p:childTnLst>
                                </p:cTn>
                              </p:par>
                              <p:par>
                                <p:cTn id="13" presetID="35" presetClass="path" presetSubtype="0" decel="100000" fill="hold" grpId="1" nodeType="withEffect">
                                  <p:stCondLst>
                                    <p:cond delay="50"/>
                                  </p:stCondLst>
                                  <p:childTnLst>
                                    <p:animMotion origin="layout" path="M -0.05553 0.00022 L 2.29257E-6 0.00022 " pathEditMode="relative" rAng="0" ptsTypes="AA">
                                      <p:cBhvr>
                                        <p:cTn id="14" dur="800" fill="hold"/>
                                        <p:tgtEl>
                                          <p:spTgt spid="34"/>
                                        </p:tgtEl>
                                        <p:attrNameLst>
                                          <p:attrName>ppt_x</p:attrName>
                                          <p:attrName>ppt_y</p:attrName>
                                        </p:attrNameLst>
                                      </p:cBhvr>
                                      <p:rCtr x="2770" y="0"/>
                                    </p:animMotion>
                                  </p:childTnLst>
                                </p:cTn>
                              </p:par>
                              <p:par>
                                <p:cTn id="15" presetID="2" presetClass="entr" presetSubtype="2"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500" fill="hold"/>
                                        <p:tgtEl>
                                          <p:spTgt spid="2"/>
                                        </p:tgtEl>
                                        <p:attrNameLst>
                                          <p:attrName>ppt_x</p:attrName>
                                        </p:attrNameLst>
                                      </p:cBhvr>
                                      <p:tavLst>
                                        <p:tav tm="0">
                                          <p:val>
                                            <p:strVal val="1+#ppt_w/2"/>
                                          </p:val>
                                        </p:tav>
                                        <p:tav tm="100000">
                                          <p:val>
                                            <p:strVal val="#ppt_x"/>
                                          </p:val>
                                        </p:tav>
                                      </p:tavLst>
                                    </p:anim>
                                    <p:anim calcmode="lin" valueType="num">
                                      <p:cBhvr additive="base">
                                        <p:cTn id="1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34" grpId="0"/>
      <p:bldP spid="34" grpId="1"/>
    </p:bld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7402D-12F8-4EA2-82BB-B8FA0DE0E698}"/>
              </a:ext>
            </a:extLst>
          </p:cNvPr>
          <p:cNvSpPr>
            <a:spLocks noGrp="1"/>
          </p:cNvSpPr>
          <p:nvPr>
            <p:ph type="title"/>
          </p:nvPr>
        </p:nvSpPr>
        <p:spPr/>
        <p:txBody>
          <a:bodyPr/>
          <a:lstStyle/>
          <a:p>
            <a:r>
              <a:rPr lang="en-US" dirty="0"/>
              <a:t>Azure Security Center</a:t>
            </a:r>
          </a:p>
        </p:txBody>
      </p:sp>
      <p:sp>
        <p:nvSpPr>
          <p:cNvPr id="3" name="Text Placeholder 2">
            <a:extLst>
              <a:ext uri="{FF2B5EF4-FFF2-40B4-BE49-F238E27FC236}">
                <a16:creationId xmlns:a16="http://schemas.microsoft.com/office/drawing/2014/main" id="{BBE72556-E4B9-489E-BC2B-48BD13716D0A}"/>
              </a:ext>
            </a:extLst>
          </p:cNvPr>
          <p:cNvSpPr>
            <a:spLocks noGrp="1"/>
          </p:cNvSpPr>
          <p:nvPr>
            <p:ph type="body" sz="quarter" idx="10"/>
          </p:nvPr>
        </p:nvSpPr>
        <p:spPr>
          <a:xfrm>
            <a:off x="274638" y="1212850"/>
            <a:ext cx="11888787" cy="5133713"/>
          </a:xfrm>
        </p:spPr>
        <p:txBody>
          <a:bodyPr/>
          <a:lstStyle/>
          <a:p>
            <a:pPr marL="571500" indent="-571500">
              <a:buFont typeface="Arial" panose="020B0604020202020204" pitchFamily="34" charset="0"/>
              <a:buChar char="•"/>
            </a:pPr>
            <a:r>
              <a:rPr lang="en-US" sz="2800" dirty="0">
                <a:latin typeface="+mn-lt"/>
              </a:rPr>
              <a:t>Azure Security Center is now </a:t>
            </a:r>
            <a:r>
              <a:rPr lang="en-US" sz="2800" dirty="0">
                <a:solidFill>
                  <a:schemeClr val="tx1"/>
                </a:solidFill>
                <a:latin typeface="+mn-lt"/>
              </a:rPr>
              <a:t>hybrid</a:t>
            </a:r>
            <a:r>
              <a:rPr lang="en-US" sz="2800" dirty="0">
                <a:latin typeface="+mn-lt"/>
              </a:rPr>
              <a:t>, can now be used to secure workloads running on-premises and in other clouds</a:t>
            </a:r>
          </a:p>
          <a:p>
            <a:pPr marL="571500" indent="-571500">
              <a:buFont typeface="Arial" panose="020B0604020202020204" pitchFamily="34" charset="0"/>
              <a:buChar char="•"/>
            </a:pPr>
            <a:r>
              <a:rPr lang="en-US" sz="2800" dirty="0">
                <a:latin typeface="+mn-lt"/>
              </a:rPr>
              <a:t>Block and detect threats on cloud and on-premise-unifying security management across environments </a:t>
            </a:r>
          </a:p>
          <a:p>
            <a:pPr marL="571500" indent="-571500">
              <a:buFont typeface="Arial" panose="020B0604020202020204" pitchFamily="34" charset="0"/>
              <a:buChar char="•"/>
            </a:pPr>
            <a:r>
              <a:rPr lang="en-US" sz="2800" dirty="0">
                <a:latin typeface="+mn-lt"/>
              </a:rPr>
              <a:t>Operations Management Suite (OMS) Security &amp; Compliance customers:</a:t>
            </a:r>
          </a:p>
          <a:p>
            <a:pPr marL="800100" lvl="1" indent="-571500">
              <a:buFont typeface="Arial" panose="020B0604020202020204" pitchFamily="34" charset="0"/>
              <a:buChar char="•"/>
            </a:pPr>
            <a:r>
              <a:rPr lang="en-US" sz="2000" dirty="0">
                <a:latin typeface="+mn-lt"/>
              </a:rPr>
              <a:t>connected computers will be automatically discovered and monitored by Security Center</a:t>
            </a:r>
          </a:p>
          <a:p>
            <a:pPr marL="571500" indent="-571500">
              <a:buFont typeface="Arial" panose="020B0604020202020204" pitchFamily="34" charset="0"/>
              <a:buChar char="•"/>
            </a:pPr>
            <a:r>
              <a:rPr lang="en-US" sz="2800" dirty="0">
                <a:latin typeface="+mn-lt"/>
              </a:rPr>
              <a:t>New updates</a:t>
            </a:r>
          </a:p>
          <a:p>
            <a:pPr marL="800100" lvl="1" indent="-571500">
              <a:buFont typeface="Arial" panose="020B0604020202020204" pitchFamily="34" charset="0"/>
              <a:buChar char="•"/>
            </a:pPr>
            <a:r>
              <a:rPr lang="en-US" dirty="0"/>
              <a:t>Defend against threats and respond quickly, including Just in Time (JIT) access, dynamic app whitelisting, :drill down into an attack end to end with interactive investigation paths and mapping.</a:t>
            </a:r>
          </a:p>
          <a:p>
            <a:pPr marL="800100" lvl="1" indent="-571500">
              <a:buFont typeface="Arial" panose="020B0604020202020204" pitchFamily="34" charset="0"/>
              <a:buChar char="•"/>
            </a:pPr>
            <a:r>
              <a:rPr lang="en-US" dirty="0"/>
              <a:t>Provides intelligent threat protection using analytics and the Microsoft Intelligent Security Graph</a:t>
            </a:r>
          </a:p>
          <a:p>
            <a:pPr marL="571500"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4078616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a:t>Application &amp; Platform Services</a:t>
            </a:r>
          </a:p>
        </p:txBody>
      </p:sp>
      <p:pic>
        <p:nvPicPr>
          <p:cNvPr id="9" name="Picture Placeholder 8">
            <a:extLst>
              <a:ext uri="{FF2B5EF4-FFF2-40B4-BE49-F238E27FC236}">
                <a16:creationId xmlns:a16="http://schemas.microsoft.com/office/drawing/2014/main" id="{32CFCDFB-473D-411B-9141-D7D13036608F}"/>
              </a:ext>
            </a:extLst>
          </p:cNvPr>
          <p:cNvPicPr>
            <a:picLocks noGrp="1" noChangeAspect="1"/>
          </p:cNvPicPr>
          <p:nvPr>
            <p:ph type="pic" sz="quarter" idx="10"/>
          </p:nvPr>
        </p:nvPicPr>
        <p:blipFill>
          <a:blip r:embed="rId3"/>
          <a:srcRect l="25043" r="25043"/>
          <a:stretch>
            <a:fillRect/>
          </a:stretch>
        </p:blipFill>
        <p:spPr/>
      </p:pic>
      <p:pic>
        <p:nvPicPr>
          <p:cNvPr id="10" name="Picture Placeholder 5">
            <a:extLst>
              <a:ext uri="{FF2B5EF4-FFF2-40B4-BE49-F238E27FC236}">
                <a16:creationId xmlns:a16="http://schemas.microsoft.com/office/drawing/2014/main" id="{D0F767A8-C1E6-4C2C-8C84-5EECF85BF7EA}"/>
              </a:ext>
            </a:extLst>
          </p:cNvPr>
          <p:cNvPicPr>
            <a:picLocks noChangeAspect="1"/>
          </p:cNvPicPr>
          <p:nvPr/>
        </p:nvPicPr>
        <p:blipFill>
          <a:blip r:embed="rId4"/>
          <a:srcRect l="20358" r="20358"/>
          <a:stretch>
            <a:fillRect/>
          </a:stretch>
        </p:blipFill>
        <p:spPr bwMode="ltGray">
          <a:xfrm>
            <a:off x="6225343" y="-1"/>
            <a:ext cx="6216650" cy="6992587"/>
          </a:xfrm>
          <a:prstGeom prst="rect">
            <a:avLst/>
          </a:prstGeom>
          <a:blipFill>
            <a:blip r:embed="rId5"/>
            <a:stretch>
              <a:fillRect/>
            </a:stretch>
          </a:blipFill>
        </p:spPr>
      </p:pic>
    </p:spTree>
    <p:extLst>
      <p:ext uri="{BB962C8B-B14F-4D97-AF65-F5344CB8AC3E}">
        <p14:creationId xmlns:p14="http://schemas.microsoft.com/office/powerpoint/2010/main" val="54160495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6749517" y="497"/>
            <a:ext cx="5686077" cy="699353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 name="Title 1"/>
          <p:cNvSpPr>
            <a:spLocks noGrp="1"/>
          </p:cNvSpPr>
          <p:nvPr>
            <p:ph type="title"/>
          </p:nvPr>
        </p:nvSpPr>
        <p:spPr>
          <a:xfrm>
            <a:off x="275482" y="295730"/>
            <a:ext cx="5907483" cy="1033507"/>
          </a:xfrm>
        </p:spPr>
        <p:txBody>
          <a:bodyPr/>
          <a:lstStyle/>
          <a:p>
            <a:pPr lvl="0"/>
            <a:r>
              <a:rPr lang="en-US" kern="0" spc="0">
                <a:ln>
                  <a:noFill/>
                </a:ln>
                <a:solidFill>
                  <a:schemeClr val="tx1"/>
                </a:solidFill>
                <a:ea typeface="Segoe UI" pitchFamily="34" charset="0"/>
              </a:rPr>
              <a:t>Balance of responsibility </a:t>
            </a:r>
            <a:endParaRPr lang="en-US" sz="4399"/>
          </a:p>
        </p:txBody>
      </p:sp>
      <p:sp>
        <p:nvSpPr>
          <p:cNvPr id="4" name="TextBox 3"/>
          <p:cNvSpPr txBox="1"/>
          <p:nvPr/>
        </p:nvSpPr>
        <p:spPr>
          <a:xfrm>
            <a:off x="275482" y="1987030"/>
            <a:ext cx="5907483" cy="4122036"/>
          </a:xfrm>
          <a:prstGeom prst="rect">
            <a:avLst/>
          </a:prstGeom>
          <a:noFill/>
        </p:spPr>
        <p:txBody>
          <a:bodyPr wrap="square" lIns="186494" tIns="149196" rIns="186494" bIns="149196" rtlCol="0">
            <a:spAutoFit/>
          </a:bodyPr>
          <a:lstStyle/>
          <a:p>
            <a:pPr defTabSz="914224">
              <a:lnSpc>
                <a:spcPct val="90000"/>
              </a:lnSpc>
              <a:spcAft>
                <a:spcPts val="612"/>
              </a:spcAft>
            </a:pPr>
            <a:r>
              <a:rPr lang="en-US" sz="2448" kern="0">
                <a:solidFill>
                  <a:schemeClr val="bg2">
                    <a:lumMod val="20000"/>
                    <a:lumOff val="80000"/>
                  </a:schemeClr>
                </a:solidFill>
              </a:rPr>
              <a:t>Balance of control and responsibility depends on the category of the service</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MOVE-IN READY</a:t>
            </a:r>
          </a:p>
          <a:p>
            <a:pPr defTabSz="914224">
              <a:lnSpc>
                <a:spcPct val="90000"/>
              </a:lnSpc>
              <a:spcAft>
                <a:spcPts val="612"/>
              </a:spcAft>
            </a:pPr>
            <a:r>
              <a:rPr lang="en-US" sz="1873" kern="0">
                <a:solidFill>
                  <a:schemeClr val="bg2">
                    <a:lumMod val="20000"/>
                    <a:lumOff val="80000"/>
                  </a:schemeClr>
                </a:solidFill>
              </a:rPr>
              <a:t>Use immediately with minimal configuration</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SOME ASSEMBLY REQUIRED</a:t>
            </a:r>
          </a:p>
          <a:p>
            <a:pPr defTabSz="914224">
              <a:lnSpc>
                <a:spcPct val="90000"/>
              </a:lnSpc>
              <a:spcAft>
                <a:spcPts val="612"/>
              </a:spcAft>
            </a:pPr>
            <a:r>
              <a:rPr lang="en-US" sz="1873" kern="0">
                <a:solidFill>
                  <a:schemeClr val="bg2">
                    <a:lumMod val="20000"/>
                    <a:lumOff val="80000"/>
                  </a:schemeClr>
                </a:solidFill>
              </a:rPr>
              <a:t>Existing services are a starting point, with additional configuration for a custom fit</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BUILD FROM THE GROUND UP</a:t>
            </a:r>
          </a:p>
          <a:p>
            <a:pPr defTabSz="914224">
              <a:lnSpc>
                <a:spcPct val="90000"/>
              </a:lnSpc>
              <a:spcAft>
                <a:spcPts val="612"/>
              </a:spcAft>
            </a:pPr>
            <a:r>
              <a:rPr lang="en-US" sz="1873" kern="0">
                <a:solidFill>
                  <a:schemeClr val="bg2">
                    <a:lumMod val="20000"/>
                    <a:lumOff val="80000"/>
                  </a:schemeClr>
                </a:solidFill>
              </a:rPr>
              <a:t>Building blocks, create your own solution or apps from scratch</a:t>
            </a:r>
          </a:p>
        </p:txBody>
      </p:sp>
      <p:graphicFrame>
        <p:nvGraphicFramePr>
          <p:cNvPr id="6" name="Table 5"/>
          <p:cNvGraphicFramePr>
            <a:graphicFrameLocks noGrp="1"/>
          </p:cNvGraphicFramePr>
          <p:nvPr>
            <p:extLst/>
          </p:nvPr>
        </p:nvGraphicFramePr>
        <p:xfrm>
          <a:off x="7066294" y="544643"/>
          <a:ext cx="5043354" cy="5238231"/>
        </p:xfrm>
        <a:graphic>
          <a:graphicData uri="http://schemas.openxmlformats.org/drawingml/2006/table">
            <a:tbl>
              <a:tblPr firstRow="1" bandRow="1">
                <a:tableStyleId>{5940675A-B579-460E-94D1-54222C63F5DA}</a:tableStyleId>
              </a:tblPr>
              <a:tblGrid>
                <a:gridCol w="1864885">
                  <a:extLst>
                    <a:ext uri="{9D8B030D-6E8A-4147-A177-3AD203B41FA5}">
                      <a16:colId xmlns:a16="http://schemas.microsoft.com/office/drawing/2014/main" val="2544153837"/>
                    </a:ext>
                  </a:extLst>
                </a:gridCol>
                <a:gridCol w="923505">
                  <a:extLst>
                    <a:ext uri="{9D8B030D-6E8A-4147-A177-3AD203B41FA5}">
                      <a16:colId xmlns:a16="http://schemas.microsoft.com/office/drawing/2014/main" val="3937659814"/>
                    </a:ext>
                  </a:extLst>
                </a:gridCol>
                <a:gridCol w="655689">
                  <a:extLst>
                    <a:ext uri="{9D8B030D-6E8A-4147-A177-3AD203B41FA5}">
                      <a16:colId xmlns:a16="http://schemas.microsoft.com/office/drawing/2014/main" val="2750310453"/>
                    </a:ext>
                  </a:extLst>
                </a:gridCol>
                <a:gridCol w="729569">
                  <a:extLst>
                    <a:ext uri="{9D8B030D-6E8A-4147-A177-3AD203B41FA5}">
                      <a16:colId xmlns:a16="http://schemas.microsoft.com/office/drawing/2014/main" val="1063817949"/>
                    </a:ext>
                  </a:extLst>
                </a:gridCol>
                <a:gridCol w="869706">
                  <a:extLst>
                    <a:ext uri="{9D8B030D-6E8A-4147-A177-3AD203B41FA5}">
                      <a16:colId xmlns:a16="http://schemas.microsoft.com/office/drawing/2014/main" val="449148099"/>
                    </a:ext>
                  </a:extLst>
                </a:gridCol>
              </a:tblGrid>
              <a:tr h="366576">
                <a:tc>
                  <a:txBody>
                    <a:bodyPr/>
                    <a:lstStyle/>
                    <a:p>
                      <a:r>
                        <a:rPr lang="en-US" sz="1600" b="0">
                          <a:solidFill>
                            <a:schemeClr val="bg1"/>
                          </a:solidFill>
                          <a:latin typeface="Segoe UI Semibold" panose="020B0702040204020203" pitchFamily="34" charset="0"/>
                          <a:cs typeface="Segoe UI Semibold" panose="020B0702040204020203" pitchFamily="34" charset="0"/>
                        </a:rPr>
                        <a:t>Responsibility</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 </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I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P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S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45694766"/>
                  </a:ext>
                </a:extLst>
              </a:tr>
              <a:tr h="541295">
                <a:tc>
                  <a:txBody>
                    <a:bodyPr/>
                    <a:lstStyle/>
                    <a:p>
                      <a:r>
                        <a:rPr lang="en-US" sz="1600">
                          <a:solidFill>
                            <a:schemeClr val="bg1"/>
                          </a:solidFill>
                        </a:rPr>
                        <a:t>Applications</a:t>
                      </a:r>
                    </a:p>
                  </a:txBody>
                  <a:tcPr marL="91427" marR="91427" marT="45713" marB="45713" anchor="b">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975920690"/>
                  </a:ext>
                </a:extLst>
              </a:tr>
              <a:tr h="541295">
                <a:tc>
                  <a:txBody>
                    <a:bodyPr/>
                    <a:lstStyle/>
                    <a:p>
                      <a:r>
                        <a:rPr lang="en-US" sz="1600">
                          <a:solidFill>
                            <a:schemeClr val="bg1"/>
                          </a:solidFill>
                        </a:rPr>
                        <a:t>Data</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958753268"/>
                  </a:ext>
                </a:extLst>
              </a:tr>
              <a:tr h="541295">
                <a:tc>
                  <a:txBody>
                    <a:bodyPr/>
                    <a:lstStyle/>
                    <a:p>
                      <a:r>
                        <a:rPr lang="en-US" sz="1600">
                          <a:solidFill>
                            <a:schemeClr val="bg1"/>
                          </a:solidFill>
                        </a:rPr>
                        <a:t>Runtim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1033960191"/>
                  </a:ext>
                </a:extLst>
              </a:tr>
              <a:tr h="541295">
                <a:tc>
                  <a:txBody>
                    <a:bodyPr/>
                    <a:lstStyle/>
                    <a:p>
                      <a:r>
                        <a:rPr lang="en-US" sz="1600">
                          <a:solidFill>
                            <a:schemeClr val="bg1"/>
                          </a:solidFill>
                        </a:rPr>
                        <a:t>Middlewar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876098919"/>
                  </a:ext>
                </a:extLst>
              </a:tr>
              <a:tr h="541295">
                <a:tc>
                  <a:txBody>
                    <a:bodyPr/>
                    <a:lstStyle/>
                    <a:p>
                      <a:r>
                        <a:rPr lang="en-US" sz="1600">
                          <a:solidFill>
                            <a:schemeClr val="bg1"/>
                          </a:solidFill>
                        </a:rPr>
                        <a:t>O/S</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899666371"/>
                  </a:ext>
                </a:extLst>
              </a:tr>
              <a:tr h="541295">
                <a:tc>
                  <a:txBody>
                    <a:bodyPr/>
                    <a:lstStyle/>
                    <a:p>
                      <a:r>
                        <a:rPr lang="en-US" sz="1600">
                          <a:solidFill>
                            <a:schemeClr val="bg1"/>
                          </a:solidFill>
                        </a:rPr>
                        <a:t>Virtualization</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337277180"/>
                  </a:ext>
                </a:extLst>
              </a:tr>
              <a:tr h="541295">
                <a:tc>
                  <a:txBody>
                    <a:bodyPr/>
                    <a:lstStyle/>
                    <a:p>
                      <a:r>
                        <a:rPr lang="en-US" sz="1600">
                          <a:solidFill>
                            <a:schemeClr val="bg1"/>
                          </a:solidFill>
                        </a:rPr>
                        <a:t>Servers</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943673154"/>
                  </a:ext>
                </a:extLst>
              </a:tr>
              <a:tr h="541295">
                <a:tc>
                  <a:txBody>
                    <a:bodyPr/>
                    <a:lstStyle/>
                    <a:p>
                      <a:r>
                        <a:rPr lang="en-US" sz="1600">
                          <a:solidFill>
                            <a:schemeClr val="bg1"/>
                          </a:solidFill>
                        </a:rPr>
                        <a:t>Storag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802216785"/>
                  </a:ext>
                </a:extLst>
              </a:tr>
              <a:tr h="541295">
                <a:tc>
                  <a:txBody>
                    <a:bodyPr/>
                    <a:lstStyle/>
                    <a:p>
                      <a:r>
                        <a:rPr lang="en-US" sz="1600">
                          <a:solidFill>
                            <a:schemeClr val="bg1"/>
                          </a:solidFill>
                        </a:rPr>
                        <a:t>Networking</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384714135"/>
                  </a:ext>
                </a:extLst>
              </a:tr>
            </a:tbl>
          </a:graphicData>
        </a:graphic>
      </p:graphicFrame>
      <p:grpSp>
        <p:nvGrpSpPr>
          <p:cNvPr id="49" name="Group 48"/>
          <p:cNvGrpSpPr/>
          <p:nvPr/>
        </p:nvGrpSpPr>
        <p:grpSpPr>
          <a:xfrm>
            <a:off x="11281497" y="1099059"/>
            <a:ext cx="457136" cy="4733336"/>
            <a:chOff x="9027714" y="1049587"/>
            <a:chExt cx="457201" cy="4734008"/>
          </a:xfrm>
          <a:solidFill>
            <a:srgbClr val="0078D7"/>
          </a:solidFill>
        </p:grpSpPr>
        <p:sp>
          <p:nvSpPr>
            <p:cNvPr id="7" name="Rectangle 6"/>
            <p:cNvSpPr/>
            <p:nvPr/>
          </p:nvSpPr>
          <p:spPr bwMode="auto">
            <a:xfrm>
              <a:off x="9027715" y="104958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2" name="Rectangle 11"/>
            <p:cNvSpPr/>
            <p:nvPr/>
          </p:nvSpPr>
          <p:spPr bwMode="auto">
            <a:xfrm>
              <a:off x="9027715" y="1584188"/>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6" name="Rectangle 15"/>
            <p:cNvSpPr/>
            <p:nvPr/>
          </p:nvSpPr>
          <p:spPr bwMode="auto">
            <a:xfrm>
              <a:off x="9027715" y="211878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0" name="Rectangle 19"/>
            <p:cNvSpPr/>
            <p:nvPr/>
          </p:nvSpPr>
          <p:spPr bwMode="auto">
            <a:xfrm>
              <a:off x="9027715" y="2653390"/>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4" name="Rectangle 23"/>
            <p:cNvSpPr/>
            <p:nvPr/>
          </p:nvSpPr>
          <p:spPr bwMode="auto">
            <a:xfrm>
              <a:off x="9027715" y="318799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8" name="Rectangle 27"/>
            <p:cNvSpPr/>
            <p:nvPr/>
          </p:nvSpPr>
          <p:spPr bwMode="auto">
            <a:xfrm>
              <a:off x="9027715" y="3722592"/>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2" name="Rectangle 31"/>
            <p:cNvSpPr/>
            <p:nvPr/>
          </p:nvSpPr>
          <p:spPr bwMode="auto">
            <a:xfrm>
              <a:off x="9027715" y="4257193"/>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6" name="Rectangle 35"/>
            <p:cNvSpPr/>
            <p:nvPr/>
          </p:nvSpPr>
          <p:spPr bwMode="auto">
            <a:xfrm>
              <a:off x="9027715" y="4791794"/>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0" name="Rectangle 39"/>
            <p:cNvSpPr/>
            <p:nvPr/>
          </p:nvSpPr>
          <p:spPr bwMode="auto">
            <a:xfrm>
              <a:off x="9027714" y="5326395"/>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50" name="Group 49"/>
          <p:cNvGrpSpPr/>
          <p:nvPr/>
        </p:nvGrpSpPr>
        <p:grpSpPr>
          <a:xfrm>
            <a:off x="10594741" y="1099059"/>
            <a:ext cx="457135" cy="4733336"/>
            <a:chOff x="9691654" y="1049587"/>
            <a:chExt cx="457200" cy="4734008"/>
          </a:xfrm>
        </p:grpSpPr>
        <p:sp>
          <p:nvSpPr>
            <p:cNvPr id="8" name="Rectangle 7"/>
            <p:cNvSpPr/>
            <p:nvPr/>
          </p:nvSpPr>
          <p:spPr bwMode="auto">
            <a:xfrm>
              <a:off x="9691654" y="1049587"/>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3" name="Rectangle 12"/>
            <p:cNvSpPr/>
            <p:nvPr/>
          </p:nvSpPr>
          <p:spPr bwMode="auto">
            <a:xfrm>
              <a:off x="9691654" y="1584188"/>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7" name="Rectangle 16"/>
            <p:cNvSpPr/>
            <p:nvPr/>
          </p:nvSpPr>
          <p:spPr bwMode="auto">
            <a:xfrm>
              <a:off x="9691654" y="211878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1" name="Rectangle 20"/>
            <p:cNvSpPr/>
            <p:nvPr/>
          </p:nvSpPr>
          <p:spPr bwMode="auto">
            <a:xfrm>
              <a:off x="9691654" y="265339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5" name="Rectangle 24"/>
            <p:cNvSpPr/>
            <p:nvPr/>
          </p:nvSpPr>
          <p:spPr bwMode="auto">
            <a:xfrm>
              <a:off x="9691654" y="31879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9" name="Rectangle 28"/>
            <p:cNvSpPr/>
            <p:nvPr/>
          </p:nvSpPr>
          <p:spPr bwMode="auto">
            <a:xfrm>
              <a:off x="9691654" y="3722592"/>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3" name="Rectangle 32"/>
            <p:cNvSpPr/>
            <p:nvPr/>
          </p:nvSpPr>
          <p:spPr bwMode="auto">
            <a:xfrm>
              <a:off x="9691654" y="425719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7" name="Rectangle 36"/>
            <p:cNvSpPr/>
            <p:nvPr/>
          </p:nvSpPr>
          <p:spPr bwMode="auto">
            <a:xfrm>
              <a:off x="9691654" y="4791794"/>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1" name="Rectangle 40"/>
            <p:cNvSpPr/>
            <p:nvPr/>
          </p:nvSpPr>
          <p:spPr bwMode="auto">
            <a:xfrm>
              <a:off x="9691654" y="53263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61" name="Group 60"/>
          <p:cNvGrpSpPr/>
          <p:nvPr/>
        </p:nvGrpSpPr>
        <p:grpSpPr>
          <a:xfrm>
            <a:off x="9899412" y="1099060"/>
            <a:ext cx="457136" cy="4732942"/>
            <a:chOff x="10608689" y="1049587"/>
            <a:chExt cx="457200" cy="4733613"/>
          </a:xfrm>
        </p:grpSpPr>
        <p:sp>
          <p:nvSpPr>
            <p:cNvPr id="9" name="Rectangle 8"/>
            <p:cNvSpPr/>
            <p:nvPr/>
          </p:nvSpPr>
          <p:spPr bwMode="auto">
            <a:xfrm>
              <a:off x="10608689" y="1049587"/>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4" name="Rectangle 13"/>
            <p:cNvSpPr/>
            <p:nvPr/>
          </p:nvSpPr>
          <p:spPr bwMode="auto">
            <a:xfrm>
              <a:off x="10608689" y="1584139"/>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8" name="Rectangle 17"/>
            <p:cNvSpPr/>
            <p:nvPr/>
          </p:nvSpPr>
          <p:spPr bwMode="auto">
            <a:xfrm>
              <a:off x="10608689" y="2118691"/>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2" name="Rectangle 21"/>
            <p:cNvSpPr/>
            <p:nvPr/>
          </p:nvSpPr>
          <p:spPr bwMode="auto">
            <a:xfrm>
              <a:off x="10608689" y="2653243"/>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6" name="Rectangle 25"/>
            <p:cNvSpPr/>
            <p:nvPr/>
          </p:nvSpPr>
          <p:spPr bwMode="auto">
            <a:xfrm>
              <a:off x="10608689" y="3187795"/>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0" name="Rectangle 29"/>
            <p:cNvSpPr/>
            <p:nvPr/>
          </p:nvSpPr>
          <p:spPr bwMode="auto">
            <a:xfrm>
              <a:off x="10608689" y="372234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4" name="Rectangle 33"/>
            <p:cNvSpPr/>
            <p:nvPr/>
          </p:nvSpPr>
          <p:spPr bwMode="auto">
            <a:xfrm>
              <a:off x="10608689" y="425689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8" name="Rectangle 37"/>
            <p:cNvSpPr/>
            <p:nvPr/>
          </p:nvSpPr>
          <p:spPr bwMode="auto">
            <a:xfrm>
              <a:off x="10608689" y="479145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2" name="Rectangle 41"/>
            <p:cNvSpPr/>
            <p:nvPr/>
          </p:nvSpPr>
          <p:spPr bwMode="auto">
            <a:xfrm>
              <a:off x="10608689" y="532600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59" name="Group 58"/>
          <p:cNvGrpSpPr/>
          <p:nvPr/>
        </p:nvGrpSpPr>
        <p:grpSpPr>
          <a:xfrm>
            <a:off x="10652119" y="6083101"/>
            <a:ext cx="1420855" cy="521303"/>
            <a:chOff x="9205950" y="5966176"/>
            <a:chExt cx="1421057" cy="521377"/>
          </a:xfrm>
        </p:grpSpPr>
        <p:sp>
          <p:nvSpPr>
            <p:cNvPr id="54" name="Rectangle 53"/>
            <p:cNvSpPr/>
            <p:nvPr/>
          </p:nvSpPr>
          <p:spPr bwMode="auto">
            <a:xfrm>
              <a:off x="9205950" y="6071863"/>
              <a:ext cx="274320" cy="27432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5" name="TextBox 54"/>
            <p:cNvSpPr txBox="1"/>
            <p:nvPr/>
          </p:nvSpPr>
          <p:spPr>
            <a:xfrm>
              <a:off x="9381237" y="5966176"/>
              <a:ext cx="1245770" cy="521377"/>
            </a:xfrm>
            <a:prstGeom prst="rect">
              <a:avLst/>
            </a:prstGeom>
            <a:noFill/>
          </p:spPr>
          <p:txBody>
            <a:bodyPr wrap="none" lIns="182854" tIns="146283" rIns="182854" bIns="146283" rtlCol="0">
              <a:spAutoFit/>
            </a:bodyPr>
            <a:lstStyle/>
            <a:p>
              <a:pPr defTabSz="914224">
                <a:lnSpc>
                  <a:spcPct val="90000"/>
                </a:lnSpc>
                <a:spcAft>
                  <a:spcPts val="600"/>
                </a:spcAft>
              </a:pPr>
              <a:r>
                <a:rPr lang="en-US" sz="1599" kern="0">
                  <a:solidFill>
                    <a:schemeClr val="bg1"/>
                  </a:solidFill>
                </a:rPr>
                <a:t>Microsoft</a:t>
              </a:r>
            </a:p>
          </p:txBody>
        </p:sp>
      </p:grpSp>
      <p:grpSp>
        <p:nvGrpSpPr>
          <p:cNvPr id="58" name="Group 57"/>
          <p:cNvGrpSpPr/>
          <p:nvPr/>
        </p:nvGrpSpPr>
        <p:grpSpPr>
          <a:xfrm>
            <a:off x="8908187" y="6083101"/>
            <a:ext cx="1406468" cy="521303"/>
            <a:chOff x="10595131" y="5966176"/>
            <a:chExt cx="1406667" cy="521377"/>
          </a:xfrm>
        </p:grpSpPr>
        <p:sp>
          <p:nvSpPr>
            <p:cNvPr id="56" name="Rectangle 55"/>
            <p:cNvSpPr/>
            <p:nvPr/>
          </p:nvSpPr>
          <p:spPr bwMode="auto">
            <a:xfrm>
              <a:off x="10595131" y="6071862"/>
              <a:ext cx="274320" cy="27432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7" name="TextBox 56"/>
            <p:cNvSpPr txBox="1"/>
            <p:nvPr/>
          </p:nvSpPr>
          <p:spPr>
            <a:xfrm>
              <a:off x="10742947" y="5966176"/>
              <a:ext cx="1258851" cy="521377"/>
            </a:xfrm>
            <a:prstGeom prst="rect">
              <a:avLst/>
            </a:prstGeom>
            <a:noFill/>
          </p:spPr>
          <p:txBody>
            <a:bodyPr wrap="none" lIns="182854" tIns="146283" rIns="182854" bIns="146283" rtlCol="0">
              <a:spAutoFit/>
            </a:bodyPr>
            <a:lstStyle/>
            <a:p>
              <a:pPr defTabSz="914224">
                <a:lnSpc>
                  <a:spcPct val="90000"/>
                </a:lnSpc>
                <a:spcAft>
                  <a:spcPts val="600"/>
                </a:spcAft>
              </a:pPr>
              <a:r>
                <a:rPr lang="en-US" sz="1599" kern="0">
                  <a:solidFill>
                    <a:schemeClr val="bg1"/>
                  </a:solidFill>
                </a:rPr>
                <a:t>Customer</a:t>
              </a:r>
            </a:p>
          </p:txBody>
        </p:sp>
      </p:grpSp>
      <p:grpSp>
        <p:nvGrpSpPr>
          <p:cNvPr id="44" name="Group 43"/>
          <p:cNvGrpSpPr/>
          <p:nvPr/>
        </p:nvGrpSpPr>
        <p:grpSpPr>
          <a:xfrm>
            <a:off x="12802656" y="6242766"/>
            <a:ext cx="457135" cy="458431"/>
            <a:chOff x="7976278" y="6226405"/>
            <a:chExt cx="457200" cy="458496"/>
          </a:xfrm>
        </p:grpSpPr>
        <p:sp>
          <p:nvSpPr>
            <p:cNvPr id="52" name="Rectangle 51"/>
            <p:cNvSpPr/>
            <p:nvPr/>
          </p:nvSpPr>
          <p:spPr bwMode="auto">
            <a:xfrm>
              <a:off x="7976278" y="622770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 name="Isosceles Triangle 4"/>
            <p:cNvSpPr/>
            <p:nvPr/>
          </p:nvSpPr>
          <p:spPr bwMode="auto">
            <a:xfrm>
              <a:off x="7976278" y="6226405"/>
              <a:ext cx="457200" cy="457200"/>
            </a:xfrm>
            <a:prstGeom prst="triangle">
              <a:avLst>
                <a:gd name="adj" fmla="val 0"/>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11" name="Group 10">
            <a:extLst>
              <a:ext uri="{FF2B5EF4-FFF2-40B4-BE49-F238E27FC236}">
                <a16:creationId xmlns:a16="http://schemas.microsoft.com/office/drawing/2014/main" id="{FFE37EC7-A9E2-4CA2-9F31-9E1A476BD6DC}"/>
              </a:ext>
            </a:extLst>
          </p:cNvPr>
          <p:cNvGrpSpPr/>
          <p:nvPr/>
        </p:nvGrpSpPr>
        <p:grpSpPr>
          <a:xfrm>
            <a:off x="9006482" y="251037"/>
            <a:ext cx="818113" cy="5580964"/>
            <a:chOff x="8829822" y="361748"/>
            <a:chExt cx="802144" cy="5472030"/>
          </a:xfrm>
        </p:grpSpPr>
        <p:grpSp>
          <p:nvGrpSpPr>
            <p:cNvPr id="60" name="Group 59"/>
            <p:cNvGrpSpPr/>
            <p:nvPr/>
          </p:nvGrpSpPr>
          <p:grpSpPr>
            <a:xfrm>
              <a:off x="9009434" y="1193218"/>
              <a:ext cx="448212" cy="4640560"/>
              <a:chOff x="11310059" y="1049587"/>
              <a:chExt cx="457200" cy="4733613"/>
            </a:xfrm>
            <a:solidFill>
              <a:srgbClr val="BAD80A"/>
            </a:solidFill>
          </p:grpSpPr>
          <p:sp>
            <p:nvSpPr>
              <p:cNvPr id="10" name="Rectangle 9"/>
              <p:cNvSpPr/>
              <p:nvPr/>
            </p:nvSpPr>
            <p:spPr bwMode="auto">
              <a:xfrm>
                <a:off x="11310059" y="104958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5" name="Rectangle 14"/>
              <p:cNvSpPr/>
              <p:nvPr/>
            </p:nvSpPr>
            <p:spPr bwMode="auto">
              <a:xfrm>
                <a:off x="11310059" y="158413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9" name="Rectangle 18"/>
              <p:cNvSpPr/>
              <p:nvPr/>
            </p:nvSpPr>
            <p:spPr bwMode="auto">
              <a:xfrm>
                <a:off x="11310059" y="211869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3" name="Rectangle 22"/>
              <p:cNvSpPr/>
              <p:nvPr/>
            </p:nvSpPr>
            <p:spPr bwMode="auto">
              <a:xfrm>
                <a:off x="11310059" y="2653243"/>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7" name="Rectangle 26"/>
              <p:cNvSpPr/>
              <p:nvPr/>
            </p:nvSpPr>
            <p:spPr bwMode="auto">
              <a:xfrm>
                <a:off x="11310059" y="3187795"/>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1" name="Rectangle 30"/>
              <p:cNvSpPr/>
              <p:nvPr/>
            </p:nvSpPr>
            <p:spPr bwMode="auto">
              <a:xfrm>
                <a:off x="11310059" y="372234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5" name="Rectangle 34"/>
              <p:cNvSpPr/>
              <p:nvPr/>
            </p:nvSpPr>
            <p:spPr bwMode="auto">
              <a:xfrm>
                <a:off x="11310059" y="425689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9" name="Rectangle 38"/>
              <p:cNvSpPr/>
              <p:nvPr/>
            </p:nvSpPr>
            <p:spPr bwMode="auto">
              <a:xfrm>
                <a:off x="11310059" y="479145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3" name="Rectangle 42"/>
              <p:cNvSpPr/>
              <p:nvPr/>
            </p:nvSpPr>
            <p:spPr bwMode="auto">
              <a:xfrm>
                <a:off x="11310059" y="5326000"/>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sp>
          <p:nvSpPr>
            <p:cNvPr id="3" name="TextBox 2">
              <a:extLst>
                <a:ext uri="{FF2B5EF4-FFF2-40B4-BE49-F238E27FC236}">
                  <a16:creationId xmlns:a16="http://schemas.microsoft.com/office/drawing/2014/main" id="{ADEDDBB4-3AF9-4612-9164-E43A2C9987C2}"/>
                </a:ext>
              </a:extLst>
            </p:cNvPr>
            <p:cNvSpPr txBox="1"/>
            <p:nvPr/>
          </p:nvSpPr>
          <p:spPr>
            <a:xfrm>
              <a:off x="8829822" y="361748"/>
              <a:ext cx="802144" cy="690958"/>
            </a:xfrm>
            <a:prstGeom prst="rect">
              <a:avLst/>
            </a:prstGeom>
            <a:noFill/>
          </p:spPr>
          <p:txBody>
            <a:bodyPr wrap="none" lIns="186521" tIns="149217" rIns="186521" bIns="149217" rtlCol="0">
              <a:spAutoFit/>
            </a:bodyPr>
            <a:lstStyle/>
            <a:p>
              <a:pPr algn="ctr">
                <a:lnSpc>
                  <a:spcPct val="90000"/>
                </a:lnSpc>
                <a:spcAft>
                  <a:spcPts val="612"/>
                </a:spcAft>
              </a:pPr>
              <a:r>
                <a:rPr lang="en-US" sz="1428">
                  <a:solidFill>
                    <a:schemeClr val="bg1"/>
                  </a:solidFill>
                  <a:latin typeface="Segoe UI Semibold" panose="020B0702040204020203" pitchFamily="34" charset="0"/>
                  <a:cs typeface="Segoe UI Semibold" panose="020B0702040204020203" pitchFamily="34" charset="0"/>
                </a:rPr>
                <a:t>On</a:t>
              </a:r>
              <a:br>
                <a:rPr lang="en-US" sz="1428">
                  <a:solidFill>
                    <a:schemeClr val="bg1"/>
                  </a:solidFill>
                  <a:latin typeface="Segoe UI Semibold" panose="020B0702040204020203" pitchFamily="34" charset="0"/>
                  <a:cs typeface="Segoe UI Semibold" panose="020B0702040204020203" pitchFamily="34" charset="0"/>
                </a:rPr>
              </a:br>
              <a:r>
                <a:rPr lang="en-US" sz="1428" err="1">
                  <a:solidFill>
                    <a:schemeClr val="bg1"/>
                  </a:solidFill>
                  <a:latin typeface="Segoe UI Semibold" panose="020B0702040204020203" pitchFamily="34" charset="0"/>
                  <a:cs typeface="Segoe UI Semibold" panose="020B0702040204020203" pitchFamily="34" charset="0"/>
                </a:rPr>
                <a:t>Prem</a:t>
              </a:r>
              <a:endParaRPr lang="en-GB" sz="1428" err="1">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65408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1+#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500"/>
                                        <p:tgtEl>
                                          <p:spTgt spid="58"/>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5D350-A41F-4504-8C4D-241C9E848211}"/>
              </a:ext>
            </a:extLst>
          </p:cNvPr>
          <p:cNvSpPr>
            <a:spLocks noGrp="1"/>
          </p:cNvSpPr>
          <p:nvPr>
            <p:ph type="title"/>
          </p:nvPr>
        </p:nvSpPr>
        <p:spPr/>
        <p:txBody>
          <a:bodyPr/>
          <a:lstStyle/>
          <a:p>
            <a:r>
              <a:rPr lang="en-US"/>
              <a:t>Application development</a:t>
            </a:r>
          </a:p>
        </p:txBody>
      </p:sp>
      <p:cxnSp>
        <p:nvCxnSpPr>
          <p:cNvPr id="17" name="Straight Connector 16">
            <a:extLst>
              <a:ext uri="{FF2B5EF4-FFF2-40B4-BE49-F238E27FC236}">
                <a16:creationId xmlns:a16="http://schemas.microsoft.com/office/drawing/2014/main" id="{DB7B42F5-861C-4CE3-8F35-16ADA5E2B972}"/>
              </a:ext>
            </a:extLst>
          </p:cNvPr>
          <p:cNvCxnSpPr/>
          <p:nvPr/>
        </p:nvCxnSpPr>
        <p:spPr>
          <a:xfrm flipV="1">
            <a:off x="3351520" y="2382587"/>
            <a:ext cx="0" cy="305042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1FF3477-6437-4508-91D3-4A6FA84F7E50}"/>
              </a:ext>
            </a:extLst>
          </p:cNvPr>
          <p:cNvCxnSpPr/>
          <p:nvPr/>
        </p:nvCxnSpPr>
        <p:spPr>
          <a:xfrm flipV="1">
            <a:off x="6113890" y="2382587"/>
            <a:ext cx="0" cy="305042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91A3D17-BF07-4CA5-9A4A-5E0D0974E843}"/>
              </a:ext>
            </a:extLst>
          </p:cNvPr>
          <p:cNvCxnSpPr/>
          <p:nvPr/>
        </p:nvCxnSpPr>
        <p:spPr>
          <a:xfrm flipV="1">
            <a:off x="8946737" y="2382587"/>
            <a:ext cx="0" cy="305042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F21E469-D581-4932-BCDA-64E739520630}"/>
              </a:ext>
            </a:extLst>
          </p:cNvPr>
          <p:cNvSpPr txBox="1"/>
          <p:nvPr/>
        </p:nvSpPr>
        <p:spPr>
          <a:xfrm>
            <a:off x="6818151" y="3715438"/>
            <a:ext cx="1441442" cy="973327"/>
          </a:xfrm>
          <a:prstGeom prst="rect">
            <a:avLst/>
          </a:prstGeom>
          <a:noFill/>
        </p:spPr>
        <p:txBody>
          <a:bodyPr wrap="none" lIns="274164" tIns="146220" rIns="274164" bIns="146220"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1850">
              <a:spcAft>
                <a:spcPts val="0"/>
              </a:spcAft>
              <a:defRPr/>
            </a:pPr>
            <a:r>
              <a:rPr lang="en-US" sz="2400" kern="0">
                <a:gradFill>
                  <a:gsLst>
                    <a:gs pos="0">
                      <a:srgbClr val="0078D7"/>
                    </a:gs>
                    <a:gs pos="100000">
                      <a:srgbClr val="0078D7"/>
                    </a:gs>
                  </a:gsLst>
                  <a:lin ang="16200000" scaled="0"/>
                </a:gradFill>
                <a:latin typeface="Segoe UI Light"/>
              </a:rPr>
              <a:t>App</a:t>
            </a:r>
            <a:br>
              <a:rPr lang="en-US" sz="2400" kern="0">
                <a:gradFill>
                  <a:gsLst>
                    <a:gs pos="0">
                      <a:srgbClr val="0078D7"/>
                    </a:gs>
                    <a:gs pos="100000">
                      <a:srgbClr val="0078D7"/>
                    </a:gs>
                  </a:gsLst>
                  <a:lin ang="16200000" scaled="0"/>
                </a:gradFill>
                <a:latin typeface="Segoe UI Light"/>
              </a:rPr>
            </a:br>
            <a:r>
              <a:rPr lang="en-US" sz="2400" kern="0">
                <a:gradFill>
                  <a:gsLst>
                    <a:gs pos="0">
                      <a:srgbClr val="0078D7"/>
                    </a:gs>
                    <a:gs pos="100000">
                      <a:srgbClr val="0078D7"/>
                    </a:gs>
                  </a:gsLst>
                  <a:lin ang="16200000" scaled="0"/>
                </a:gradFill>
                <a:latin typeface="Segoe UI Light"/>
              </a:rPr>
              <a:t>service</a:t>
            </a:r>
          </a:p>
        </p:txBody>
      </p:sp>
      <p:sp>
        <p:nvSpPr>
          <p:cNvPr id="21" name="TextBox 20">
            <a:extLst>
              <a:ext uri="{FF2B5EF4-FFF2-40B4-BE49-F238E27FC236}">
                <a16:creationId xmlns:a16="http://schemas.microsoft.com/office/drawing/2014/main" id="{2A290BC7-A94A-4D6F-A0AF-470468B3B101}"/>
              </a:ext>
            </a:extLst>
          </p:cNvPr>
          <p:cNvSpPr txBox="1"/>
          <p:nvPr/>
        </p:nvSpPr>
        <p:spPr>
          <a:xfrm>
            <a:off x="6594261" y="4661476"/>
            <a:ext cx="1889221" cy="583545"/>
          </a:xfrm>
          <a:prstGeom prst="rect">
            <a:avLst/>
          </a:prstGeom>
          <a:noFill/>
        </p:spPr>
        <p:txBody>
          <a:bodyPr wrap="square" lIns="93234" tIns="93234" rIns="93234" bIns="93234" rtlCol="0" anchor="t" anchorCtr="0">
            <a:spAutoFit/>
          </a:bodyPr>
          <a:lstStyle/>
          <a:p>
            <a:pPr algn="ctr" defTabSz="931850">
              <a:lnSpc>
                <a:spcPct val="90000"/>
              </a:lnSpc>
              <a:defRPr/>
            </a:pP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Web, mobile and </a:t>
            </a:r>
            <a:b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b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API apps</a:t>
            </a:r>
          </a:p>
        </p:txBody>
      </p:sp>
      <p:grpSp>
        <p:nvGrpSpPr>
          <p:cNvPr id="28" name="Group 27">
            <a:extLst>
              <a:ext uri="{FF2B5EF4-FFF2-40B4-BE49-F238E27FC236}">
                <a16:creationId xmlns:a16="http://schemas.microsoft.com/office/drawing/2014/main" id="{AA6F0D45-66A4-40FD-A007-77F3360559E6}"/>
              </a:ext>
            </a:extLst>
          </p:cNvPr>
          <p:cNvGrpSpPr>
            <a:grpSpLocks noChangeAspect="1"/>
          </p:cNvGrpSpPr>
          <p:nvPr/>
        </p:nvGrpSpPr>
        <p:grpSpPr>
          <a:xfrm>
            <a:off x="7117048" y="2578091"/>
            <a:ext cx="843647" cy="843647"/>
            <a:chOff x="5313363" y="-1925638"/>
            <a:chExt cx="1638300" cy="1638301"/>
          </a:xfrm>
          <a:solidFill>
            <a:srgbClr val="001F54"/>
          </a:solidFill>
        </p:grpSpPr>
        <p:sp>
          <p:nvSpPr>
            <p:cNvPr id="29" name="Freeform 11">
              <a:extLst>
                <a:ext uri="{FF2B5EF4-FFF2-40B4-BE49-F238E27FC236}">
                  <a16:creationId xmlns:a16="http://schemas.microsoft.com/office/drawing/2014/main" id="{39894E15-9CC6-4CA8-8838-4F630F0E50AD}"/>
                </a:ext>
              </a:extLst>
            </p:cNvPr>
            <p:cNvSpPr>
              <a:spLocks noEditPoints="1"/>
            </p:cNvSpPr>
            <p:nvPr/>
          </p:nvSpPr>
          <p:spPr bwMode="auto">
            <a:xfrm>
              <a:off x="5578476" y="-1516063"/>
              <a:ext cx="1104900" cy="708025"/>
            </a:xfrm>
            <a:custGeom>
              <a:avLst/>
              <a:gdLst>
                <a:gd name="T0" fmla="*/ 225 w 259"/>
                <a:gd name="T1" fmla="*/ 166 h 166"/>
                <a:gd name="T2" fmla="*/ 58 w 259"/>
                <a:gd name="T3" fmla="*/ 166 h 166"/>
                <a:gd name="T4" fmla="*/ 0 w 259"/>
                <a:gd name="T5" fmla="*/ 108 h 166"/>
                <a:gd name="T6" fmla="*/ 58 w 259"/>
                <a:gd name="T7" fmla="*/ 50 h 166"/>
                <a:gd name="T8" fmla="*/ 72 w 259"/>
                <a:gd name="T9" fmla="*/ 52 h 166"/>
                <a:gd name="T10" fmla="*/ 148 w 259"/>
                <a:gd name="T11" fmla="*/ 0 h 166"/>
                <a:gd name="T12" fmla="*/ 229 w 259"/>
                <a:gd name="T13" fmla="*/ 81 h 166"/>
                <a:gd name="T14" fmla="*/ 228 w 259"/>
                <a:gd name="T15" fmla="*/ 99 h 166"/>
                <a:gd name="T16" fmla="*/ 259 w 259"/>
                <a:gd name="T17" fmla="*/ 132 h 166"/>
                <a:gd name="T18" fmla="*/ 225 w 259"/>
                <a:gd name="T19" fmla="*/ 166 h 166"/>
                <a:gd name="T20" fmla="*/ 58 w 259"/>
                <a:gd name="T21" fmla="*/ 70 h 166"/>
                <a:gd name="T22" fmla="*/ 20 w 259"/>
                <a:gd name="T23" fmla="*/ 108 h 166"/>
                <a:gd name="T24" fmla="*/ 58 w 259"/>
                <a:gd name="T25" fmla="*/ 146 h 166"/>
                <a:gd name="T26" fmla="*/ 225 w 259"/>
                <a:gd name="T27" fmla="*/ 146 h 166"/>
                <a:gd name="T28" fmla="*/ 239 w 259"/>
                <a:gd name="T29" fmla="*/ 132 h 166"/>
                <a:gd name="T30" fmla="*/ 225 w 259"/>
                <a:gd name="T31" fmla="*/ 119 h 166"/>
                <a:gd name="T32" fmla="*/ 224 w 259"/>
                <a:gd name="T33" fmla="*/ 119 h 166"/>
                <a:gd name="T34" fmla="*/ 200 w 259"/>
                <a:gd name="T35" fmla="*/ 123 h 166"/>
                <a:gd name="T36" fmla="*/ 207 w 259"/>
                <a:gd name="T37" fmla="*/ 100 h 166"/>
                <a:gd name="T38" fmla="*/ 209 w 259"/>
                <a:gd name="T39" fmla="*/ 81 h 166"/>
                <a:gd name="T40" fmla="*/ 148 w 259"/>
                <a:gd name="T41" fmla="*/ 20 h 166"/>
                <a:gd name="T42" fmla="*/ 89 w 259"/>
                <a:gd name="T43" fmla="*/ 63 h 166"/>
                <a:gd name="T44" fmla="*/ 85 w 259"/>
                <a:gd name="T45" fmla="*/ 77 h 166"/>
                <a:gd name="T46" fmla="*/ 70 w 259"/>
                <a:gd name="T47" fmla="*/ 72 h 166"/>
                <a:gd name="T48" fmla="*/ 58 w 259"/>
                <a:gd name="T49" fmla="*/ 7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166">
                  <a:moveTo>
                    <a:pt x="225" y="166"/>
                  </a:moveTo>
                  <a:cubicBezTo>
                    <a:pt x="58" y="166"/>
                    <a:pt x="58" y="166"/>
                    <a:pt x="58" y="166"/>
                  </a:cubicBezTo>
                  <a:cubicBezTo>
                    <a:pt x="26" y="166"/>
                    <a:pt x="0" y="140"/>
                    <a:pt x="0" y="108"/>
                  </a:cubicBezTo>
                  <a:cubicBezTo>
                    <a:pt x="0" y="76"/>
                    <a:pt x="26" y="50"/>
                    <a:pt x="58" y="50"/>
                  </a:cubicBezTo>
                  <a:cubicBezTo>
                    <a:pt x="63" y="50"/>
                    <a:pt x="67" y="51"/>
                    <a:pt x="72" y="52"/>
                  </a:cubicBezTo>
                  <a:cubicBezTo>
                    <a:pt x="84" y="21"/>
                    <a:pt x="114" y="0"/>
                    <a:pt x="148" y="0"/>
                  </a:cubicBezTo>
                  <a:cubicBezTo>
                    <a:pt x="193" y="0"/>
                    <a:pt x="229" y="36"/>
                    <a:pt x="229" y="81"/>
                  </a:cubicBezTo>
                  <a:cubicBezTo>
                    <a:pt x="229" y="87"/>
                    <a:pt x="229" y="93"/>
                    <a:pt x="228" y="99"/>
                  </a:cubicBezTo>
                  <a:cubicBezTo>
                    <a:pt x="245" y="100"/>
                    <a:pt x="259" y="115"/>
                    <a:pt x="259" y="132"/>
                  </a:cubicBezTo>
                  <a:cubicBezTo>
                    <a:pt x="259" y="151"/>
                    <a:pt x="244" y="166"/>
                    <a:pt x="225" y="166"/>
                  </a:cubicBezTo>
                  <a:close/>
                  <a:moveTo>
                    <a:pt x="58" y="70"/>
                  </a:moveTo>
                  <a:cubicBezTo>
                    <a:pt x="37" y="70"/>
                    <a:pt x="20" y="87"/>
                    <a:pt x="20" y="108"/>
                  </a:cubicBezTo>
                  <a:cubicBezTo>
                    <a:pt x="20" y="129"/>
                    <a:pt x="37" y="146"/>
                    <a:pt x="58" y="146"/>
                  </a:cubicBezTo>
                  <a:cubicBezTo>
                    <a:pt x="225" y="146"/>
                    <a:pt x="225" y="146"/>
                    <a:pt x="225" y="146"/>
                  </a:cubicBezTo>
                  <a:cubicBezTo>
                    <a:pt x="233" y="146"/>
                    <a:pt x="239" y="140"/>
                    <a:pt x="239" y="132"/>
                  </a:cubicBezTo>
                  <a:cubicBezTo>
                    <a:pt x="239" y="125"/>
                    <a:pt x="233" y="119"/>
                    <a:pt x="225" y="119"/>
                  </a:cubicBezTo>
                  <a:cubicBezTo>
                    <a:pt x="225" y="119"/>
                    <a:pt x="224" y="119"/>
                    <a:pt x="224" y="119"/>
                  </a:cubicBezTo>
                  <a:cubicBezTo>
                    <a:pt x="200" y="123"/>
                    <a:pt x="200" y="123"/>
                    <a:pt x="200" y="123"/>
                  </a:cubicBezTo>
                  <a:cubicBezTo>
                    <a:pt x="207" y="100"/>
                    <a:pt x="207" y="100"/>
                    <a:pt x="207" y="100"/>
                  </a:cubicBezTo>
                  <a:cubicBezTo>
                    <a:pt x="208" y="94"/>
                    <a:pt x="209" y="88"/>
                    <a:pt x="209" y="81"/>
                  </a:cubicBezTo>
                  <a:cubicBezTo>
                    <a:pt x="209" y="47"/>
                    <a:pt x="182" y="20"/>
                    <a:pt x="148" y="20"/>
                  </a:cubicBezTo>
                  <a:cubicBezTo>
                    <a:pt x="121" y="20"/>
                    <a:pt x="97" y="37"/>
                    <a:pt x="89" y="63"/>
                  </a:cubicBezTo>
                  <a:cubicBezTo>
                    <a:pt x="85" y="77"/>
                    <a:pt x="85" y="77"/>
                    <a:pt x="85" y="77"/>
                  </a:cubicBezTo>
                  <a:cubicBezTo>
                    <a:pt x="70" y="72"/>
                    <a:pt x="70" y="72"/>
                    <a:pt x="70" y="72"/>
                  </a:cubicBezTo>
                  <a:cubicBezTo>
                    <a:pt x="66" y="71"/>
                    <a:pt x="62" y="70"/>
                    <a:pt x="5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30" name="Freeform 12">
              <a:extLst>
                <a:ext uri="{FF2B5EF4-FFF2-40B4-BE49-F238E27FC236}">
                  <a16:creationId xmlns:a16="http://schemas.microsoft.com/office/drawing/2014/main" id="{3B23A96A-36E6-4609-A16C-7C2FBF76D6DD}"/>
                </a:ext>
              </a:extLst>
            </p:cNvPr>
            <p:cNvSpPr>
              <a:spLocks/>
            </p:cNvSpPr>
            <p:nvPr/>
          </p:nvSpPr>
          <p:spPr bwMode="auto">
            <a:xfrm>
              <a:off x="6192838" y="-1047750"/>
              <a:ext cx="758825" cy="760413"/>
            </a:xfrm>
            <a:custGeom>
              <a:avLst/>
              <a:gdLst>
                <a:gd name="T0" fmla="*/ 130 w 178"/>
                <a:gd name="T1" fmla="*/ 3 h 178"/>
                <a:gd name="T2" fmla="*/ 134 w 178"/>
                <a:gd name="T3" fmla="*/ 19 h 178"/>
                <a:gd name="T4" fmla="*/ 134 w 178"/>
                <a:gd name="T5" fmla="*/ 21 h 178"/>
                <a:gd name="T6" fmla="*/ 157 w 178"/>
                <a:gd name="T7" fmla="*/ 21 h 178"/>
                <a:gd name="T8" fmla="*/ 157 w 178"/>
                <a:gd name="T9" fmla="*/ 157 h 178"/>
                <a:gd name="T10" fmla="*/ 21 w 178"/>
                <a:gd name="T11" fmla="*/ 157 h 178"/>
                <a:gd name="T12" fmla="*/ 21 w 178"/>
                <a:gd name="T13" fmla="*/ 75 h 178"/>
                <a:gd name="T14" fmla="*/ 0 w 178"/>
                <a:gd name="T15" fmla="*/ 75 h 178"/>
                <a:gd name="T16" fmla="*/ 0 w 178"/>
                <a:gd name="T17" fmla="*/ 178 h 178"/>
                <a:gd name="T18" fmla="*/ 178 w 178"/>
                <a:gd name="T19" fmla="*/ 178 h 178"/>
                <a:gd name="T20" fmla="*/ 178 w 178"/>
                <a:gd name="T21" fmla="*/ 0 h 178"/>
                <a:gd name="T22" fmla="*/ 129 w 178"/>
                <a:gd name="T23" fmla="*/ 0 h 178"/>
                <a:gd name="T24" fmla="*/ 130 w 178"/>
                <a:gd name="T25"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30" y="3"/>
                  </a:moveTo>
                  <a:cubicBezTo>
                    <a:pt x="132" y="8"/>
                    <a:pt x="133" y="13"/>
                    <a:pt x="134" y="19"/>
                  </a:cubicBezTo>
                  <a:cubicBezTo>
                    <a:pt x="134" y="21"/>
                    <a:pt x="134" y="21"/>
                    <a:pt x="134" y="21"/>
                  </a:cubicBezTo>
                  <a:cubicBezTo>
                    <a:pt x="157" y="21"/>
                    <a:pt x="157" y="21"/>
                    <a:pt x="157" y="21"/>
                  </a:cubicBezTo>
                  <a:cubicBezTo>
                    <a:pt x="157" y="157"/>
                    <a:pt x="157" y="157"/>
                    <a:pt x="157" y="157"/>
                  </a:cubicBezTo>
                  <a:cubicBezTo>
                    <a:pt x="21" y="157"/>
                    <a:pt x="21" y="157"/>
                    <a:pt x="21" y="157"/>
                  </a:cubicBezTo>
                  <a:cubicBezTo>
                    <a:pt x="21" y="75"/>
                    <a:pt x="21" y="75"/>
                    <a:pt x="21" y="75"/>
                  </a:cubicBezTo>
                  <a:cubicBezTo>
                    <a:pt x="0" y="75"/>
                    <a:pt x="0" y="75"/>
                    <a:pt x="0" y="75"/>
                  </a:cubicBezTo>
                  <a:cubicBezTo>
                    <a:pt x="0" y="178"/>
                    <a:pt x="0" y="178"/>
                    <a:pt x="0" y="178"/>
                  </a:cubicBezTo>
                  <a:cubicBezTo>
                    <a:pt x="178" y="178"/>
                    <a:pt x="178" y="178"/>
                    <a:pt x="178" y="178"/>
                  </a:cubicBezTo>
                  <a:cubicBezTo>
                    <a:pt x="178" y="0"/>
                    <a:pt x="178" y="0"/>
                    <a:pt x="178" y="0"/>
                  </a:cubicBezTo>
                  <a:cubicBezTo>
                    <a:pt x="129" y="0"/>
                    <a:pt x="129" y="0"/>
                    <a:pt x="129" y="0"/>
                  </a:cubicBezTo>
                  <a:lnTo>
                    <a:pt x="1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31" name="Freeform 13">
              <a:extLst>
                <a:ext uri="{FF2B5EF4-FFF2-40B4-BE49-F238E27FC236}">
                  <a16:creationId xmlns:a16="http://schemas.microsoft.com/office/drawing/2014/main" id="{72FC1F37-12EC-4D3E-8F36-04346E69073F}"/>
                </a:ext>
              </a:extLst>
            </p:cNvPr>
            <p:cNvSpPr>
              <a:spLocks/>
            </p:cNvSpPr>
            <p:nvPr/>
          </p:nvSpPr>
          <p:spPr bwMode="auto">
            <a:xfrm>
              <a:off x="5313363" y="-1047750"/>
              <a:ext cx="758825" cy="760413"/>
            </a:xfrm>
            <a:custGeom>
              <a:avLst/>
              <a:gdLst>
                <a:gd name="T0" fmla="*/ 157 w 178"/>
                <a:gd name="T1" fmla="*/ 157 h 178"/>
                <a:gd name="T2" fmla="*/ 21 w 178"/>
                <a:gd name="T3" fmla="*/ 157 h 178"/>
                <a:gd name="T4" fmla="*/ 21 w 178"/>
                <a:gd name="T5" fmla="*/ 21 h 178"/>
                <a:gd name="T6" fmla="*/ 47 w 178"/>
                <a:gd name="T7" fmla="*/ 21 h 178"/>
                <a:gd name="T8" fmla="*/ 46 w 178"/>
                <a:gd name="T9" fmla="*/ 18 h 178"/>
                <a:gd name="T10" fmla="*/ 43 w 178"/>
                <a:gd name="T11" fmla="*/ 2 h 178"/>
                <a:gd name="T12" fmla="*/ 43 w 178"/>
                <a:gd name="T13" fmla="*/ 0 h 178"/>
                <a:gd name="T14" fmla="*/ 0 w 178"/>
                <a:gd name="T15" fmla="*/ 0 h 178"/>
                <a:gd name="T16" fmla="*/ 0 w 178"/>
                <a:gd name="T17" fmla="*/ 178 h 178"/>
                <a:gd name="T18" fmla="*/ 178 w 178"/>
                <a:gd name="T19" fmla="*/ 178 h 178"/>
                <a:gd name="T20" fmla="*/ 178 w 178"/>
                <a:gd name="T21" fmla="*/ 75 h 178"/>
                <a:gd name="T22" fmla="*/ 157 w 178"/>
                <a:gd name="T23" fmla="*/ 75 h 178"/>
                <a:gd name="T24" fmla="*/ 157 w 178"/>
                <a:gd name="T25" fmla="*/ 15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57" y="157"/>
                  </a:moveTo>
                  <a:cubicBezTo>
                    <a:pt x="21" y="157"/>
                    <a:pt x="21" y="157"/>
                    <a:pt x="21" y="157"/>
                  </a:cubicBezTo>
                  <a:cubicBezTo>
                    <a:pt x="21" y="21"/>
                    <a:pt x="21" y="21"/>
                    <a:pt x="21" y="21"/>
                  </a:cubicBezTo>
                  <a:cubicBezTo>
                    <a:pt x="47" y="21"/>
                    <a:pt x="47" y="21"/>
                    <a:pt x="47" y="21"/>
                  </a:cubicBezTo>
                  <a:cubicBezTo>
                    <a:pt x="46" y="18"/>
                    <a:pt x="46" y="18"/>
                    <a:pt x="46" y="18"/>
                  </a:cubicBezTo>
                  <a:cubicBezTo>
                    <a:pt x="44" y="13"/>
                    <a:pt x="44" y="7"/>
                    <a:pt x="43" y="2"/>
                  </a:cubicBezTo>
                  <a:cubicBezTo>
                    <a:pt x="43" y="0"/>
                    <a:pt x="43" y="0"/>
                    <a:pt x="43" y="0"/>
                  </a:cubicBezTo>
                  <a:cubicBezTo>
                    <a:pt x="0" y="0"/>
                    <a:pt x="0" y="0"/>
                    <a:pt x="0" y="0"/>
                  </a:cubicBezTo>
                  <a:cubicBezTo>
                    <a:pt x="0" y="178"/>
                    <a:pt x="0" y="178"/>
                    <a:pt x="0" y="178"/>
                  </a:cubicBezTo>
                  <a:cubicBezTo>
                    <a:pt x="178" y="178"/>
                    <a:pt x="178" y="178"/>
                    <a:pt x="178" y="178"/>
                  </a:cubicBezTo>
                  <a:cubicBezTo>
                    <a:pt x="178" y="75"/>
                    <a:pt x="178" y="75"/>
                    <a:pt x="178" y="75"/>
                  </a:cubicBezTo>
                  <a:cubicBezTo>
                    <a:pt x="157" y="75"/>
                    <a:pt x="157" y="75"/>
                    <a:pt x="157" y="75"/>
                  </a:cubicBezTo>
                  <a:lnTo>
                    <a:pt x="15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32" name="Freeform 14">
              <a:extLst>
                <a:ext uri="{FF2B5EF4-FFF2-40B4-BE49-F238E27FC236}">
                  <a16:creationId xmlns:a16="http://schemas.microsoft.com/office/drawing/2014/main" id="{BEEA14C3-86A6-413D-A99E-BC7E339D136D}"/>
                </a:ext>
              </a:extLst>
            </p:cNvPr>
            <p:cNvSpPr>
              <a:spLocks/>
            </p:cNvSpPr>
            <p:nvPr/>
          </p:nvSpPr>
          <p:spPr bwMode="auto">
            <a:xfrm>
              <a:off x="6192838" y="-1925638"/>
              <a:ext cx="758825" cy="758825"/>
            </a:xfrm>
            <a:custGeom>
              <a:avLst/>
              <a:gdLst>
                <a:gd name="T0" fmla="*/ 0 w 178"/>
                <a:gd name="T1" fmla="*/ 0 h 178"/>
                <a:gd name="T2" fmla="*/ 0 w 178"/>
                <a:gd name="T3" fmla="*/ 78 h 178"/>
                <a:gd name="T4" fmla="*/ 4 w 178"/>
                <a:gd name="T5" fmla="*/ 78 h 178"/>
                <a:gd name="T6" fmla="*/ 19 w 178"/>
                <a:gd name="T7" fmla="*/ 79 h 178"/>
                <a:gd name="T8" fmla="*/ 21 w 178"/>
                <a:gd name="T9" fmla="*/ 79 h 178"/>
                <a:gd name="T10" fmla="*/ 21 w 178"/>
                <a:gd name="T11" fmla="*/ 21 h 178"/>
                <a:gd name="T12" fmla="*/ 157 w 178"/>
                <a:gd name="T13" fmla="*/ 21 h 178"/>
                <a:gd name="T14" fmla="*/ 157 w 178"/>
                <a:gd name="T15" fmla="*/ 157 h 178"/>
                <a:gd name="T16" fmla="*/ 101 w 178"/>
                <a:gd name="T17" fmla="*/ 157 h 178"/>
                <a:gd name="T18" fmla="*/ 102 w 178"/>
                <a:gd name="T19" fmla="*/ 160 h 178"/>
                <a:gd name="T20" fmla="*/ 103 w 178"/>
                <a:gd name="T21" fmla="*/ 176 h 178"/>
                <a:gd name="T22" fmla="*/ 103 w 178"/>
                <a:gd name="T23" fmla="*/ 178 h 178"/>
                <a:gd name="T24" fmla="*/ 178 w 178"/>
                <a:gd name="T25" fmla="*/ 178 h 178"/>
                <a:gd name="T26" fmla="*/ 178 w 178"/>
                <a:gd name="T27" fmla="*/ 0 h 178"/>
                <a:gd name="T28" fmla="*/ 0 w 178"/>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0"/>
                  </a:moveTo>
                  <a:cubicBezTo>
                    <a:pt x="0" y="78"/>
                    <a:pt x="0" y="78"/>
                    <a:pt x="0" y="78"/>
                  </a:cubicBezTo>
                  <a:cubicBezTo>
                    <a:pt x="4" y="78"/>
                    <a:pt x="4" y="78"/>
                    <a:pt x="4" y="78"/>
                  </a:cubicBezTo>
                  <a:cubicBezTo>
                    <a:pt x="10" y="78"/>
                    <a:pt x="14" y="78"/>
                    <a:pt x="19" y="79"/>
                  </a:cubicBezTo>
                  <a:cubicBezTo>
                    <a:pt x="21" y="79"/>
                    <a:pt x="21" y="79"/>
                    <a:pt x="21" y="79"/>
                  </a:cubicBezTo>
                  <a:cubicBezTo>
                    <a:pt x="21" y="21"/>
                    <a:pt x="21" y="21"/>
                    <a:pt x="21" y="21"/>
                  </a:cubicBezTo>
                  <a:cubicBezTo>
                    <a:pt x="157" y="21"/>
                    <a:pt x="157" y="21"/>
                    <a:pt x="157" y="21"/>
                  </a:cubicBezTo>
                  <a:cubicBezTo>
                    <a:pt x="157" y="157"/>
                    <a:pt x="157" y="157"/>
                    <a:pt x="157" y="157"/>
                  </a:cubicBezTo>
                  <a:cubicBezTo>
                    <a:pt x="101" y="157"/>
                    <a:pt x="101" y="157"/>
                    <a:pt x="101" y="157"/>
                  </a:cubicBezTo>
                  <a:cubicBezTo>
                    <a:pt x="102" y="160"/>
                    <a:pt x="102" y="160"/>
                    <a:pt x="102" y="160"/>
                  </a:cubicBezTo>
                  <a:cubicBezTo>
                    <a:pt x="103" y="165"/>
                    <a:pt x="103" y="171"/>
                    <a:pt x="103" y="176"/>
                  </a:cubicBezTo>
                  <a:cubicBezTo>
                    <a:pt x="103" y="178"/>
                    <a:pt x="103" y="178"/>
                    <a:pt x="103" y="178"/>
                  </a:cubicBezTo>
                  <a:cubicBezTo>
                    <a:pt x="178" y="178"/>
                    <a:pt x="178" y="178"/>
                    <a:pt x="178" y="178"/>
                  </a:cubicBezTo>
                  <a:cubicBezTo>
                    <a:pt x="178" y="0"/>
                    <a:pt x="178" y="0"/>
                    <a:pt x="17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33" name="Freeform 15">
              <a:extLst>
                <a:ext uri="{FF2B5EF4-FFF2-40B4-BE49-F238E27FC236}">
                  <a16:creationId xmlns:a16="http://schemas.microsoft.com/office/drawing/2014/main" id="{94F9A167-F710-4E69-BB7E-0370BF5BA7A9}"/>
                </a:ext>
              </a:extLst>
            </p:cNvPr>
            <p:cNvSpPr>
              <a:spLocks/>
            </p:cNvSpPr>
            <p:nvPr/>
          </p:nvSpPr>
          <p:spPr bwMode="auto">
            <a:xfrm>
              <a:off x="5313363" y="-1925638"/>
              <a:ext cx="758825" cy="758825"/>
            </a:xfrm>
            <a:custGeom>
              <a:avLst/>
              <a:gdLst>
                <a:gd name="T0" fmla="*/ 0 w 178"/>
                <a:gd name="T1" fmla="*/ 178 h 178"/>
                <a:gd name="T2" fmla="*/ 48 w 178"/>
                <a:gd name="T3" fmla="*/ 178 h 178"/>
                <a:gd name="T4" fmla="*/ 48 w 178"/>
                <a:gd name="T5" fmla="*/ 177 h 178"/>
                <a:gd name="T6" fmla="*/ 57 w 178"/>
                <a:gd name="T7" fmla="*/ 160 h 178"/>
                <a:gd name="T8" fmla="*/ 59 w 178"/>
                <a:gd name="T9" fmla="*/ 157 h 178"/>
                <a:gd name="T10" fmla="*/ 21 w 178"/>
                <a:gd name="T11" fmla="*/ 157 h 178"/>
                <a:gd name="T12" fmla="*/ 21 w 178"/>
                <a:gd name="T13" fmla="*/ 21 h 178"/>
                <a:gd name="T14" fmla="*/ 157 w 178"/>
                <a:gd name="T15" fmla="*/ 21 h 178"/>
                <a:gd name="T16" fmla="*/ 157 w 178"/>
                <a:gd name="T17" fmla="*/ 93 h 178"/>
                <a:gd name="T18" fmla="*/ 160 w 178"/>
                <a:gd name="T19" fmla="*/ 91 h 178"/>
                <a:gd name="T20" fmla="*/ 177 w 178"/>
                <a:gd name="T21" fmla="*/ 83 h 178"/>
                <a:gd name="T22" fmla="*/ 178 w 178"/>
                <a:gd name="T23" fmla="*/ 83 h 178"/>
                <a:gd name="T24" fmla="*/ 178 w 178"/>
                <a:gd name="T25" fmla="*/ 0 h 178"/>
                <a:gd name="T26" fmla="*/ 0 w 178"/>
                <a:gd name="T27" fmla="*/ 0 h 178"/>
                <a:gd name="T28" fmla="*/ 0 w 178"/>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178"/>
                  </a:moveTo>
                  <a:cubicBezTo>
                    <a:pt x="48" y="178"/>
                    <a:pt x="48" y="178"/>
                    <a:pt x="48" y="178"/>
                  </a:cubicBezTo>
                  <a:cubicBezTo>
                    <a:pt x="48" y="177"/>
                    <a:pt x="48" y="177"/>
                    <a:pt x="48" y="177"/>
                  </a:cubicBezTo>
                  <a:cubicBezTo>
                    <a:pt x="50" y="171"/>
                    <a:pt x="53" y="166"/>
                    <a:pt x="57" y="160"/>
                  </a:cubicBezTo>
                  <a:cubicBezTo>
                    <a:pt x="59" y="157"/>
                    <a:pt x="59" y="157"/>
                    <a:pt x="59" y="157"/>
                  </a:cubicBezTo>
                  <a:cubicBezTo>
                    <a:pt x="21" y="157"/>
                    <a:pt x="21" y="157"/>
                    <a:pt x="21" y="157"/>
                  </a:cubicBezTo>
                  <a:cubicBezTo>
                    <a:pt x="21" y="21"/>
                    <a:pt x="21" y="21"/>
                    <a:pt x="21" y="21"/>
                  </a:cubicBezTo>
                  <a:cubicBezTo>
                    <a:pt x="157" y="21"/>
                    <a:pt x="157" y="21"/>
                    <a:pt x="157" y="21"/>
                  </a:cubicBezTo>
                  <a:cubicBezTo>
                    <a:pt x="157" y="93"/>
                    <a:pt x="157" y="93"/>
                    <a:pt x="157" y="93"/>
                  </a:cubicBezTo>
                  <a:cubicBezTo>
                    <a:pt x="160" y="91"/>
                    <a:pt x="160" y="91"/>
                    <a:pt x="160" y="91"/>
                  </a:cubicBezTo>
                  <a:cubicBezTo>
                    <a:pt x="165" y="88"/>
                    <a:pt x="171" y="86"/>
                    <a:pt x="177" y="83"/>
                  </a:cubicBezTo>
                  <a:cubicBezTo>
                    <a:pt x="178" y="83"/>
                    <a:pt x="178" y="83"/>
                    <a:pt x="178" y="83"/>
                  </a:cubicBezTo>
                  <a:cubicBezTo>
                    <a:pt x="178" y="0"/>
                    <a:pt x="178" y="0"/>
                    <a:pt x="178" y="0"/>
                  </a:cubicBezTo>
                  <a:cubicBezTo>
                    <a:pt x="0" y="0"/>
                    <a:pt x="0" y="0"/>
                    <a:pt x="0" y="0"/>
                  </a:cubicBezTo>
                  <a:lnTo>
                    <a:pt x="0"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grpSp>
      <p:sp>
        <p:nvSpPr>
          <p:cNvPr id="22" name="TextBox 21">
            <a:extLst>
              <a:ext uri="{FF2B5EF4-FFF2-40B4-BE49-F238E27FC236}">
                <a16:creationId xmlns:a16="http://schemas.microsoft.com/office/drawing/2014/main" id="{8C28BFE2-800D-473E-90CF-8DD10D94E608}"/>
              </a:ext>
            </a:extLst>
          </p:cNvPr>
          <p:cNvSpPr txBox="1"/>
          <p:nvPr/>
        </p:nvSpPr>
        <p:spPr>
          <a:xfrm>
            <a:off x="582691" y="3744425"/>
            <a:ext cx="2782073" cy="973327"/>
          </a:xfrm>
          <a:prstGeom prst="rect">
            <a:avLst/>
          </a:prstGeom>
          <a:noFill/>
        </p:spPr>
        <p:txBody>
          <a:bodyPr wrap="none" lIns="274164" tIns="146220" rIns="274164" bIns="146220"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1850">
              <a:defRPr/>
            </a:pPr>
            <a:r>
              <a:rPr lang="en-US" sz="2400">
                <a:gradFill>
                  <a:gsLst>
                    <a:gs pos="0">
                      <a:srgbClr val="0078D7"/>
                    </a:gs>
                    <a:gs pos="100000">
                      <a:srgbClr val="0078D7"/>
                    </a:gs>
                  </a:gsLst>
                  <a:lin ang="16200000" scaled="0"/>
                </a:gradFill>
                <a:latin typeface="Segoe UI Light"/>
              </a:rPr>
              <a:t>Azure Container </a:t>
            </a:r>
            <a:br>
              <a:rPr lang="en-US" sz="2400">
                <a:gradFill>
                  <a:gsLst>
                    <a:gs pos="0">
                      <a:srgbClr val="0078D7"/>
                    </a:gs>
                    <a:gs pos="100000">
                      <a:srgbClr val="0078D7"/>
                    </a:gs>
                  </a:gsLst>
                  <a:lin ang="16200000" scaled="0"/>
                </a:gradFill>
                <a:latin typeface="Segoe UI Light"/>
              </a:rPr>
            </a:br>
            <a:r>
              <a:rPr lang="en-US" sz="2400">
                <a:gradFill>
                  <a:gsLst>
                    <a:gs pos="0">
                      <a:srgbClr val="0078D7"/>
                    </a:gs>
                    <a:gs pos="100000">
                      <a:srgbClr val="0078D7"/>
                    </a:gs>
                  </a:gsLst>
                  <a:lin ang="16200000" scaled="0"/>
                </a:gradFill>
                <a:latin typeface="Segoe UI Light"/>
              </a:rPr>
              <a:t>Service (AKS)</a:t>
            </a:r>
          </a:p>
        </p:txBody>
      </p:sp>
      <p:sp>
        <p:nvSpPr>
          <p:cNvPr id="23" name="TextBox 22">
            <a:extLst>
              <a:ext uri="{FF2B5EF4-FFF2-40B4-BE49-F238E27FC236}">
                <a16:creationId xmlns:a16="http://schemas.microsoft.com/office/drawing/2014/main" id="{AB72E809-2DF7-4B27-8C0F-7515438188F0}"/>
              </a:ext>
            </a:extLst>
          </p:cNvPr>
          <p:cNvSpPr txBox="1"/>
          <p:nvPr/>
        </p:nvSpPr>
        <p:spPr>
          <a:xfrm>
            <a:off x="712212" y="4690461"/>
            <a:ext cx="2523029" cy="583545"/>
          </a:xfrm>
          <a:prstGeom prst="rect">
            <a:avLst/>
          </a:prstGeom>
          <a:noFill/>
        </p:spPr>
        <p:txBody>
          <a:bodyPr wrap="square" lIns="93234" tIns="93234" rIns="93234" bIns="93234" rtlCol="0" anchor="t" anchorCtr="0">
            <a:spAutoFit/>
          </a:bodyPr>
          <a:lstStyle/>
          <a:p>
            <a:pPr algn="ctr" defTabSz="931850">
              <a:lnSpc>
                <a:spcPct val="90000"/>
              </a:lnSpc>
              <a:defRPr/>
            </a:pP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Managed</a:t>
            </a:r>
            <a:r>
              <a:rPr lang="en-US" sz="1399">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 </a:t>
            </a: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Kubernetes, automated upgrades</a:t>
            </a:r>
          </a:p>
        </p:txBody>
      </p:sp>
      <p:grpSp>
        <p:nvGrpSpPr>
          <p:cNvPr id="40" name="Group 39">
            <a:extLst>
              <a:ext uri="{FF2B5EF4-FFF2-40B4-BE49-F238E27FC236}">
                <a16:creationId xmlns:a16="http://schemas.microsoft.com/office/drawing/2014/main" id="{0ABAD84D-ABD8-455E-8C7E-09F8F144E6D4}"/>
              </a:ext>
            </a:extLst>
          </p:cNvPr>
          <p:cNvGrpSpPr/>
          <p:nvPr/>
        </p:nvGrpSpPr>
        <p:grpSpPr>
          <a:xfrm>
            <a:off x="1327884" y="2549106"/>
            <a:ext cx="1291685" cy="959591"/>
            <a:chOff x="1855788" y="1401763"/>
            <a:chExt cx="6483350" cy="4816475"/>
          </a:xfrm>
          <a:solidFill>
            <a:srgbClr val="001F54"/>
          </a:solidFill>
        </p:grpSpPr>
        <p:sp>
          <p:nvSpPr>
            <p:cNvPr id="41" name="Freeform 1">
              <a:extLst>
                <a:ext uri="{FF2B5EF4-FFF2-40B4-BE49-F238E27FC236}">
                  <a16:creationId xmlns:a16="http://schemas.microsoft.com/office/drawing/2014/main" id="{C135FEAD-9FA7-4115-A842-943E11A4969E}"/>
                </a:ext>
              </a:extLst>
            </p:cNvPr>
            <p:cNvSpPr>
              <a:spLocks noChangeArrowheads="1"/>
            </p:cNvSpPr>
            <p:nvPr/>
          </p:nvSpPr>
          <p:spPr bwMode="auto">
            <a:xfrm>
              <a:off x="3205163" y="1401763"/>
              <a:ext cx="3751262" cy="3644900"/>
            </a:xfrm>
            <a:custGeom>
              <a:avLst/>
              <a:gdLst>
                <a:gd name="T0" fmla="*/ 9140 w 10421"/>
                <a:gd name="T1" fmla="*/ 1809 h 10123"/>
                <a:gd name="T2" fmla="*/ 9537 w 10421"/>
                <a:gd name="T3" fmla="*/ 2356 h 10123"/>
                <a:gd name="T4" fmla="*/ 10376 w 10421"/>
                <a:gd name="T5" fmla="*/ 6557 h 10123"/>
                <a:gd name="T6" fmla="*/ 7667 w 10421"/>
                <a:gd name="T7" fmla="*/ 9963 h 10123"/>
                <a:gd name="T8" fmla="*/ 3229 w 10421"/>
                <a:gd name="T9" fmla="*/ 10122 h 10123"/>
                <a:gd name="T10" fmla="*/ 2691 w 10421"/>
                <a:gd name="T11" fmla="*/ 9901 h 10123"/>
                <a:gd name="T12" fmla="*/ 18 w 10421"/>
                <a:gd name="T13" fmla="*/ 6460 h 10123"/>
                <a:gd name="T14" fmla="*/ 927 w 10421"/>
                <a:gd name="T15" fmla="*/ 2233 h 10123"/>
                <a:gd name="T16" fmla="*/ 1350 w 10421"/>
                <a:gd name="T17" fmla="*/ 1765 h 10123"/>
                <a:gd name="T18" fmla="*/ 5434 w 10421"/>
                <a:gd name="T19" fmla="*/ 2462 h 10123"/>
                <a:gd name="T20" fmla="*/ 5355 w 10421"/>
                <a:gd name="T21" fmla="*/ 2136 h 10123"/>
                <a:gd name="T22" fmla="*/ 5390 w 10421"/>
                <a:gd name="T23" fmla="*/ 1465 h 10123"/>
                <a:gd name="T24" fmla="*/ 5162 w 10421"/>
                <a:gd name="T25" fmla="*/ 1368 h 10123"/>
                <a:gd name="T26" fmla="*/ 5003 w 10421"/>
                <a:gd name="T27" fmla="*/ 1659 h 10123"/>
                <a:gd name="T28" fmla="*/ 4977 w 10421"/>
                <a:gd name="T29" fmla="*/ 2445 h 10123"/>
                <a:gd name="T30" fmla="*/ 4703 w 10421"/>
                <a:gd name="T31" fmla="*/ 2498 h 10123"/>
                <a:gd name="T32" fmla="*/ 3644 w 10421"/>
                <a:gd name="T33" fmla="*/ 2921 h 10123"/>
                <a:gd name="T34" fmla="*/ 2965 w 10421"/>
                <a:gd name="T35" fmla="*/ 3230 h 10123"/>
                <a:gd name="T36" fmla="*/ 2462 w 10421"/>
                <a:gd name="T37" fmla="*/ 2815 h 10123"/>
                <a:gd name="T38" fmla="*/ 2162 w 10421"/>
                <a:gd name="T39" fmla="*/ 2806 h 10123"/>
                <a:gd name="T40" fmla="*/ 2241 w 10421"/>
                <a:gd name="T41" fmla="*/ 3133 h 10123"/>
                <a:gd name="T42" fmla="*/ 2735 w 10421"/>
                <a:gd name="T43" fmla="*/ 3459 h 10123"/>
                <a:gd name="T44" fmla="*/ 2841 w 10421"/>
                <a:gd name="T45" fmla="*/ 3760 h 10123"/>
                <a:gd name="T46" fmla="*/ 2471 w 10421"/>
                <a:gd name="T47" fmla="*/ 4677 h 10123"/>
                <a:gd name="T48" fmla="*/ 2312 w 10421"/>
                <a:gd name="T49" fmla="*/ 5728 h 10123"/>
                <a:gd name="T50" fmla="*/ 1535 w 10421"/>
                <a:gd name="T51" fmla="*/ 5886 h 10123"/>
                <a:gd name="T52" fmla="*/ 1429 w 10421"/>
                <a:gd name="T53" fmla="*/ 6160 h 10123"/>
                <a:gd name="T54" fmla="*/ 1703 w 10421"/>
                <a:gd name="T55" fmla="*/ 6239 h 10123"/>
                <a:gd name="T56" fmla="*/ 2338 w 10421"/>
                <a:gd name="T57" fmla="*/ 6063 h 10123"/>
                <a:gd name="T58" fmla="*/ 2815 w 10421"/>
                <a:gd name="T59" fmla="*/ 6681 h 10123"/>
                <a:gd name="T60" fmla="*/ 3662 w 10421"/>
                <a:gd name="T61" fmla="*/ 7571 h 10123"/>
                <a:gd name="T62" fmla="*/ 3777 w 10421"/>
                <a:gd name="T63" fmla="*/ 7783 h 10123"/>
                <a:gd name="T64" fmla="*/ 3450 w 10421"/>
                <a:gd name="T65" fmla="*/ 8454 h 10123"/>
                <a:gd name="T66" fmla="*/ 3494 w 10421"/>
                <a:gd name="T67" fmla="*/ 8754 h 10123"/>
                <a:gd name="T68" fmla="*/ 3732 w 10421"/>
                <a:gd name="T69" fmla="*/ 8736 h 10123"/>
                <a:gd name="T70" fmla="*/ 3971 w 10421"/>
                <a:gd name="T71" fmla="*/ 8145 h 10123"/>
                <a:gd name="T72" fmla="*/ 4227 w 10421"/>
                <a:gd name="T73" fmla="*/ 7871 h 10123"/>
                <a:gd name="T74" fmla="*/ 5127 w 10421"/>
                <a:gd name="T75" fmla="*/ 8039 h 10123"/>
                <a:gd name="T76" fmla="*/ 6229 w 10421"/>
                <a:gd name="T77" fmla="*/ 7871 h 10123"/>
                <a:gd name="T78" fmla="*/ 6529 w 10421"/>
                <a:gd name="T79" fmla="*/ 8383 h 10123"/>
                <a:gd name="T80" fmla="*/ 6820 w 10421"/>
                <a:gd name="T81" fmla="*/ 8771 h 10123"/>
                <a:gd name="T82" fmla="*/ 6996 w 10421"/>
                <a:gd name="T83" fmla="*/ 8559 h 10123"/>
                <a:gd name="T84" fmla="*/ 6670 w 10421"/>
                <a:gd name="T85" fmla="*/ 7933 h 10123"/>
                <a:gd name="T86" fmla="*/ 6705 w 10421"/>
                <a:gd name="T87" fmla="*/ 7615 h 10123"/>
                <a:gd name="T88" fmla="*/ 7420 w 10421"/>
                <a:gd name="T89" fmla="*/ 6971 h 10123"/>
                <a:gd name="T90" fmla="*/ 7887 w 10421"/>
                <a:gd name="T91" fmla="*/ 6151 h 10123"/>
                <a:gd name="T92" fmla="*/ 8770 w 10421"/>
                <a:gd name="T93" fmla="*/ 6257 h 10123"/>
                <a:gd name="T94" fmla="*/ 8999 w 10421"/>
                <a:gd name="T95" fmla="*/ 6151 h 10123"/>
                <a:gd name="T96" fmla="*/ 8937 w 10421"/>
                <a:gd name="T97" fmla="*/ 5913 h 10123"/>
                <a:gd name="T98" fmla="*/ 8390 w 10421"/>
                <a:gd name="T99" fmla="*/ 5816 h 10123"/>
                <a:gd name="T100" fmla="*/ 7993 w 10421"/>
                <a:gd name="T101" fmla="*/ 5578 h 10123"/>
                <a:gd name="T102" fmla="*/ 7923 w 10421"/>
                <a:gd name="T103" fmla="*/ 4571 h 10123"/>
                <a:gd name="T104" fmla="*/ 7561 w 10421"/>
                <a:gd name="T105" fmla="*/ 3742 h 10123"/>
                <a:gd name="T106" fmla="*/ 7790 w 10421"/>
                <a:gd name="T107" fmla="*/ 3371 h 10123"/>
                <a:gd name="T108" fmla="*/ 8240 w 10421"/>
                <a:gd name="T109" fmla="*/ 3054 h 10123"/>
                <a:gd name="T110" fmla="*/ 8240 w 10421"/>
                <a:gd name="T111" fmla="*/ 2780 h 10123"/>
                <a:gd name="T112" fmla="*/ 7949 w 10421"/>
                <a:gd name="T113" fmla="*/ 2815 h 10123"/>
                <a:gd name="T114" fmla="*/ 7411 w 10421"/>
                <a:gd name="T115" fmla="*/ 3265 h 10123"/>
                <a:gd name="T116" fmla="*/ 6881 w 10421"/>
                <a:gd name="T117" fmla="*/ 3027 h 10123"/>
                <a:gd name="T118" fmla="*/ 5893 w 10421"/>
                <a:gd name="T119" fmla="*/ 2533 h 10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21" h="10123">
                  <a:moveTo>
                    <a:pt x="5337" y="0"/>
                  </a:moveTo>
                  <a:lnTo>
                    <a:pt x="5337" y="0"/>
                  </a:lnTo>
                  <a:lnTo>
                    <a:pt x="7579" y="1059"/>
                  </a:lnTo>
                  <a:lnTo>
                    <a:pt x="7579" y="1059"/>
                  </a:lnTo>
                  <a:lnTo>
                    <a:pt x="8311" y="1412"/>
                  </a:lnTo>
                  <a:lnTo>
                    <a:pt x="9052" y="1756"/>
                  </a:lnTo>
                  <a:lnTo>
                    <a:pt x="9052" y="1756"/>
                  </a:lnTo>
                  <a:lnTo>
                    <a:pt x="9140" y="1809"/>
                  </a:lnTo>
                  <a:lnTo>
                    <a:pt x="9229" y="1862"/>
                  </a:lnTo>
                  <a:lnTo>
                    <a:pt x="9299" y="1924"/>
                  </a:lnTo>
                  <a:lnTo>
                    <a:pt x="9370" y="1994"/>
                  </a:lnTo>
                  <a:lnTo>
                    <a:pt x="9423" y="2074"/>
                  </a:lnTo>
                  <a:lnTo>
                    <a:pt x="9467" y="2162"/>
                  </a:lnTo>
                  <a:lnTo>
                    <a:pt x="9502" y="2259"/>
                  </a:lnTo>
                  <a:lnTo>
                    <a:pt x="9537" y="2356"/>
                  </a:lnTo>
                  <a:lnTo>
                    <a:pt x="9537" y="2356"/>
                  </a:lnTo>
                  <a:lnTo>
                    <a:pt x="9961" y="4245"/>
                  </a:lnTo>
                  <a:lnTo>
                    <a:pt x="10393" y="6125"/>
                  </a:lnTo>
                  <a:lnTo>
                    <a:pt x="10393" y="6125"/>
                  </a:lnTo>
                  <a:lnTo>
                    <a:pt x="10411" y="6222"/>
                  </a:lnTo>
                  <a:lnTo>
                    <a:pt x="10420" y="6301"/>
                  </a:lnTo>
                  <a:lnTo>
                    <a:pt x="10411" y="6389"/>
                  </a:lnTo>
                  <a:lnTo>
                    <a:pt x="10402" y="6469"/>
                  </a:lnTo>
                  <a:lnTo>
                    <a:pt x="10376" y="6557"/>
                  </a:lnTo>
                  <a:lnTo>
                    <a:pt x="10340" y="6637"/>
                  </a:lnTo>
                  <a:lnTo>
                    <a:pt x="10296" y="6706"/>
                  </a:lnTo>
                  <a:lnTo>
                    <a:pt x="10243" y="6786"/>
                  </a:lnTo>
                  <a:lnTo>
                    <a:pt x="10243" y="6786"/>
                  </a:lnTo>
                  <a:lnTo>
                    <a:pt x="7790" y="9830"/>
                  </a:lnTo>
                  <a:lnTo>
                    <a:pt x="7790" y="9830"/>
                  </a:lnTo>
                  <a:lnTo>
                    <a:pt x="7729" y="9901"/>
                  </a:lnTo>
                  <a:lnTo>
                    <a:pt x="7667" y="9963"/>
                  </a:lnTo>
                  <a:lnTo>
                    <a:pt x="7596" y="10007"/>
                  </a:lnTo>
                  <a:lnTo>
                    <a:pt x="7526" y="10051"/>
                  </a:lnTo>
                  <a:lnTo>
                    <a:pt x="7455" y="10077"/>
                  </a:lnTo>
                  <a:lnTo>
                    <a:pt x="7367" y="10104"/>
                  </a:lnTo>
                  <a:lnTo>
                    <a:pt x="7287" y="10122"/>
                  </a:lnTo>
                  <a:lnTo>
                    <a:pt x="7190" y="10122"/>
                  </a:lnTo>
                  <a:lnTo>
                    <a:pt x="7190" y="10122"/>
                  </a:lnTo>
                  <a:lnTo>
                    <a:pt x="3229" y="10122"/>
                  </a:lnTo>
                  <a:lnTo>
                    <a:pt x="3229" y="10122"/>
                  </a:lnTo>
                  <a:lnTo>
                    <a:pt x="3141" y="10122"/>
                  </a:lnTo>
                  <a:lnTo>
                    <a:pt x="3053" y="10104"/>
                  </a:lnTo>
                  <a:lnTo>
                    <a:pt x="2974" y="10077"/>
                  </a:lnTo>
                  <a:lnTo>
                    <a:pt x="2894" y="10051"/>
                  </a:lnTo>
                  <a:lnTo>
                    <a:pt x="2824" y="10007"/>
                  </a:lnTo>
                  <a:lnTo>
                    <a:pt x="2753" y="9963"/>
                  </a:lnTo>
                  <a:lnTo>
                    <a:pt x="2691" y="9901"/>
                  </a:lnTo>
                  <a:lnTo>
                    <a:pt x="2638" y="9830"/>
                  </a:lnTo>
                  <a:lnTo>
                    <a:pt x="2638" y="9830"/>
                  </a:lnTo>
                  <a:lnTo>
                    <a:pt x="168" y="6768"/>
                  </a:lnTo>
                  <a:lnTo>
                    <a:pt x="168" y="6768"/>
                  </a:lnTo>
                  <a:lnTo>
                    <a:pt x="115" y="6689"/>
                  </a:lnTo>
                  <a:lnTo>
                    <a:pt x="71" y="6619"/>
                  </a:lnTo>
                  <a:lnTo>
                    <a:pt x="35" y="6539"/>
                  </a:lnTo>
                  <a:lnTo>
                    <a:pt x="18" y="6460"/>
                  </a:lnTo>
                  <a:lnTo>
                    <a:pt x="9" y="6381"/>
                  </a:lnTo>
                  <a:lnTo>
                    <a:pt x="0" y="6301"/>
                  </a:lnTo>
                  <a:lnTo>
                    <a:pt x="9" y="6213"/>
                  </a:lnTo>
                  <a:lnTo>
                    <a:pt x="27" y="6125"/>
                  </a:lnTo>
                  <a:lnTo>
                    <a:pt x="27" y="6125"/>
                  </a:lnTo>
                  <a:lnTo>
                    <a:pt x="900" y="2321"/>
                  </a:lnTo>
                  <a:lnTo>
                    <a:pt x="900" y="2321"/>
                  </a:lnTo>
                  <a:lnTo>
                    <a:pt x="927" y="2233"/>
                  </a:lnTo>
                  <a:lnTo>
                    <a:pt x="962" y="2145"/>
                  </a:lnTo>
                  <a:lnTo>
                    <a:pt x="1006" y="2065"/>
                  </a:lnTo>
                  <a:lnTo>
                    <a:pt x="1059" y="1994"/>
                  </a:lnTo>
                  <a:lnTo>
                    <a:pt x="1121" y="1924"/>
                  </a:lnTo>
                  <a:lnTo>
                    <a:pt x="1182" y="1871"/>
                  </a:lnTo>
                  <a:lnTo>
                    <a:pt x="1262" y="1818"/>
                  </a:lnTo>
                  <a:lnTo>
                    <a:pt x="1350" y="1765"/>
                  </a:lnTo>
                  <a:lnTo>
                    <a:pt x="1350" y="1765"/>
                  </a:lnTo>
                  <a:lnTo>
                    <a:pt x="3106" y="935"/>
                  </a:lnTo>
                  <a:lnTo>
                    <a:pt x="4853" y="97"/>
                  </a:lnTo>
                  <a:lnTo>
                    <a:pt x="4853" y="97"/>
                  </a:lnTo>
                  <a:lnTo>
                    <a:pt x="5074" y="0"/>
                  </a:lnTo>
                  <a:lnTo>
                    <a:pt x="5074" y="0"/>
                  </a:lnTo>
                  <a:lnTo>
                    <a:pt x="5337" y="0"/>
                  </a:lnTo>
                  <a:close/>
                  <a:moveTo>
                    <a:pt x="5434" y="2462"/>
                  </a:moveTo>
                  <a:lnTo>
                    <a:pt x="5434" y="2462"/>
                  </a:lnTo>
                  <a:lnTo>
                    <a:pt x="5434" y="2409"/>
                  </a:lnTo>
                  <a:lnTo>
                    <a:pt x="5434" y="2383"/>
                  </a:lnTo>
                  <a:lnTo>
                    <a:pt x="5426" y="2365"/>
                  </a:lnTo>
                  <a:lnTo>
                    <a:pt x="5426" y="2365"/>
                  </a:lnTo>
                  <a:lnTo>
                    <a:pt x="5390" y="2303"/>
                  </a:lnTo>
                  <a:lnTo>
                    <a:pt x="5373" y="2250"/>
                  </a:lnTo>
                  <a:lnTo>
                    <a:pt x="5355" y="2197"/>
                  </a:lnTo>
                  <a:lnTo>
                    <a:pt x="5355" y="2136"/>
                  </a:lnTo>
                  <a:lnTo>
                    <a:pt x="5364" y="2021"/>
                  </a:lnTo>
                  <a:lnTo>
                    <a:pt x="5381" y="1897"/>
                  </a:lnTo>
                  <a:lnTo>
                    <a:pt x="5381" y="1897"/>
                  </a:lnTo>
                  <a:lnTo>
                    <a:pt x="5399" y="1721"/>
                  </a:lnTo>
                  <a:lnTo>
                    <a:pt x="5408" y="1544"/>
                  </a:lnTo>
                  <a:lnTo>
                    <a:pt x="5408" y="1544"/>
                  </a:lnTo>
                  <a:lnTo>
                    <a:pt x="5408" y="1500"/>
                  </a:lnTo>
                  <a:lnTo>
                    <a:pt x="5390" y="1465"/>
                  </a:lnTo>
                  <a:lnTo>
                    <a:pt x="5373" y="1439"/>
                  </a:lnTo>
                  <a:lnTo>
                    <a:pt x="5355" y="1412"/>
                  </a:lnTo>
                  <a:lnTo>
                    <a:pt x="5329" y="1386"/>
                  </a:lnTo>
                  <a:lnTo>
                    <a:pt x="5293" y="1377"/>
                  </a:lnTo>
                  <a:lnTo>
                    <a:pt x="5258" y="1359"/>
                  </a:lnTo>
                  <a:lnTo>
                    <a:pt x="5215" y="1359"/>
                  </a:lnTo>
                  <a:lnTo>
                    <a:pt x="5215" y="1359"/>
                  </a:lnTo>
                  <a:lnTo>
                    <a:pt x="5162" y="1368"/>
                  </a:lnTo>
                  <a:lnTo>
                    <a:pt x="5118" y="1386"/>
                  </a:lnTo>
                  <a:lnTo>
                    <a:pt x="5082" y="1412"/>
                  </a:lnTo>
                  <a:lnTo>
                    <a:pt x="5047" y="1447"/>
                  </a:lnTo>
                  <a:lnTo>
                    <a:pt x="5021" y="1491"/>
                  </a:lnTo>
                  <a:lnTo>
                    <a:pt x="5003" y="1544"/>
                  </a:lnTo>
                  <a:lnTo>
                    <a:pt x="4994" y="1606"/>
                  </a:lnTo>
                  <a:lnTo>
                    <a:pt x="5003" y="1659"/>
                  </a:lnTo>
                  <a:lnTo>
                    <a:pt x="5003" y="1659"/>
                  </a:lnTo>
                  <a:lnTo>
                    <a:pt x="5047" y="1906"/>
                  </a:lnTo>
                  <a:lnTo>
                    <a:pt x="5056" y="2021"/>
                  </a:lnTo>
                  <a:lnTo>
                    <a:pt x="5065" y="2145"/>
                  </a:lnTo>
                  <a:lnTo>
                    <a:pt x="5065" y="2145"/>
                  </a:lnTo>
                  <a:lnTo>
                    <a:pt x="5056" y="2224"/>
                  </a:lnTo>
                  <a:lnTo>
                    <a:pt x="5038" y="2303"/>
                  </a:lnTo>
                  <a:lnTo>
                    <a:pt x="5012" y="2374"/>
                  </a:lnTo>
                  <a:lnTo>
                    <a:pt x="4977" y="2445"/>
                  </a:lnTo>
                  <a:lnTo>
                    <a:pt x="4977" y="2445"/>
                  </a:lnTo>
                  <a:lnTo>
                    <a:pt x="4959" y="2453"/>
                  </a:lnTo>
                  <a:lnTo>
                    <a:pt x="4941" y="2462"/>
                  </a:lnTo>
                  <a:lnTo>
                    <a:pt x="4897" y="2471"/>
                  </a:lnTo>
                  <a:lnTo>
                    <a:pt x="4791" y="2471"/>
                  </a:lnTo>
                  <a:lnTo>
                    <a:pt x="4791" y="2471"/>
                  </a:lnTo>
                  <a:lnTo>
                    <a:pt x="4703" y="2498"/>
                  </a:lnTo>
                  <a:lnTo>
                    <a:pt x="4703" y="2498"/>
                  </a:lnTo>
                  <a:lnTo>
                    <a:pt x="4465" y="2550"/>
                  </a:lnTo>
                  <a:lnTo>
                    <a:pt x="4235" y="2621"/>
                  </a:lnTo>
                  <a:lnTo>
                    <a:pt x="4121" y="2665"/>
                  </a:lnTo>
                  <a:lnTo>
                    <a:pt x="4006" y="2709"/>
                  </a:lnTo>
                  <a:lnTo>
                    <a:pt x="3900" y="2762"/>
                  </a:lnTo>
                  <a:lnTo>
                    <a:pt x="3794" y="2824"/>
                  </a:lnTo>
                  <a:lnTo>
                    <a:pt x="3794" y="2824"/>
                  </a:lnTo>
                  <a:lnTo>
                    <a:pt x="3644" y="2921"/>
                  </a:lnTo>
                  <a:lnTo>
                    <a:pt x="3503" y="3036"/>
                  </a:lnTo>
                  <a:lnTo>
                    <a:pt x="3221" y="3274"/>
                  </a:lnTo>
                  <a:lnTo>
                    <a:pt x="3221" y="3274"/>
                  </a:lnTo>
                  <a:lnTo>
                    <a:pt x="3177" y="3301"/>
                  </a:lnTo>
                  <a:lnTo>
                    <a:pt x="3159" y="3309"/>
                  </a:lnTo>
                  <a:lnTo>
                    <a:pt x="3150" y="3309"/>
                  </a:lnTo>
                  <a:lnTo>
                    <a:pt x="3150" y="3309"/>
                  </a:lnTo>
                  <a:lnTo>
                    <a:pt x="2965" y="3230"/>
                  </a:lnTo>
                  <a:lnTo>
                    <a:pt x="2885" y="3186"/>
                  </a:lnTo>
                  <a:lnTo>
                    <a:pt x="2797" y="3133"/>
                  </a:lnTo>
                  <a:lnTo>
                    <a:pt x="2797" y="3133"/>
                  </a:lnTo>
                  <a:lnTo>
                    <a:pt x="2718" y="3062"/>
                  </a:lnTo>
                  <a:lnTo>
                    <a:pt x="2647" y="2992"/>
                  </a:lnTo>
                  <a:lnTo>
                    <a:pt x="2506" y="2842"/>
                  </a:lnTo>
                  <a:lnTo>
                    <a:pt x="2506" y="2842"/>
                  </a:lnTo>
                  <a:lnTo>
                    <a:pt x="2462" y="2815"/>
                  </a:lnTo>
                  <a:lnTo>
                    <a:pt x="2418" y="2789"/>
                  </a:lnTo>
                  <a:lnTo>
                    <a:pt x="2374" y="2771"/>
                  </a:lnTo>
                  <a:lnTo>
                    <a:pt x="2321" y="2762"/>
                  </a:lnTo>
                  <a:lnTo>
                    <a:pt x="2277" y="2762"/>
                  </a:lnTo>
                  <a:lnTo>
                    <a:pt x="2232" y="2762"/>
                  </a:lnTo>
                  <a:lnTo>
                    <a:pt x="2188" y="2780"/>
                  </a:lnTo>
                  <a:lnTo>
                    <a:pt x="2162" y="2806"/>
                  </a:lnTo>
                  <a:lnTo>
                    <a:pt x="2162" y="2806"/>
                  </a:lnTo>
                  <a:lnTo>
                    <a:pt x="2135" y="2842"/>
                  </a:lnTo>
                  <a:lnTo>
                    <a:pt x="2127" y="2886"/>
                  </a:lnTo>
                  <a:lnTo>
                    <a:pt x="2118" y="2921"/>
                  </a:lnTo>
                  <a:lnTo>
                    <a:pt x="2127" y="2965"/>
                  </a:lnTo>
                  <a:lnTo>
                    <a:pt x="2144" y="3018"/>
                  </a:lnTo>
                  <a:lnTo>
                    <a:pt x="2171" y="3062"/>
                  </a:lnTo>
                  <a:lnTo>
                    <a:pt x="2206" y="3098"/>
                  </a:lnTo>
                  <a:lnTo>
                    <a:pt x="2241" y="3133"/>
                  </a:lnTo>
                  <a:lnTo>
                    <a:pt x="2241" y="3133"/>
                  </a:lnTo>
                  <a:lnTo>
                    <a:pt x="2268" y="3151"/>
                  </a:lnTo>
                  <a:lnTo>
                    <a:pt x="2268" y="3151"/>
                  </a:lnTo>
                  <a:lnTo>
                    <a:pt x="2347" y="3204"/>
                  </a:lnTo>
                  <a:lnTo>
                    <a:pt x="2427" y="3248"/>
                  </a:lnTo>
                  <a:lnTo>
                    <a:pt x="2585" y="3345"/>
                  </a:lnTo>
                  <a:lnTo>
                    <a:pt x="2665" y="3398"/>
                  </a:lnTo>
                  <a:lnTo>
                    <a:pt x="2735" y="3459"/>
                  </a:lnTo>
                  <a:lnTo>
                    <a:pt x="2788" y="3539"/>
                  </a:lnTo>
                  <a:lnTo>
                    <a:pt x="2815" y="3583"/>
                  </a:lnTo>
                  <a:lnTo>
                    <a:pt x="2832" y="3636"/>
                  </a:lnTo>
                  <a:lnTo>
                    <a:pt x="2832" y="3636"/>
                  </a:lnTo>
                  <a:lnTo>
                    <a:pt x="2850" y="3698"/>
                  </a:lnTo>
                  <a:lnTo>
                    <a:pt x="2850" y="3724"/>
                  </a:lnTo>
                  <a:lnTo>
                    <a:pt x="2841" y="3760"/>
                  </a:lnTo>
                  <a:lnTo>
                    <a:pt x="2841" y="3760"/>
                  </a:lnTo>
                  <a:lnTo>
                    <a:pt x="2727" y="3989"/>
                  </a:lnTo>
                  <a:lnTo>
                    <a:pt x="2665" y="4113"/>
                  </a:lnTo>
                  <a:lnTo>
                    <a:pt x="2612" y="4227"/>
                  </a:lnTo>
                  <a:lnTo>
                    <a:pt x="2612" y="4227"/>
                  </a:lnTo>
                  <a:lnTo>
                    <a:pt x="2568" y="4342"/>
                  </a:lnTo>
                  <a:lnTo>
                    <a:pt x="2524" y="4448"/>
                  </a:lnTo>
                  <a:lnTo>
                    <a:pt x="2497" y="4563"/>
                  </a:lnTo>
                  <a:lnTo>
                    <a:pt x="2471" y="4677"/>
                  </a:lnTo>
                  <a:lnTo>
                    <a:pt x="2444" y="4792"/>
                  </a:lnTo>
                  <a:lnTo>
                    <a:pt x="2427" y="4907"/>
                  </a:lnTo>
                  <a:lnTo>
                    <a:pt x="2409" y="5145"/>
                  </a:lnTo>
                  <a:lnTo>
                    <a:pt x="2409" y="5145"/>
                  </a:lnTo>
                  <a:lnTo>
                    <a:pt x="2409" y="5392"/>
                  </a:lnTo>
                  <a:lnTo>
                    <a:pt x="2409" y="5657"/>
                  </a:lnTo>
                  <a:lnTo>
                    <a:pt x="2409" y="5657"/>
                  </a:lnTo>
                  <a:lnTo>
                    <a:pt x="2312" y="5728"/>
                  </a:lnTo>
                  <a:lnTo>
                    <a:pt x="2259" y="5763"/>
                  </a:lnTo>
                  <a:lnTo>
                    <a:pt x="2197" y="5781"/>
                  </a:lnTo>
                  <a:lnTo>
                    <a:pt x="2197" y="5781"/>
                  </a:lnTo>
                  <a:lnTo>
                    <a:pt x="2038" y="5807"/>
                  </a:lnTo>
                  <a:lnTo>
                    <a:pt x="1888" y="5833"/>
                  </a:lnTo>
                  <a:lnTo>
                    <a:pt x="1571" y="5878"/>
                  </a:lnTo>
                  <a:lnTo>
                    <a:pt x="1571" y="5878"/>
                  </a:lnTo>
                  <a:lnTo>
                    <a:pt x="1535" y="5886"/>
                  </a:lnTo>
                  <a:lnTo>
                    <a:pt x="1509" y="5904"/>
                  </a:lnTo>
                  <a:lnTo>
                    <a:pt x="1482" y="5922"/>
                  </a:lnTo>
                  <a:lnTo>
                    <a:pt x="1465" y="5948"/>
                  </a:lnTo>
                  <a:lnTo>
                    <a:pt x="1429" y="6001"/>
                  </a:lnTo>
                  <a:lnTo>
                    <a:pt x="1421" y="6063"/>
                  </a:lnTo>
                  <a:lnTo>
                    <a:pt x="1421" y="6063"/>
                  </a:lnTo>
                  <a:lnTo>
                    <a:pt x="1421" y="6134"/>
                  </a:lnTo>
                  <a:lnTo>
                    <a:pt x="1429" y="6160"/>
                  </a:lnTo>
                  <a:lnTo>
                    <a:pt x="1447" y="6186"/>
                  </a:lnTo>
                  <a:lnTo>
                    <a:pt x="1465" y="6213"/>
                  </a:lnTo>
                  <a:lnTo>
                    <a:pt x="1482" y="6222"/>
                  </a:lnTo>
                  <a:lnTo>
                    <a:pt x="1518" y="6239"/>
                  </a:lnTo>
                  <a:lnTo>
                    <a:pt x="1553" y="6248"/>
                  </a:lnTo>
                  <a:lnTo>
                    <a:pt x="1553" y="6248"/>
                  </a:lnTo>
                  <a:lnTo>
                    <a:pt x="1659" y="6248"/>
                  </a:lnTo>
                  <a:lnTo>
                    <a:pt x="1703" y="6239"/>
                  </a:lnTo>
                  <a:lnTo>
                    <a:pt x="1756" y="6231"/>
                  </a:lnTo>
                  <a:lnTo>
                    <a:pt x="1756" y="6231"/>
                  </a:lnTo>
                  <a:lnTo>
                    <a:pt x="1853" y="6204"/>
                  </a:lnTo>
                  <a:lnTo>
                    <a:pt x="1950" y="6169"/>
                  </a:lnTo>
                  <a:lnTo>
                    <a:pt x="2047" y="6125"/>
                  </a:lnTo>
                  <a:lnTo>
                    <a:pt x="2135" y="6098"/>
                  </a:lnTo>
                  <a:lnTo>
                    <a:pt x="2232" y="6072"/>
                  </a:lnTo>
                  <a:lnTo>
                    <a:pt x="2338" y="6063"/>
                  </a:lnTo>
                  <a:lnTo>
                    <a:pt x="2382" y="6072"/>
                  </a:lnTo>
                  <a:lnTo>
                    <a:pt x="2435" y="6081"/>
                  </a:lnTo>
                  <a:lnTo>
                    <a:pt x="2488" y="6098"/>
                  </a:lnTo>
                  <a:lnTo>
                    <a:pt x="2541" y="6116"/>
                  </a:lnTo>
                  <a:lnTo>
                    <a:pt x="2541" y="6116"/>
                  </a:lnTo>
                  <a:lnTo>
                    <a:pt x="2735" y="6522"/>
                  </a:lnTo>
                  <a:lnTo>
                    <a:pt x="2735" y="6522"/>
                  </a:lnTo>
                  <a:lnTo>
                    <a:pt x="2815" y="6681"/>
                  </a:lnTo>
                  <a:lnTo>
                    <a:pt x="2912" y="6830"/>
                  </a:lnTo>
                  <a:lnTo>
                    <a:pt x="3018" y="6980"/>
                  </a:lnTo>
                  <a:lnTo>
                    <a:pt x="3124" y="7112"/>
                  </a:lnTo>
                  <a:lnTo>
                    <a:pt x="3247" y="7236"/>
                  </a:lnTo>
                  <a:lnTo>
                    <a:pt x="3379" y="7359"/>
                  </a:lnTo>
                  <a:lnTo>
                    <a:pt x="3512" y="7465"/>
                  </a:lnTo>
                  <a:lnTo>
                    <a:pt x="3662" y="7571"/>
                  </a:lnTo>
                  <a:lnTo>
                    <a:pt x="3662" y="7571"/>
                  </a:lnTo>
                  <a:lnTo>
                    <a:pt x="3706" y="7597"/>
                  </a:lnTo>
                  <a:lnTo>
                    <a:pt x="3759" y="7624"/>
                  </a:lnTo>
                  <a:lnTo>
                    <a:pt x="3777" y="7642"/>
                  </a:lnTo>
                  <a:lnTo>
                    <a:pt x="3785" y="7659"/>
                  </a:lnTo>
                  <a:lnTo>
                    <a:pt x="3794" y="7695"/>
                  </a:lnTo>
                  <a:lnTo>
                    <a:pt x="3785" y="7730"/>
                  </a:lnTo>
                  <a:lnTo>
                    <a:pt x="3785" y="7730"/>
                  </a:lnTo>
                  <a:lnTo>
                    <a:pt x="3777" y="7783"/>
                  </a:lnTo>
                  <a:lnTo>
                    <a:pt x="3777" y="7845"/>
                  </a:lnTo>
                  <a:lnTo>
                    <a:pt x="3768" y="7898"/>
                  </a:lnTo>
                  <a:lnTo>
                    <a:pt x="3759" y="7951"/>
                  </a:lnTo>
                  <a:lnTo>
                    <a:pt x="3759" y="7951"/>
                  </a:lnTo>
                  <a:lnTo>
                    <a:pt x="3679" y="8074"/>
                  </a:lnTo>
                  <a:lnTo>
                    <a:pt x="3609" y="8206"/>
                  </a:lnTo>
                  <a:lnTo>
                    <a:pt x="3450" y="8454"/>
                  </a:lnTo>
                  <a:lnTo>
                    <a:pt x="3450" y="8454"/>
                  </a:lnTo>
                  <a:lnTo>
                    <a:pt x="3432" y="8498"/>
                  </a:lnTo>
                  <a:lnTo>
                    <a:pt x="3424" y="8533"/>
                  </a:lnTo>
                  <a:lnTo>
                    <a:pt x="3415" y="8577"/>
                  </a:lnTo>
                  <a:lnTo>
                    <a:pt x="3415" y="8621"/>
                  </a:lnTo>
                  <a:lnTo>
                    <a:pt x="3415" y="8621"/>
                  </a:lnTo>
                  <a:lnTo>
                    <a:pt x="3441" y="8683"/>
                  </a:lnTo>
                  <a:lnTo>
                    <a:pt x="3477" y="8736"/>
                  </a:lnTo>
                  <a:lnTo>
                    <a:pt x="3494" y="8754"/>
                  </a:lnTo>
                  <a:lnTo>
                    <a:pt x="3529" y="8771"/>
                  </a:lnTo>
                  <a:lnTo>
                    <a:pt x="3556" y="8780"/>
                  </a:lnTo>
                  <a:lnTo>
                    <a:pt x="3600" y="8780"/>
                  </a:lnTo>
                  <a:lnTo>
                    <a:pt x="3600" y="8780"/>
                  </a:lnTo>
                  <a:lnTo>
                    <a:pt x="3635" y="8780"/>
                  </a:lnTo>
                  <a:lnTo>
                    <a:pt x="3671" y="8771"/>
                  </a:lnTo>
                  <a:lnTo>
                    <a:pt x="3706" y="8754"/>
                  </a:lnTo>
                  <a:lnTo>
                    <a:pt x="3732" y="8736"/>
                  </a:lnTo>
                  <a:lnTo>
                    <a:pt x="3777" y="8683"/>
                  </a:lnTo>
                  <a:lnTo>
                    <a:pt x="3812" y="8621"/>
                  </a:lnTo>
                  <a:lnTo>
                    <a:pt x="3812" y="8621"/>
                  </a:lnTo>
                  <a:lnTo>
                    <a:pt x="3891" y="8409"/>
                  </a:lnTo>
                  <a:lnTo>
                    <a:pt x="3927" y="8304"/>
                  </a:lnTo>
                  <a:lnTo>
                    <a:pt x="3953" y="8198"/>
                  </a:lnTo>
                  <a:lnTo>
                    <a:pt x="3953" y="8198"/>
                  </a:lnTo>
                  <a:lnTo>
                    <a:pt x="3971" y="8145"/>
                  </a:lnTo>
                  <a:lnTo>
                    <a:pt x="3997" y="8101"/>
                  </a:lnTo>
                  <a:lnTo>
                    <a:pt x="4024" y="8056"/>
                  </a:lnTo>
                  <a:lnTo>
                    <a:pt x="4059" y="8021"/>
                  </a:lnTo>
                  <a:lnTo>
                    <a:pt x="4129" y="7951"/>
                  </a:lnTo>
                  <a:lnTo>
                    <a:pt x="4191" y="7880"/>
                  </a:lnTo>
                  <a:lnTo>
                    <a:pt x="4191" y="7880"/>
                  </a:lnTo>
                  <a:lnTo>
                    <a:pt x="4209" y="7871"/>
                  </a:lnTo>
                  <a:lnTo>
                    <a:pt x="4227" y="7871"/>
                  </a:lnTo>
                  <a:lnTo>
                    <a:pt x="4262" y="7871"/>
                  </a:lnTo>
                  <a:lnTo>
                    <a:pt x="4262" y="7871"/>
                  </a:lnTo>
                  <a:lnTo>
                    <a:pt x="4615" y="7968"/>
                  </a:lnTo>
                  <a:lnTo>
                    <a:pt x="4615" y="7968"/>
                  </a:lnTo>
                  <a:lnTo>
                    <a:pt x="4738" y="8003"/>
                  </a:lnTo>
                  <a:lnTo>
                    <a:pt x="4871" y="8021"/>
                  </a:lnTo>
                  <a:lnTo>
                    <a:pt x="4994" y="8039"/>
                  </a:lnTo>
                  <a:lnTo>
                    <a:pt x="5127" y="8039"/>
                  </a:lnTo>
                  <a:lnTo>
                    <a:pt x="5250" y="8039"/>
                  </a:lnTo>
                  <a:lnTo>
                    <a:pt x="5381" y="8030"/>
                  </a:lnTo>
                  <a:lnTo>
                    <a:pt x="5637" y="8003"/>
                  </a:lnTo>
                  <a:lnTo>
                    <a:pt x="5637" y="8003"/>
                  </a:lnTo>
                  <a:lnTo>
                    <a:pt x="5787" y="7977"/>
                  </a:lnTo>
                  <a:lnTo>
                    <a:pt x="5929" y="7942"/>
                  </a:lnTo>
                  <a:lnTo>
                    <a:pt x="6229" y="7871"/>
                  </a:lnTo>
                  <a:lnTo>
                    <a:pt x="6229" y="7871"/>
                  </a:lnTo>
                  <a:lnTo>
                    <a:pt x="6299" y="7959"/>
                  </a:lnTo>
                  <a:lnTo>
                    <a:pt x="6299" y="7959"/>
                  </a:lnTo>
                  <a:lnTo>
                    <a:pt x="6396" y="8065"/>
                  </a:lnTo>
                  <a:lnTo>
                    <a:pt x="6431" y="8118"/>
                  </a:lnTo>
                  <a:lnTo>
                    <a:pt x="6467" y="8180"/>
                  </a:lnTo>
                  <a:lnTo>
                    <a:pt x="6467" y="8180"/>
                  </a:lnTo>
                  <a:lnTo>
                    <a:pt x="6502" y="8277"/>
                  </a:lnTo>
                  <a:lnTo>
                    <a:pt x="6529" y="8383"/>
                  </a:lnTo>
                  <a:lnTo>
                    <a:pt x="6564" y="8489"/>
                  </a:lnTo>
                  <a:lnTo>
                    <a:pt x="6599" y="8595"/>
                  </a:lnTo>
                  <a:lnTo>
                    <a:pt x="6599" y="8595"/>
                  </a:lnTo>
                  <a:lnTo>
                    <a:pt x="6643" y="8648"/>
                  </a:lnTo>
                  <a:lnTo>
                    <a:pt x="6696" y="8701"/>
                  </a:lnTo>
                  <a:lnTo>
                    <a:pt x="6749" y="8745"/>
                  </a:lnTo>
                  <a:lnTo>
                    <a:pt x="6820" y="8771"/>
                  </a:lnTo>
                  <a:lnTo>
                    <a:pt x="6820" y="8771"/>
                  </a:lnTo>
                  <a:lnTo>
                    <a:pt x="6829" y="8771"/>
                  </a:lnTo>
                  <a:lnTo>
                    <a:pt x="6855" y="8771"/>
                  </a:lnTo>
                  <a:lnTo>
                    <a:pt x="6899" y="8745"/>
                  </a:lnTo>
                  <a:lnTo>
                    <a:pt x="6952" y="8701"/>
                  </a:lnTo>
                  <a:lnTo>
                    <a:pt x="6979" y="8665"/>
                  </a:lnTo>
                  <a:lnTo>
                    <a:pt x="6979" y="8665"/>
                  </a:lnTo>
                  <a:lnTo>
                    <a:pt x="6996" y="8612"/>
                  </a:lnTo>
                  <a:lnTo>
                    <a:pt x="6996" y="8559"/>
                  </a:lnTo>
                  <a:lnTo>
                    <a:pt x="6987" y="8498"/>
                  </a:lnTo>
                  <a:lnTo>
                    <a:pt x="6970" y="8445"/>
                  </a:lnTo>
                  <a:lnTo>
                    <a:pt x="6970" y="8445"/>
                  </a:lnTo>
                  <a:lnTo>
                    <a:pt x="6926" y="8356"/>
                  </a:lnTo>
                  <a:lnTo>
                    <a:pt x="6873" y="8277"/>
                  </a:lnTo>
                  <a:lnTo>
                    <a:pt x="6758" y="8109"/>
                  </a:lnTo>
                  <a:lnTo>
                    <a:pt x="6705" y="8021"/>
                  </a:lnTo>
                  <a:lnTo>
                    <a:pt x="6670" y="7933"/>
                  </a:lnTo>
                  <a:lnTo>
                    <a:pt x="6652" y="7836"/>
                  </a:lnTo>
                  <a:lnTo>
                    <a:pt x="6643" y="7783"/>
                  </a:lnTo>
                  <a:lnTo>
                    <a:pt x="6643" y="7730"/>
                  </a:lnTo>
                  <a:lnTo>
                    <a:pt x="6643" y="7730"/>
                  </a:lnTo>
                  <a:lnTo>
                    <a:pt x="6652" y="7695"/>
                  </a:lnTo>
                  <a:lnTo>
                    <a:pt x="6670" y="7668"/>
                  </a:lnTo>
                  <a:lnTo>
                    <a:pt x="6687" y="7642"/>
                  </a:lnTo>
                  <a:lnTo>
                    <a:pt x="6705" y="7615"/>
                  </a:lnTo>
                  <a:lnTo>
                    <a:pt x="6705" y="7615"/>
                  </a:lnTo>
                  <a:lnTo>
                    <a:pt x="6890" y="7483"/>
                  </a:lnTo>
                  <a:lnTo>
                    <a:pt x="6987" y="7412"/>
                  </a:lnTo>
                  <a:lnTo>
                    <a:pt x="7076" y="7342"/>
                  </a:lnTo>
                  <a:lnTo>
                    <a:pt x="7076" y="7342"/>
                  </a:lnTo>
                  <a:lnTo>
                    <a:pt x="7199" y="7227"/>
                  </a:lnTo>
                  <a:lnTo>
                    <a:pt x="7314" y="7103"/>
                  </a:lnTo>
                  <a:lnTo>
                    <a:pt x="7420" y="6971"/>
                  </a:lnTo>
                  <a:lnTo>
                    <a:pt x="7517" y="6839"/>
                  </a:lnTo>
                  <a:lnTo>
                    <a:pt x="7605" y="6697"/>
                  </a:lnTo>
                  <a:lnTo>
                    <a:pt x="7693" y="6557"/>
                  </a:lnTo>
                  <a:lnTo>
                    <a:pt x="7764" y="6398"/>
                  </a:lnTo>
                  <a:lnTo>
                    <a:pt x="7826" y="6239"/>
                  </a:lnTo>
                  <a:lnTo>
                    <a:pt x="7826" y="6239"/>
                  </a:lnTo>
                  <a:lnTo>
                    <a:pt x="7852" y="6195"/>
                  </a:lnTo>
                  <a:lnTo>
                    <a:pt x="7887" y="6151"/>
                  </a:lnTo>
                  <a:lnTo>
                    <a:pt x="7923" y="6116"/>
                  </a:lnTo>
                  <a:lnTo>
                    <a:pt x="7967" y="6089"/>
                  </a:lnTo>
                  <a:lnTo>
                    <a:pt x="8011" y="6063"/>
                  </a:lnTo>
                  <a:lnTo>
                    <a:pt x="8064" y="6054"/>
                  </a:lnTo>
                  <a:lnTo>
                    <a:pt x="8117" y="6054"/>
                  </a:lnTo>
                  <a:lnTo>
                    <a:pt x="8170" y="6063"/>
                  </a:lnTo>
                  <a:lnTo>
                    <a:pt x="8170" y="6063"/>
                  </a:lnTo>
                  <a:lnTo>
                    <a:pt x="8770" y="6257"/>
                  </a:lnTo>
                  <a:lnTo>
                    <a:pt x="8770" y="6257"/>
                  </a:lnTo>
                  <a:lnTo>
                    <a:pt x="8805" y="6257"/>
                  </a:lnTo>
                  <a:lnTo>
                    <a:pt x="8840" y="6257"/>
                  </a:lnTo>
                  <a:lnTo>
                    <a:pt x="8884" y="6248"/>
                  </a:lnTo>
                  <a:lnTo>
                    <a:pt x="8920" y="6231"/>
                  </a:lnTo>
                  <a:lnTo>
                    <a:pt x="8946" y="6204"/>
                  </a:lnTo>
                  <a:lnTo>
                    <a:pt x="8981" y="6178"/>
                  </a:lnTo>
                  <a:lnTo>
                    <a:pt x="8999" y="6151"/>
                  </a:lnTo>
                  <a:lnTo>
                    <a:pt x="9008" y="6116"/>
                  </a:lnTo>
                  <a:lnTo>
                    <a:pt x="9008" y="6116"/>
                  </a:lnTo>
                  <a:lnTo>
                    <a:pt x="9017" y="6081"/>
                  </a:lnTo>
                  <a:lnTo>
                    <a:pt x="9008" y="6036"/>
                  </a:lnTo>
                  <a:lnTo>
                    <a:pt x="8999" y="6001"/>
                  </a:lnTo>
                  <a:lnTo>
                    <a:pt x="8981" y="5966"/>
                  </a:lnTo>
                  <a:lnTo>
                    <a:pt x="8964" y="5939"/>
                  </a:lnTo>
                  <a:lnTo>
                    <a:pt x="8937" y="5913"/>
                  </a:lnTo>
                  <a:lnTo>
                    <a:pt x="8902" y="5895"/>
                  </a:lnTo>
                  <a:lnTo>
                    <a:pt x="8867" y="5878"/>
                  </a:lnTo>
                  <a:lnTo>
                    <a:pt x="8867" y="5878"/>
                  </a:lnTo>
                  <a:lnTo>
                    <a:pt x="8681" y="5860"/>
                  </a:lnTo>
                  <a:lnTo>
                    <a:pt x="8593" y="5851"/>
                  </a:lnTo>
                  <a:lnTo>
                    <a:pt x="8496" y="5833"/>
                  </a:lnTo>
                  <a:lnTo>
                    <a:pt x="8496" y="5833"/>
                  </a:lnTo>
                  <a:lnTo>
                    <a:pt x="8390" y="5816"/>
                  </a:lnTo>
                  <a:lnTo>
                    <a:pt x="8276" y="5798"/>
                  </a:lnTo>
                  <a:lnTo>
                    <a:pt x="8223" y="5781"/>
                  </a:lnTo>
                  <a:lnTo>
                    <a:pt x="8170" y="5763"/>
                  </a:lnTo>
                  <a:lnTo>
                    <a:pt x="8126" y="5728"/>
                  </a:lnTo>
                  <a:lnTo>
                    <a:pt x="8081" y="5683"/>
                  </a:lnTo>
                  <a:lnTo>
                    <a:pt x="8081" y="5683"/>
                  </a:lnTo>
                  <a:lnTo>
                    <a:pt x="8020" y="5613"/>
                  </a:lnTo>
                  <a:lnTo>
                    <a:pt x="7993" y="5578"/>
                  </a:lnTo>
                  <a:lnTo>
                    <a:pt x="7993" y="5525"/>
                  </a:lnTo>
                  <a:lnTo>
                    <a:pt x="7993" y="5525"/>
                  </a:lnTo>
                  <a:lnTo>
                    <a:pt x="7993" y="5313"/>
                  </a:lnTo>
                  <a:lnTo>
                    <a:pt x="7984" y="5110"/>
                  </a:lnTo>
                  <a:lnTo>
                    <a:pt x="7976" y="4898"/>
                  </a:lnTo>
                  <a:lnTo>
                    <a:pt x="7949" y="4695"/>
                  </a:lnTo>
                  <a:lnTo>
                    <a:pt x="7949" y="4695"/>
                  </a:lnTo>
                  <a:lnTo>
                    <a:pt x="7923" y="4571"/>
                  </a:lnTo>
                  <a:lnTo>
                    <a:pt x="7896" y="4448"/>
                  </a:lnTo>
                  <a:lnTo>
                    <a:pt x="7852" y="4324"/>
                  </a:lnTo>
                  <a:lnTo>
                    <a:pt x="7808" y="4201"/>
                  </a:lnTo>
                  <a:lnTo>
                    <a:pt x="7764" y="4077"/>
                  </a:lnTo>
                  <a:lnTo>
                    <a:pt x="7702" y="3963"/>
                  </a:lnTo>
                  <a:lnTo>
                    <a:pt x="7640" y="3848"/>
                  </a:lnTo>
                  <a:lnTo>
                    <a:pt x="7561" y="3742"/>
                  </a:lnTo>
                  <a:lnTo>
                    <a:pt x="7561" y="3742"/>
                  </a:lnTo>
                  <a:lnTo>
                    <a:pt x="7543" y="3698"/>
                  </a:lnTo>
                  <a:lnTo>
                    <a:pt x="7543" y="3680"/>
                  </a:lnTo>
                  <a:lnTo>
                    <a:pt x="7552" y="3662"/>
                  </a:lnTo>
                  <a:lnTo>
                    <a:pt x="7552" y="3662"/>
                  </a:lnTo>
                  <a:lnTo>
                    <a:pt x="7623" y="3557"/>
                  </a:lnTo>
                  <a:lnTo>
                    <a:pt x="7702" y="3459"/>
                  </a:lnTo>
                  <a:lnTo>
                    <a:pt x="7746" y="3407"/>
                  </a:lnTo>
                  <a:lnTo>
                    <a:pt x="7790" y="3371"/>
                  </a:lnTo>
                  <a:lnTo>
                    <a:pt x="7843" y="3327"/>
                  </a:lnTo>
                  <a:lnTo>
                    <a:pt x="7905" y="3301"/>
                  </a:lnTo>
                  <a:lnTo>
                    <a:pt x="7905" y="3301"/>
                  </a:lnTo>
                  <a:lnTo>
                    <a:pt x="8064" y="3212"/>
                  </a:lnTo>
                  <a:lnTo>
                    <a:pt x="8134" y="3159"/>
                  </a:lnTo>
                  <a:lnTo>
                    <a:pt x="8205" y="3098"/>
                  </a:lnTo>
                  <a:lnTo>
                    <a:pt x="8205" y="3098"/>
                  </a:lnTo>
                  <a:lnTo>
                    <a:pt x="8240" y="3054"/>
                  </a:lnTo>
                  <a:lnTo>
                    <a:pt x="8276" y="3001"/>
                  </a:lnTo>
                  <a:lnTo>
                    <a:pt x="8293" y="2948"/>
                  </a:lnTo>
                  <a:lnTo>
                    <a:pt x="8293" y="2886"/>
                  </a:lnTo>
                  <a:lnTo>
                    <a:pt x="8293" y="2886"/>
                  </a:lnTo>
                  <a:lnTo>
                    <a:pt x="8293" y="2851"/>
                  </a:lnTo>
                  <a:lnTo>
                    <a:pt x="8276" y="2824"/>
                  </a:lnTo>
                  <a:lnTo>
                    <a:pt x="8258" y="2798"/>
                  </a:lnTo>
                  <a:lnTo>
                    <a:pt x="8240" y="2780"/>
                  </a:lnTo>
                  <a:lnTo>
                    <a:pt x="8214" y="2762"/>
                  </a:lnTo>
                  <a:lnTo>
                    <a:pt x="8179" y="2753"/>
                  </a:lnTo>
                  <a:lnTo>
                    <a:pt x="8152" y="2753"/>
                  </a:lnTo>
                  <a:lnTo>
                    <a:pt x="8117" y="2753"/>
                  </a:lnTo>
                  <a:lnTo>
                    <a:pt x="8117" y="2753"/>
                  </a:lnTo>
                  <a:lnTo>
                    <a:pt x="8064" y="2762"/>
                  </a:lnTo>
                  <a:lnTo>
                    <a:pt x="8002" y="2780"/>
                  </a:lnTo>
                  <a:lnTo>
                    <a:pt x="7949" y="2815"/>
                  </a:lnTo>
                  <a:lnTo>
                    <a:pt x="7905" y="2851"/>
                  </a:lnTo>
                  <a:lnTo>
                    <a:pt x="7905" y="2851"/>
                  </a:lnTo>
                  <a:lnTo>
                    <a:pt x="7834" y="2912"/>
                  </a:lnTo>
                  <a:lnTo>
                    <a:pt x="7773" y="2974"/>
                  </a:lnTo>
                  <a:lnTo>
                    <a:pt x="7640" y="3106"/>
                  </a:lnTo>
                  <a:lnTo>
                    <a:pt x="7579" y="3168"/>
                  </a:lnTo>
                  <a:lnTo>
                    <a:pt x="7499" y="3221"/>
                  </a:lnTo>
                  <a:lnTo>
                    <a:pt x="7411" y="3265"/>
                  </a:lnTo>
                  <a:lnTo>
                    <a:pt x="7314" y="3292"/>
                  </a:lnTo>
                  <a:lnTo>
                    <a:pt x="7314" y="3292"/>
                  </a:lnTo>
                  <a:lnTo>
                    <a:pt x="7270" y="3301"/>
                  </a:lnTo>
                  <a:lnTo>
                    <a:pt x="7243" y="3292"/>
                  </a:lnTo>
                  <a:lnTo>
                    <a:pt x="7208" y="3283"/>
                  </a:lnTo>
                  <a:lnTo>
                    <a:pt x="7181" y="3265"/>
                  </a:lnTo>
                  <a:lnTo>
                    <a:pt x="7181" y="3265"/>
                  </a:lnTo>
                  <a:lnTo>
                    <a:pt x="6881" y="3027"/>
                  </a:lnTo>
                  <a:lnTo>
                    <a:pt x="6731" y="2912"/>
                  </a:lnTo>
                  <a:lnTo>
                    <a:pt x="6581" y="2815"/>
                  </a:lnTo>
                  <a:lnTo>
                    <a:pt x="6581" y="2815"/>
                  </a:lnTo>
                  <a:lnTo>
                    <a:pt x="6449" y="2736"/>
                  </a:lnTo>
                  <a:lnTo>
                    <a:pt x="6317" y="2674"/>
                  </a:lnTo>
                  <a:lnTo>
                    <a:pt x="6176" y="2621"/>
                  </a:lnTo>
                  <a:lnTo>
                    <a:pt x="6034" y="2568"/>
                  </a:lnTo>
                  <a:lnTo>
                    <a:pt x="5893" y="2533"/>
                  </a:lnTo>
                  <a:lnTo>
                    <a:pt x="5743" y="2498"/>
                  </a:lnTo>
                  <a:lnTo>
                    <a:pt x="5593" y="2480"/>
                  </a:lnTo>
                  <a:lnTo>
                    <a:pt x="5434" y="246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2" name="Freeform 2">
              <a:extLst>
                <a:ext uri="{FF2B5EF4-FFF2-40B4-BE49-F238E27FC236}">
                  <a16:creationId xmlns:a16="http://schemas.microsoft.com/office/drawing/2014/main" id="{6114601B-7AE3-4937-816B-4F3D61A7FFD0}"/>
                </a:ext>
              </a:extLst>
            </p:cNvPr>
            <p:cNvSpPr>
              <a:spLocks noChangeArrowheads="1"/>
            </p:cNvSpPr>
            <p:nvPr/>
          </p:nvSpPr>
          <p:spPr bwMode="auto">
            <a:xfrm>
              <a:off x="3265488" y="5251450"/>
              <a:ext cx="600075" cy="966788"/>
            </a:xfrm>
            <a:custGeom>
              <a:avLst/>
              <a:gdLst>
                <a:gd name="T0" fmla="*/ 0 w 1668"/>
                <a:gd name="T1" fmla="*/ 2586 h 2684"/>
                <a:gd name="T2" fmla="*/ 0 w 1668"/>
                <a:gd name="T3" fmla="*/ 80 h 2684"/>
                <a:gd name="T4" fmla="*/ 494 w 1668"/>
                <a:gd name="T5" fmla="*/ 0 h 2684"/>
                <a:gd name="T6" fmla="*/ 494 w 1668"/>
                <a:gd name="T7" fmla="*/ 874 h 2684"/>
                <a:gd name="T8" fmla="*/ 820 w 1668"/>
                <a:gd name="T9" fmla="*/ 830 h 2684"/>
                <a:gd name="T10" fmla="*/ 917 w 1668"/>
                <a:gd name="T11" fmla="*/ 821 h 2684"/>
                <a:gd name="T12" fmla="*/ 1138 w 1668"/>
                <a:gd name="T13" fmla="*/ 856 h 2684"/>
                <a:gd name="T14" fmla="*/ 1332 w 1668"/>
                <a:gd name="T15" fmla="*/ 944 h 2684"/>
                <a:gd name="T16" fmla="*/ 1482 w 1668"/>
                <a:gd name="T17" fmla="*/ 1094 h 2684"/>
                <a:gd name="T18" fmla="*/ 1588 w 1668"/>
                <a:gd name="T19" fmla="*/ 1297 h 2684"/>
                <a:gd name="T20" fmla="*/ 1614 w 1668"/>
                <a:gd name="T21" fmla="*/ 1386 h 2684"/>
                <a:gd name="T22" fmla="*/ 1659 w 1668"/>
                <a:gd name="T23" fmla="*/ 1571 h 2684"/>
                <a:gd name="T24" fmla="*/ 1667 w 1668"/>
                <a:gd name="T25" fmla="*/ 1756 h 2684"/>
                <a:gd name="T26" fmla="*/ 1650 w 1668"/>
                <a:gd name="T27" fmla="*/ 1951 h 2684"/>
                <a:gd name="T28" fmla="*/ 1623 w 1668"/>
                <a:gd name="T29" fmla="*/ 2039 h 2684"/>
                <a:gd name="T30" fmla="*/ 1526 w 1668"/>
                <a:gd name="T31" fmla="*/ 2295 h 2684"/>
                <a:gd name="T32" fmla="*/ 1447 w 1668"/>
                <a:gd name="T33" fmla="*/ 2401 h 2684"/>
                <a:gd name="T34" fmla="*/ 1359 w 1668"/>
                <a:gd name="T35" fmla="*/ 2489 h 2684"/>
                <a:gd name="T36" fmla="*/ 1253 w 1668"/>
                <a:gd name="T37" fmla="*/ 2559 h 2684"/>
                <a:gd name="T38" fmla="*/ 997 w 1668"/>
                <a:gd name="T39" fmla="*/ 2657 h 2684"/>
                <a:gd name="T40" fmla="*/ 856 w 1668"/>
                <a:gd name="T41" fmla="*/ 2674 h 2684"/>
                <a:gd name="T42" fmla="*/ 635 w 1668"/>
                <a:gd name="T43" fmla="*/ 2683 h 2684"/>
                <a:gd name="T44" fmla="*/ 423 w 1668"/>
                <a:gd name="T45" fmla="*/ 2665 h 2684"/>
                <a:gd name="T46" fmla="*/ 0 w 1668"/>
                <a:gd name="T47" fmla="*/ 2586 h 2684"/>
                <a:gd name="T48" fmla="*/ 503 w 1668"/>
                <a:gd name="T49" fmla="*/ 2224 h 2684"/>
                <a:gd name="T50" fmla="*/ 759 w 1668"/>
                <a:gd name="T51" fmla="*/ 2242 h 2684"/>
                <a:gd name="T52" fmla="*/ 864 w 1668"/>
                <a:gd name="T53" fmla="*/ 2224 h 2684"/>
                <a:gd name="T54" fmla="*/ 953 w 1668"/>
                <a:gd name="T55" fmla="*/ 2189 h 2684"/>
                <a:gd name="T56" fmla="*/ 1023 w 1668"/>
                <a:gd name="T57" fmla="*/ 2127 h 2684"/>
                <a:gd name="T58" fmla="*/ 1085 w 1668"/>
                <a:gd name="T59" fmla="*/ 2048 h 2684"/>
                <a:gd name="T60" fmla="*/ 1120 w 1668"/>
                <a:gd name="T61" fmla="*/ 1959 h 2684"/>
                <a:gd name="T62" fmla="*/ 1147 w 1668"/>
                <a:gd name="T63" fmla="*/ 1845 h 2684"/>
                <a:gd name="T64" fmla="*/ 1138 w 1668"/>
                <a:gd name="T65" fmla="*/ 1580 h 2684"/>
                <a:gd name="T66" fmla="*/ 1129 w 1668"/>
                <a:gd name="T67" fmla="*/ 1527 h 2684"/>
                <a:gd name="T68" fmla="*/ 1085 w 1668"/>
                <a:gd name="T69" fmla="*/ 1430 h 2684"/>
                <a:gd name="T70" fmla="*/ 1032 w 1668"/>
                <a:gd name="T71" fmla="*/ 1359 h 2684"/>
                <a:gd name="T72" fmla="*/ 961 w 1668"/>
                <a:gd name="T73" fmla="*/ 1297 h 2684"/>
                <a:gd name="T74" fmla="*/ 882 w 1668"/>
                <a:gd name="T75" fmla="*/ 1262 h 2684"/>
                <a:gd name="T76" fmla="*/ 794 w 1668"/>
                <a:gd name="T77" fmla="*/ 1244 h 2684"/>
                <a:gd name="T78" fmla="*/ 697 w 1668"/>
                <a:gd name="T79" fmla="*/ 1253 h 2684"/>
                <a:gd name="T80" fmla="*/ 600 w 1668"/>
                <a:gd name="T81" fmla="*/ 1280 h 2684"/>
                <a:gd name="T82" fmla="*/ 556 w 1668"/>
                <a:gd name="T83" fmla="*/ 1306 h 2684"/>
                <a:gd name="T84" fmla="*/ 511 w 1668"/>
                <a:gd name="T85" fmla="*/ 1359 h 2684"/>
                <a:gd name="T86" fmla="*/ 503 w 1668"/>
                <a:gd name="T87" fmla="*/ 1377 h 2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8" h="2684">
                  <a:moveTo>
                    <a:pt x="0" y="2586"/>
                  </a:moveTo>
                  <a:lnTo>
                    <a:pt x="0" y="2586"/>
                  </a:lnTo>
                  <a:lnTo>
                    <a:pt x="0" y="80"/>
                  </a:lnTo>
                  <a:lnTo>
                    <a:pt x="0" y="80"/>
                  </a:lnTo>
                  <a:lnTo>
                    <a:pt x="494" y="0"/>
                  </a:lnTo>
                  <a:lnTo>
                    <a:pt x="494" y="0"/>
                  </a:lnTo>
                  <a:lnTo>
                    <a:pt x="494" y="874"/>
                  </a:lnTo>
                  <a:lnTo>
                    <a:pt x="494" y="874"/>
                  </a:lnTo>
                  <a:lnTo>
                    <a:pt x="714" y="839"/>
                  </a:lnTo>
                  <a:lnTo>
                    <a:pt x="820" y="830"/>
                  </a:lnTo>
                  <a:lnTo>
                    <a:pt x="917" y="821"/>
                  </a:lnTo>
                  <a:lnTo>
                    <a:pt x="917" y="821"/>
                  </a:lnTo>
                  <a:lnTo>
                    <a:pt x="1032" y="830"/>
                  </a:lnTo>
                  <a:lnTo>
                    <a:pt x="1138" y="856"/>
                  </a:lnTo>
                  <a:lnTo>
                    <a:pt x="1244" y="891"/>
                  </a:lnTo>
                  <a:lnTo>
                    <a:pt x="1332" y="944"/>
                  </a:lnTo>
                  <a:lnTo>
                    <a:pt x="1411" y="1015"/>
                  </a:lnTo>
                  <a:lnTo>
                    <a:pt x="1482" y="1094"/>
                  </a:lnTo>
                  <a:lnTo>
                    <a:pt x="1535" y="1192"/>
                  </a:lnTo>
                  <a:lnTo>
                    <a:pt x="1588" y="1297"/>
                  </a:lnTo>
                  <a:lnTo>
                    <a:pt x="1588" y="1297"/>
                  </a:lnTo>
                  <a:lnTo>
                    <a:pt x="1614" y="1386"/>
                  </a:lnTo>
                  <a:lnTo>
                    <a:pt x="1641" y="1474"/>
                  </a:lnTo>
                  <a:lnTo>
                    <a:pt x="1659" y="1571"/>
                  </a:lnTo>
                  <a:lnTo>
                    <a:pt x="1667" y="1668"/>
                  </a:lnTo>
                  <a:lnTo>
                    <a:pt x="1667" y="1756"/>
                  </a:lnTo>
                  <a:lnTo>
                    <a:pt x="1659" y="1853"/>
                  </a:lnTo>
                  <a:lnTo>
                    <a:pt x="1650" y="1951"/>
                  </a:lnTo>
                  <a:lnTo>
                    <a:pt x="1623" y="2039"/>
                  </a:lnTo>
                  <a:lnTo>
                    <a:pt x="1623" y="2039"/>
                  </a:lnTo>
                  <a:lnTo>
                    <a:pt x="1579" y="2171"/>
                  </a:lnTo>
                  <a:lnTo>
                    <a:pt x="1526" y="2295"/>
                  </a:lnTo>
                  <a:lnTo>
                    <a:pt x="1491" y="2348"/>
                  </a:lnTo>
                  <a:lnTo>
                    <a:pt x="1447" y="2401"/>
                  </a:lnTo>
                  <a:lnTo>
                    <a:pt x="1403" y="2445"/>
                  </a:lnTo>
                  <a:lnTo>
                    <a:pt x="1359" y="2489"/>
                  </a:lnTo>
                  <a:lnTo>
                    <a:pt x="1306" y="2524"/>
                  </a:lnTo>
                  <a:lnTo>
                    <a:pt x="1253" y="2559"/>
                  </a:lnTo>
                  <a:lnTo>
                    <a:pt x="1129" y="2612"/>
                  </a:lnTo>
                  <a:lnTo>
                    <a:pt x="997" y="2657"/>
                  </a:lnTo>
                  <a:lnTo>
                    <a:pt x="856" y="2674"/>
                  </a:lnTo>
                  <a:lnTo>
                    <a:pt x="856" y="2674"/>
                  </a:lnTo>
                  <a:lnTo>
                    <a:pt x="741" y="2683"/>
                  </a:lnTo>
                  <a:lnTo>
                    <a:pt x="635" y="2683"/>
                  </a:lnTo>
                  <a:lnTo>
                    <a:pt x="529" y="2674"/>
                  </a:lnTo>
                  <a:lnTo>
                    <a:pt x="423" y="2665"/>
                  </a:lnTo>
                  <a:lnTo>
                    <a:pt x="211" y="2630"/>
                  </a:lnTo>
                  <a:lnTo>
                    <a:pt x="0" y="2586"/>
                  </a:lnTo>
                  <a:close/>
                  <a:moveTo>
                    <a:pt x="503" y="2224"/>
                  </a:moveTo>
                  <a:lnTo>
                    <a:pt x="503" y="2224"/>
                  </a:lnTo>
                  <a:lnTo>
                    <a:pt x="635" y="2242"/>
                  </a:lnTo>
                  <a:lnTo>
                    <a:pt x="759" y="2242"/>
                  </a:lnTo>
                  <a:lnTo>
                    <a:pt x="811" y="2233"/>
                  </a:lnTo>
                  <a:lnTo>
                    <a:pt x="864" y="2224"/>
                  </a:lnTo>
                  <a:lnTo>
                    <a:pt x="909" y="2206"/>
                  </a:lnTo>
                  <a:lnTo>
                    <a:pt x="953" y="2189"/>
                  </a:lnTo>
                  <a:lnTo>
                    <a:pt x="988" y="2162"/>
                  </a:lnTo>
                  <a:lnTo>
                    <a:pt x="1023" y="2127"/>
                  </a:lnTo>
                  <a:lnTo>
                    <a:pt x="1059" y="2092"/>
                  </a:lnTo>
                  <a:lnTo>
                    <a:pt x="1085" y="2048"/>
                  </a:lnTo>
                  <a:lnTo>
                    <a:pt x="1103" y="2003"/>
                  </a:lnTo>
                  <a:lnTo>
                    <a:pt x="1120" y="1959"/>
                  </a:lnTo>
                  <a:lnTo>
                    <a:pt x="1147" y="1845"/>
                  </a:lnTo>
                  <a:lnTo>
                    <a:pt x="1147" y="1845"/>
                  </a:lnTo>
                  <a:lnTo>
                    <a:pt x="1156" y="1712"/>
                  </a:lnTo>
                  <a:lnTo>
                    <a:pt x="1138" y="1580"/>
                  </a:lnTo>
                  <a:lnTo>
                    <a:pt x="1138" y="1580"/>
                  </a:lnTo>
                  <a:lnTo>
                    <a:pt x="1129" y="1527"/>
                  </a:lnTo>
                  <a:lnTo>
                    <a:pt x="1111" y="1474"/>
                  </a:lnTo>
                  <a:lnTo>
                    <a:pt x="1085" y="1430"/>
                  </a:lnTo>
                  <a:lnTo>
                    <a:pt x="1059" y="1395"/>
                  </a:lnTo>
                  <a:lnTo>
                    <a:pt x="1032" y="1359"/>
                  </a:lnTo>
                  <a:lnTo>
                    <a:pt x="997" y="1324"/>
                  </a:lnTo>
                  <a:lnTo>
                    <a:pt x="961" y="1297"/>
                  </a:lnTo>
                  <a:lnTo>
                    <a:pt x="926" y="1280"/>
                  </a:lnTo>
                  <a:lnTo>
                    <a:pt x="882" y="1262"/>
                  </a:lnTo>
                  <a:lnTo>
                    <a:pt x="838" y="1253"/>
                  </a:lnTo>
                  <a:lnTo>
                    <a:pt x="794" y="1244"/>
                  </a:lnTo>
                  <a:lnTo>
                    <a:pt x="741" y="1244"/>
                  </a:lnTo>
                  <a:lnTo>
                    <a:pt x="697" y="1253"/>
                  </a:lnTo>
                  <a:lnTo>
                    <a:pt x="653" y="1262"/>
                  </a:lnTo>
                  <a:lnTo>
                    <a:pt x="600" y="1280"/>
                  </a:lnTo>
                  <a:lnTo>
                    <a:pt x="556" y="1306"/>
                  </a:lnTo>
                  <a:lnTo>
                    <a:pt x="556" y="1306"/>
                  </a:lnTo>
                  <a:lnTo>
                    <a:pt x="520" y="1333"/>
                  </a:lnTo>
                  <a:lnTo>
                    <a:pt x="511" y="1359"/>
                  </a:lnTo>
                  <a:lnTo>
                    <a:pt x="503" y="1377"/>
                  </a:lnTo>
                  <a:lnTo>
                    <a:pt x="503" y="1377"/>
                  </a:lnTo>
                  <a:lnTo>
                    <a:pt x="503" y="22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3" name="Freeform 3">
              <a:extLst>
                <a:ext uri="{FF2B5EF4-FFF2-40B4-BE49-F238E27FC236}">
                  <a16:creationId xmlns:a16="http://schemas.microsoft.com/office/drawing/2014/main" id="{78B2AF05-D458-4FAD-8756-E914FB6CD7EB}"/>
                </a:ext>
              </a:extLst>
            </p:cNvPr>
            <p:cNvSpPr>
              <a:spLocks noChangeArrowheads="1"/>
            </p:cNvSpPr>
            <p:nvPr/>
          </p:nvSpPr>
          <p:spPr bwMode="auto">
            <a:xfrm>
              <a:off x="1855788" y="5251450"/>
              <a:ext cx="609600" cy="947738"/>
            </a:xfrm>
            <a:custGeom>
              <a:avLst/>
              <a:gdLst>
                <a:gd name="T0" fmla="*/ 1668 w 1695"/>
                <a:gd name="T1" fmla="*/ 847 h 2631"/>
                <a:gd name="T2" fmla="*/ 1668 w 1695"/>
                <a:gd name="T3" fmla="*/ 847 h 2631"/>
                <a:gd name="T4" fmla="*/ 971 w 1695"/>
                <a:gd name="T5" fmla="*/ 1615 h 2631"/>
                <a:gd name="T6" fmla="*/ 971 w 1695"/>
                <a:gd name="T7" fmla="*/ 1615 h 2631"/>
                <a:gd name="T8" fmla="*/ 1694 w 1695"/>
                <a:gd name="T9" fmla="*/ 2595 h 2631"/>
                <a:gd name="T10" fmla="*/ 1694 w 1695"/>
                <a:gd name="T11" fmla="*/ 2595 h 2631"/>
                <a:gd name="T12" fmla="*/ 1668 w 1695"/>
                <a:gd name="T13" fmla="*/ 2630 h 2631"/>
                <a:gd name="T14" fmla="*/ 1668 w 1695"/>
                <a:gd name="T15" fmla="*/ 2630 h 2631"/>
                <a:gd name="T16" fmla="*/ 1394 w 1695"/>
                <a:gd name="T17" fmla="*/ 2630 h 2631"/>
                <a:gd name="T18" fmla="*/ 1112 w 1695"/>
                <a:gd name="T19" fmla="*/ 2630 h 2631"/>
                <a:gd name="T20" fmla="*/ 1112 w 1695"/>
                <a:gd name="T21" fmla="*/ 2630 h 2631"/>
                <a:gd name="T22" fmla="*/ 1094 w 1695"/>
                <a:gd name="T23" fmla="*/ 2621 h 2631"/>
                <a:gd name="T24" fmla="*/ 1068 w 1695"/>
                <a:gd name="T25" fmla="*/ 2595 h 2631"/>
                <a:gd name="T26" fmla="*/ 1032 w 1695"/>
                <a:gd name="T27" fmla="*/ 2542 h 2631"/>
                <a:gd name="T28" fmla="*/ 1032 w 1695"/>
                <a:gd name="T29" fmla="*/ 2542 h 2631"/>
                <a:gd name="T30" fmla="*/ 556 w 1695"/>
                <a:gd name="T31" fmla="*/ 1853 h 2631"/>
                <a:gd name="T32" fmla="*/ 556 w 1695"/>
                <a:gd name="T33" fmla="*/ 1853 h 2631"/>
                <a:gd name="T34" fmla="*/ 512 w 1695"/>
                <a:gd name="T35" fmla="*/ 1880 h 2631"/>
                <a:gd name="T36" fmla="*/ 512 w 1695"/>
                <a:gd name="T37" fmla="*/ 1880 h 2631"/>
                <a:gd name="T38" fmla="*/ 512 w 1695"/>
                <a:gd name="T39" fmla="*/ 2621 h 2631"/>
                <a:gd name="T40" fmla="*/ 512 w 1695"/>
                <a:gd name="T41" fmla="*/ 2621 h 2631"/>
                <a:gd name="T42" fmla="*/ 0 w 1695"/>
                <a:gd name="T43" fmla="*/ 2621 h 2631"/>
                <a:gd name="T44" fmla="*/ 0 w 1695"/>
                <a:gd name="T45" fmla="*/ 2621 h 2631"/>
                <a:gd name="T46" fmla="*/ 0 w 1695"/>
                <a:gd name="T47" fmla="*/ 80 h 2631"/>
                <a:gd name="T48" fmla="*/ 0 w 1695"/>
                <a:gd name="T49" fmla="*/ 80 h 2631"/>
                <a:gd name="T50" fmla="*/ 503 w 1695"/>
                <a:gd name="T51" fmla="*/ 0 h 2631"/>
                <a:gd name="T52" fmla="*/ 503 w 1695"/>
                <a:gd name="T53" fmla="*/ 0 h 2631"/>
                <a:gd name="T54" fmla="*/ 503 w 1695"/>
                <a:gd name="T55" fmla="*/ 1456 h 2631"/>
                <a:gd name="T56" fmla="*/ 503 w 1695"/>
                <a:gd name="T57" fmla="*/ 1456 h 2631"/>
                <a:gd name="T58" fmla="*/ 706 w 1695"/>
                <a:gd name="T59" fmla="*/ 1244 h 2631"/>
                <a:gd name="T60" fmla="*/ 803 w 1695"/>
                <a:gd name="T61" fmla="*/ 1147 h 2631"/>
                <a:gd name="T62" fmla="*/ 882 w 1695"/>
                <a:gd name="T63" fmla="*/ 1042 h 2631"/>
                <a:gd name="T64" fmla="*/ 882 w 1695"/>
                <a:gd name="T65" fmla="*/ 1042 h 2631"/>
                <a:gd name="T66" fmla="*/ 926 w 1695"/>
                <a:gd name="T67" fmla="*/ 989 h 2631"/>
                <a:gd name="T68" fmla="*/ 979 w 1695"/>
                <a:gd name="T69" fmla="*/ 936 h 2631"/>
                <a:gd name="T70" fmla="*/ 1024 w 1695"/>
                <a:gd name="T71" fmla="*/ 900 h 2631"/>
                <a:gd name="T72" fmla="*/ 1085 w 1695"/>
                <a:gd name="T73" fmla="*/ 874 h 2631"/>
                <a:gd name="T74" fmla="*/ 1138 w 1695"/>
                <a:gd name="T75" fmla="*/ 847 h 2631"/>
                <a:gd name="T76" fmla="*/ 1200 w 1695"/>
                <a:gd name="T77" fmla="*/ 839 h 2631"/>
                <a:gd name="T78" fmla="*/ 1262 w 1695"/>
                <a:gd name="T79" fmla="*/ 839 h 2631"/>
                <a:gd name="T80" fmla="*/ 1332 w 1695"/>
                <a:gd name="T81" fmla="*/ 839 h 2631"/>
                <a:gd name="T82" fmla="*/ 1332 w 1695"/>
                <a:gd name="T83" fmla="*/ 839 h 2631"/>
                <a:gd name="T84" fmla="*/ 1412 w 1695"/>
                <a:gd name="T85" fmla="*/ 847 h 2631"/>
                <a:gd name="T86" fmla="*/ 1491 w 1695"/>
                <a:gd name="T87" fmla="*/ 847 h 2631"/>
                <a:gd name="T88" fmla="*/ 1668 w 1695"/>
                <a:gd name="T89" fmla="*/ 847 h 2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5" h="2631">
                  <a:moveTo>
                    <a:pt x="1668" y="847"/>
                  </a:moveTo>
                  <a:lnTo>
                    <a:pt x="1668" y="847"/>
                  </a:lnTo>
                  <a:lnTo>
                    <a:pt x="971" y="1615"/>
                  </a:lnTo>
                  <a:lnTo>
                    <a:pt x="971" y="1615"/>
                  </a:lnTo>
                  <a:lnTo>
                    <a:pt x="1694" y="2595"/>
                  </a:lnTo>
                  <a:lnTo>
                    <a:pt x="1694" y="2595"/>
                  </a:lnTo>
                  <a:lnTo>
                    <a:pt x="1668" y="2630"/>
                  </a:lnTo>
                  <a:lnTo>
                    <a:pt x="1668" y="2630"/>
                  </a:lnTo>
                  <a:lnTo>
                    <a:pt x="1394" y="2630"/>
                  </a:lnTo>
                  <a:lnTo>
                    <a:pt x="1112" y="2630"/>
                  </a:lnTo>
                  <a:lnTo>
                    <a:pt x="1112" y="2630"/>
                  </a:lnTo>
                  <a:lnTo>
                    <a:pt x="1094" y="2621"/>
                  </a:lnTo>
                  <a:lnTo>
                    <a:pt x="1068" y="2595"/>
                  </a:lnTo>
                  <a:lnTo>
                    <a:pt x="1032" y="2542"/>
                  </a:lnTo>
                  <a:lnTo>
                    <a:pt x="1032" y="2542"/>
                  </a:lnTo>
                  <a:lnTo>
                    <a:pt x="556" y="1853"/>
                  </a:lnTo>
                  <a:lnTo>
                    <a:pt x="556" y="1853"/>
                  </a:lnTo>
                  <a:lnTo>
                    <a:pt x="512" y="1880"/>
                  </a:lnTo>
                  <a:lnTo>
                    <a:pt x="512" y="1880"/>
                  </a:lnTo>
                  <a:lnTo>
                    <a:pt x="512" y="2621"/>
                  </a:lnTo>
                  <a:lnTo>
                    <a:pt x="512" y="2621"/>
                  </a:lnTo>
                  <a:lnTo>
                    <a:pt x="0" y="2621"/>
                  </a:lnTo>
                  <a:lnTo>
                    <a:pt x="0" y="2621"/>
                  </a:lnTo>
                  <a:lnTo>
                    <a:pt x="0" y="80"/>
                  </a:lnTo>
                  <a:lnTo>
                    <a:pt x="0" y="80"/>
                  </a:lnTo>
                  <a:lnTo>
                    <a:pt x="503" y="0"/>
                  </a:lnTo>
                  <a:lnTo>
                    <a:pt x="503" y="0"/>
                  </a:lnTo>
                  <a:lnTo>
                    <a:pt x="503" y="1456"/>
                  </a:lnTo>
                  <a:lnTo>
                    <a:pt x="503" y="1456"/>
                  </a:lnTo>
                  <a:lnTo>
                    <a:pt x="706" y="1244"/>
                  </a:lnTo>
                  <a:lnTo>
                    <a:pt x="803" y="1147"/>
                  </a:lnTo>
                  <a:lnTo>
                    <a:pt x="882" y="1042"/>
                  </a:lnTo>
                  <a:lnTo>
                    <a:pt x="882" y="1042"/>
                  </a:lnTo>
                  <a:lnTo>
                    <a:pt x="926" y="989"/>
                  </a:lnTo>
                  <a:lnTo>
                    <a:pt x="979" y="936"/>
                  </a:lnTo>
                  <a:lnTo>
                    <a:pt x="1024" y="900"/>
                  </a:lnTo>
                  <a:lnTo>
                    <a:pt x="1085" y="874"/>
                  </a:lnTo>
                  <a:lnTo>
                    <a:pt x="1138" y="847"/>
                  </a:lnTo>
                  <a:lnTo>
                    <a:pt x="1200" y="839"/>
                  </a:lnTo>
                  <a:lnTo>
                    <a:pt x="1262" y="839"/>
                  </a:lnTo>
                  <a:lnTo>
                    <a:pt x="1332" y="839"/>
                  </a:lnTo>
                  <a:lnTo>
                    <a:pt x="1332" y="839"/>
                  </a:lnTo>
                  <a:lnTo>
                    <a:pt x="1412" y="847"/>
                  </a:lnTo>
                  <a:lnTo>
                    <a:pt x="1491" y="847"/>
                  </a:lnTo>
                  <a:lnTo>
                    <a:pt x="1668" y="8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4" name="Freeform 4">
              <a:extLst>
                <a:ext uri="{FF2B5EF4-FFF2-40B4-BE49-F238E27FC236}">
                  <a16:creationId xmlns:a16="http://schemas.microsoft.com/office/drawing/2014/main" id="{6D2FFB8C-7A32-4D83-B378-846AC44CC726}"/>
                </a:ext>
              </a:extLst>
            </p:cNvPr>
            <p:cNvSpPr>
              <a:spLocks noChangeArrowheads="1"/>
            </p:cNvSpPr>
            <p:nvPr/>
          </p:nvSpPr>
          <p:spPr bwMode="auto">
            <a:xfrm>
              <a:off x="7137400" y="5537200"/>
              <a:ext cx="609600" cy="681038"/>
            </a:xfrm>
            <a:custGeom>
              <a:avLst/>
              <a:gdLst>
                <a:gd name="T0" fmla="*/ 1676 w 1695"/>
                <a:gd name="T1" fmla="*/ 1112 h 1890"/>
                <a:gd name="T2" fmla="*/ 511 w 1695"/>
                <a:gd name="T3" fmla="*/ 1112 h 1890"/>
                <a:gd name="T4" fmla="*/ 547 w 1695"/>
                <a:gd name="T5" fmla="*/ 1236 h 1890"/>
                <a:gd name="T6" fmla="*/ 609 w 1695"/>
                <a:gd name="T7" fmla="*/ 1324 h 1890"/>
                <a:gd name="T8" fmla="*/ 697 w 1695"/>
                <a:gd name="T9" fmla="*/ 1395 h 1890"/>
                <a:gd name="T10" fmla="*/ 811 w 1695"/>
                <a:gd name="T11" fmla="*/ 1421 h 1890"/>
                <a:gd name="T12" fmla="*/ 961 w 1695"/>
                <a:gd name="T13" fmla="*/ 1430 h 1890"/>
                <a:gd name="T14" fmla="*/ 1420 w 1695"/>
                <a:gd name="T15" fmla="*/ 1404 h 1890"/>
                <a:gd name="T16" fmla="*/ 1464 w 1695"/>
                <a:gd name="T17" fmla="*/ 1386 h 1890"/>
                <a:gd name="T18" fmla="*/ 1526 w 1695"/>
                <a:gd name="T19" fmla="*/ 1377 h 1890"/>
                <a:gd name="T20" fmla="*/ 1597 w 1695"/>
                <a:gd name="T21" fmla="*/ 1783 h 1890"/>
                <a:gd name="T22" fmla="*/ 1279 w 1695"/>
                <a:gd name="T23" fmla="*/ 1863 h 1890"/>
                <a:gd name="T24" fmla="*/ 970 w 1695"/>
                <a:gd name="T25" fmla="*/ 1889 h 1890"/>
                <a:gd name="T26" fmla="*/ 732 w 1695"/>
                <a:gd name="T27" fmla="*/ 1871 h 1890"/>
                <a:gd name="T28" fmla="*/ 582 w 1695"/>
                <a:gd name="T29" fmla="*/ 1836 h 1890"/>
                <a:gd name="T30" fmla="*/ 432 w 1695"/>
                <a:gd name="T31" fmla="*/ 1765 h 1890"/>
                <a:gd name="T32" fmla="*/ 361 w 1695"/>
                <a:gd name="T33" fmla="*/ 1721 h 1890"/>
                <a:gd name="T34" fmla="*/ 247 w 1695"/>
                <a:gd name="T35" fmla="*/ 1633 h 1890"/>
                <a:gd name="T36" fmla="*/ 150 w 1695"/>
                <a:gd name="T37" fmla="*/ 1527 h 1890"/>
                <a:gd name="T38" fmla="*/ 79 w 1695"/>
                <a:gd name="T39" fmla="*/ 1412 h 1890"/>
                <a:gd name="T40" fmla="*/ 35 w 1695"/>
                <a:gd name="T41" fmla="*/ 1289 h 1890"/>
                <a:gd name="T42" fmla="*/ 0 w 1695"/>
                <a:gd name="T43" fmla="*/ 1024 h 1890"/>
                <a:gd name="T44" fmla="*/ 17 w 1695"/>
                <a:gd name="T45" fmla="*/ 751 h 1890"/>
                <a:gd name="T46" fmla="*/ 44 w 1695"/>
                <a:gd name="T47" fmla="*/ 645 h 1890"/>
                <a:gd name="T48" fmla="*/ 106 w 1695"/>
                <a:gd name="T49" fmla="*/ 468 h 1890"/>
                <a:gd name="T50" fmla="*/ 203 w 1695"/>
                <a:gd name="T51" fmla="*/ 309 h 1890"/>
                <a:gd name="T52" fmla="*/ 335 w 1695"/>
                <a:gd name="T53" fmla="*/ 186 h 1890"/>
                <a:gd name="T54" fmla="*/ 485 w 1695"/>
                <a:gd name="T55" fmla="*/ 89 h 1890"/>
                <a:gd name="T56" fmla="*/ 653 w 1695"/>
                <a:gd name="T57" fmla="*/ 27 h 1890"/>
                <a:gd name="T58" fmla="*/ 829 w 1695"/>
                <a:gd name="T59" fmla="*/ 0 h 1890"/>
                <a:gd name="T60" fmla="*/ 1023 w 1695"/>
                <a:gd name="T61" fmla="*/ 9 h 1890"/>
                <a:gd name="T62" fmla="*/ 1129 w 1695"/>
                <a:gd name="T63" fmla="*/ 36 h 1890"/>
                <a:gd name="T64" fmla="*/ 1279 w 1695"/>
                <a:gd name="T65" fmla="*/ 97 h 1890"/>
                <a:gd name="T66" fmla="*/ 1411 w 1695"/>
                <a:gd name="T67" fmla="*/ 186 h 1890"/>
                <a:gd name="T68" fmla="*/ 1517 w 1695"/>
                <a:gd name="T69" fmla="*/ 300 h 1890"/>
                <a:gd name="T70" fmla="*/ 1606 w 1695"/>
                <a:gd name="T71" fmla="*/ 442 h 1890"/>
                <a:gd name="T72" fmla="*/ 1632 w 1695"/>
                <a:gd name="T73" fmla="*/ 521 h 1890"/>
                <a:gd name="T74" fmla="*/ 1676 w 1695"/>
                <a:gd name="T75" fmla="*/ 689 h 1890"/>
                <a:gd name="T76" fmla="*/ 1694 w 1695"/>
                <a:gd name="T77" fmla="*/ 856 h 1890"/>
                <a:gd name="T78" fmla="*/ 1676 w 1695"/>
                <a:gd name="T79" fmla="*/ 1112 h 1890"/>
                <a:gd name="T80" fmla="*/ 1200 w 1695"/>
                <a:gd name="T81" fmla="*/ 768 h 1890"/>
                <a:gd name="T82" fmla="*/ 1173 w 1695"/>
                <a:gd name="T83" fmla="*/ 627 h 1890"/>
                <a:gd name="T84" fmla="*/ 1111 w 1695"/>
                <a:gd name="T85" fmla="*/ 512 h 1890"/>
                <a:gd name="T86" fmla="*/ 1014 w 1695"/>
                <a:gd name="T87" fmla="*/ 442 h 1890"/>
                <a:gd name="T88" fmla="*/ 882 w 1695"/>
                <a:gd name="T89" fmla="*/ 415 h 1890"/>
                <a:gd name="T90" fmla="*/ 811 w 1695"/>
                <a:gd name="T91" fmla="*/ 415 h 1890"/>
                <a:gd name="T92" fmla="*/ 688 w 1695"/>
                <a:gd name="T93" fmla="*/ 459 h 1890"/>
                <a:gd name="T94" fmla="*/ 591 w 1695"/>
                <a:gd name="T95" fmla="*/ 548 h 1890"/>
                <a:gd name="T96" fmla="*/ 529 w 1695"/>
                <a:gd name="T97" fmla="*/ 689 h 1890"/>
                <a:gd name="T98" fmla="*/ 520 w 1695"/>
                <a:gd name="T99"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95" h="1890">
                  <a:moveTo>
                    <a:pt x="1676" y="1112"/>
                  </a:moveTo>
                  <a:lnTo>
                    <a:pt x="1676" y="1112"/>
                  </a:lnTo>
                  <a:lnTo>
                    <a:pt x="511" y="1112"/>
                  </a:lnTo>
                  <a:lnTo>
                    <a:pt x="511" y="1112"/>
                  </a:lnTo>
                  <a:lnTo>
                    <a:pt x="529" y="1174"/>
                  </a:lnTo>
                  <a:lnTo>
                    <a:pt x="547" y="1236"/>
                  </a:lnTo>
                  <a:lnTo>
                    <a:pt x="573" y="1280"/>
                  </a:lnTo>
                  <a:lnTo>
                    <a:pt x="609" y="1324"/>
                  </a:lnTo>
                  <a:lnTo>
                    <a:pt x="644" y="1359"/>
                  </a:lnTo>
                  <a:lnTo>
                    <a:pt x="697" y="1395"/>
                  </a:lnTo>
                  <a:lnTo>
                    <a:pt x="750" y="1412"/>
                  </a:lnTo>
                  <a:lnTo>
                    <a:pt x="811" y="1421"/>
                  </a:lnTo>
                  <a:lnTo>
                    <a:pt x="811" y="1421"/>
                  </a:lnTo>
                  <a:lnTo>
                    <a:pt x="961" y="1430"/>
                  </a:lnTo>
                  <a:lnTo>
                    <a:pt x="1111" y="1421"/>
                  </a:lnTo>
                  <a:lnTo>
                    <a:pt x="1420" y="1404"/>
                  </a:lnTo>
                  <a:lnTo>
                    <a:pt x="1420" y="1404"/>
                  </a:lnTo>
                  <a:lnTo>
                    <a:pt x="1464" y="1386"/>
                  </a:lnTo>
                  <a:lnTo>
                    <a:pt x="1526" y="1377"/>
                  </a:lnTo>
                  <a:lnTo>
                    <a:pt x="1526" y="1377"/>
                  </a:lnTo>
                  <a:lnTo>
                    <a:pt x="1597" y="1783"/>
                  </a:lnTo>
                  <a:lnTo>
                    <a:pt x="1597" y="1783"/>
                  </a:lnTo>
                  <a:lnTo>
                    <a:pt x="1438" y="1827"/>
                  </a:lnTo>
                  <a:lnTo>
                    <a:pt x="1279" y="1863"/>
                  </a:lnTo>
                  <a:lnTo>
                    <a:pt x="1120" y="1880"/>
                  </a:lnTo>
                  <a:lnTo>
                    <a:pt x="970" y="1889"/>
                  </a:lnTo>
                  <a:lnTo>
                    <a:pt x="811" y="1889"/>
                  </a:lnTo>
                  <a:lnTo>
                    <a:pt x="732" y="1871"/>
                  </a:lnTo>
                  <a:lnTo>
                    <a:pt x="661" y="1854"/>
                  </a:lnTo>
                  <a:lnTo>
                    <a:pt x="582" y="1836"/>
                  </a:lnTo>
                  <a:lnTo>
                    <a:pt x="511" y="1801"/>
                  </a:lnTo>
                  <a:lnTo>
                    <a:pt x="432" y="1765"/>
                  </a:lnTo>
                  <a:lnTo>
                    <a:pt x="361" y="1721"/>
                  </a:lnTo>
                  <a:lnTo>
                    <a:pt x="361" y="1721"/>
                  </a:lnTo>
                  <a:lnTo>
                    <a:pt x="300" y="1677"/>
                  </a:lnTo>
                  <a:lnTo>
                    <a:pt x="247" y="1633"/>
                  </a:lnTo>
                  <a:lnTo>
                    <a:pt x="194" y="1580"/>
                  </a:lnTo>
                  <a:lnTo>
                    <a:pt x="150" y="1527"/>
                  </a:lnTo>
                  <a:lnTo>
                    <a:pt x="114" y="1474"/>
                  </a:lnTo>
                  <a:lnTo>
                    <a:pt x="79" y="1412"/>
                  </a:lnTo>
                  <a:lnTo>
                    <a:pt x="53" y="1351"/>
                  </a:lnTo>
                  <a:lnTo>
                    <a:pt x="35" y="1289"/>
                  </a:lnTo>
                  <a:lnTo>
                    <a:pt x="8" y="1165"/>
                  </a:lnTo>
                  <a:lnTo>
                    <a:pt x="0" y="1024"/>
                  </a:lnTo>
                  <a:lnTo>
                    <a:pt x="0" y="892"/>
                  </a:lnTo>
                  <a:lnTo>
                    <a:pt x="17" y="751"/>
                  </a:lnTo>
                  <a:lnTo>
                    <a:pt x="17" y="751"/>
                  </a:lnTo>
                  <a:lnTo>
                    <a:pt x="44" y="645"/>
                  </a:lnTo>
                  <a:lnTo>
                    <a:pt x="70" y="556"/>
                  </a:lnTo>
                  <a:lnTo>
                    <a:pt x="106" y="468"/>
                  </a:lnTo>
                  <a:lnTo>
                    <a:pt x="150" y="389"/>
                  </a:lnTo>
                  <a:lnTo>
                    <a:pt x="203" y="309"/>
                  </a:lnTo>
                  <a:lnTo>
                    <a:pt x="264" y="239"/>
                  </a:lnTo>
                  <a:lnTo>
                    <a:pt x="335" y="186"/>
                  </a:lnTo>
                  <a:lnTo>
                    <a:pt x="406" y="133"/>
                  </a:lnTo>
                  <a:lnTo>
                    <a:pt x="485" y="89"/>
                  </a:lnTo>
                  <a:lnTo>
                    <a:pt x="564" y="53"/>
                  </a:lnTo>
                  <a:lnTo>
                    <a:pt x="653" y="27"/>
                  </a:lnTo>
                  <a:lnTo>
                    <a:pt x="741" y="9"/>
                  </a:lnTo>
                  <a:lnTo>
                    <a:pt x="829" y="0"/>
                  </a:lnTo>
                  <a:lnTo>
                    <a:pt x="926" y="0"/>
                  </a:lnTo>
                  <a:lnTo>
                    <a:pt x="1023" y="9"/>
                  </a:lnTo>
                  <a:lnTo>
                    <a:pt x="1129" y="36"/>
                  </a:lnTo>
                  <a:lnTo>
                    <a:pt x="1129" y="36"/>
                  </a:lnTo>
                  <a:lnTo>
                    <a:pt x="1209" y="62"/>
                  </a:lnTo>
                  <a:lnTo>
                    <a:pt x="1279" y="97"/>
                  </a:lnTo>
                  <a:lnTo>
                    <a:pt x="1350" y="133"/>
                  </a:lnTo>
                  <a:lnTo>
                    <a:pt x="1411" y="186"/>
                  </a:lnTo>
                  <a:lnTo>
                    <a:pt x="1473" y="239"/>
                  </a:lnTo>
                  <a:lnTo>
                    <a:pt x="1517" y="300"/>
                  </a:lnTo>
                  <a:lnTo>
                    <a:pt x="1561" y="371"/>
                  </a:lnTo>
                  <a:lnTo>
                    <a:pt x="1606" y="442"/>
                  </a:lnTo>
                  <a:lnTo>
                    <a:pt x="1606" y="442"/>
                  </a:lnTo>
                  <a:lnTo>
                    <a:pt x="1632" y="521"/>
                  </a:lnTo>
                  <a:lnTo>
                    <a:pt x="1659" y="601"/>
                  </a:lnTo>
                  <a:lnTo>
                    <a:pt x="1676" y="689"/>
                  </a:lnTo>
                  <a:lnTo>
                    <a:pt x="1685" y="768"/>
                  </a:lnTo>
                  <a:lnTo>
                    <a:pt x="1694" y="856"/>
                  </a:lnTo>
                  <a:lnTo>
                    <a:pt x="1694" y="936"/>
                  </a:lnTo>
                  <a:lnTo>
                    <a:pt x="1676" y="1112"/>
                  </a:lnTo>
                  <a:close/>
                  <a:moveTo>
                    <a:pt x="1200" y="768"/>
                  </a:moveTo>
                  <a:lnTo>
                    <a:pt x="1200" y="768"/>
                  </a:lnTo>
                  <a:lnTo>
                    <a:pt x="1191" y="698"/>
                  </a:lnTo>
                  <a:lnTo>
                    <a:pt x="1173" y="627"/>
                  </a:lnTo>
                  <a:lnTo>
                    <a:pt x="1147" y="565"/>
                  </a:lnTo>
                  <a:lnTo>
                    <a:pt x="1111" y="512"/>
                  </a:lnTo>
                  <a:lnTo>
                    <a:pt x="1067" y="477"/>
                  </a:lnTo>
                  <a:lnTo>
                    <a:pt x="1014" y="442"/>
                  </a:lnTo>
                  <a:lnTo>
                    <a:pt x="953" y="424"/>
                  </a:lnTo>
                  <a:lnTo>
                    <a:pt x="882" y="415"/>
                  </a:lnTo>
                  <a:lnTo>
                    <a:pt x="882" y="415"/>
                  </a:lnTo>
                  <a:lnTo>
                    <a:pt x="811" y="415"/>
                  </a:lnTo>
                  <a:lnTo>
                    <a:pt x="741" y="433"/>
                  </a:lnTo>
                  <a:lnTo>
                    <a:pt x="688" y="459"/>
                  </a:lnTo>
                  <a:lnTo>
                    <a:pt x="635" y="495"/>
                  </a:lnTo>
                  <a:lnTo>
                    <a:pt x="591" y="548"/>
                  </a:lnTo>
                  <a:lnTo>
                    <a:pt x="556" y="609"/>
                  </a:lnTo>
                  <a:lnTo>
                    <a:pt x="529" y="689"/>
                  </a:lnTo>
                  <a:lnTo>
                    <a:pt x="520" y="768"/>
                  </a:lnTo>
                  <a:lnTo>
                    <a:pt x="520"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5" name="Freeform 5">
              <a:extLst>
                <a:ext uri="{FF2B5EF4-FFF2-40B4-BE49-F238E27FC236}">
                  <a16:creationId xmlns:a16="http://schemas.microsoft.com/office/drawing/2014/main" id="{813455D3-45B2-4C26-A2EC-B0493801BBDC}"/>
                </a:ext>
              </a:extLst>
            </p:cNvPr>
            <p:cNvSpPr>
              <a:spLocks noChangeArrowheads="1"/>
            </p:cNvSpPr>
            <p:nvPr/>
          </p:nvSpPr>
          <p:spPr bwMode="auto">
            <a:xfrm>
              <a:off x="5911850" y="5537200"/>
              <a:ext cx="606425" cy="681038"/>
            </a:xfrm>
            <a:custGeom>
              <a:avLst/>
              <a:gdLst>
                <a:gd name="T0" fmla="*/ 1676 w 1686"/>
                <a:gd name="T1" fmla="*/ 1112 h 1890"/>
                <a:gd name="T2" fmla="*/ 512 w 1686"/>
                <a:gd name="T3" fmla="*/ 1112 h 1890"/>
                <a:gd name="T4" fmla="*/ 547 w 1686"/>
                <a:gd name="T5" fmla="*/ 1227 h 1890"/>
                <a:gd name="T6" fmla="*/ 600 w 1686"/>
                <a:gd name="T7" fmla="*/ 1315 h 1890"/>
                <a:gd name="T8" fmla="*/ 688 w 1686"/>
                <a:gd name="T9" fmla="*/ 1386 h 1890"/>
                <a:gd name="T10" fmla="*/ 812 w 1686"/>
                <a:gd name="T11" fmla="*/ 1430 h 1890"/>
                <a:gd name="T12" fmla="*/ 882 w 1686"/>
                <a:gd name="T13" fmla="*/ 1439 h 1890"/>
                <a:gd name="T14" fmla="*/ 1041 w 1686"/>
                <a:gd name="T15" fmla="*/ 1457 h 1890"/>
                <a:gd name="T16" fmla="*/ 1262 w 1686"/>
                <a:gd name="T17" fmla="*/ 1430 h 1890"/>
                <a:gd name="T18" fmla="*/ 1420 w 1686"/>
                <a:gd name="T19" fmla="*/ 1404 h 1890"/>
                <a:gd name="T20" fmla="*/ 1517 w 1686"/>
                <a:gd name="T21" fmla="*/ 1377 h 1890"/>
                <a:gd name="T22" fmla="*/ 1597 w 1686"/>
                <a:gd name="T23" fmla="*/ 1783 h 1890"/>
                <a:gd name="T24" fmla="*/ 1270 w 1686"/>
                <a:gd name="T25" fmla="*/ 1863 h 1890"/>
                <a:gd name="T26" fmla="*/ 953 w 1686"/>
                <a:gd name="T27" fmla="*/ 1889 h 1890"/>
                <a:gd name="T28" fmla="*/ 714 w 1686"/>
                <a:gd name="T29" fmla="*/ 1871 h 1890"/>
                <a:gd name="T30" fmla="*/ 564 w 1686"/>
                <a:gd name="T31" fmla="*/ 1827 h 1890"/>
                <a:gd name="T32" fmla="*/ 414 w 1686"/>
                <a:gd name="T33" fmla="*/ 1757 h 1890"/>
                <a:gd name="T34" fmla="*/ 335 w 1686"/>
                <a:gd name="T35" fmla="*/ 1712 h 1890"/>
                <a:gd name="T36" fmla="*/ 159 w 1686"/>
                <a:gd name="T37" fmla="*/ 1545 h 1890"/>
                <a:gd name="T38" fmla="*/ 53 w 1686"/>
                <a:gd name="T39" fmla="*/ 1342 h 1890"/>
                <a:gd name="T40" fmla="*/ 0 w 1686"/>
                <a:gd name="T41" fmla="*/ 1112 h 1890"/>
                <a:gd name="T42" fmla="*/ 0 w 1686"/>
                <a:gd name="T43" fmla="*/ 865 h 1890"/>
                <a:gd name="T44" fmla="*/ 9 w 1686"/>
                <a:gd name="T45" fmla="*/ 759 h 1890"/>
                <a:gd name="T46" fmla="*/ 62 w 1686"/>
                <a:gd name="T47" fmla="*/ 556 h 1890"/>
                <a:gd name="T48" fmla="*/ 150 w 1686"/>
                <a:gd name="T49" fmla="*/ 380 h 1890"/>
                <a:gd name="T50" fmla="*/ 264 w 1686"/>
                <a:gd name="T51" fmla="*/ 239 h 1890"/>
                <a:gd name="T52" fmla="*/ 414 w 1686"/>
                <a:gd name="T53" fmla="*/ 124 h 1890"/>
                <a:gd name="T54" fmla="*/ 582 w 1686"/>
                <a:gd name="T55" fmla="*/ 45 h 1890"/>
                <a:gd name="T56" fmla="*/ 776 w 1686"/>
                <a:gd name="T57" fmla="*/ 9 h 1890"/>
                <a:gd name="T58" fmla="*/ 979 w 1686"/>
                <a:gd name="T59" fmla="*/ 9 h 1890"/>
                <a:gd name="T60" fmla="*/ 1085 w 1686"/>
                <a:gd name="T61" fmla="*/ 27 h 1890"/>
                <a:gd name="T62" fmla="*/ 1253 w 1686"/>
                <a:gd name="T63" fmla="*/ 80 h 1890"/>
                <a:gd name="T64" fmla="*/ 1394 w 1686"/>
                <a:gd name="T65" fmla="*/ 168 h 1890"/>
                <a:gd name="T66" fmla="*/ 1509 w 1686"/>
                <a:gd name="T67" fmla="*/ 292 h 1890"/>
                <a:gd name="T68" fmla="*/ 1597 w 1686"/>
                <a:gd name="T69" fmla="*/ 442 h 1890"/>
                <a:gd name="T70" fmla="*/ 1632 w 1686"/>
                <a:gd name="T71" fmla="*/ 521 h 1890"/>
                <a:gd name="T72" fmla="*/ 1667 w 1686"/>
                <a:gd name="T73" fmla="*/ 689 h 1890"/>
                <a:gd name="T74" fmla="*/ 1685 w 1686"/>
                <a:gd name="T75" fmla="*/ 856 h 1890"/>
                <a:gd name="T76" fmla="*/ 1676 w 1686"/>
                <a:gd name="T77" fmla="*/ 1112 h 1890"/>
                <a:gd name="T78" fmla="*/ 1200 w 1686"/>
                <a:gd name="T79" fmla="*/ 768 h 1890"/>
                <a:gd name="T80" fmla="*/ 1173 w 1686"/>
                <a:gd name="T81" fmla="*/ 627 h 1890"/>
                <a:gd name="T82" fmla="*/ 1103 w 1686"/>
                <a:gd name="T83" fmla="*/ 512 h 1890"/>
                <a:gd name="T84" fmla="*/ 1006 w 1686"/>
                <a:gd name="T85" fmla="*/ 442 h 1890"/>
                <a:gd name="T86" fmla="*/ 882 w 1686"/>
                <a:gd name="T87" fmla="*/ 415 h 1890"/>
                <a:gd name="T88" fmla="*/ 812 w 1686"/>
                <a:gd name="T89" fmla="*/ 415 h 1890"/>
                <a:gd name="T90" fmla="*/ 679 w 1686"/>
                <a:gd name="T91" fmla="*/ 459 h 1890"/>
                <a:gd name="T92" fmla="*/ 591 w 1686"/>
                <a:gd name="T93" fmla="*/ 548 h 1890"/>
                <a:gd name="T94" fmla="*/ 529 w 1686"/>
                <a:gd name="T95" fmla="*/ 689 h 1890"/>
                <a:gd name="T96" fmla="*/ 512 w 1686"/>
                <a:gd name="T97"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86" h="1890">
                  <a:moveTo>
                    <a:pt x="1676" y="1112"/>
                  </a:moveTo>
                  <a:lnTo>
                    <a:pt x="1676" y="1112"/>
                  </a:lnTo>
                  <a:lnTo>
                    <a:pt x="512" y="1112"/>
                  </a:lnTo>
                  <a:lnTo>
                    <a:pt x="512" y="1112"/>
                  </a:lnTo>
                  <a:lnTo>
                    <a:pt x="520" y="1174"/>
                  </a:lnTo>
                  <a:lnTo>
                    <a:pt x="547" y="1227"/>
                  </a:lnTo>
                  <a:lnTo>
                    <a:pt x="573" y="1271"/>
                  </a:lnTo>
                  <a:lnTo>
                    <a:pt x="600" y="1315"/>
                  </a:lnTo>
                  <a:lnTo>
                    <a:pt x="644" y="1351"/>
                  </a:lnTo>
                  <a:lnTo>
                    <a:pt x="688" y="1386"/>
                  </a:lnTo>
                  <a:lnTo>
                    <a:pt x="741" y="1404"/>
                  </a:lnTo>
                  <a:lnTo>
                    <a:pt x="812" y="1430"/>
                  </a:lnTo>
                  <a:lnTo>
                    <a:pt x="812" y="1430"/>
                  </a:lnTo>
                  <a:lnTo>
                    <a:pt x="882" y="1439"/>
                  </a:lnTo>
                  <a:lnTo>
                    <a:pt x="962" y="1448"/>
                  </a:lnTo>
                  <a:lnTo>
                    <a:pt x="1041" y="1457"/>
                  </a:lnTo>
                  <a:lnTo>
                    <a:pt x="1112" y="1448"/>
                  </a:lnTo>
                  <a:lnTo>
                    <a:pt x="1262" y="1430"/>
                  </a:lnTo>
                  <a:lnTo>
                    <a:pt x="1420" y="1404"/>
                  </a:lnTo>
                  <a:lnTo>
                    <a:pt x="1420" y="1404"/>
                  </a:lnTo>
                  <a:lnTo>
                    <a:pt x="1517" y="1377"/>
                  </a:lnTo>
                  <a:lnTo>
                    <a:pt x="1517" y="1377"/>
                  </a:lnTo>
                  <a:lnTo>
                    <a:pt x="1597" y="1783"/>
                  </a:lnTo>
                  <a:lnTo>
                    <a:pt x="1597" y="1783"/>
                  </a:lnTo>
                  <a:lnTo>
                    <a:pt x="1429" y="1827"/>
                  </a:lnTo>
                  <a:lnTo>
                    <a:pt x="1270" y="1863"/>
                  </a:lnTo>
                  <a:lnTo>
                    <a:pt x="1112" y="1880"/>
                  </a:lnTo>
                  <a:lnTo>
                    <a:pt x="953" y="1889"/>
                  </a:lnTo>
                  <a:lnTo>
                    <a:pt x="794" y="1880"/>
                  </a:lnTo>
                  <a:lnTo>
                    <a:pt x="714" y="1871"/>
                  </a:lnTo>
                  <a:lnTo>
                    <a:pt x="644" y="1854"/>
                  </a:lnTo>
                  <a:lnTo>
                    <a:pt x="564" y="1827"/>
                  </a:lnTo>
                  <a:lnTo>
                    <a:pt x="485" y="1792"/>
                  </a:lnTo>
                  <a:lnTo>
                    <a:pt x="414" y="1757"/>
                  </a:lnTo>
                  <a:lnTo>
                    <a:pt x="335" y="1712"/>
                  </a:lnTo>
                  <a:lnTo>
                    <a:pt x="335" y="1712"/>
                  </a:lnTo>
                  <a:lnTo>
                    <a:pt x="238" y="1633"/>
                  </a:lnTo>
                  <a:lnTo>
                    <a:pt x="159" y="1545"/>
                  </a:lnTo>
                  <a:lnTo>
                    <a:pt x="97" y="1439"/>
                  </a:lnTo>
                  <a:lnTo>
                    <a:pt x="53" y="1342"/>
                  </a:lnTo>
                  <a:lnTo>
                    <a:pt x="17" y="1227"/>
                  </a:lnTo>
                  <a:lnTo>
                    <a:pt x="0" y="1112"/>
                  </a:lnTo>
                  <a:lnTo>
                    <a:pt x="0" y="989"/>
                  </a:lnTo>
                  <a:lnTo>
                    <a:pt x="0" y="865"/>
                  </a:lnTo>
                  <a:lnTo>
                    <a:pt x="0" y="865"/>
                  </a:lnTo>
                  <a:lnTo>
                    <a:pt x="9" y="759"/>
                  </a:lnTo>
                  <a:lnTo>
                    <a:pt x="26" y="653"/>
                  </a:lnTo>
                  <a:lnTo>
                    <a:pt x="62" y="556"/>
                  </a:lnTo>
                  <a:lnTo>
                    <a:pt x="97" y="468"/>
                  </a:lnTo>
                  <a:lnTo>
                    <a:pt x="150" y="380"/>
                  </a:lnTo>
                  <a:lnTo>
                    <a:pt x="203" y="309"/>
                  </a:lnTo>
                  <a:lnTo>
                    <a:pt x="264" y="239"/>
                  </a:lnTo>
                  <a:lnTo>
                    <a:pt x="335" y="177"/>
                  </a:lnTo>
                  <a:lnTo>
                    <a:pt x="414" y="124"/>
                  </a:lnTo>
                  <a:lnTo>
                    <a:pt x="494" y="80"/>
                  </a:lnTo>
                  <a:lnTo>
                    <a:pt x="582" y="45"/>
                  </a:lnTo>
                  <a:lnTo>
                    <a:pt x="679" y="18"/>
                  </a:lnTo>
                  <a:lnTo>
                    <a:pt x="776" y="9"/>
                  </a:lnTo>
                  <a:lnTo>
                    <a:pt x="873" y="0"/>
                  </a:lnTo>
                  <a:lnTo>
                    <a:pt x="979" y="9"/>
                  </a:lnTo>
                  <a:lnTo>
                    <a:pt x="1085" y="27"/>
                  </a:lnTo>
                  <a:lnTo>
                    <a:pt x="1085" y="27"/>
                  </a:lnTo>
                  <a:lnTo>
                    <a:pt x="1173" y="53"/>
                  </a:lnTo>
                  <a:lnTo>
                    <a:pt x="1253" y="80"/>
                  </a:lnTo>
                  <a:lnTo>
                    <a:pt x="1323" y="124"/>
                  </a:lnTo>
                  <a:lnTo>
                    <a:pt x="1394" y="168"/>
                  </a:lnTo>
                  <a:lnTo>
                    <a:pt x="1456" y="221"/>
                  </a:lnTo>
                  <a:lnTo>
                    <a:pt x="1509" y="292"/>
                  </a:lnTo>
                  <a:lnTo>
                    <a:pt x="1562" y="362"/>
                  </a:lnTo>
                  <a:lnTo>
                    <a:pt x="1597" y="442"/>
                  </a:lnTo>
                  <a:lnTo>
                    <a:pt x="1597" y="442"/>
                  </a:lnTo>
                  <a:lnTo>
                    <a:pt x="1632" y="521"/>
                  </a:lnTo>
                  <a:lnTo>
                    <a:pt x="1650" y="601"/>
                  </a:lnTo>
                  <a:lnTo>
                    <a:pt x="1667" y="689"/>
                  </a:lnTo>
                  <a:lnTo>
                    <a:pt x="1685" y="768"/>
                  </a:lnTo>
                  <a:lnTo>
                    <a:pt x="1685" y="856"/>
                  </a:lnTo>
                  <a:lnTo>
                    <a:pt x="1685" y="936"/>
                  </a:lnTo>
                  <a:lnTo>
                    <a:pt x="1676" y="1112"/>
                  </a:lnTo>
                  <a:close/>
                  <a:moveTo>
                    <a:pt x="1200" y="768"/>
                  </a:moveTo>
                  <a:lnTo>
                    <a:pt x="1200" y="768"/>
                  </a:lnTo>
                  <a:lnTo>
                    <a:pt x="1191" y="698"/>
                  </a:lnTo>
                  <a:lnTo>
                    <a:pt x="1173" y="627"/>
                  </a:lnTo>
                  <a:lnTo>
                    <a:pt x="1138" y="565"/>
                  </a:lnTo>
                  <a:lnTo>
                    <a:pt x="1103" y="512"/>
                  </a:lnTo>
                  <a:lnTo>
                    <a:pt x="1059" y="477"/>
                  </a:lnTo>
                  <a:lnTo>
                    <a:pt x="1006" y="442"/>
                  </a:lnTo>
                  <a:lnTo>
                    <a:pt x="953" y="424"/>
                  </a:lnTo>
                  <a:lnTo>
                    <a:pt x="882" y="415"/>
                  </a:lnTo>
                  <a:lnTo>
                    <a:pt x="882" y="415"/>
                  </a:lnTo>
                  <a:lnTo>
                    <a:pt x="812" y="415"/>
                  </a:lnTo>
                  <a:lnTo>
                    <a:pt x="741" y="433"/>
                  </a:lnTo>
                  <a:lnTo>
                    <a:pt x="679" y="459"/>
                  </a:lnTo>
                  <a:lnTo>
                    <a:pt x="626" y="495"/>
                  </a:lnTo>
                  <a:lnTo>
                    <a:pt x="591" y="548"/>
                  </a:lnTo>
                  <a:lnTo>
                    <a:pt x="556" y="609"/>
                  </a:lnTo>
                  <a:lnTo>
                    <a:pt x="529" y="689"/>
                  </a:lnTo>
                  <a:lnTo>
                    <a:pt x="512" y="768"/>
                  </a:lnTo>
                  <a:lnTo>
                    <a:pt x="512"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6" name="Freeform 6">
              <a:extLst>
                <a:ext uri="{FF2B5EF4-FFF2-40B4-BE49-F238E27FC236}">
                  <a16:creationId xmlns:a16="http://schemas.microsoft.com/office/drawing/2014/main" id="{6C508BF2-56A2-4111-BBD0-048BEC1AFB53}"/>
                </a:ext>
              </a:extLst>
            </p:cNvPr>
            <p:cNvSpPr>
              <a:spLocks noChangeArrowheads="1"/>
            </p:cNvSpPr>
            <p:nvPr/>
          </p:nvSpPr>
          <p:spPr bwMode="auto">
            <a:xfrm>
              <a:off x="3968750" y="5537200"/>
              <a:ext cx="609600" cy="681038"/>
            </a:xfrm>
            <a:custGeom>
              <a:avLst/>
              <a:gdLst>
                <a:gd name="T0" fmla="*/ 1685 w 1695"/>
                <a:gd name="T1" fmla="*/ 1112 h 1890"/>
                <a:gd name="T2" fmla="*/ 520 w 1695"/>
                <a:gd name="T3" fmla="*/ 1112 h 1890"/>
                <a:gd name="T4" fmla="*/ 547 w 1695"/>
                <a:gd name="T5" fmla="*/ 1227 h 1890"/>
                <a:gd name="T6" fmla="*/ 609 w 1695"/>
                <a:gd name="T7" fmla="*/ 1315 h 1890"/>
                <a:gd name="T8" fmla="*/ 697 w 1695"/>
                <a:gd name="T9" fmla="*/ 1386 h 1890"/>
                <a:gd name="T10" fmla="*/ 811 w 1695"/>
                <a:gd name="T11" fmla="*/ 1430 h 1890"/>
                <a:gd name="T12" fmla="*/ 891 w 1695"/>
                <a:gd name="T13" fmla="*/ 1439 h 1890"/>
                <a:gd name="T14" fmla="*/ 1050 w 1695"/>
                <a:gd name="T15" fmla="*/ 1457 h 1890"/>
                <a:gd name="T16" fmla="*/ 1279 w 1695"/>
                <a:gd name="T17" fmla="*/ 1430 h 1890"/>
                <a:gd name="T18" fmla="*/ 1438 w 1695"/>
                <a:gd name="T19" fmla="*/ 1395 h 1890"/>
                <a:gd name="T20" fmla="*/ 1526 w 1695"/>
                <a:gd name="T21" fmla="*/ 1368 h 1890"/>
                <a:gd name="T22" fmla="*/ 1597 w 1695"/>
                <a:gd name="T23" fmla="*/ 1765 h 1890"/>
                <a:gd name="T24" fmla="*/ 1456 w 1695"/>
                <a:gd name="T25" fmla="*/ 1827 h 1890"/>
                <a:gd name="T26" fmla="*/ 1297 w 1695"/>
                <a:gd name="T27" fmla="*/ 1871 h 1890"/>
                <a:gd name="T28" fmla="*/ 1120 w 1695"/>
                <a:gd name="T29" fmla="*/ 1889 h 1890"/>
                <a:gd name="T30" fmla="*/ 759 w 1695"/>
                <a:gd name="T31" fmla="*/ 1863 h 1890"/>
                <a:gd name="T32" fmla="*/ 582 w 1695"/>
                <a:gd name="T33" fmla="*/ 1827 h 1890"/>
                <a:gd name="T34" fmla="*/ 432 w 1695"/>
                <a:gd name="T35" fmla="*/ 1765 h 1890"/>
                <a:gd name="T36" fmla="*/ 309 w 1695"/>
                <a:gd name="T37" fmla="*/ 1686 h 1890"/>
                <a:gd name="T38" fmla="*/ 220 w 1695"/>
                <a:gd name="T39" fmla="*/ 1598 h 1890"/>
                <a:gd name="T40" fmla="*/ 97 w 1695"/>
                <a:gd name="T41" fmla="*/ 1412 h 1890"/>
                <a:gd name="T42" fmla="*/ 26 w 1695"/>
                <a:gd name="T43" fmla="*/ 1209 h 1890"/>
                <a:gd name="T44" fmla="*/ 0 w 1695"/>
                <a:gd name="T45" fmla="*/ 980 h 1890"/>
                <a:gd name="T46" fmla="*/ 9 w 1695"/>
                <a:gd name="T47" fmla="*/ 865 h 1890"/>
                <a:gd name="T48" fmla="*/ 35 w 1695"/>
                <a:gd name="T49" fmla="*/ 653 h 1890"/>
                <a:gd name="T50" fmla="*/ 106 w 1695"/>
                <a:gd name="T51" fmla="*/ 468 h 1890"/>
                <a:gd name="T52" fmla="*/ 211 w 1695"/>
                <a:gd name="T53" fmla="*/ 309 h 1890"/>
                <a:gd name="T54" fmla="*/ 344 w 1695"/>
                <a:gd name="T55" fmla="*/ 186 h 1890"/>
                <a:gd name="T56" fmla="*/ 494 w 1695"/>
                <a:gd name="T57" fmla="*/ 89 h 1890"/>
                <a:gd name="T58" fmla="*/ 679 w 1695"/>
                <a:gd name="T59" fmla="*/ 27 h 1890"/>
                <a:gd name="T60" fmla="*/ 873 w 1695"/>
                <a:gd name="T61" fmla="*/ 0 h 1890"/>
                <a:gd name="T62" fmla="*/ 1076 w 1695"/>
                <a:gd name="T63" fmla="*/ 27 h 1890"/>
                <a:gd name="T64" fmla="*/ 1173 w 1695"/>
                <a:gd name="T65" fmla="*/ 45 h 1890"/>
                <a:gd name="T66" fmla="*/ 1341 w 1695"/>
                <a:gd name="T67" fmla="*/ 124 h 1890"/>
                <a:gd name="T68" fmla="*/ 1473 w 1695"/>
                <a:gd name="T69" fmla="*/ 239 h 1890"/>
                <a:gd name="T70" fmla="*/ 1579 w 1695"/>
                <a:gd name="T71" fmla="*/ 389 h 1890"/>
                <a:gd name="T72" fmla="*/ 1623 w 1695"/>
                <a:gd name="T73" fmla="*/ 477 h 1890"/>
                <a:gd name="T74" fmla="*/ 1667 w 1695"/>
                <a:gd name="T75" fmla="*/ 627 h 1890"/>
                <a:gd name="T76" fmla="*/ 1694 w 1695"/>
                <a:gd name="T77" fmla="*/ 786 h 1890"/>
                <a:gd name="T78" fmla="*/ 1685 w 1695"/>
                <a:gd name="T79" fmla="*/ 1112 h 1890"/>
                <a:gd name="T80" fmla="*/ 1200 w 1695"/>
                <a:gd name="T81" fmla="*/ 768 h 1890"/>
                <a:gd name="T82" fmla="*/ 1173 w 1695"/>
                <a:gd name="T83" fmla="*/ 627 h 1890"/>
                <a:gd name="T84" fmla="*/ 1111 w 1695"/>
                <a:gd name="T85" fmla="*/ 512 h 1890"/>
                <a:gd name="T86" fmla="*/ 1014 w 1695"/>
                <a:gd name="T87" fmla="*/ 442 h 1890"/>
                <a:gd name="T88" fmla="*/ 891 w 1695"/>
                <a:gd name="T89" fmla="*/ 415 h 1890"/>
                <a:gd name="T90" fmla="*/ 820 w 1695"/>
                <a:gd name="T91" fmla="*/ 415 h 1890"/>
                <a:gd name="T92" fmla="*/ 688 w 1695"/>
                <a:gd name="T93" fmla="*/ 459 h 1890"/>
                <a:gd name="T94" fmla="*/ 591 w 1695"/>
                <a:gd name="T95" fmla="*/ 548 h 1890"/>
                <a:gd name="T96" fmla="*/ 538 w 1695"/>
                <a:gd name="T97" fmla="*/ 689 h 1890"/>
                <a:gd name="T98" fmla="*/ 520 w 1695"/>
                <a:gd name="T99" fmla="*/ 768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95" h="1890">
                  <a:moveTo>
                    <a:pt x="1685" y="1112"/>
                  </a:moveTo>
                  <a:lnTo>
                    <a:pt x="1685" y="1112"/>
                  </a:lnTo>
                  <a:lnTo>
                    <a:pt x="520" y="1112"/>
                  </a:lnTo>
                  <a:lnTo>
                    <a:pt x="520" y="1112"/>
                  </a:lnTo>
                  <a:lnTo>
                    <a:pt x="529" y="1174"/>
                  </a:lnTo>
                  <a:lnTo>
                    <a:pt x="547" y="1227"/>
                  </a:lnTo>
                  <a:lnTo>
                    <a:pt x="573" y="1271"/>
                  </a:lnTo>
                  <a:lnTo>
                    <a:pt x="609" y="1315"/>
                  </a:lnTo>
                  <a:lnTo>
                    <a:pt x="653" y="1351"/>
                  </a:lnTo>
                  <a:lnTo>
                    <a:pt x="697" y="1386"/>
                  </a:lnTo>
                  <a:lnTo>
                    <a:pt x="750" y="1404"/>
                  </a:lnTo>
                  <a:lnTo>
                    <a:pt x="811" y="1430"/>
                  </a:lnTo>
                  <a:lnTo>
                    <a:pt x="811" y="1430"/>
                  </a:lnTo>
                  <a:lnTo>
                    <a:pt x="891" y="1439"/>
                  </a:lnTo>
                  <a:lnTo>
                    <a:pt x="970" y="1448"/>
                  </a:lnTo>
                  <a:lnTo>
                    <a:pt x="1050" y="1457"/>
                  </a:lnTo>
                  <a:lnTo>
                    <a:pt x="1129" y="1448"/>
                  </a:lnTo>
                  <a:lnTo>
                    <a:pt x="1279" y="1430"/>
                  </a:lnTo>
                  <a:lnTo>
                    <a:pt x="1438" y="1395"/>
                  </a:lnTo>
                  <a:lnTo>
                    <a:pt x="1438" y="1395"/>
                  </a:lnTo>
                  <a:lnTo>
                    <a:pt x="1526" y="1368"/>
                  </a:lnTo>
                  <a:lnTo>
                    <a:pt x="1526" y="1368"/>
                  </a:lnTo>
                  <a:lnTo>
                    <a:pt x="1597" y="1765"/>
                  </a:lnTo>
                  <a:lnTo>
                    <a:pt x="1597" y="1765"/>
                  </a:lnTo>
                  <a:lnTo>
                    <a:pt x="1535" y="1801"/>
                  </a:lnTo>
                  <a:lnTo>
                    <a:pt x="1456" y="1827"/>
                  </a:lnTo>
                  <a:lnTo>
                    <a:pt x="1376" y="1854"/>
                  </a:lnTo>
                  <a:lnTo>
                    <a:pt x="1297" y="1871"/>
                  </a:lnTo>
                  <a:lnTo>
                    <a:pt x="1209" y="1880"/>
                  </a:lnTo>
                  <a:lnTo>
                    <a:pt x="1120" y="1889"/>
                  </a:lnTo>
                  <a:lnTo>
                    <a:pt x="935" y="1889"/>
                  </a:lnTo>
                  <a:lnTo>
                    <a:pt x="759" y="1863"/>
                  </a:lnTo>
                  <a:lnTo>
                    <a:pt x="670" y="1845"/>
                  </a:lnTo>
                  <a:lnTo>
                    <a:pt x="582" y="1827"/>
                  </a:lnTo>
                  <a:lnTo>
                    <a:pt x="503" y="1801"/>
                  </a:lnTo>
                  <a:lnTo>
                    <a:pt x="432" y="1765"/>
                  </a:lnTo>
                  <a:lnTo>
                    <a:pt x="361" y="1730"/>
                  </a:lnTo>
                  <a:lnTo>
                    <a:pt x="309" y="1686"/>
                  </a:lnTo>
                  <a:lnTo>
                    <a:pt x="309" y="1686"/>
                  </a:lnTo>
                  <a:lnTo>
                    <a:pt x="220" y="1598"/>
                  </a:lnTo>
                  <a:lnTo>
                    <a:pt x="150" y="1510"/>
                  </a:lnTo>
                  <a:lnTo>
                    <a:pt x="97" y="1412"/>
                  </a:lnTo>
                  <a:lnTo>
                    <a:pt x="53" y="1315"/>
                  </a:lnTo>
                  <a:lnTo>
                    <a:pt x="26" y="1209"/>
                  </a:lnTo>
                  <a:lnTo>
                    <a:pt x="9" y="1095"/>
                  </a:lnTo>
                  <a:lnTo>
                    <a:pt x="0" y="980"/>
                  </a:lnTo>
                  <a:lnTo>
                    <a:pt x="9" y="865"/>
                  </a:lnTo>
                  <a:lnTo>
                    <a:pt x="9" y="865"/>
                  </a:lnTo>
                  <a:lnTo>
                    <a:pt x="17" y="759"/>
                  </a:lnTo>
                  <a:lnTo>
                    <a:pt x="35" y="653"/>
                  </a:lnTo>
                  <a:lnTo>
                    <a:pt x="70" y="565"/>
                  </a:lnTo>
                  <a:lnTo>
                    <a:pt x="106" y="468"/>
                  </a:lnTo>
                  <a:lnTo>
                    <a:pt x="150" y="389"/>
                  </a:lnTo>
                  <a:lnTo>
                    <a:pt x="211" y="309"/>
                  </a:lnTo>
                  <a:lnTo>
                    <a:pt x="273" y="239"/>
                  </a:lnTo>
                  <a:lnTo>
                    <a:pt x="344" y="186"/>
                  </a:lnTo>
                  <a:lnTo>
                    <a:pt x="414" y="133"/>
                  </a:lnTo>
                  <a:lnTo>
                    <a:pt x="494" y="89"/>
                  </a:lnTo>
                  <a:lnTo>
                    <a:pt x="582" y="53"/>
                  </a:lnTo>
                  <a:lnTo>
                    <a:pt x="679" y="27"/>
                  </a:lnTo>
                  <a:lnTo>
                    <a:pt x="767" y="9"/>
                  </a:lnTo>
                  <a:lnTo>
                    <a:pt x="873" y="0"/>
                  </a:lnTo>
                  <a:lnTo>
                    <a:pt x="970" y="9"/>
                  </a:lnTo>
                  <a:lnTo>
                    <a:pt x="1076" y="27"/>
                  </a:lnTo>
                  <a:lnTo>
                    <a:pt x="1076" y="27"/>
                  </a:lnTo>
                  <a:lnTo>
                    <a:pt x="1173" y="45"/>
                  </a:lnTo>
                  <a:lnTo>
                    <a:pt x="1261" y="80"/>
                  </a:lnTo>
                  <a:lnTo>
                    <a:pt x="1341" y="124"/>
                  </a:lnTo>
                  <a:lnTo>
                    <a:pt x="1411" y="177"/>
                  </a:lnTo>
                  <a:lnTo>
                    <a:pt x="1473" y="239"/>
                  </a:lnTo>
                  <a:lnTo>
                    <a:pt x="1535" y="309"/>
                  </a:lnTo>
                  <a:lnTo>
                    <a:pt x="1579" y="389"/>
                  </a:lnTo>
                  <a:lnTo>
                    <a:pt x="1623" y="477"/>
                  </a:lnTo>
                  <a:lnTo>
                    <a:pt x="1623" y="477"/>
                  </a:lnTo>
                  <a:lnTo>
                    <a:pt x="1650" y="548"/>
                  </a:lnTo>
                  <a:lnTo>
                    <a:pt x="1667" y="627"/>
                  </a:lnTo>
                  <a:lnTo>
                    <a:pt x="1685" y="706"/>
                  </a:lnTo>
                  <a:lnTo>
                    <a:pt x="1694" y="786"/>
                  </a:lnTo>
                  <a:lnTo>
                    <a:pt x="1694" y="945"/>
                  </a:lnTo>
                  <a:lnTo>
                    <a:pt x="1685" y="1112"/>
                  </a:lnTo>
                  <a:close/>
                  <a:moveTo>
                    <a:pt x="1200" y="768"/>
                  </a:moveTo>
                  <a:lnTo>
                    <a:pt x="1200" y="768"/>
                  </a:lnTo>
                  <a:lnTo>
                    <a:pt x="1200" y="698"/>
                  </a:lnTo>
                  <a:lnTo>
                    <a:pt x="1173" y="627"/>
                  </a:lnTo>
                  <a:lnTo>
                    <a:pt x="1147" y="565"/>
                  </a:lnTo>
                  <a:lnTo>
                    <a:pt x="1111" y="512"/>
                  </a:lnTo>
                  <a:lnTo>
                    <a:pt x="1067" y="477"/>
                  </a:lnTo>
                  <a:lnTo>
                    <a:pt x="1014" y="442"/>
                  </a:lnTo>
                  <a:lnTo>
                    <a:pt x="961" y="424"/>
                  </a:lnTo>
                  <a:lnTo>
                    <a:pt x="891" y="415"/>
                  </a:lnTo>
                  <a:lnTo>
                    <a:pt x="891" y="415"/>
                  </a:lnTo>
                  <a:lnTo>
                    <a:pt x="820" y="415"/>
                  </a:lnTo>
                  <a:lnTo>
                    <a:pt x="750" y="433"/>
                  </a:lnTo>
                  <a:lnTo>
                    <a:pt x="688" y="459"/>
                  </a:lnTo>
                  <a:lnTo>
                    <a:pt x="635" y="495"/>
                  </a:lnTo>
                  <a:lnTo>
                    <a:pt x="591" y="548"/>
                  </a:lnTo>
                  <a:lnTo>
                    <a:pt x="564" y="609"/>
                  </a:lnTo>
                  <a:lnTo>
                    <a:pt x="538" y="689"/>
                  </a:lnTo>
                  <a:lnTo>
                    <a:pt x="520" y="768"/>
                  </a:lnTo>
                  <a:lnTo>
                    <a:pt x="520" y="768"/>
                  </a:lnTo>
                  <a:lnTo>
                    <a:pt x="1200" y="76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7" name="Freeform 7">
              <a:extLst>
                <a:ext uri="{FF2B5EF4-FFF2-40B4-BE49-F238E27FC236}">
                  <a16:creationId xmlns:a16="http://schemas.microsoft.com/office/drawing/2014/main" id="{782E5A63-BE72-467D-A24F-904942E5CB09}"/>
                </a:ext>
              </a:extLst>
            </p:cNvPr>
            <p:cNvSpPr>
              <a:spLocks noChangeArrowheads="1"/>
            </p:cNvSpPr>
            <p:nvPr/>
          </p:nvSpPr>
          <p:spPr bwMode="auto">
            <a:xfrm>
              <a:off x="2538413" y="5556250"/>
              <a:ext cx="550862" cy="661988"/>
            </a:xfrm>
            <a:custGeom>
              <a:avLst/>
              <a:gdLst>
                <a:gd name="T0" fmla="*/ 1024 w 1528"/>
                <a:gd name="T1" fmla="*/ 1377 h 1837"/>
                <a:gd name="T2" fmla="*/ 1024 w 1528"/>
                <a:gd name="T3" fmla="*/ 1377 h 1837"/>
                <a:gd name="T4" fmla="*/ 1024 w 1528"/>
                <a:gd name="T5" fmla="*/ 0 h 1837"/>
                <a:gd name="T6" fmla="*/ 1024 w 1528"/>
                <a:gd name="T7" fmla="*/ 0 h 1837"/>
                <a:gd name="T8" fmla="*/ 1527 w 1528"/>
                <a:gd name="T9" fmla="*/ 0 h 1837"/>
                <a:gd name="T10" fmla="*/ 1527 w 1528"/>
                <a:gd name="T11" fmla="*/ 0 h 1837"/>
                <a:gd name="T12" fmla="*/ 1527 w 1528"/>
                <a:gd name="T13" fmla="*/ 1739 h 1837"/>
                <a:gd name="T14" fmla="*/ 1527 w 1528"/>
                <a:gd name="T15" fmla="*/ 1739 h 1837"/>
                <a:gd name="T16" fmla="*/ 1262 w 1528"/>
                <a:gd name="T17" fmla="*/ 1792 h 1837"/>
                <a:gd name="T18" fmla="*/ 1130 w 1528"/>
                <a:gd name="T19" fmla="*/ 1818 h 1837"/>
                <a:gd name="T20" fmla="*/ 988 w 1528"/>
                <a:gd name="T21" fmla="*/ 1827 h 1837"/>
                <a:gd name="T22" fmla="*/ 856 w 1528"/>
                <a:gd name="T23" fmla="*/ 1836 h 1837"/>
                <a:gd name="T24" fmla="*/ 724 w 1528"/>
                <a:gd name="T25" fmla="*/ 1836 h 1837"/>
                <a:gd name="T26" fmla="*/ 591 w 1528"/>
                <a:gd name="T27" fmla="*/ 1818 h 1837"/>
                <a:gd name="T28" fmla="*/ 450 w 1528"/>
                <a:gd name="T29" fmla="*/ 1783 h 1837"/>
                <a:gd name="T30" fmla="*/ 450 w 1528"/>
                <a:gd name="T31" fmla="*/ 1783 h 1837"/>
                <a:gd name="T32" fmla="*/ 362 w 1528"/>
                <a:gd name="T33" fmla="*/ 1757 h 1837"/>
                <a:gd name="T34" fmla="*/ 282 w 1528"/>
                <a:gd name="T35" fmla="*/ 1712 h 1837"/>
                <a:gd name="T36" fmla="*/ 221 w 1528"/>
                <a:gd name="T37" fmla="*/ 1659 h 1837"/>
                <a:gd name="T38" fmla="*/ 159 w 1528"/>
                <a:gd name="T39" fmla="*/ 1598 h 1837"/>
                <a:gd name="T40" fmla="*/ 115 w 1528"/>
                <a:gd name="T41" fmla="*/ 1536 h 1837"/>
                <a:gd name="T42" fmla="*/ 79 w 1528"/>
                <a:gd name="T43" fmla="*/ 1457 h 1837"/>
                <a:gd name="T44" fmla="*/ 53 w 1528"/>
                <a:gd name="T45" fmla="*/ 1377 h 1837"/>
                <a:gd name="T46" fmla="*/ 44 w 1528"/>
                <a:gd name="T47" fmla="*/ 1289 h 1837"/>
                <a:gd name="T48" fmla="*/ 44 w 1528"/>
                <a:gd name="T49" fmla="*/ 1289 h 1837"/>
                <a:gd name="T50" fmla="*/ 18 w 1528"/>
                <a:gd name="T51" fmla="*/ 962 h 1837"/>
                <a:gd name="T52" fmla="*/ 9 w 1528"/>
                <a:gd name="T53" fmla="*/ 645 h 1837"/>
                <a:gd name="T54" fmla="*/ 0 w 1528"/>
                <a:gd name="T55" fmla="*/ 0 h 1837"/>
                <a:gd name="T56" fmla="*/ 0 w 1528"/>
                <a:gd name="T57" fmla="*/ 0 h 1837"/>
                <a:gd name="T58" fmla="*/ 521 w 1528"/>
                <a:gd name="T59" fmla="*/ 0 h 1837"/>
                <a:gd name="T60" fmla="*/ 521 w 1528"/>
                <a:gd name="T61" fmla="*/ 0 h 1837"/>
                <a:gd name="T62" fmla="*/ 521 w 1528"/>
                <a:gd name="T63" fmla="*/ 177 h 1837"/>
                <a:gd name="T64" fmla="*/ 521 w 1528"/>
                <a:gd name="T65" fmla="*/ 177 h 1837"/>
                <a:gd name="T66" fmla="*/ 521 w 1528"/>
                <a:gd name="T67" fmla="*/ 936 h 1837"/>
                <a:gd name="T68" fmla="*/ 521 w 1528"/>
                <a:gd name="T69" fmla="*/ 936 h 1837"/>
                <a:gd name="T70" fmla="*/ 521 w 1528"/>
                <a:gd name="T71" fmla="*/ 1033 h 1837"/>
                <a:gd name="T72" fmla="*/ 529 w 1528"/>
                <a:gd name="T73" fmla="*/ 1121 h 1837"/>
                <a:gd name="T74" fmla="*/ 529 w 1528"/>
                <a:gd name="T75" fmla="*/ 1121 h 1837"/>
                <a:gd name="T76" fmla="*/ 547 w 1528"/>
                <a:gd name="T77" fmla="*/ 1201 h 1837"/>
                <a:gd name="T78" fmla="*/ 565 w 1528"/>
                <a:gd name="T79" fmla="*/ 1262 h 1837"/>
                <a:gd name="T80" fmla="*/ 591 w 1528"/>
                <a:gd name="T81" fmla="*/ 1306 h 1837"/>
                <a:gd name="T82" fmla="*/ 627 w 1528"/>
                <a:gd name="T83" fmla="*/ 1351 h 1837"/>
                <a:gd name="T84" fmla="*/ 671 w 1528"/>
                <a:gd name="T85" fmla="*/ 1377 h 1837"/>
                <a:gd name="T86" fmla="*/ 724 w 1528"/>
                <a:gd name="T87" fmla="*/ 1386 h 1837"/>
                <a:gd name="T88" fmla="*/ 794 w 1528"/>
                <a:gd name="T89" fmla="*/ 1395 h 1837"/>
                <a:gd name="T90" fmla="*/ 874 w 1528"/>
                <a:gd name="T91" fmla="*/ 1395 h 1837"/>
                <a:gd name="T92" fmla="*/ 874 w 1528"/>
                <a:gd name="T93" fmla="*/ 1395 h 1837"/>
                <a:gd name="T94" fmla="*/ 1024 w 1528"/>
                <a:gd name="T95" fmla="*/ 1377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28" h="1837">
                  <a:moveTo>
                    <a:pt x="1024" y="1377"/>
                  </a:moveTo>
                  <a:lnTo>
                    <a:pt x="1024" y="1377"/>
                  </a:lnTo>
                  <a:lnTo>
                    <a:pt x="1024" y="0"/>
                  </a:lnTo>
                  <a:lnTo>
                    <a:pt x="1024" y="0"/>
                  </a:lnTo>
                  <a:lnTo>
                    <a:pt x="1527" y="0"/>
                  </a:lnTo>
                  <a:lnTo>
                    <a:pt x="1527" y="0"/>
                  </a:lnTo>
                  <a:lnTo>
                    <a:pt x="1527" y="1739"/>
                  </a:lnTo>
                  <a:lnTo>
                    <a:pt x="1527" y="1739"/>
                  </a:lnTo>
                  <a:lnTo>
                    <a:pt x="1262" y="1792"/>
                  </a:lnTo>
                  <a:lnTo>
                    <a:pt x="1130" y="1818"/>
                  </a:lnTo>
                  <a:lnTo>
                    <a:pt x="988" y="1827"/>
                  </a:lnTo>
                  <a:lnTo>
                    <a:pt x="856" y="1836"/>
                  </a:lnTo>
                  <a:lnTo>
                    <a:pt x="724" y="1836"/>
                  </a:lnTo>
                  <a:lnTo>
                    <a:pt x="591" y="1818"/>
                  </a:lnTo>
                  <a:lnTo>
                    <a:pt x="450" y="1783"/>
                  </a:lnTo>
                  <a:lnTo>
                    <a:pt x="450" y="1783"/>
                  </a:lnTo>
                  <a:lnTo>
                    <a:pt x="362" y="1757"/>
                  </a:lnTo>
                  <a:lnTo>
                    <a:pt x="282" y="1712"/>
                  </a:lnTo>
                  <a:lnTo>
                    <a:pt x="221" y="1659"/>
                  </a:lnTo>
                  <a:lnTo>
                    <a:pt x="159" y="1598"/>
                  </a:lnTo>
                  <a:lnTo>
                    <a:pt x="115" y="1536"/>
                  </a:lnTo>
                  <a:lnTo>
                    <a:pt x="79" y="1457"/>
                  </a:lnTo>
                  <a:lnTo>
                    <a:pt x="53" y="1377"/>
                  </a:lnTo>
                  <a:lnTo>
                    <a:pt x="44" y="1289"/>
                  </a:lnTo>
                  <a:lnTo>
                    <a:pt x="44" y="1289"/>
                  </a:lnTo>
                  <a:lnTo>
                    <a:pt x="18" y="962"/>
                  </a:lnTo>
                  <a:lnTo>
                    <a:pt x="9" y="645"/>
                  </a:lnTo>
                  <a:lnTo>
                    <a:pt x="0" y="0"/>
                  </a:lnTo>
                  <a:lnTo>
                    <a:pt x="0" y="0"/>
                  </a:lnTo>
                  <a:lnTo>
                    <a:pt x="521" y="0"/>
                  </a:lnTo>
                  <a:lnTo>
                    <a:pt x="521" y="0"/>
                  </a:lnTo>
                  <a:lnTo>
                    <a:pt x="521" y="177"/>
                  </a:lnTo>
                  <a:lnTo>
                    <a:pt x="521" y="177"/>
                  </a:lnTo>
                  <a:lnTo>
                    <a:pt x="521" y="936"/>
                  </a:lnTo>
                  <a:lnTo>
                    <a:pt x="521" y="936"/>
                  </a:lnTo>
                  <a:lnTo>
                    <a:pt x="521" y="1033"/>
                  </a:lnTo>
                  <a:lnTo>
                    <a:pt x="529" y="1121"/>
                  </a:lnTo>
                  <a:lnTo>
                    <a:pt x="529" y="1121"/>
                  </a:lnTo>
                  <a:lnTo>
                    <a:pt x="547" y="1201"/>
                  </a:lnTo>
                  <a:lnTo>
                    <a:pt x="565" y="1262"/>
                  </a:lnTo>
                  <a:lnTo>
                    <a:pt x="591" y="1306"/>
                  </a:lnTo>
                  <a:lnTo>
                    <a:pt x="627" y="1351"/>
                  </a:lnTo>
                  <a:lnTo>
                    <a:pt x="671" y="1377"/>
                  </a:lnTo>
                  <a:lnTo>
                    <a:pt x="724" y="1386"/>
                  </a:lnTo>
                  <a:lnTo>
                    <a:pt x="794" y="1395"/>
                  </a:lnTo>
                  <a:lnTo>
                    <a:pt x="874" y="1395"/>
                  </a:lnTo>
                  <a:lnTo>
                    <a:pt x="874" y="1395"/>
                  </a:lnTo>
                  <a:lnTo>
                    <a:pt x="1024" y="137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8" name="Freeform 8">
              <a:extLst>
                <a:ext uri="{FF2B5EF4-FFF2-40B4-BE49-F238E27FC236}">
                  <a16:creationId xmlns:a16="http://schemas.microsoft.com/office/drawing/2014/main" id="{6B41F513-43EE-446B-A3B6-E6C031EDEFC6}"/>
                </a:ext>
              </a:extLst>
            </p:cNvPr>
            <p:cNvSpPr>
              <a:spLocks noChangeArrowheads="1"/>
            </p:cNvSpPr>
            <p:nvPr/>
          </p:nvSpPr>
          <p:spPr bwMode="auto">
            <a:xfrm>
              <a:off x="5232400" y="5548313"/>
              <a:ext cx="549275" cy="650875"/>
            </a:xfrm>
            <a:custGeom>
              <a:avLst/>
              <a:gdLst>
                <a:gd name="T0" fmla="*/ 0 w 1527"/>
                <a:gd name="T1" fmla="*/ 97 h 1810"/>
                <a:gd name="T2" fmla="*/ 0 w 1527"/>
                <a:gd name="T3" fmla="*/ 97 h 1810"/>
                <a:gd name="T4" fmla="*/ 220 w 1527"/>
                <a:gd name="T5" fmla="*/ 53 h 1810"/>
                <a:gd name="T6" fmla="*/ 441 w 1527"/>
                <a:gd name="T7" fmla="*/ 18 h 1810"/>
                <a:gd name="T8" fmla="*/ 547 w 1527"/>
                <a:gd name="T9" fmla="*/ 0 h 1810"/>
                <a:gd name="T10" fmla="*/ 661 w 1527"/>
                <a:gd name="T11" fmla="*/ 0 h 1810"/>
                <a:gd name="T12" fmla="*/ 767 w 1527"/>
                <a:gd name="T13" fmla="*/ 0 h 1810"/>
                <a:gd name="T14" fmla="*/ 882 w 1527"/>
                <a:gd name="T15" fmla="*/ 9 h 1810"/>
                <a:gd name="T16" fmla="*/ 882 w 1527"/>
                <a:gd name="T17" fmla="*/ 9 h 1810"/>
                <a:gd name="T18" fmla="*/ 1023 w 1527"/>
                <a:gd name="T19" fmla="*/ 26 h 1810"/>
                <a:gd name="T20" fmla="*/ 1085 w 1527"/>
                <a:gd name="T21" fmla="*/ 44 h 1810"/>
                <a:gd name="T22" fmla="*/ 1147 w 1527"/>
                <a:gd name="T23" fmla="*/ 62 h 1810"/>
                <a:gd name="T24" fmla="*/ 1200 w 1527"/>
                <a:gd name="T25" fmla="*/ 88 h 1810"/>
                <a:gd name="T26" fmla="*/ 1252 w 1527"/>
                <a:gd name="T27" fmla="*/ 123 h 1810"/>
                <a:gd name="T28" fmla="*/ 1297 w 1527"/>
                <a:gd name="T29" fmla="*/ 159 h 1810"/>
                <a:gd name="T30" fmla="*/ 1332 w 1527"/>
                <a:gd name="T31" fmla="*/ 194 h 1810"/>
                <a:gd name="T32" fmla="*/ 1376 w 1527"/>
                <a:gd name="T33" fmla="*/ 238 h 1810"/>
                <a:gd name="T34" fmla="*/ 1402 w 1527"/>
                <a:gd name="T35" fmla="*/ 282 h 1810"/>
                <a:gd name="T36" fmla="*/ 1438 w 1527"/>
                <a:gd name="T37" fmla="*/ 335 h 1810"/>
                <a:gd name="T38" fmla="*/ 1455 w 1527"/>
                <a:gd name="T39" fmla="*/ 397 h 1810"/>
                <a:gd name="T40" fmla="*/ 1482 w 1527"/>
                <a:gd name="T41" fmla="*/ 459 h 1810"/>
                <a:gd name="T42" fmla="*/ 1491 w 1527"/>
                <a:gd name="T43" fmla="*/ 529 h 1810"/>
                <a:gd name="T44" fmla="*/ 1508 w 1527"/>
                <a:gd name="T45" fmla="*/ 671 h 1810"/>
                <a:gd name="T46" fmla="*/ 1508 w 1527"/>
                <a:gd name="T47" fmla="*/ 671 h 1810"/>
                <a:gd name="T48" fmla="*/ 1526 w 1527"/>
                <a:gd name="T49" fmla="*/ 918 h 1810"/>
                <a:gd name="T50" fmla="*/ 1526 w 1527"/>
                <a:gd name="T51" fmla="*/ 1165 h 1810"/>
                <a:gd name="T52" fmla="*/ 1517 w 1527"/>
                <a:gd name="T53" fmla="*/ 1650 h 1810"/>
                <a:gd name="T54" fmla="*/ 1517 w 1527"/>
                <a:gd name="T55" fmla="*/ 1650 h 1810"/>
                <a:gd name="T56" fmla="*/ 1517 w 1527"/>
                <a:gd name="T57" fmla="*/ 1800 h 1810"/>
                <a:gd name="T58" fmla="*/ 1517 w 1527"/>
                <a:gd name="T59" fmla="*/ 1800 h 1810"/>
                <a:gd name="T60" fmla="*/ 1014 w 1527"/>
                <a:gd name="T61" fmla="*/ 1800 h 1810"/>
                <a:gd name="T62" fmla="*/ 1014 w 1527"/>
                <a:gd name="T63" fmla="*/ 1800 h 1810"/>
                <a:gd name="T64" fmla="*/ 1014 w 1527"/>
                <a:gd name="T65" fmla="*/ 935 h 1810"/>
                <a:gd name="T66" fmla="*/ 1014 w 1527"/>
                <a:gd name="T67" fmla="*/ 935 h 1810"/>
                <a:gd name="T68" fmla="*/ 1005 w 1527"/>
                <a:gd name="T69" fmla="*/ 812 h 1810"/>
                <a:gd name="T70" fmla="*/ 997 w 1527"/>
                <a:gd name="T71" fmla="*/ 679 h 1810"/>
                <a:gd name="T72" fmla="*/ 997 w 1527"/>
                <a:gd name="T73" fmla="*/ 679 h 1810"/>
                <a:gd name="T74" fmla="*/ 979 w 1527"/>
                <a:gd name="T75" fmla="*/ 618 h 1810"/>
                <a:gd name="T76" fmla="*/ 961 w 1527"/>
                <a:gd name="T77" fmla="*/ 565 h 1810"/>
                <a:gd name="T78" fmla="*/ 935 w 1527"/>
                <a:gd name="T79" fmla="*/ 521 h 1810"/>
                <a:gd name="T80" fmla="*/ 908 w 1527"/>
                <a:gd name="T81" fmla="*/ 485 h 1810"/>
                <a:gd name="T82" fmla="*/ 864 w 1527"/>
                <a:gd name="T83" fmla="*/ 459 h 1810"/>
                <a:gd name="T84" fmla="*/ 820 w 1527"/>
                <a:gd name="T85" fmla="*/ 441 h 1810"/>
                <a:gd name="T86" fmla="*/ 758 w 1527"/>
                <a:gd name="T87" fmla="*/ 432 h 1810"/>
                <a:gd name="T88" fmla="*/ 697 w 1527"/>
                <a:gd name="T89" fmla="*/ 432 h 1810"/>
                <a:gd name="T90" fmla="*/ 697 w 1527"/>
                <a:gd name="T91" fmla="*/ 432 h 1810"/>
                <a:gd name="T92" fmla="*/ 600 w 1527"/>
                <a:gd name="T93" fmla="*/ 441 h 1810"/>
                <a:gd name="T94" fmla="*/ 502 w 1527"/>
                <a:gd name="T95" fmla="*/ 450 h 1810"/>
                <a:gd name="T96" fmla="*/ 502 w 1527"/>
                <a:gd name="T97" fmla="*/ 450 h 1810"/>
                <a:gd name="T98" fmla="*/ 502 w 1527"/>
                <a:gd name="T99" fmla="*/ 1809 h 1810"/>
                <a:gd name="T100" fmla="*/ 502 w 1527"/>
                <a:gd name="T101" fmla="*/ 1809 h 1810"/>
                <a:gd name="T102" fmla="*/ 0 w 1527"/>
                <a:gd name="T103" fmla="*/ 1809 h 1810"/>
                <a:gd name="T104" fmla="*/ 0 w 1527"/>
                <a:gd name="T105" fmla="*/ 1809 h 1810"/>
                <a:gd name="T106" fmla="*/ 0 w 1527"/>
                <a:gd name="T107" fmla="*/ 1756 h 1810"/>
                <a:gd name="T108" fmla="*/ 0 w 1527"/>
                <a:gd name="T109" fmla="*/ 1756 h 1810"/>
                <a:gd name="T110" fmla="*/ 0 w 1527"/>
                <a:gd name="T111" fmla="*/ 97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7" h="1810">
                  <a:moveTo>
                    <a:pt x="0" y="97"/>
                  </a:moveTo>
                  <a:lnTo>
                    <a:pt x="0" y="97"/>
                  </a:lnTo>
                  <a:lnTo>
                    <a:pt x="220" y="53"/>
                  </a:lnTo>
                  <a:lnTo>
                    <a:pt x="441" y="18"/>
                  </a:lnTo>
                  <a:lnTo>
                    <a:pt x="547" y="0"/>
                  </a:lnTo>
                  <a:lnTo>
                    <a:pt x="661" y="0"/>
                  </a:lnTo>
                  <a:lnTo>
                    <a:pt x="767" y="0"/>
                  </a:lnTo>
                  <a:lnTo>
                    <a:pt x="882" y="9"/>
                  </a:lnTo>
                  <a:lnTo>
                    <a:pt x="882" y="9"/>
                  </a:lnTo>
                  <a:lnTo>
                    <a:pt x="1023" y="26"/>
                  </a:lnTo>
                  <a:lnTo>
                    <a:pt x="1085" y="44"/>
                  </a:lnTo>
                  <a:lnTo>
                    <a:pt x="1147" y="62"/>
                  </a:lnTo>
                  <a:lnTo>
                    <a:pt x="1200" y="88"/>
                  </a:lnTo>
                  <a:lnTo>
                    <a:pt x="1252" y="123"/>
                  </a:lnTo>
                  <a:lnTo>
                    <a:pt x="1297" y="159"/>
                  </a:lnTo>
                  <a:lnTo>
                    <a:pt x="1332" y="194"/>
                  </a:lnTo>
                  <a:lnTo>
                    <a:pt x="1376" y="238"/>
                  </a:lnTo>
                  <a:lnTo>
                    <a:pt x="1402" y="282"/>
                  </a:lnTo>
                  <a:lnTo>
                    <a:pt x="1438" y="335"/>
                  </a:lnTo>
                  <a:lnTo>
                    <a:pt x="1455" y="397"/>
                  </a:lnTo>
                  <a:lnTo>
                    <a:pt x="1482" y="459"/>
                  </a:lnTo>
                  <a:lnTo>
                    <a:pt x="1491" y="529"/>
                  </a:lnTo>
                  <a:lnTo>
                    <a:pt x="1508" y="671"/>
                  </a:lnTo>
                  <a:lnTo>
                    <a:pt x="1508" y="671"/>
                  </a:lnTo>
                  <a:lnTo>
                    <a:pt x="1526" y="918"/>
                  </a:lnTo>
                  <a:lnTo>
                    <a:pt x="1526" y="1165"/>
                  </a:lnTo>
                  <a:lnTo>
                    <a:pt x="1517" y="1650"/>
                  </a:lnTo>
                  <a:lnTo>
                    <a:pt x="1517" y="1650"/>
                  </a:lnTo>
                  <a:lnTo>
                    <a:pt x="1517" y="1800"/>
                  </a:lnTo>
                  <a:lnTo>
                    <a:pt x="1517" y="1800"/>
                  </a:lnTo>
                  <a:lnTo>
                    <a:pt x="1014" y="1800"/>
                  </a:lnTo>
                  <a:lnTo>
                    <a:pt x="1014" y="1800"/>
                  </a:lnTo>
                  <a:lnTo>
                    <a:pt x="1014" y="935"/>
                  </a:lnTo>
                  <a:lnTo>
                    <a:pt x="1014" y="935"/>
                  </a:lnTo>
                  <a:lnTo>
                    <a:pt x="1005" y="812"/>
                  </a:lnTo>
                  <a:lnTo>
                    <a:pt x="997" y="679"/>
                  </a:lnTo>
                  <a:lnTo>
                    <a:pt x="997" y="679"/>
                  </a:lnTo>
                  <a:lnTo>
                    <a:pt x="979" y="618"/>
                  </a:lnTo>
                  <a:lnTo>
                    <a:pt x="961" y="565"/>
                  </a:lnTo>
                  <a:lnTo>
                    <a:pt x="935" y="521"/>
                  </a:lnTo>
                  <a:lnTo>
                    <a:pt x="908" y="485"/>
                  </a:lnTo>
                  <a:lnTo>
                    <a:pt x="864" y="459"/>
                  </a:lnTo>
                  <a:lnTo>
                    <a:pt x="820" y="441"/>
                  </a:lnTo>
                  <a:lnTo>
                    <a:pt x="758" y="432"/>
                  </a:lnTo>
                  <a:lnTo>
                    <a:pt x="697" y="432"/>
                  </a:lnTo>
                  <a:lnTo>
                    <a:pt x="697" y="432"/>
                  </a:lnTo>
                  <a:lnTo>
                    <a:pt x="600" y="441"/>
                  </a:lnTo>
                  <a:lnTo>
                    <a:pt x="502" y="450"/>
                  </a:lnTo>
                  <a:lnTo>
                    <a:pt x="502" y="450"/>
                  </a:lnTo>
                  <a:lnTo>
                    <a:pt x="502" y="1809"/>
                  </a:lnTo>
                  <a:lnTo>
                    <a:pt x="502" y="1809"/>
                  </a:lnTo>
                  <a:lnTo>
                    <a:pt x="0" y="1809"/>
                  </a:lnTo>
                  <a:lnTo>
                    <a:pt x="0" y="1809"/>
                  </a:lnTo>
                  <a:lnTo>
                    <a:pt x="0" y="1756"/>
                  </a:lnTo>
                  <a:lnTo>
                    <a:pt x="0" y="1756"/>
                  </a:lnTo>
                  <a:lnTo>
                    <a:pt x="0" y="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49" name="Freeform 9">
              <a:extLst>
                <a:ext uri="{FF2B5EF4-FFF2-40B4-BE49-F238E27FC236}">
                  <a16:creationId xmlns:a16="http://schemas.microsoft.com/office/drawing/2014/main" id="{A11F1B7B-40C3-4721-8BE7-279E73507966}"/>
                </a:ext>
              </a:extLst>
            </p:cNvPr>
            <p:cNvSpPr>
              <a:spLocks noChangeArrowheads="1"/>
            </p:cNvSpPr>
            <p:nvPr/>
          </p:nvSpPr>
          <p:spPr bwMode="auto">
            <a:xfrm>
              <a:off x="7843838" y="5537200"/>
              <a:ext cx="495300" cy="681038"/>
            </a:xfrm>
            <a:custGeom>
              <a:avLst/>
              <a:gdLst>
                <a:gd name="T0" fmla="*/ 0 w 1377"/>
                <a:gd name="T1" fmla="*/ 1774 h 1890"/>
                <a:gd name="T2" fmla="*/ 79 w 1377"/>
                <a:gd name="T3" fmla="*/ 1395 h 1890"/>
                <a:gd name="T4" fmla="*/ 626 w 1377"/>
                <a:gd name="T5" fmla="*/ 1474 h 1890"/>
                <a:gd name="T6" fmla="*/ 723 w 1377"/>
                <a:gd name="T7" fmla="*/ 1474 h 1890"/>
                <a:gd name="T8" fmla="*/ 758 w 1377"/>
                <a:gd name="T9" fmla="*/ 1465 h 1890"/>
                <a:gd name="T10" fmla="*/ 847 w 1377"/>
                <a:gd name="T11" fmla="*/ 1395 h 1890"/>
                <a:gd name="T12" fmla="*/ 855 w 1377"/>
                <a:gd name="T13" fmla="*/ 1368 h 1890"/>
                <a:gd name="T14" fmla="*/ 838 w 1377"/>
                <a:gd name="T15" fmla="*/ 1298 h 1890"/>
                <a:gd name="T16" fmla="*/ 794 w 1377"/>
                <a:gd name="T17" fmla="*/ 1245 h 1890"/>
                <a:gd name="T18" fmla="*/ 750 w 1377"/>
                <a:gd name="T19" fmla="*/ 1209 h 1890"/>
                <a:gd name="T20" fmla="*/ 608 w 1377"/>
                <a:gd name="T21" fmla="*/ 1148 h 1890"/>
                <a:gd name="T22" fmla="*/ 476 w 1377"/>
                <a:gd name="T23" fmla="*/ 1095 h 1890"/>
                <a:gd name="T24" fmla="*/ 344 w 1377"/>
                <a:gd name="T25" fmla="*/ 1033 h 1890"/>
                <a:gd name="T26" fmla="*/ 202 w 1377"/>
                <a:gd name="T27" fmla="*/ 936 h 1890"/>
                <a:gd name="T28" fmla="*/ 105 w 1377"/>
                <a:gd name="T29" fmla="*/ 812 h 1890"/>
                <a:gd name="T30" fmla="*/ 52 w 1377"/>
                <a:gd name="T31" fmla="*/ 662 h 1890"/>
                <a:gd name="T32" fmla="*/ 52 w 1377"/>
                <a:gd name="T33" fmla="*/ 486 h 1890"/>
                <a:gd name="T34" fmla="*/ 61 w 1377"/>
                <a:gd name="T35" fmla="*/ 406 h 1890"/>
                <a:gd name="T36" fmla="*/ 123 w 1377"/>
                <a:gd name="T37" fmla="*/ 265 h 1890"/>
                <a:gd name="T38" fmla="*/ 229 w 1377"/>
                <a:gd name="T39" fmla="*/ 150 h 1890"/>
                <a:gd name="T40" fmla="*/ 361 w 1377"/>
                <a:gd name="T41" fmla="*/ 71 h 1890"/>
                <a:gd name="T42" fmla="*/ 441 w 1377"/>
                <a:gd name="T43" fmla="*/ 45 h 1890"/>
                <a:gd name="T44" fmla="*/ 626 w 1377"/>
                <a:gd name="T45" fmla="*/ 9 h 1890"/>
                <a:gd name="T46" fmla="*/ 847 w 1377"/>
                <a:gd name="T47" fmla="*/ 0 h 1890"/>
                <a:gd name="T48" fmla="*/ 1076 w 1377"/>
                <a:gd name="T49" fmla="*/ 36 h 1890"/>
                <a:gd name="T50" fmla="*/ 1297 w 1377"/>
                <a:gd name="T51" fmla="*/ 97 h 1890"/>
                <a:gd name="T52" fmla="*/ 1217 w 1377"/>
                <a:gd name="T53" fmla="*/ 468 h 1890"/>
                <a:gd name="T54" fmla="*/ 997 w 1377"/>
                <a:gd name="T55" fmla="*/ 442 h 1890"/>
                <a:gd name="T56" fmla="*/ 794 w 1377"/>
                <a:gd name="T57" fmla="*/ 415 h 1890"/>
                <a:gd name="T58" fmla="*/ 635 w 1377"/>
                <a:gd name="T59" fmla="*/ 442 h 1890"/>
                <a:gd name="T60" fmla="*/ 600 w 1377"/>
                <a:gd name="T61" fmla="*/ 459 h 1890"/>
                <a:gd name="T62" fmla="*/ 564 w 1377"/>
                <a:gd name="T63" fmla="*/ 503 h 1890"/>
                <a:gd name="T64" fmla="*/ 555 w 1377"/>
                <a:gd name="T65" fmla="*/ 565 h 1890"/>
                <a:gd name="T66" fmla="*/ 582 w 1377"/>
                <a:gd name="T67" fmla="*/ 618 h 1890"/>
                <a:gd name="T68" fmla="*/ 608 w 1377"/>
                <a:gd name="T69" fmla="*/ 645 h 1890"/>
                <a:gd name="T70" fmla="*/ 776 w 1377"/>
                <a:gd name="T71" fmla="*/ 724 h 1890"/>
                <a:gd name="T72" fmla="*/ 917 w 1377"/>
                <a:gd name="T73" fmla="*/ 786 h 1890"/>
                <a:gd name="T74" fmla="*/ 1058 w 1377"/>
                <a:gd name="T75" fmla="*/ 848 h 1890"/>
                <a:gd name="T76" fmla="*/ 1217 w 1377"/>
                <a:gd name="T77" fmla="*/ 945 h 1890"/>
                <a:gd name="T78" fmla="*/ 1323 w 1377"/>
                <a:gd name="T79" fmla="*/ 1068 h 1890"/>
                <a:gd name="T80" fmla="*/ 1367 w 1377"/>
                <a:gd name="T81" fmla="*/ 1218 h 1890"/>
                <a:gd name="T82" fmla="*/ 1376 w 1377"/>
                <a:gd name="T83" fmla="*/ 1404 h 1890"/>
                <a:gd name="T84" fmla="*/ 1358 w 1377"/>
                <a:gd name="T85" fmla="*/ 1483 h 1890"/>
                <a:gd name="T86" fmla="*/ 1305 w 1377"/>
                <a:gd name="T87" fmla="*/ 1615 h 1890"/>
                <a:gd name="T88" fmla="*/ 1208 w 1377"/>
                <a:gd name="T89" fmla="*/ 1730 h 1890"/>
                <a:gd name="T90" fmla="*/ 1067 w 1377"/>
                <a:gd name="T91" fmla="*/ 1810 h 1890"/>
                <a:gd name="T92" fmla="*/ 979 w 1377"/>
                <a:gd name="T93" fmla="*/ 1836 h 1890"/>
                <a:gd name="T94" fmla="*/ 750 w 1377"/>
                <a:gd name="T95" fmla="*/ 1880 h 1890"/>
                <a:gd name="T96" fmla="*/ 494 w 1377"/>
                <a:gd name="T97" fmla="*/ 1889 h 1890"/>
                <a:gd name="T98" fmla="*/ 238 w 1377"/>
                <a:gd name="T99" fmla="*/ 1845 h 1890"/>
                <a:gd name="T100" fmla="*/ 0 w 1377"/>
                <a:gd name="T101" fmla="*/ 1774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7" h="1890">
                  <a:moveTo>
                    <a:pt x="0" y="1774"/>
                  </a:moveTo>
                  <a:lnTo>
                    <a:pt x="0" y="1774"/>
                  </a:lnTo>
                  <a:lnTo>
                    <a:pt x="79" y="1395"/>
                  </a:lnTo>
                  <a:lnTo>
                    <a:pt x="79" y="1395"/>
                  </a:lnTo>
                  <a:lnTo>
                    <a:pt x="626" y="1474"/>
                  </a:lnTo>
                  <a:lnTo>
                    <a:pt x="626" y="1474"/>
                  </a:lnTo>
                  <a:lnTo>
                    <a:pt x="688" y="1474"/>
                  </a:lnTo>
                  <a:lnTo>
                    <a:pt x="723" y="1474"/>
                  </a:lnTo>
                  <a:lnTo>
                    <a:pt x="758" y="1465"/>
                  </a:lnTo>
                  <a:lnTo>
                    <a:pt x="758" y="1465"/>
                  </a:lnTo>
                  <a:lnTo>
                    <a:pt x="820" y="1421"/>
                  </a:lnTo>
                  <a:lnTo>
                    <a:pt x="847" y="1395"/>
                  </a:lnTo>
                  <a:lnTo>
                    <a:pt x="855" y="1368"/>
                  </a:lnTo>
                  <a:lnTo>
                    <a:pt x="855" y="1368"/>
                  </a:lnTo>
                  <a:lnTo>
                    <a:pt x="855" y="1333"/>
                  </a:lnTo>
                  <a:lnTo>
                    <a:pt x="838" y="1298"/>
                  </a:lnTo>
                  <a:lnTo>
                    <a:pt x="820" y="1271"/>
                  </a:lnTo>
                  <a:lnTo>
                    <a:pt x="794" y="1245"/>
                  </a:lnTo>
                  <a:lnTo>
                    <a:pt x="794" y="1245"/>
                  </a:lnTo>
                  <a:lnTo>
                    <a:pt x="750" y="1209"/>
                  </a:lnTo>
                  <a:lnTo>
                    <a:pt x="705" y="1192"/>
                  </a:lnTo>
                  <a:lnTo>
                    <a:pt x="608" y="1148"/>
                  </a:lnTo>
                  <a:lnTo>
                    <a:pt x="608" y="1148"/>
                  </a:lnTo>
                  <a:lnTo>
                    <a:pt x="476" y="1095"/>
                  </a:lnTo>
                  <a:lnTo>
                    <a:pt x="344" y="1033"/>
                  </a:lnTo>
                  <a:lnTo>
                    <a:pt x="344" y="1033"/>
                  </a:lnTo>
                  <a:lnTo>
                    <a:pt x="264" y="989"/>
                  </a:lnTo>
                  <a:lnTo>
                    <a:pt x="202" y="936"/>
                  </a:lnTo>
                  <a:lnTo>
                    <a:pt x="150" y="874"/>
                  </a:lnTo>
                  <a:lnTo>
                    <a:pt x="105" y="812"/>
                  </a:lnTo>
                  <a:lnTo>
                    <a:pt x="70" y="742"/>
                  </a:lnTo>
                  <a:lnTo>
                    <a:pt x="52" y="662"/>
                  </a:lnTo>
                  <a:lnTo>
                    <a:pt x="44" y="574"/>
                  </a:lnTo>
                  <a:lnTo>
                    <a:pt x="52" y="486"/>
                  </a:lnTo>
                  <a:lnTo>
                    <a:pt x="52" y="486"/>
                  </a:lnTo>
                  <a:lnTo>
                    <a:pt x="61" y="406"/>
                  </a:lnTo>
                  <a:lnTo>
                    <a:pt x="88" y="327"/>
                  </a:lnTo>
                  <a:lnTo>
                    <a:pt x="123" y="265"/>
                  </a:lnTo>
                  <a:lnTo>
                    <a:pt x="167" y="203"/>
                  </a:lnTo>
                  <a:lnTo>
                    <a:pt x="229" y="150"/>
                  </a:lnTo>
                  <a:lnTo>
                    <a:pt x="291" y="106"/>
                  </a:lnTo>
                  <a:lnTo>
                    <a:pt x="361" y="71"/>
                  </a:lnTo>
                  <a:lnTo>
                    <a:pt x="441" y="45"/>
                  </a:lnTo>
                  <a:lnTo>
                    <a:pt x="441" y="45"/>
                  </a:lnTo>
                  <a:lnTo>
                    <a:pt x="529" y="18"/>
                  </a:lnTo>
                  <a:lnTo>
                    <a:pt x="626" y="9"/>
                  </a:lnTo>
                  <a:lnTo>
                    <a:pt x="741" y="0"/>
                  </a:lnTo>
                  <a:lnTo>
                    <a:pt x="847" y="0"/>
                  </a:lnTo>
                  <a:lnTo>
                    <a:pt x="961" y="18"/>
                  </a:lnTo>
                  <a:lnTo>
                    <a:pt x="1076" y="36"/>
                  </a:lnTo>
                  <a:lnTo>
                    <a:pt x="1191" y="62"/>
                  </a:lnTo>
                  <a:lnTo>
                    <a:pt x="1297" y="97"/>
                  </a:lnTo>
                  <a:lnTo>
                    <a:pt x="1297" y="97"/>
                  </a:lnTo>
                  <a:lnTo>
                    <a:pt x="1217" y="468"/>
                  </a:lnTo>
                  <a:lnTo>
                    <a:pt x="1217" y="468"/>
                  </a:lnTo>
                  <a:lnTo>
                    <a:pt x="997" y="442"/>
                  </a:lnTo>
                  <a:lnTo>
                    <a:pt x="794" y="415"/>
                  </a:lnTo>
                  <a:lnTo>
                    <a:pt x="794" y="415"/>
                  </a:lnTo>
                  <a:lnTo>
                    <a:pt x="714" y="415"/>
                  </a:lnTo>
                  <a:lnTo>
                    <a:pt x="635" y="442"/>
                  </a:lnTo>
                  <a:lnTo>
                    <a:pt x="635" y="442"/>
                  </a:lnTo>
                  <a:lnTo>
                    <a:pt x="600" y="459"/>
                  </a:lnTo>
                  <a:lnTo>
                    <a:pt x="582" y="477"/>
                  </a:lnTo>
                  <a:lnTo>
                    <a:pt x="564" y="503"/>
                  </a:lnTo>
                  <a:lnTo>
                    <a:pt x="555" y="530"/>
                  </a:lnTo>
                  <a:lnTo>
                    <a:pt x="555" y="565"/>
                  </a:lnTo>
                  <a:lnTo>
                    <a:pt x="564" y="592"/>
                  </a:lnTo>
                  <a:lnTo>
                    <a:pt x="582" y="618"/>
                  </a:lnTo>
                  <a:lnTo>
                    <a:pt x="608" y="645"/>
                  </a:lnTo>
                  <a:lnTo>
                    <a:pt x="608" y="645"/>
                  </a:lnTo>
                  <a:lnTo>
                    <a:pt x="688" y="689"/>
                  </a:lnTo>
                  <a:lnTo>
                    <a:pt x="776" y="724"/>
                  </a:lnTo>
                  <a:lnTo>
                    <a:pt x="776" y="724"/>
                  </a:lnTo>
                  <a:lnTo>
                    <a:pt x="917" y="786"/>
                  </a:lnTo>
                  <a:lnTo>
                    <a:pt x="1058" y="848"/>
                  </a:lnTo>
                  <a:lnTo>
                    <a:pt x="1058" y="848"/>
                  </a:lnTo>
                  <a:lnTo>
                    <a:pt x="1147" y="892"/>
                  </a:lnTo>
                  <a:lnTo>
                    <a:pt x="1217" y="945"/>
                  </a:lnTo>
                  <a:lnTo>
                    <a:pt x="1270" y="998"/>
                  </a:lnTo>
                  <a:lnTo>
                    <a:pt x="1323" y="1068"/>
                  </a:lnTo>
                  <a:lnTo>
                    <a:pt x="1350" y="1139"/>
                  </a:lnTo>
                  <a:lnTo>
                    <a:pt x="1367" y="1218"/>
                  </a:lnTo>
                  <a:lnTo>
                    <a:pt x="1376" y="1307"/>
                  </a:lnTo>
                  <a:lnTo>
                    <a:pt x="1376" y="1404"/>
                  </a:lnTo>
                  <a:lnTo>
                    <a:pt x="1376" y="1404"/>
                  </a:lnTo>
                  <a:lnTo>
                    <a:pt x="1358" y="1483"/>
                  </a:lnTo>
                  <a:lnTo>
                    <a:pt x="1341" y="1554"/>
                  </a:lnTo>
                  <a:lnTo>
                    <a:pt x="1305" y="1615"/>
                  </a:lnTo>
                  <a:lnTo>
                    <a:pt x="1261" y="1677"/>
                  </a:lnTo>
                  <a:lnTo>
                    <a:pt x="1208" y="1730"/>
                  </a:lnTo>
                  <a:lnTo>
                    <a:pt x="1138" y="1774"/>
                  </a:lnTo>
                  <a:lnTo>
                    <a:pt x="1067" y="1810"/>
                  </a:lnTo>
                  <a:lnTo>
                    <a:pt x="979" y="1836"/>
                  </a:lnTo>
                  <a:lnTo>
                    <a:pt x="979" y="1836"/>
                  </a:lnTo>
                  <a:lnTo>
                    <a:pt x="873" y="1863"/>
                  </a:lnTo>
                  <a:lnTo>
                    <a:pt x="750" y="1880"/>
                  </a:lnTo>
                  <a:lnTo>
                    <a:pt x="626" y="1889"/>
                  </a:lnTo>
                  <a:lnTo>
                    <a:pt x="494" y="1889"/>
                  </a:lnTo>
                  <a:lnTo>
                    <a:pt x="361" y="1871"/>
                  </a:lnTo>
                  <a:lnTo>
                    <a:pt x="238" y="1845"/>
                  </a:lnTo>
                  <a:lnTo>
                    <a:pt x="114" y="1818"/>
                  </a:lnTo>
                  <a:lnTo>
                    <a:pt x="0" y="17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0" name="Freeform 10">
              <a:extLst>
                <a:ext uri="{FF2B5EF4-FFF2-40B4-BE49-F238E27FC236}">
                  <a16:creationId xmlns:a16="http://schemas.microsoft.com/office/drawing/2014/main" id="{5550614E-7784-4CAE-86BF-2CB6036878D6}"/>
                </a:ext>
              </a:extLst>
            </p:cNvPr>
            <p:cNvSpPr>
              <a:spLocks noChangeArrowheads="1"/>
            </p:cNvSpPr>
            <p:nvPr/>
          </p:nvSpPr>
          <p:spPr bwMode="auto">
            <a:xfrm>
              <a:off x="6651625" y="5362575"/>
              <a:ext cx="425450" cy="855663"/>
            </a:xfrm>
            <a:custGeom>
              <a:avLst/>
              <a:gdLst>
                <a:gd name="T0" fmla="*/ 0 w 1183"/>
                <a:gd name="T1" fmla="*/ 88 h 2375"/>
                <a:gd name="T2" fmla="*/ 0 w 1183"/>
                <a:gd name="T3" fmla="*/ 88 h 2375"/>
                <a:gd name="T4" fmla="*/ 494 w 1183"/>
                <a:gd name="T5" fmla="*/ 0 h 2375"/>
                <a:gd name="T6" fmla="*/ 494 w 1183"/>
                <a:gd name="T7" fmla="*/ 0 h 2375"/>
                <a:gd name="T8" fmla="*/ 494 w 1183"/>
                <a:gd name="T9" fmla="*/ 530 h 2375"/>
                <a:gd name="T10" fmla="*/ 494 w 1183"/>
                <a:gd name="T11" fmla="*/ 530 h 2375"/>
                <a:gd name="T12" fmla="*/ 1103 w 1183"/>
                <a:gd name="T13" fmla="*/ 530 h 2375"/>
                <a:gd name="T14" fmla="*/ 1103 w 1183"/>
                <a:gd name="T15" fmla="*/ 530 h 2375"/>
                <a:gd name="T16" fmla="*/ 1103 w 1183"/>
                <a:gd name="T17" fmla="*/ 944 h 2375"/>
                <a:gd name="T18" fmla="*/ 1103 w 1183"/>
                <a:gd name="T19" fmla="*/ 944 h 2375"/>
                <a:gd name="T20" fmla="*/ 520 w 1183"/>
                <a:gd name="T21" fmla="*/ 944 h 2375"/>
                <a:gd name="T22" fmla="*/ 520 w 1183"/>
                <a:gd name="T23" fmla="*/ 944 h 2375"/>
                <a:gd name="T24" fmla="*/ 511 w 1183"/>
                <a:gd name="T25" fmla="*/ 1333 h 2375"/>
                <a:gd name="T26" fmla="*/ 511 w 1183"/>
                <a:gd name="T27" fmla="*/ 1527 h 2375"/>
                <a:gd name="T28" fmla="*/ 520 w 1183"/>
                <a:gd name="T29" fmla="*/ 1721 h 2375"/>
                <a:gd name="T30" fmla="*/ 520 w 1183"/>
                <a:gd name="T31" fmla="*/ 1721 h 2375"/>
                <a:gd name="T32" fmla="*/ 529 w 1183"/>
                <a:gd name="T33" fmla="*/ 1774 h 2375"/>
                <a:gd name="T34" fmla="*/ 547 w 1183"/>
                <a:gd name="T35" fmla="*/ 1827 h 2375"/>
                <a:gd name="T36" fmla="*/ 564 w 1183"/>
                <a:gd name="T37" fmla="*/ 1862 h 2375"/>
                <a:gd name="T38" fmla="*/ 591 w 1183"/>
                <a:gd name="T39" fmla="*/ 1889 h 2375"/>
                <a:gd name="T40" fmla="*/ 635 w 1183"/>
                <a:gd name="T41" fmla="*/ 1915 h 2375"/>
                <a:gd name="T42" fmla="*/ 679 w 1183"/>
                <a:gd name="T43" fmla="*/ 1924 h 2375"/>
                <a:gd name="T44" fmla="*/ 723 w 1183"/>
                <a:gd name="T45" fmla="*/ 1933 h 2375"/>
                <a:gd name="T46" fmla="*/ 785 w 1183"/>
                <a:gd name="T47" fmla="*/ 1933 h 2375"/>
                <a:gd name="T48" fmla="*/ 785 w 1183"/>
                <a:gd name="T49" fmla="*/ 1933 h 2375"/>
                <a:gd name="T50" fmla="*/ 944 w 1183"/>
                <a:gd name="T51" fmla="*/ 1924 h 2375"/>
                <a:gd name="T52" fmla="*/ 1103 w 1183"/>
                <a:gd name="T53" fmla="*/ 1897 h 2375"/>
                <a:gd name="T54" fmla="*/ 1103 w 1183"/>
                <a:gd name="T55" fmla="*/ 1897 h 2375"/>
                <a:gd name="T56" fmla="*/ 1182 w 1183"/>
                <a:gd name="T57" fmla="*/ 2277 h 2375"/>
                <a:gd name="T58" fmla="*/ 1182 w 1183"/>
                <a:gd name="T59" fmla="*/ 2277 h 2375"/>
                <a:gd name="T60" fmla="*/ 1058 w 1183"/>
                <a:gd name="T61" fmla="*/ 2321 h 2375"/>
                <a:gd name="T62" fmla="*/ 944 w 1183"/>
                <a:gd name="T63" fmla="*/ 2348 h 2375"/>
                <a:gd name="T64" fmla="*/ 829 w 1183"/>
                <a:gd name="T65" fmla="*/ 2365 h 2375"/>
                <a:gd name="T66" fmla="*/ 714 w 1183"/>
                <a:gd name="T67" fmla="*/ 2374 h 2375"/>
                <a:gd name="T68" fmla="*/ 608 w 1183"/>
                <a:gd name="T69" fmla="*/ 2374 h 2375"/>
                <a:gd name="T70" fmla="*/ 494 w 1183"/>
                <a:gd name="T71" fmla="*/ 2356 h 2375"/>
                <a:gd name="T72" fmla="*/ 379 w 1183"/>
                <a:gd name="T73" fmla="*/ 2321 h 2375"/>
                <a:gd name="T74" fmla="*/ 264 w 1183"/>
                <a:gd name="T75" fmla="*/ 2268 h 2375"/>
                <a:gd name="T76" fmla="*/ 264 w 1183"/>
                <a:gd name="T77" fmla="*/ 2268 h 2375"/>
                <a:gd name="T78" fmla="*/ 203 w 1183"/>
                <a:gd name="T79" fmla="*/ 2224 h 2375"/>
                <a:gd name="T80" fmla="*/ 141 w 1183"/>
                <a:gd name="T81" fmla="*/ 2171 h 2375"/>
                <a:gd name="T82" fmla="*/ 97 w 1183"/>
                <a:gd name="T83" fmla="*/ 2109 h 2375"/>
                <a:gd name="T84" fmla="*/ 61 w 1183"/>
                <a:gd name="T85" fmla="*/ 2039 h 2375"/>
                <a:gd name="T86" fmla="*/ 35 w 1183"/>
                <a:gd name="T87" fmla="*/ 1968 h 2375"/>
                <a:gd name="T88" fmla="*/ 17 w 1183"/>
                <a:gd name="T89" fmla="*/ 1897 h 2375"/>
                <a:gd name="T90" fmla="*/ 8 w 1183"/>
                <a:gd name="T91" fmla="*/ 1818 h 2375"/>
                <a:gd name="T92" fmla="*/ 0 w 1183"/>
                <a:gd name="T93" fmla="*/ 1739 h 2375"/>
                <a:gd name="T94" fmla="*/ 0 w 1183"/>
                <a:gd name="T95" fmla="*/ 1739 h 2375"/>
                <a:gd name="T96" fmla="*/ 0 w 1183"/>
                <a:gd name="T97" fmla="*/ 918 h 2375"/>
                <a:gd name="T98" fmla="*/ 0 w 1183"/>
                <a:gd name="T99" fmla="*/ 88 h 2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3" h="2375">
                  <a:moveTo>
                    <a:pt x="0" y="88"/>
                  </a:moveTo>
                  <a:lnTo>
                    <a:pt x="0" y="88"/>
                  </a:lnTo>
                  <a:lnTo>
                    <a:pt x="494" y="0"/>
                  </a:lnTo>
                  <a:lnTo>
                    <a:pt x="494" y="0"/>
                  </a:lnTo>
                  <a:lnTo>
                    <a:pt x="494" y="530"/>
                  </a:lnTo>
                  <a:lnTo>
                    <a:pt x="494" y="530"/>
                  </a:lnTo>
                  <a:lnTo>
                    <a:pt x="1103" y="530"/>
                  </a:lnTo>
                  <a:lnTo>
                    <a:pt x="1103" y="530"/>
                  </a:lnTo>
                  <a:lnTo>
                    <a:pt x="1103" y="944"/>
                  </a:lnTo>
                  <a:lnTo>
                    <a:pt x="1103" y="944"/>
                  </a:lnTo>
                  <a:lnTo>
                    <a:pt x="520" y="944"/>
                  </a:lnTo>
                  <a:lnTo>
                    <a:pt x="520" y="944"/>
                  </a:lnTo>
                  <a:lnTo>
                    <a:pt x="511" y="1333"/>
                  </a:lnTo>
                  <a:lnTo>
                    <a:pt x="511" y="1527"/>
                  </a:lnTo>
                  <a:lnTo>
                    <a:pt x="520" y="1721"/>
                  </a:lnTo>
                  <a:lnTo>
                    <a:pt x="520" y="1721"/>
                  </a:lnTo>
                  <a:lnTo>
                    <a:pt x="529" y="1774"/>
                  </a:lnTo>
                  <a:lnTo>
                    <a:pt x="547" y="1827"/>
                  </a:lnTo>
                  <a:lnTo>
                    <a:pt x="564" y="1862"/>
                  </a:lnTo>
                  <a:lnTo>
                    <a:pt x="591" y="1889"/>
                  </a:lnTo>
                  <a:lnTo>
                    <a:pt x="635" y="1915"/>
                  </a:lnTo>
                  <a:lnTo>
                    <a:pt x="679" y="1924"/>
                  </a:lnTo>
                  <a:lnTo>
                    <a:pt x="723" y="1933"/>
                  </a:lnTo>
                  <a:lnTo>
                    <a:pt x="785" y="1933"/>
                  </a:lnTo>
                  <a:lnTo>
                    <a:pt x="785" y="1933"/>
                  </a:lnTo>
                  <a:lnTo>
                    <a:pt x="944" y="1924"/>
                  </a:lnTo>
                  <a:lnTo>
                    <a:pt x="1103" y="1897"/>
                  </a:lnTo>
                  <a:lnTo>
                    <a:pt x="1103" y="1897"/>
                  </a:lnTo>
                  <a:lnTo>
                    <a:pt x="1182" y="2277"/>
                  </a:lnTo>
                  <a:lnTo>
                    <a:pt x="1182" y="2277"/>
                  </a:lnTo>
                  <a:lnTo>
                    <a:pt x="1058" y="2321"/>
                  </a:lnTo>
                  <a:lnTo>
                    <a:pt x="944" y="2348"/>
                  </a:lnTo>
                  <a:lnTo>
                    <a:pt x="829" y="2365"/>
                  </a:lnTo>
                  <a:lnTo>
                    <a:pt x="714" y="2374"/>
                  </a:lnTo>
                  <a:lnTo>
                    <a:pt x="608" y="2374"/>
                  </a:lnTo>
                  <a:lnTo>
                    <a:pt x="494" y="2356"/>
                  </a:lnTo>
                  <a:lnTo>
                    <a:pt x="379" y="2321"/>
                  </a:lnTo>
                  <a:lnTo>
                    <a:pt x="264" y="2268"/>
                  </a:lnTo>
                  <a:lnTo>
                    <a:pt x="264" y="2268"/>
                  </a:lnTo>
                  <a:lnTo>
                    <a:pt x="203" y="2224"/>
                  </a:lnTo>
                  <a:lnTo>
                    <a:pt x="141" y="2171"/>
                  </a:lnTo>
                  <a:lnTo>
                    <a:pt x="97" y="2109"/>
                  </a:lnTo>
                  <a:lnTo>
                    <a:pt x="61" y="2039"/>
                  </a:lnTo>
                  <a:lnTo>
                    <a:pt x="35" y="1968"/>
                  </a:lnTo>
                  <a:lnTo>
                    <a:pt x="17" y="1897"/>
                  </a:lnTo>
                  <a:lnTo>
                    <a:pt x="8" y="1818"/>
                  </a:lnTo>
                  <a:lnTo>
                    <a:pt x="0" y="1739"/>
                  </a:lnTo>
                  <a:lnTo>
                    <a:pt x="0" y="1739"/>
                  </a:lnTo>
                  <a:lnTo>
                    <a:pt x="0" y="918"/>
                  </a:lnTo>
                  <a:lnTo>
                    <a:pt x="0" y="8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1" name="Freeform 11">
              <a:extLst>
                <a:ext uri="{FF2B5EF4-FFF2-40B4-BE49-F238E27FC236}">
                  <a16:creationId xmlns:a16="http://schemas.microsoft.com/office/drawing/2014/main" id="{42BA349E-1506-4452-9C4B-E1E83E47FF9F}"/>
                </a:ext>
              </a:extLst>
            </p:cNvPr>
            <p:cNvSpPr>
              <a:spLocks noChangeArrowheads="1"/>
            </p:cNvSpPr>
            <p:nvPr/>
          </p:nvSpPr>
          <p:spPr bwMode="auto">
            <a:xfrm>
              <a:off x="4721225" y="5548313"/>
              <a:ext cx="412750" cy="650875"/>
            </a:xfrm>
            <a:custGeom>
              <a:avLst/>
              <a:gdLst>
                <a:gd name="T0" fmla="*/ 503 w 1147"/>
                <a:gd name="T1" fmla="*/ 1809 h 1810"/>
                <a:gd name="T2" fmla="*/ 503 w 1147"/>
                <a:gd name="T3" fmla="*/ 1809 h 1810"/>
                <a:gd name="T4" fmla="*/ 0 w 1147"/>
                <a:gd name="T5" fmla="*/ 1809 h 1810"/>
                <a:gd name="T6" fmla="*/ 0 w 1147"/>
                <a:gd name="T7" fmla="*/ 1809 h 1810"/>
                <a:gd name="T8" fmla="*/ 0 w 1147"/>
                <a:gd name="T9" fmla="*/ 141 h 1810"/>
                <a:gd name="T10" fmla="*/ 0 w 1147"/>
                <a:gd name="T11" fmla="*/ 141 h 1810"/>
                <a:gd name="T12" fmla="*/ 123 w 1147"/>
                <a:gd name="T13" fmla="*/ 88 h 1810"/>
                <a:gd name="T14" fmla="*/ 265 w 1147"/>
                <a:gd name="T15" fmla="*/ 44 h 1810"/>
                <a:gd name="T16" fmla="*/ 415 w 1147"/>
                <a:gd name="T17" fmla="*/ 18 h 1810"/>
                <a:gd name="T18" fmla="*/ 565 w 1147"/>
                <a:gd name="T19" fmla="*/ 0 h 1810"/>
                <a:gd name="T20" fmla="*/ 723 w 1147"/>
                <a:gd name="T21" fmla="*/ 0 h 1810"/>
                <a:gd name="T22" fmla="*/ 873 w 1147"/>
                <a:gd name="T23" fmla="*/ 9 h 1810"/>
                <a:gd name="T24" fmla="*/ 1015 w 1147"/>
                <a:gd name="T25" fmla="*/ 35 h 1810"/>
                <a:gd name="T26" fmla="*/ 1146 w 1147"/>
                <a:gd name="T27" fmla="*/ 70 h 1810"/>
                <a:gd name="T28" fmla="*/ 1146 w 1147"/>
                <a:gd name="T29" fmla="*/ 70 h 1810"/>
                <a:gd name="T30" fmla="*/ 1067 w 1147"/>
                <a:gd name="T31" fmla="*/ 468 h 1810"/>
                <a:gd name="T32" fmla="*/ 1067 w 1147"/>
                <a:gd name="T33" fmla="*/ 468 h 1810"/>
                <a:gd name="T34" fmla="*/ 503 w 1147"/>
                <a:gd name="T35" fmla="*/ 432 h 1810"/>
                <a:gd name="T36" fmla="*/ 503 w 1147"/>
                <a:gd name="T37" fmla="*/ 432 h 1810"/>
                <a:gd name="T38" fmla="*/ 503 w 1147"/>
                <a:gd name="T39" fmla="*/ 1809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7" h="1810">
                  <a:moveTo>
                    <a:pt x="503" y="1809"/>
                  </a:moveTo>
                  <a:lnTo>
                    <a:pt x="503" y="1809"/>
                  </a:lnTo>
                  <a:lnTo>
                    <a:pt x="0" y="1809"/>
                  </a:lnTo>
                  <a:lnTo>
                    <a:pt x="0" y="1809"/>
                  </a:lnTo>
                  <a:lnTo>
                    <a:pt x="0" y="141"/>
                  </a:lnTo>
                  <a:lnTo>
                    <a:pt x="0" y="141"/>
                  </a:lnTo>
                  <a:lnTo>
                    <a:pt x="123" y="88"/>
                  </a:lnTo>
                  <a:lnTo>
                    <a:pt x="265" y="44"/>
                  </a:lnTo>
                  <a:lnTo>
                    <a:pt x="415" y="18"/>
                  </a:lnTo>
                  <a:lnTo>
                    <a:pt x="565" y="0"/>
                  </a:lnTo>
                  <a:lnTo>
                    <a:pt x="723" y="0"/>
                  </a:lnTo>
                  <a:lnTo>
                    <a:pt x="873" y="9"/>
                  </a:lnTo>
                  <a:lnTo>
                    <a:pt x="1015" y="35"/>
                  </a:lnTo>
                  <a:lnTo>
                    <a:pt x="1146" y="70"/>
                  </a:lnTo>
                  <a:lnTo>
                    <a:pt x="1146" y="70"/>
                  </a:lnTo>
                  <a:lnTo>
                    <a:pt x="1067" y="468"/>
                  </a:lnTo>
                  <a:lnTo>
                    <a:pt x="1067" y="468"/>
                  </a:lnTo>
                  <a:lnTo>
                    <a:pt x="503" y="432"/>
                  </a:lnTo>
                  <a:lnTo>
                    <a:pt x="503" y="432"/>
                  </a:lnTo>
                  <a:lnTo>
                    <a:pt x="503" y="180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2" name="Freeform 12">
              <a:extLst>
                <a:ext uri="{FF2B5EF4-FFF2-40B4-BE49-F238E27FC236}">
                  <a16:creationId xmlns:a16="http://schemas.microsoft.com/office/drawing/2014/main" id="{96F5BCCF-1F87-4A13-804B-CF2A8E770292}"/>
                </a:ext>
              </a:extLst>
            </p:cNvPr>
            <p:cNvSpPr>
              <a:spLocks noChangeArrowheads="1"/>
            </p:cNvSpPr>
            <p:nvPr/>
          </p:nvSpPr>
          <p:spPr bwMode="auto">
            <a:xfrm>
              <a:off x="5349875" y="3482975"/>
              <a:ext cx="498475" cy="488950"/>
            </a:xfrm>
            <a:custGeom>
              <a:avLst/>
              <a:gdLst>
                <a:gd name="T0" fmla="*/ 212 w 1386"/>
                <a:gd name="T1" fmla="*/ 0 h 1359"/>
                <a:gd name="T2" fmla="*/ 212 w 1386"/>
                <a:gd name="T3" fmla="*/ 0 h 1359"/>
                <a:gd name="T4" fmla="*/ 618 w 1386"/>
                <a:gd name="T5" fmla="*/ 79 h 1359"/>
                <a:gd name="T6" fmla="*/ 618 w 1386"/>
                <a:gd name="T7" fmla="*/ 79 h 1359"/>
                <a:gd name="T8" fmla="*/ 953 w 1386"/>
                <a:gd name="T9" fmla="*/ 141 h 1359"/>
                <a:gd name="T10" fmla="*/ 1279 w 1386"/>
                <a:gd name="T11" fmla="*/ 194 h 1359"/>
                <a:gd name="T12" fmla="*/ 1279 w 1386"/>
                <a:gd name="T13" fmla="*/ 194 h 1359"/>
                <a:gd name="T14" fmla="*/ 1341 w 1386"/>
                <a:gd name="T15" fmla="*/ 211 h 1359"/>
                <a:gd name="T16" fmla="*/ 1368 w 1386"/>
                <a:gd name="T17" fmla="*/ 220 h 1359"/>
                <a:gd name="T18" fmla="*/ 1376 w 1386"/>
                <a:gd name="T19" fmla="*/ 238 h 1359"/>
                <a:gd name="T20" fmla="*/ 1385 w 1386"/>
                <a:gd name="T21" fmla="*/ 255 h 1359"/>
                <a:gd name="T22" fmla="*/ 1385 w 1386"/>
                <a:gd name="T23" fmla="*/ 273 h 1359"/>
                <a:gd name="T24" fmla="*/ 1368 w 1386"/>
                <a:gd name="T25" fmla="*/ 335 h 1359"/>
                <a:gd name="T26" fmla="*/ 1368 w 1386"/>
                <a:gd name="T27" fmla="*/ 335 h 1359"/>
                <a:gd name="T28" fmla="*/ 1297 w 1386"/>
                <a:gd name="T29" fmla="*/ 476 h 1359"/>
                <a:gd name="T30" fmla="*/ 1218 w 1386"/>
                <a:gd name="T31" fmla="*/ 608 h 1359"/>
                <a:gd name="T32" fmla="*/ 1138 w 1386"/>
                <a:gd name="T33" fmla="*/ 741 h 1359"/>
                <a:gd name="T34" fmla="*/ 1050 w 1386"/>
                <a:gd name="T35" fmla="*/ 864 h 1359"/>
                <a:gd name="T36" fmla="*/ 953 w 1386"/>
                <a:gd name="T37" fmla="*/ 978 h 1359"/>
                <a:gd name="T38" fmla="*/ 847 w 1386"/>
                <a:gd name="T39" fmla="*/ 1093 h 1359"/>
                <a:gd name="T40" fmla="*/ 724 w 1386"/>
                <a:gd name="T41" fmla="*/ 1199 h 1359"/>
                <a:gd name="T42" fmla="*/ 600 w 1386"/>
                <a:gd name="T43" fmla="*/ 1287 h 1359"/>
                <a:gd name="T44" fmla="*/ 600 w 1386"/>
                <a:gd name="T45" fmla="*/ 1287 h 1359"/>
                <a:gd name="T46" fmla="*/ 512 w 1386"/>
                <a:gd name="T47" fmla="*/ 1349 h 1359"/>
                <a:gd name="T48" fmla="*/ 485 w 1386"/>
                <a:gd name="T49" fmla="*/ 1358 h 1359"/>
                <a:gd name="T50" fmla="*/ 468 w 1386"/>
                <a:gd name="T51" fmla="*/ 1358 h 1359"/>
                <a:gd name="T52" fmla="*/ 450 w 1386"/>
                <a:gd name="T53" fmla="*/ 1340 h 1359"/>
                <a:gd name="T54" fmla="*/ 432 w 1386"/>
                <a:gd name="T55" fmla="*/ 1313 h 1359"/>
                <a:gd name="T56" fmla="*/ 397 w 1386"/>
                <a:gd name="T57" fmla="*/ 1216 h 1359"/>
                <a:gd name="T58" fmla="*/ 397 w 1386"/>
                <a:gd name="T59" fmla="*/ 1216 h 1359"/>
                <a:gd name="T60" fmla="*/ 256 w 1386"/>
                <a:gd name="T61" fmla="*/ 900 h 1359"/>
                <a:gd name="T62" fmla="*/ 115 w 1386"/>
                <a:gd name="T63" fmla="*/ 582 h 1359"/>
                <a:gd name="T64" fmla="*/ 115 w 1386"/>
                <a:gd name="T65" fmla="*/ 582 h 1359"/>
                <a:gd name="T66" fmla="*/ 62 w 1386"/>
                <a:gd name="T67" fmla="*/ 450 h 1359"/>
                <a:gd name="T68" fmla="*/ 9 w 1386"/>
                <a:gd name="T69" fmla="*/ 308 h 1359"/>
                <a:gd name="T70" fmla="*/ 9 w 1386"/>
                <a:gd name="T71" fmla="*/ 308 h 1359"/>
                <a:gd name="T72" fmla="*/ 0 w 1386"/>
                <a:gd name="T73" fmla="*/ 255 h 1359"/>
                <a:gd name="T74" fmla="*/ 0 w 1386"/>
                <a:gd name="T75" fmla="*/ 202 h 1359"/>
                <a:gd name="T76" fmla="*/ 18 w 1386"/>
                <a:gd name="T77" fmla="*/ 150 h 1359"/>
                <a:gd name="T78" fmla="*/ 44 w 1386"/>
                <a:gd name="T79" fmla="*/ 97 h 1359"/>
                <a:gd name="T80" fmla="*/ 79 w 1386"/>
                <a:gd name="T81" fmla="*/ 61 h 1359"/>
                <a:gd name="T82" fmla="*/ 115 w 1386"/>
                <a:gd name="T83" fmla="*/ 26 h 1359"/>
                <a:gd name="T84" fmla="*/ 159 w 1386"/>
                <a:gd name="T85" fmla="*/ 8 h 1359"/>
                <a:gd name="T86" fmla="*/ 212 w 1386"/>
                <a:gd name="T87" fmla="*/ 0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6" h="1359">
                  <a:moveTo>
                    <a:pt x="212" y="0"/>
                  </a:moveTo>
                  <a:lnTo>
                    <a:pt x="212" y="0"/>
                  </a:lnTo>
                  <a:lnTo>
                    <a:pt x="618" y="79"/>
                  </a:lnTo>
                  <a:lnTo>
                    <a:pt x="618" y="79"/>
                  </a:lnTo>
                  <a:lnTo>
                    <a:pt x="953" y="141"/>
                  </a:lnTo>
                  <a:lnTo>
                    <a:pt x="1279" y="194"/>
                  </a:lnTo>
                  <a:lnTo>
                    <a:pt x="1279" y="194"/>
                  </a:lnTo>
                  <a:lnTo>
                    <a:pt x="1341" y="211"/>
                  </a:lnTo>
                  <a:lnTo>
                    <a:pt x="1368" y="220"/>
                  </a:lnTo>
                  <a:lnTo>
                    <a:pt x="1376" y="238"/>
                  </a:lnTo>
                  <a:lnTo>
                    <a:pt x="1385" y="255"/>
                  </a:lnTo>
                  <a:lnTo>
                    <a:pt x="1385" y="273"/>
                  </a:lnTo>
                  <a:lnTo>
                    <a:pt x="1368" y="335"/>
                  </a:lnTo>
                  <a:lnTo>
                    <a:pt x="1368" y="335"/>
                  </a:lnTo>
                  <a:lnTo>
                    <a:pt x="1297" y="476"/>
                  </a:lnTo>
                  <a:lnTo>
                    <a:pt x="1218" y="608"/>
                  </a:lnTo>
                  <a:lnTo>
                    <a:pt x="1138" y="741"/>
                  </a:lnTo>
                  <a:lnTo>
                    <a:pt x="1050" y="864"/>
                  </a:lnTo>
                  <a:lnTo>
                    <a:pt x="953" y="978"/>
                  </a:lnTo>
                  <a:lnTo>
                    <a:pt x="847" y="1093"/>
                  </a:lnTo>
                  <a:lnTo>
                    <a:pt x="724" y="1199"/>
                  </a:lnTo>
                  <a:lnTo>
                    <a:pt x="600" y="1287"/>
                  </a:lnTo>
                  <a:lnTo>
                    <a:pt x="600" y="1287"/>
                  </a:lnTo>
                  <a:lnTo>
                    <a:pt x="512" y="1349"/>
                  </a:lnTo>
                  <a:lnTo>
                    <a:pt x="485" y="1358"/>
                  </a:lnTo>
                  <a:lnTo>
                    <a:pt x="468" y="1358"/>
                  </a:lnTo>
                  <a:lnTo>
                    <a:pt x="450" y="1340"/>
                  </a:lnTo>
                  <a:lnTo>
                    <a:pt x="432" y="1313"/>
                  </a:lnTo>
                  <a:lnTo>
                    <a:pt x="397" y="1216"/>
                  </a:lnTo>
                  <a:lnTo>
                    <a:pt x="397" y="1216"/>
                  </a:lnTo>
                  <a:lnTo>
                    <a:pt x="256" y="900"/>
                  </a:lnTo>
                  <a:lnTo>
                    <a:pt x="115" y="582"/>
                  </a:lnTo>
                  <a:lnTo>
                    <a:pt x="115" y="582"/>
                  </a:lnTo>
                  <a:lnTo>
                    <a:pt x="62" y="450"/>
                  </a:lnTo>
                  <a:lnTo>
                    <a:pt x="9" y="308"/>
                  </a:lnTo>
                  <a:lnTo>
                    <a:pt x="9" y="308"/>
                  </a:lnTo>
                  <a:lnTo>
                    <a:pt x="0" y="255"/>
                  </a:lnTo>
                  <a:lnTo>
                    <a:pt x="0" y="202"/>
                  </a:lnTo>
                  <a:lnTo>
                    <a:pt x="18" y="150"/>
                  </a:lnTo>
                  <a:lnTo>
                    <a:pt x="44" y="97"/>
                  </a:lnTo>
                  <a:lnTo>
                    <a:pt x="79" y="61"/>
                  </a:lnTo>
                  <a:lnTo>
                    <a:pt x="115" y="26"/>
                  </a:lnTo>
                  <a:lnTo>
                    <a:pt x="159" y="8"/>
                  </a:lnTo>
                  <a:lnTo>
                    <a:pt x="21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3" name="Freeform 13">
              <a:extLst>
                <a:ext uri="{FF2B5EF4-FFF2-40B4-BE49-F238E27FC236}">
                  <a16:creationId xmlns:a16="http://schemas.microsoft.com/office/drawing/2014/main" id="{ABC9BBC8-F784-4FA1-A3CB-6AF5C1BD11D4}"/>
                </a:ext>
              </a:extLst>
            </p:cNvPr>
            <p:cNvSpPr>
              <a:spLocks noChangeArrowheads="1"/>
            </p:cNvSpPr>
            <p:nvPr/>
          </p:nvSpPr>
          <p:spPr bwMode="auto">
            <a:xfrm>
              <a:off x="4502150" y="2482850"/>
              <a:ext cx="488950" cy="488950"/>
            </a:xfrm>
            <a:custGeom>
              <a:avLst/>
              <a:gdLst>
                <a:gd name="T0" fmla="*/ 0 w 1360"/>
                <a:gd name="T1" fmla="*/ 635 h 1360"/>
                <a:gd name="T2" fmla="*/ 0 w 1360"/>
                <a:gd name="T3" fmla="*/ 635 h 1360"/>
                <a:gd name="T4" fmla="*/ 150 w 1360"/>
                <a:gd name="T5" fmla="*/ 503 h 1360"/>
                <a:gd name="T6" fmla="*/ 309 w 1360"/>
                <a:gd name="T7" fmla="*/ 388 h 1360"/>
                <a:gd name="T8" fmla="*/ 468 w 1360"/>
                <a:gd name="T9" fmla="*/ 282 h 1360"/>
                <a:gd name="T10" fmla="*/ 635 w 1360"/>
                <a:gd name="T11" fmla="*/ 194 h 1360"/>
                <a:gd name="T12" fmla="*/ 803 w 1360"/>
                <a:gd name="T13" fmla="*/ 123 h 1360"/>
                <a:gd name="T14" fmla="*/ 979 w 1360"/>
                <a:gd name="T15" fmla="*/ 61 h 1360"/>
                <a:gd name="T16" fmla="*/ 1165 w 1360"/>
                <a:gd name="T17" fmla="*/ 17 h 1360"/>
                <a:gd name="T18" fmla="*/ 1359 w 1360"/>
                <a:gd name="T19" fmla="*/ 0 h 1360"/>
                <a:gd name="T20" fmla="*/ 1359 w 1360"/>
                <a:gd name="T21" fmla="*/ 0 h 1360"/>
                <a:gd name="T22" fmla="*/ 1297 w 1360"/>
                <a:gd name="T23" fmla="*/ 1041 h 1360"/>
                <a:gd name="T24" fmla="*/ 1297 w 1360"/>
                <a:gd name="T25" fmla="*/ 1041 h 1360"/>
                <a:gd name="T26" fmla="*/ 1288 w 1360"/>
                <a:gd name="T27" fmla="*/ 1138 h 1360"/>
                <a:gd name="T28" fmla="*/ 1271 w 1360"/>
                <a:gd name="T29" fmla="*/ 1235 h 1360"/>
                <a:gd name="T30" fmla="*/ 1271 w 1360"/>
                <a:gd name="T31" fmla="*/ 1235 h 1360"/>
                <a:gd name="T32" fmla="*/ 1253 w 1360"/>
                <a:gd name="T33" fmla="*/ 1270 h 1360"/>
                <a:gd name="T34" fmla="*/ 1227 w 1360"/>
                <a:gd name="T35" fmla="*/ 1306 h 1360"/>
                <a:gd name="T36" fmla="*/ 1191 w 1360"/>
                <a:gd name="T37" fmla="*/ 1332 h 1360"/>
                <a:gd name="T38" fmla="*/ 1156 w 1360"/>
                <a:gd name="T39" fmla="*/ 1350 h 1360"/>
                <a:gd name="T40" fmla="*/ 1112 w 1360"/>
                <a:gd name="T41" fmla="*/ 1359 h 1360"/>
                <a:gd name="T42" fmla="*/ 1059 w 1360"/>
                <a:gd name="T43" fmla="*/ 1359 h 1360"/>
                <a:gd name="T44" fmla="*/ 1024 w 1360"/>
                <a:gd name="T45" fmla="*/ 1350 h 1360"/>
                <a:gd name="T46" fmla="*/ 979 w 1360"/>
                <a:gd name="T47" fmla="*/ 1323 h 1360"/>
                <a:gd name="T48" fmla="*/ 979 w 1360"/>
                <a:gd name="T49" fmla="*/ 1323 h 1360"/>
                <a:gd name="T50" fmla="*/ 662 w 1360"/>
                <a:gd name="T51" fmla="*/ 1103 h 1360"/>
                <a:gd name="T52" fmla="*/ 353 w 1360"/>
                <a:gd name="T53" fmla="*/ 882 h 1360"/>
                <a:gd name="T54" fmla="*/ 353 w 1360"/>
                <a:gd name="T55" fmla="*/ 882 h 1360"/>
                <a:gd name="T56" fmla="*/ 0 w 1360"/>
                <a:gd name="T57" fmla="*/ 635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0" h="1360">
                  <a:moveTo>
                    <a:pt x="0" y="635"/>
                  </a:moveTo>
                  <a:lnTo>
                    <a:pt x="0" y="635"/>
                  </a:lnTo>
                  <a:lnTo>
                    <a:pt x="150" y="503"/>
                  </a:lnTo>
                  <a:lnTo>
                    <a:pt x="309" y="388"/>
                  </a:lnTo>
                  <a:lnTo>
                    <a:pt x="468" y="282"/>
                  </a:lnTo>
                  <a:lnTo>
                    <a:pt x="635" y="194"/>
                  </a:lnTo>
                  <a:lnTo>
                    <a:pt x="803" y="123"/>
                  </a:lnTo>
                  <a:lnTo>
                    <a:pt x="979" y="61"/>
                  </a:lnTo>
                  <a:lnTo>
                    <a:pt x="1165" y="17"/>
                  </a:lnTo>
                  <a:lnTo>
                    <a:pt x="1359" y="0"/>
                  </a:lnTo>
                  <a:lnTo>
                    <a:pt x="1359" y="0"/>
                  </a:lnTo>
                  <a:lnTo>
                    <a:pt x="1297" y="1041"/>
                  </a:lnTo>
                  <a:lnTo>
                    <a:pt x="1297" y="1041"/>
                  </a:lnTo>
                  <a:lnTo>
                    <a:pt x="1288" y="1138"/>
                  </a:lnTo>
                  <a:lnTo>
                    <a:pt x="1271" y="1235"/>
                  </a:lnTo>
                  <a:lnTo>
                    <a:pt x="1271" y="1235"/>
                  </a:lnTo>
                  <a:lnTo>
                    <a:pt x="1253" y="1270"/>
                  </a:lnTo>
                  <a:lnTo>
                    <a:pt x="1227" y="1306"/>
                  </a:lnTo>
                  <a:lnTo>
                    <a:pt x="1191" y="1332"/>
                  </a:lnTo>
                  <a:lnTo>
                    <a:pt x="1156" y="1350"/>
                  </a:lnTo>
                  <a:lnTo>
                    <a:pt x="1112" y="1359"/>
                  </a:lnTo>
                  <a:lnTo>
                    <a:pt x="1059" y="1359"/>
                  </a:lnTo>
                  <a:lnTo>
                    <a:pt x="1024" y="1350"/>
                  </a:lnTo>
                  <a:lnTo>
                    <a:pt x="979" y="1323"/>
                  </a:lnTo>
                  <a:lnTo>
                    <a:pt x="979" y="1323"/>
                  </a:lnTo>
                  <a:lnTo>
                    <a:pt x="662" y="1103"/>
                  </a:lnTo>
                  <a:lnTo>
                    <a:pt x="353" y="882"/>
                  </a:lnTo>
                  <a:lnTo>
                    <a:pt x="353" y="882"/>
                  </a:lnTo>
                  <a:lnTo>
                    <a:pt x="0" y="63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4" name="Freeform 14">
              <a:extLst>
                <a:ext uri="{FF2B5EF4-FFF2-40B4-BE49-F238E27FC236}">
                  <a16:creationId xmlns:a16="http://schemas.microsoft.com/office/drawing/2014/main" id="{7E951675-952B-4FCD-B7D9-B50EA33AD912}"/>
                </a:ext>
              </a:extLst>
            </p:cNvPr>
            <p:cNvSpPr>
              <a:spLocks noChangeArrowheads="1"/>
            </p:cNvSpPr>
            <p:nvPr/>
          </p:nvSpPr>
          <p:spPr bwMode="auto">
            <a:xfrm>
              <a:off x="4264025" y="2870200"/>
              <a:ext cx="466725" cy="511175"/>
            </a:xfrm>
            <a:custGeom>
              <a:avLst/>
              <a:gdLst>
                <a:gd name="T0" fmla="*/ 9 w 1298"/>
                <a:gd name="T1" fmla="*/ 1421 h 1422"/>
                <a:gd name="T2" fmla="*/ 9 w 1298"/>
                <a:gd name="T3" fmla="*/ 1421 h 1422"/>
                <a:gd name="T4" fmla="*/ 0 w 1298"/>
                <a:gd name="T5" fmla="*/ 1165 h 1422"/>
                <a:gd name="T6" fmla="*/ 0 w 1298"/>
                <a:gd name="T7" fmla="*/ 1033 h 1422"/>
                <a:gd name="T8" fmla="*/ 18 w 1298"/>
                <a:gd name="T9" fmla="*/ 918 h 1422"/>
                <a:gd name="T10" fmla="*/ 18 w 1298"/>
                <a:gd name="T11" fmla="*/ 918 h 1422"/>
                <a:gd name="T12" fmla="*/ 62 w 1298"/>
                <a:gd name="T13" fmla="*/ 733 h 1422"/>
                <a:gd name="T14" fmla="*/ 106 w 1298"/>
                <a:gd name="T15" fmla="*/ 556 h 1422"/>
                <a:gd name="T16" fmla="*/ 230 w 1298"/>
                <a:gd name="T17" fmla="*/ 194 h 1422"/>
                <a:gd name="T18" fmla="*/ 230 w 1298"/>
                <a:gd name="T19" fmla="*/ 194 h 1422"/>
                <a:gd name="T20" fmla="*/ 256 w 1298"/>
                <a:gd name="T21" fmla="*/ 115 h 1422"/>
                <a:gd name="T22" fmla="*/ 283 w 1298"/>
                <a:gd name="T23" fmla="*/ 53 h 1422"/>
                <a:gd name="T24" fmla="*/ 309 w 1298"/>
                <a:gd name="T25" fmla="*/ 18 h 1422"/>
                <a:gd name="T26" fmla="*/ 336 w 1298"/>
                <a:gd name="T27" fmla="*/ 0 h 1422"/>
                <a:gd name="T28" fmla="*/ 371 w 1298"/>
                <a:gd name="T29" fmla="*/ 0 h 1422"/>
                <a:gd name="T30" fmla="*/ 415 w 1298"/>
                <a:gd name="T31" fmla="*/ 18 h 1422"/>
                <a:gd name="T32" fmla="*/ 459 w 1298"/>
                <a:gd name="T33" fmla="*/ 62 h 1422"/>
                <a:gd name="T34" fmla="*/ 521 w 1298"/>
                <a:gd name="T35" fmla="*/ 115 h 1422"/>
                <a:gd name="T36" fmla="*/ 521 w 1298"/>
                <a:gd name="T37" fmla="*/ 115 h 1422"/>
                <a:gd name="T38" fmla="*/ 821 w 1298"/>
                <a:gd name="T39" fmla="*/ 380 h 1422"/>
                <a:gd name="T40" fmla="*/ 1121 w 1298"/>
                <a:gd name="T41" fmla="*/ 653 h 1422"/>
                <a:gd name="T42" fmla="*/ 1121 w 1298"/>
                <a:gd name="T43" fmla="*/ 653 h 1422"/>
                <a:gd name="T44" fmla="*/ 1147 w 1298"/>
                <a:gd name="T45" fmla="*/ 689 h 1422"/>
                <a:gd name="T46" fmla="*/ 1191 w 1298"/>
                <a:gd name="T47" fmla="*/ 715 h 1422"/>
                <a:gd name="T48" fmla="*/ 1191 w 1298"/>
                <a:gd name="T49" fmla="*/ 715 h 1422"/>
                <a:gd name="T50" fmla="*/ 1227 w 1298"/>
                <a:gd name="T51" fmla="*/ 742 h 1422"/>
                <a:gd name="T52" fmla="*/ 1253 w 1298"/>
                <a:gd name="T53" fmla="*/ 759 h 1422"/>
                <a:gd name="T54" fmla="*/ 1271 w 1298"/>
                <a:gd name="T55" fmla="*/ 795 h 1422"/>
                <a:gd name="T56" fmla="*/ 1289 w 1298"/>
                <a:gd name="T57" fmla="*/ 821 h 1422"/>
                <a:gd name="T58" fmla="*/ 1289 w 1298"/>
                <a:gd name="T59" fmla="*/ 856 h 1422"/>
                <a:gd name="T60" fmla="*/ 1297 w 1298"/>
                <a:gd name="T61" fmla="*/ 883 h 1422"/>
                <a:gd name="T62" fmla="*/ 1280 w 1298"/>
                <a:gd name="T63" fmla="*/ 953 h 1422"/>
                <a:gd name="T64" fmla="*/ 1280 w 1298"/>
                <a:gd name="T65" fmla="*/ 953 h 1422"/>
                <a:gd name="T66" fmla="*/ 1262 w 1298"/>
                <a:gd name="T67" fmla="*/ 997 h 1422"/>
                <a:gd name="T68" fmla="*/ 1218 w 1298"/>
                <a:gd name="T69" fmla="*/ 1042 h 1422"/>
                <a:gd name="T70" fmla="*/ 1183 w 1298"/>
                <a:gd name="T71" fmla="*/ 1077 h 1422"/>
                <a:gd name="T72" fmla="*/ 1130 w 1298"/>
                <a:gd name="T73" fmla="*/ 1095 h 1422"/>
                <a:gd name="T74" fmla="*/ 1130 w 1298"/>
                <a:gd name="T75" fmla="*/ 1095 h 1422"/>
                <a:gd name="T76" fmla="*/ 1006 w 1298"/>
                <a:gd name="T77" fmla="*/ 1139 h 1422"/>
                <a:gd name="T78" fmla="*/ 883 w 1298"/>
                <a:gd name="T79" fmla="*/ 1183 h 1422"/>
                <a:gd name="T80" fmla="*/ 627 w 1298"/>
                <a:gd name="T81" fmla="*/ 1253 h 1422"/>
                <a:gd name="T82" fmla="*/ 627 w 1298"/>
                <a:gd name="T83" fmla="*/ 1253 h 1422"/>
                <a:gd name="T84" fmla="*/ 9 w 1298"/>
                <a:gd name="T85" fmla="*/ 1421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8" h="1422">
                  <a:moveTo>
                    <a:pt x="9" y="1421"/>
                  </a:moveTo>
                  <a:lnTo>
                    <a:pt x="9" y="1421"/>
                  </a:lnTo>
                  <a:lnTo>
                    <a:pt x="0" y="1165"/>
                  </a:lnTo>
                  <a:lnTo>
                    <a:pt x="0" y="1033"/>
                  </a:lnTo>
                  <a:lnTo>
                    <a:pt x="18" y="918"/>
                  </a:lnTo>
                  <a:lnTo>
                    <a:pt x="18" y="918"/>
                  </a:lnTo>
                  <a:lnTo>
                    <a:pt x="62" y="733"/>
                  </a:lnTo>
                  <a:lnTo>
                    <a:pt x="106" y="556"/>
                  </a:lnTo>
                  <a:lnTo>
                    <a:pt x="230" y="194"/>
                  </a:lnTo>
                  <a:lnTo>
                    <a:pt x="230" y="194"/>
                  </a:lnTo>
                  <a:lnTo>
                    <a:pt x="256" y="115"/>
                  </a:lnTo>
                  <a:lnTo>
                    <a:pt x="283" y="53"/>
                  </a:lnTo>
                  <a:lnTo>
                    <a:pt x="309" y="18"/>
                  </a:lnTo>
                  <a:lnTo>
                    <a:pt x="336" y="0"/>
                  </a:lnTo>
                  <a:lnTo>
                    <a:pt x="371" y="0"/>
                  </a:lnTo>
                  <a:lnTo>
                    <a:pt x="415" y="18"/>
                  </a:lnTo>
                  <a:lnTo>
                    <a:pt x="459" y="62"/>
                  </a:lnTo>
                  <a:lnTo>
                    <a:pt x="521" y="115"/>
                  </a:lnTo>
                  <a:lnTo>
                    <a:pt x="521" y="115"/>
                  </a:lnTo>
                  <a:lnTo>
                    <a:pt x="821" y="380"/>
                  </a:lnTo>
                  <a:lnTo>
                    <a:pt x="1121" y="653"/>
                  </a:lnTo>
                  <a:lnTo>
                    <a:pt x="1121" y="653"/>
                  </a:lnTo>
                  <a:lnTo>
                    <a:pt x="1147" y="689"/>
                  </a:lnTo>
                  <a:lnTo>
                    <a:pt x="1191" y="715"/>
                  </a:lnTo>
                  <a:lnTo>
                    <a:pt x="1191" y="715"/>
                  </a:lnTo>
                  <a:lnTo>
                    <a:pt x="1227" y="742"/>
                  </a:lnTo>
                  <a:lnTo>
                    <a:pt x="1253" y="759"/>
                  </a:lnTo>
                  <a:lnTo>
                    <a:pt x="1271" y="795"/>
                  </a:lnTo>
                  <a:lnTo>
                    <a:pt x="1289" y="821"/>
                  </a:lnTo>
                  <a:lnTo>
                    <a:pt x="1289" y="856"/>
                  </a:lnTo>
                  <a:lnTo>
                    <a:pt x="1297" y="883"/>
                  </a:lnTo>
                  <a:lnTo>
                    <a:pt x="1280" y="953"/>
                  </a:lnTo>
                  <a:lnTo>
                    <a:pt x="1280" y="953"/>
                  </a:lnTo>
                  <a:lnTo>
                    <a:pt x="1262" y="997"/>
                  </a:lnTo>
                  <a:lnTo>
                    <a:pt x="1218" y="1042"/>
                  </a:lnTo>
                  <a:lnTo>
                    <a:pt x="1183" y="1077"/>
                  </a:lnTo>
                  <a:lnTo>
                    <a:pt x="1130" y="1095"/>
                  </a:lnTo>
                  <a:lnTo>
                    <a:pt x="1130" y="1095"/>
                  </a:lnTo>
                  <a:lnTo>
                    <a:pt x="1006" y="1139"/>
                  </a:lnTo>
                  <a:lnTo>
                    <a:pt x="883" y="1183"/>
                  </a:lnTo>
                  <a:lnTo>
                    <a:pt x="627" y="1253"/>
                  </a:lnTo>
                  <a:lnTo>
                    <a:pt x="627" y="1253"/>
                  </a:lnTo>
                  <a:lnTo>
                    <a:pt x="9" y="142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5" name="Freeform 15">
              <a:extLst>
                <a:ext uri="{FF2B5EF4-FFF2-40B4-BE49-F238E27FC236}">
                  <a16:creationId xmlns:a16="http://schemas.microsoft.com/office/drawing/2014/main" id="{8049D41D-5E42-4F66-B5CC-8FD5B50297A7}"/>
                </a:ext>
              </a:extLst>
            </p:cNvPr>
            <p:cNvSpPr>
              <a:spLocks noChangeArrowheads="1"/>
            </p:cNvSpPr>
            <p:nvPr/>
          </p:nvSpPr>
          <p:spPr bwMode="auto">
            <a:xfrm>
              <a:off x="5432425" y="2867025"/>
              <a:ext cx="466725" cy="515938"/>
            </a:xfrm>
            <a:custGeom>
              <a:avLst/>
              <a:gdLst>
                <a:gd name="T0" fmla="*/ 1280 w 1298"/>
                <a:gd name="T1" fmla="*/ 1430 h 1431"/>
                <a:gd name="T2" fmla="*/ 1280 w 1298"/>
                <a:gd name="T3" fmla="*/ 1430 h 1431"/>
                <a:gd name="T4" fmla="*/ 724 w 1298"/>
                <a:gd name="T5" fmla="*/ 1271 h 1431"/>
                <a:gd name="T6" fmla="*/ 186 w 1298"/>
                <a:gd name="T7" fmla="*/ 1112 h 1431"/>
                <a:gd name="T8" fmla="*/ 186 w 1298"/>
                <a:gd name="T9" fmla="*/ 1112 h 1431"/>
                <a:gd name="T10" fmla="*/ 115 w 1298"/>
                <a:gd name="T11" fmla="*/ 1086 h 1431"/>
                <a:gd name="T12" fmla="*/ 62 w 1298"/>
                <a:gd name="T13" fmla="*/ 1042 h 1431"/>
                <a:gd name="T14" fmla="*/ 18 w 1298"/>
                <a:gd name="T15" fmla="*/ 1006 h 1431"/>
                <a:gd name="T16" fmla="*/ 0 w 1298"/>
                <a:gd name="T17" fmla="*/ 954 h 1431"/>
                <a:gd name="T18" fmla="*/ 0 w 1298"/>
                <a:gd name="T19" fmla="*/ 901 h 1431"/>
                <a:gd name="T20" fmla="*/ 9 w 1298"/>
                <a:gd name="T21" fmla="*/ 848 h 1431"/>
                <a:gd name="T22" fmla="*/ 45 w 1298"/>
                <a:gd name="T23" fmla="*/ 795 h 1431"/>
                <a:gd name="T24" fmla="*/ 97 w 1298"/>
                <a:gd name="T25" fmla="*/ 733 h 1431"/>
                <a:gd name="T26" fmla="*/ 97 w 1298"/>
                <a:gd name="T27" fmla="*/ 733 h 1431"/>
                <a:gd name="T28" fmla="*/ 486 w 1298"/>
                <a:gd name="T29" fmla="*/ 380 h 1431"/>
                <a:gd name="T30" fmla="*/ 874 w 1298"/>
                <a:gd name="T31" fmla="*/ 27 h 1431"/>
                <a:gd name="T32" fmla="*/ 874 w 1298"/>
                <a:gd name="T33" fmla="*/ 27 h 1431"/>
                <a:gd name="T34" fmla="*/ 909 w 1298"/>
                <a:gd name="T35" fmla="*/ 0 h 1431"/>
                <a:gd name="T36" fmla="*/ 936 w 1298"/>
                <a:gd name="T37" fmla="*/ 0 h 1431"/>
                <a:gd name="T38" fmla="*/ 962 w 1298"/>
                <a:gd name="T39" fmla="*/ 18 h 1431"/>
                <a:gd name="T40" fmla="*/ 989 w 1298"/>
                <a:gd name="T41" fmla="*/ 45 h 1431"/>
                <a:gd name="T42" fmla="*/ 989 w 1298"/>
                <a:gd name="T43" fmla="*/ 45 h 1431"/>
                <a:gd name="T44" fmla="*/ 1077 w 1298"/>
                <a:gd name="T45" fmla="*/ 212 h 1431"/>
                <a:gd name="T46" fmla="*/ 1156 w 1298"/>
                <a:gd name="T47" fmla="*/ 389 h 1431"/>
                <a:gd name="T48" fmla="*/ 1218 w 1298"/>
                <a:gd name="T49" fmla="*/ 574 h 1431"/>
                <a:gd name="T50" fmla="*/ 1253 w 1298"/>
                <a:gd name="T51" fmla="*/ 759 h 1431"/>
                <a:gd name="T52" fmla="*/ 1253 w 1298"/>
                <a:gd name="T53" fmla="*/ 759 h 1431"/>
                <a:gd name="T54" fmla="*/ 1280 w 1298"/>
                <a:gd name="T55" fmla="*/ 980 h 1431"/>
                <a:gd name="T56" fmla="*/ 1297 w 1298"/>
                <a:gd name="T57" fmla="*/ 1209 h 1431"/>
                <a:gd name="T58" fmla="*/ 1297 w 1298"/>
                <a:gd name="T59" fmla="*/ 1209 h 1431"/>
                <a:gd name="T60" fmla="*/ 1297 w 1298"/>
                <a:gd name="T61" fmla="*/ 1262 h 1431"/>
                <a:gd name="T62" fmla="*/ 1297 w 1298"/>
                <a:gd name="T63" fmla="*/ 1315 h 1431"/>
                <a:gd name="T64" fmla="*/ 1280 w 1298"/>
                <a:gd name="T65" fmla="*/ 1430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8" h="1431">
                  <a:moveTo>
                    <a:pt x="1280" y="1430"/>
                  </a:moveTo>
                  <a:lnTo>
                    <a:pt x="1280" y="1430"/>
                  </a:lnTo>
                  <a:lnTo>
                    <a:pt x="724" y="1271"/>
                  </a:lnTo>
                  <a:lnTo>
                    <a:pt x="186" y="1112"/>
                  </a:lnTo>
                  <a:lnTo>
                    <a:pt x="186" y="1112"/>
                  </a:lnTo>
                  <a:lnTo>
                    <a:pt x="115" y="1086"/>
                  </a:lnTo>
                  <a:lnTo>
                    <a:pt x="62" y="1042"/>
                  </a:lnTo>
                  <a:lnTo>
                    <a:pt x="18" y="1006"/>
                  </a:lnTo>
                  <a:lnTo>
                    <a:pt x="0" y="954"/>
                  </a:lnTo>
                  <a:lnTo>
                    <a:pt x="0" y="901"/>
                  </a:lnTo>
                  <a:lnTo>
                    <a:pt x="9" y="848"/>
                  </a:lnTo>
                  <a:lnTo>
                    <a:pt x="45" y="795"/>
                  </a:lnTo>
                  <a:lnTo>
                    <a:pt x="97" y="733"/>
                  </a:lnTo>
                  <a:lnTo>
                    <a:pt x="97" y="733"/>
                  </a:lnTo>
                  <a:lnTo>
                    <a:pt x="486" y="380"/>
                  </a:lnTo>
                  <a:lnTo>
                    <a:pt x="874" y="27"/>
                  </a:lnTo>
                  <a:lnTo>
                    <a:pt x="874" y="27"/>
                  </a:lnTo>
                  <a:lnTo>
                    <a:pt x="909" y="0"/>
                  </a:lnTo>
                  <a:lnTo>
                    <a:pt x="936" y="0"/>
                  </a:lnTo>
                  <a:lnTo>
                    <a:pt x="962" y="18"/>
                  </a:lnTo>
                  <a:lnTo>
                    <a:pt x="989" y="45"/>
                  </a:lnTo>
                  <a:lnTo>
                    <a:pt x="989" y="45"/>
                  </a:lnTo>
                  <a:lnTo>
                    <a:pt x="1077" y="212"/>
                  </a:lnTo>
                  <a:lnTo>
                    <a:pt x="1156" y="389"/>
                  </a:lnTo>
                  <a:lnTo>
                    <a:pt x="1218" y="574"/>
                  </a:lnTo>
                  <a:lnTo>
                    <a:pt x="1253" y="759"/>
                  </a:lnTo>
                  <a:lnTo>
                    <a:pt x="1253" y="759"/>
                  </a:lnTo>
                  <a:lnTo>
                    <a:pt x="1280" y="980"/>
                  </a:lnTo>
                  <a:lnTo>
                    <a:pt x="1297" y="1209"/>
                  </a:lnTo>
                  <a:lnTo>
                    <a:pt x="1297" y="1209"/>
                  </a:lnTo>
                  <a:lnTo>
                    <a:pt x="1297" y="1262"/>
                  </a:lnTo>
                  <a:lnTo>
                    <a:pt x="1297" y="1315"/>
                  </a:lnTo>
                  <a:lnTo>
                    <a:pt x="1280" y="14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6" name="Freeform 16">
              <a:extLst>
                <a:ext uri="{FF2B5EF4-FFF2-40B4-BE49-F238E27FC236}">
                  <a16:creationId xmlns:a16="http://schemas.microsoft.com/office/drawing/2014/main" id="{8947BD21-80EE-4935-AB9C-2EDE091BDE22}"/>
                </a:ext>
              </a:extLst>
            </p:cNvPr>
            <p:cNvSpPr>
              <a:spLocks noChangeArrowheads="1"/>
            </p:cNvSpPr>
            <p:nvPr/>
          </p:nvSpPr>
          <p:spPr bwMode="auto">
            <a:xfrm>
              <a:off x="4314825" y="3486150"/>
              <a:ext cx="500063" cy="495300"/>
            </a:xfrm>
            <a:custGeom>
              <a:avLst/>
              <a:gdLst>
                <a:gd name="T0" fmla="*/ 927 w 1387"/>
                <a:gd name="T1" fmla="*/ 1376 h 1377"/>
                <a:gd name="T2" fmla="*/ 927 w 1387"/>
                <a:gd name="T3" fmla="*/ 1376 h 1377"/>
                <a:gd name="T4" fmla="*/ 768 w 1387"/>
                <a:gd name="T5" fmla="*/ 1261 h 1377"/>
                <a:gd name="T6" fmla="*/ 618 w 1387"/>
                <a:gd name="T7" fmla="*/ 1147 h 1377"/>
                <a:gd name="T8" fmla="*/ 486 w 1387"/>
                <a:gd name="T9" fmla="*/ 1014 h 1377"/>
                <a:gd name="T10" fmla="*/ 371 w 1387"/>
                <a:gd name="T11" fmla="*/ 883 h 1377"/>
                <a:gd name="T12" fmla="*/ 256 w 1387"/>
                <a:gd name="T13" fmla="*/ 733 h 1377"/>
                <a:gd name="T14" fmla="*/ 159 w 1387"/>
                <a:gd name="T15" fmla="*/ 574 h 1377"/>
                <a:gd name="T16" fmla="*/ 71 w 1387"/>
                <a:gd name="T17" fmla="*/ 406 h 1377"/>
                <a:gd name="T18" fmla="*/ 0 w 1387"/>
                <a:gd name="T19" fmla="*/ 221 h 1377"/>
                <a:gd name="T20" fmla="*/ 0 w 1387"/>
                <a:gd name="T21" fmla="*/ 221 h 1377"/>
                <a:gd name="T22" fmla="*/ 177 w 1387"/>
                <a:gd name="T23" fmla="*/ 177 h 1377"/>
                <a:gd name="T24" fmla="*/ 345 w 1387"/>
                <a:gd name="T25" fmla="*/ 142 h 1377"/>
                <a:gd name="T26" fmla="*/ 345 w 1387"/>
                <a:gd name="T27" fmla="*/ 142 h 1377"/>
                <a:gd name="T28" fmla="*/ 1156 w 1387"/>
                <a:gd name="T29" fmla="*/ 0 h 1377"/>
                <a:gd name="T30" fmla="*/ 1156 w 1387"/>
                <a:gd name="T31" fmla="*/ 0 h 1377"/>
                <a:gd name="T32" fmla="*/ 1209 w 1387"/>
                <a:gd name="T33" fmla="*/ 0 h 1377"/>
                <a:gd name="T34" fmla="*/ 1253 w 1387"/>
                <a:gd name="T35" fmla="*/ 9 h 1377"/>
                <a:gd name="T36" fmla="*/ 1298 w 1387"/>
                <a:gd name="T37" fmla="*/ 44 h 1377"/>
                <a:gd name="T38" fmla="*/ 1333 w 1387"/>
                <a:gd name="T39" fmla="*/ 80 h 1377"/>
                <a:gd name="T40" fmla="*/ 1368 w 1387"/>
                <a:gd name="T41" fmla="*/ 124 h 1377"/>
                <a:gd name="T42" fmla="*/ 1377 w 1387"/>
                <a:gd name="T43" fmla="*/ 177 h 1377"/>
                <a:gd name="T44" fmla="*/ 1386 w 1387"/>
                <a:gd name="T45" fmla="*/ 230 h 1377"/>
                <a:gd name="T46" fmla="*/ 1368 w 1387"/>
                <a:gd name="T47" fmla="*/ 292 h 1377"/>
                <a:gd name="T48" fmla="*/ 1368 w 1387"/>
                <a:gd name="T49" fmla="*/ 292 h 1377"/>
                <a:gd name="T50" fmla="*/ 1253 w 1387"/>
                <a:gd name="T51" fmla="*/ 592 h 1377"/>
                <a:gd name="T52" fmla="*/ 1130 w 1387"/>
                <a:gd name="T53" fmla="*/ 892 h 1377"/>
                <a:gd name="T54" fmla="*/ 1130 w 1387"/>
                <a:gd name="T55" fmla="*/ 892 h 1377"/>
                <a:gd name="T56" fmla="*/ 927 w 1387"/>
                <a:gd name="T57" fmla="*/ 1376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87" h="1377">
                  <a:moveTo>
                    <a:pt x="927" y="1376"/>
                  </a:moveTo>
                  <a:lnTo>
                    <a:pt x="927" y="1376"/>
                  </a:lnTo>
                  <a:lnTo>
                    <a:pt x="768" y="1261"/>
                  </a:lnTo>
                  <a:lnTo>
                    <a:pt x="618" y="1147"/>
                  </a:lnTo>
                  <a:lnTo>
                    <a:pt x="486" y="1014"/>
                  </a:lnTo>
                  <a:lnTo>
                    <a:pt x="371" y="883"/>
                  </a:lnTo>
                  <a:lnTo>
                    <a:pt x="256" y="733"/>
                  </a:lnTo>
                  <a:lnTo>
                    <a:pt x="159" y="574"/>
                  </a:lnTo>
                  <a:lnTo>
                    <a:pt x="71" y="406"/>
                  </a:lnTo>
                  <a:lnTo>
                    <a:pt x="0" y="221"/>
                  </a:lnTo>
                  <a:lnTo>
                    <a:pt x="0" y="221"/>
                  </a:lnTo>
                  <a:lnTo>
                    <a:pt x="177" y="177"/>
                  </a:lnTo>
                  <a:lnTo>
                    <a:pt x="345" y="142"/>
                  </a:lnTo>
                  <a:lnTo>
                    <a:pt x="345" y="142"/>
                  </a:lnTo>
                  <a:lnTo>
                    <a:pt x="1156" y="0"/>
                  </a:lnTo>
                  <a:lnTo>
                    <a:pt x="1156" y="0"/>
                  </a:lnTo>
                  <a:lnTo>
                    <a:pt x="1209" y="0"/>
                  </a:lnTo>
                  <a:lnTo>
                    <a:pt x="1253" y="9"/>
                  </a:lnTo>
                  <a:lnTo>
                    <a:pt x="1298" y="44"/>
                  </a:lnTo>
                  <a:lnTo>
                    <a:pt x="1333" y="80"/>
                  </a:lnTo>
                  <a:lnTo>
                    <a:pt x="1368" y="124"/>
                  </a:lnTo>
                  <a:lnTo>
                    <a:pt x="1377" y="177"/>
                  </a:lnTo>
                  <a:lnTo>
                    <a:pt x="1386" y="230"/>
                  </a:lnTo>
                  <a:lnTo>
                    <a:pt x="1368" y="292"/>
                  </a:lnTo>
                  <a:lnTo>
                    <a:pt x="1368" y="292"/>
                  </a:lnTo>
                  <a:lnTo>
                    <a:pt x="1253" y="592"/>
                  </a:lnTo>
                  <a:lnTo>
                    <a:pt x="1130" y="892"/>
                  </a:lnTo>
                  <a:lnTo>
                    <a:pt x="1130" y="892"/>
                  </a:lnTo>
                  <a:lnTo>
                    <a:pt x="927" y="13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7" name="Freeform 17">
              <a:extLst>
                <a:ext uri="{FF2B5EF4-FFF2-40B4-BE49-F238E27FC236}">
                  <a16:creationId xmlns:a16="http://schemas.microsoft.com/office/drawing/2014/main" id="{CD0CF5AC-1164-4F9F-8DA8-C95AE444C0CE}"/>
                </a:ext>
              </a:extLst>
            </p:cNvPr>
            <p:cNvSpPr>
              <a:spLocks noChangeArrowheads="1"/>
            </p:cNvSpPr>
            <p:nvPr/>
          </p:nvSpPr>
          <p:spPr bwMode="auto">
            <a:xfrm>
              <a:off x="4813300" y="3657600"/>
              <a:ext cx="533400" cy="447675"/>
            </a:xfrm>
            <a:custGeom>
              <a:avLst/>
              <a:gdLst>
                <a:gd name="T0" fmla="*/ 1481 w 1482"/>
                <a:gd name="T1" fmla="*/ 1137 h 1244"/>
                <a:gd name="T2" fmla="*/ 1481 w 1482"/>
                <a:gd name="T3" fmla="*/ 1137 h 1244"/>
                <a:gd name="T4" fmla="*/ 1296 w 1482"/>
                <a:gd name="T5" fmla="*/ 1181 h 1244"/>
                <a:gd name="T6" fmla="*/ 1111 w 1482"/>
                <a:gd name="T7" fmla="*/ 1217 h 1244"/>
                <a:gd name="T8" fmla="*/ 925 w 1482"/>
                <a:gd name="T9" fmla="*/ 1234 h 1244"/>
                <a:gd name="T10" fmla="*/ 741 w 1482"/>
                <a:gd name="T11" fmla="*/ 1243 h 1244"/>
                <a:gd name="T12" fmla="*/ 556 w 1482"/>
                <a:gd name="T13" fmla="*/ 1234 h 1244"/>
                <a:gd name="T14" fmla="*/ 370 w 1482"/>
                <a:gd name="T15" fmla="*/ 1217 h 1244"/>
                <a:gd name="T16" fmla="*/ 185 w 1482"/>
                <a:gd name="T17" fmla="*/ 1173 h 1244"/>
                <a:gd name="T18" fmla="*/ 0 w 1482"/>
                <a:gd name="T19" fmla="*/ 1120 h 1244"/>
                <a:gd name="T20" fmla="*/ 0 w 1482"/>
                <a:gd name="T21" fmla="*/ 1120 h 1244"/>
                <a:gd name="T22" fmla="*/ 264 w 1482"/>
                <a:gd name="T23" fmla="*/ 643 h 1244"/>
                <a:gd name="T24" fmla="*/ 264 w 1482"/>
                <a:gd name="T25" fmla="*/ 643 h 1244"/>
                <a:gd name="T26" fmla="*/ 397 w 1482"/>
                <a:gd name="T27" fmla="*/ 397 h 1244"/>
                <a:gd name="T28" fmla="*/ 467 w 1482"/>
                <a:gd name="T29" fmla="*/ 273 h 1244"/>
                <a:gd name="T30" fmla="*/ 538 w 1482"/>
                <a:gd name="T31" fmla="*/ 150 h 1244"/>
                <a:gd name="T32" fmla="*/ 538 w 1482"/>
                <a:gd name="T33" fmla="*/ 150 h 1244"/>
                <a:gd name="T34" fmla="*/ 573 w 1482"/>
                <a:gd name="T35" fmla="*/ 106 h 1244"/>
                <a:gd name="T36" fmla="*/ 617 w 1482"/>
                <a:gd name="T37" fmla="*/ 62 h 1244"/>
                <a:gd name="T38" fmla="*/ 662 w 1482"/>
                <a:gd name="T39" fmla="*/ 35 h 1244"/>
                <a:gd name="T40" fmla="*/ 714 w 1482"/>
                <a:gd name="T41" fmla="*/ 9 h 1244"/>
                <a:gd name="T42" fmla="*/ 714 w 1482"/>
                <a:gd name="T43" fmla="*/ 9 h 1244"/>
                <a:gd name="T44" fmla="*/ 750 w 1482"/>
                <a:gd name="T45" fmla="*/ 0 h 1244"/>
                <a:gd name="T46" fmla="*/ 785 w 1482"/>
                <a:gd name="T47" fmla="*/ 0 h 1244"/>
                <a:gd name="T48" fmla="*/ 811 w 1482"/>
                <a:gd name="T49" fmla="*/ 0 h 1244"/>
                <a:gd name="T50" fmla="*/ 846 w 1482"/>
                <a:gd name="T51" fmla="*/ 18 h 1244"/>
                <a:gd name="T52" fmla="*/ 899 w 1482"/>
                <a:gd name="T53" fmla="*/ 53 h 1244"/>
                <a:gd name="T54" fmla="*/ 934 w 1482"/>
                <a:gd name="T55" fmla="*/ 115 h 1244"/>
                <a:gd name="T56" fmla="*/ 934 w 1482"/>
                <a:gd name="T57" fmla="*/ 115 h 1244"/>
                <a:gd name="T58" fmla="*/ 1208 w 1482"/>
                <a:gd name="T59" fmla="*/ 590 h 1244"/>
                <a:gd name="T60" fmla="*/ 1472 w 1482"/>
                <a:gd name="T61" fmla="*/ 1076 h 1244"/>
                <a:gd name="T62" fmla="*/ 1472 w 1482"/>
                <a:gd name="T63" fmla="*/ 1076 h 1244"/>
                <a:gd name="T64" fmla="*/ 1481 w 1482"/>
                <a:gd name="T65" fmla="*/ 1137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2" h="1244">
                  <a:moveTo>
                    <a:pt x="1481" y="1137"/>
                  </a:moveTo>
                  <a:lnTo>
                    <a:pt x="1481" y="1137"/>
                  </a:lnTo>
                  <a:lnTo>
                    <a:pt x="1296" y="1181"/>
                  </a:lnTo>
                  <a:lnTo>
                    <a:pt x="1111" y="1217"/>
                  </a:lnTo>
                  <a:lnTo>
                    <a:pt x="925" y="1234"/>
                  </a:lnTo>
                  <a:lnTo>
                    <a:pt x="741" y="1243"/>
                  </a:lnTo>
                  <a:lnTo>
                    <a:pt x="556" y="1234"/>
                  </a:lnTo>
                  <a:lnTo>
                    <a:pt x="370" y="1217"/>
                  </a:lnTo>
                  <a:lnTo>
                    <a:pt x="185" y="1173"/>
                  </a:lnTo>
                  <a:lnTo>
                    <a:pt x="0" y="1120"/>
                  </a:lnTo>
                  <a:lnTo>
                    <a:pt x="0" y="1120"/>
                  </a:lnTo>
                  <a:lnTo>
                    <a:pt x="264" y="643"/>
                  </a:lnTo>
                  <a:lnTo>
                    <a:pt x="264" y="643"/>
                  </a:lnTo>
                  <a:lnTo>
                    <a:pt x="397" y="397"/>
                  </a:lnTo>
                  <a:lnTo>
                    <a:pt x="467" y="273"/>
                  </a:lnTo>
                  <a:lnTo>
                    <a:pt x="538" y="150"/>
                  </a:lnTo>
                  <a:lnTo>
                    <a:pt x="538" y="150"/>
                  </a:lnTo>
                  <a:lnTo>
                    <a:pt x="573" y="106"/>
                  </a:lnTo>
                  <a:lnTo>
                    <a:pt x="617" y="62"/>
                  </a:lnTo>
                  <a:lnTo>
                    <a:pt x="662" y="35"/>
                  </a:lnTo>
                  <a:lnTo>
                    <a:pt x="714" y="9"/>
                  </a:lnTo>
                  <a:lnTo>
                    <a:pt x="714" y="9"/>
                  </a:lnTo>
                  <a:lnTo>
                    <a:pt x="750" y="0"/>
                  </a:lnTo>
                  <a:lnTo>
                    <a:pt x="785" y="0"/>
                  </a:lnTo>
                  <a:lnTo>
                    <a:pt x="811" y="0"/>
                  </a:lnTo>
                  <a:lnTo>
                    <a:pt x="846" y="18"/>
                  </a:lnTo>
                  <a:lnTo>
                    <a:pt x="899" y="53"/>
                  </a:lnTo>
                  <a:lnTo>
                    <a:pt x="934" y="115"/>
                  </a:lnTo>
                  <a:lnTo>
                    <a:pt x="934" y="115"/>
                  </a:lnTo>
                  <a:lnTo>
                    <a:pt x="1208" y="590"/>
                  </a:lnTo>
                  <a:lnTo>
                    <a:pt x="1472" y="1076"/>
                  </a:lnTo>
                  <a:lnTo>
                    <a:pt x="1472" y="1076"/>
                  </a:lnTo>
                  <a:lnTo>
                    <a:pt x="1481" y="11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8" name="Freeform 18">
              <a:extLst>
                <a:ext uri="{FF2B5EF4-FFF2-40B4-BE49-F238E27FC236}">
                  <a16:creationId xmlns:a16="http://schemas.microsoft.com/office/drawing/2014/main" id="{3F5953A2-A535-475D-8AB5-7A7E58D770D4}"/>
                </a:ext>
              </a:extLst>
            </p:cNvPr>
            <p:cNvSpPr>
              <a:spLocks noChangeArrowheads="1"/>
            </p:cNvSpPr>
            <p:nvPr/>
          </p:nvSpPr>
          <p:spPr bwMode="auto">
            <a:xfrm>
              <a:off x="5168900" y="2479675"/>
              <a:ext cx="488950" cy="485775"/>
            </a:xfrm>
            <a:custGeom>
              <a:avLst/>
              <a:gdLst>
                <a:gd name="T0" fmla="*/ 0 w 1360"/>
                <a:gd name="T1" fmla="*/ 0 h 1351"/>
                <a:gd name="T2" fmla="*/ 0 w 1360"/>
                <a:gd name="T3" fmla="*/ 0 h 1351"/>
                <a:gd name="T4" fmla="*/ 194 w 1360"/>
                <a:gd name="T5" fmla="*/ 26 h 1351"/>
                <a:gd name="T6" fmla="*/ 379 w 1360"/>
                <a:gd name="T7" fmla="*/ 70 h 1351"/>
                <a:gd name="T8" fmla="*/ 565 w 1360"/>
                <a:gd name="T9" fmla="*/ 132 h 1351"/>
                <a:gd name="T10" fmla="*/ 732 w 1360"/>
                <a:gd name="T11" fmla="*/ 212 h 1351"/>
                <a:gd name="T12" fmla="*/ 900 w 1360"/>
                <a:gd name="T13" fmla="*/ 300 h 1351"/>
                <a:gd name="T14" fmla="*/ 1059 w 1360"/>
                <a:gd name="T15" fmla="*/ 397 h 1351"/>
                <a:gd name="T16" fmla="*/ 1209 w 1360"/>
                <a:gd name="T17" fmla="*/ 520 h 1351"/>
                <a:gd name="T18" fmla="*/ 1359 w 1360"/>
                <a:gd name="T19" fmla="*/ 644 h 1351"/>
                <a:gd name="T20" fmla="*/ 1359 w 1360"/>
                <a:gd name="T21" fmla="*/ 644 h 1351"/>
                <a:gd name="T22" fmla="*/ 962 w 1360"/>
                <a:gd name="T23" fmla="*/ 926 h 1351"/>
                <a:gd name="T24" fmla="*/ 962 w 1360"/>
                <a:gd name="T25" fmla="*/ 926 h 1351"/>
                <a:gd name="T26" fmla="*/ 679 w 1360"/>
                <a:gd name="T27" fmla="*/ 1129 h 1351"/>
                <a:gd name="T28" fmla="*/ 388 w 1360"/>
                <a:gd name="T29" fmla="*/ 1332 h 1351"/>
                <a:gd name="T30" fmla="*/ 388 w 1360"/>
                <a:gd name="T31" fmla="*/ 1332 h 1351"/>
                <a:gd name="T32" fmla="*/ 344 w 1360"/>
                <a:gd name="T33" fmla="*/ 1350 h 1351"/>
                <a:gd name="T34" fmla="*/ 291 w 1360"/>
                <a:gd name="T35" fmla="*/ 1350 h 1351"/>
                <a:gd name="T36" fmla="*/ 247 w 1360"/>
                <a:gd name="T37" fmla="*/ 1350 h 1351"/>
                <a:gd name="T38" fmla="*/ 203 w 1360"/>
                <a:gd name="T39" fmla="*/ 1332 h 1351"/>
                <a:gd name="T40" fmla="*/ 203 w 1360"/>
                <a:gd name="T41" fmla="*/ 1332 h 1351"/>
                <a:gd name="T42" fmla="*/ 159 w 1360"/>
                <a:gd name="T43" fmla="*/ 1306 h 1351"/>
                <a:gd name="T44" fmla="*/ 124 w 1360"/>
                <a:gd name="T45" fmla="*/ 1262 h 1351"/>
                <a:gd name="T46" fmla="*/ 97 w 1360"/>
                <a:gd name="T47" fmla="*/ 1218 h 1351"/>
                <a:gd name="T48" fmla="*/ 79 w 1360"/>
                <a:gd name="T49" fmla="*/ 1165 h 1351"/>
                <a:gd name="T50" fmla="*/ 79 w 1360"/>
                <a:gd name="T51" fmla="*/ 1165 h 1351"/>
                <a:gd name="T52" fmla="*/ 53 w 1360"/>
                <a:gd name="T53" fmla="*/ 679 h 1351"/>
                <a:gd name="T54" fmla="*/ 27 w 1360"/>
                <a:gd name="T55" fmla="*/ 203 h 1351"/>
                <a:gd name="T56" fmla="*/ 27 w 1360"/>
                <a:gd name="T57" fmla="*/ 203 h 1351"/>
                <a:gd name="T58" fmla="*/ 18 w 1360"/>
                <a:gd name="T59" fmla="*/ 106 h 1351"/>
                <a:gd name="T60" fmla="*/ 0 w 1360"/>
                <a:gd name="T61" fmla="*/ 0 h 1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0" h="1351">
                  <a:moveTo>
                    <a:pt x="0" y="0"/>
                  </a:moveTo>
                  <a:lnTo>
                    <a:pt x="0" y="0"/>
                  </a:lnTo>
                  <a:lnTo>
                    <a:pt x="194" y="26"/>
                  </a:lnTo>
                  <a:lnTo>
                    <a:pt x="379" y="70"/>
                  </a:lnTo>
                  <a:lnTo>
                    <a:pt x="565" y="132"/>
                  </a:lnTo>
                  <a:lnTo>
                    <a:pt x="732" y="212"/>
                  </a:lnTo>
                  <a:lnTo>
                    <a:pt x="900" y="300"/>
                  </a:lnTo>
                  <a:lnTo>
                    <a:pt x="1059" y="397"/>
                  </a:lnTo>
                  <a:lnTo>
                    <a:pt x="1209" y="520"/>
                  </a:lnTo>
                  <a:lnTo>
                    <a:pt x="1359" y="644"/>
                  </a:lnTo>
                  <a:lnTo>
                    <a:pt x="1359" y="644"/>
                  </a:lnTo>
                  <a:lnTo>
                    <a:pt x="962" y="926"/>
                  </a:lnTo>
                  <a:lnTo>
                    <a:pt x="962" y="926"/>
                  </a:lnTo>
                  <a:lnTo>
                    <a:pt x="679" y="1129"/>
                  </a:lnTo>
                  <a:lnTo>
                    <a:pt x="388" y="1332"/>
                  </a:lnTo>
                  <a:lnTo>
                    <a:pt x="388" y="1332"/>
                  </a:lnTo>
                  <a:lnTo>
                    <a:pt x="344" y="1350"/>
                  </a:lnTo>
                  <a:lnTo>
                    <a:pt x="291" y="1350"/>
                  </a:lnTo>
                  <a:lnTo>
                    <a:pt x="247" y="1350"/>
                  </a:lnTo>
                  <a:lnTo>
                    <a:pt x="203" y="1332"/>
                  </a:lnTo>
                  <a:lnTo>
                    <a:pt x="203" y="1332"/>
                  </a:lnTo>
                  <a:lnTo>
                    <a:pt x="159" y="1306"/>
                  </a:lnTo>
                  <a:lnTo>
                    <a:pt x="124" y="1262"/>
                  </a:lnTo>
                  <a:lnTo>
                    <a:pt x="97" y="1218"/>
                  </a:lnTo>
                  <a:lnTo>
                    <a:pt x="79" y="1165"/>
                  </a:lnTo>
                  <a:lnTo>
                    <a:pt x="79" y="1165"/>
                  </a:lnTo>
                  <a:lnTo>
                    <a:pt x="53" y="679"/>
                  </a:lnTo>
                  <a:lnTo>
                    <a:pt x="27" y="203"/>
                  </a:lnTo>
                  <a:lnTo>
                    <a:pt x="27" y="203"/>
                  </a:lnTo>
                  <a:lnTo>
                    <a:pt x="18" y="106"/>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59" name="Freeform 19">
              <a:extLst>
                <a:ext uri="{FF2B5EF4-FFF2-40B4-BE49-F238E27FC236}">
                  <a16:creationId xmlns:a16="http://schemas.microsoft.com/office/drawing/2014/main" id="{5F74C24A-9D1B-42EB-A059-7023D575078C}"/>
                </a:ext>
              </a:extLst>
            </p:cNvPr>
            <p:cNvSpPr>
              <a:spLocks noChangeArrowheads="1"/>
            </p:cNvSpPr>
            <p:nvPr/>
          </p:nvSpPr>
          <p:spPr bwMode="auto">
            <a:xfrm>
              <a:off x="4937125" y="3149600"/>
              <a:ext cx="292100" cy="285750"/>
            </a:xfrm>
            <a:custGeom>
              <a:avLst/>
              <a:gdLst>
                <a:gd name="T0" fmla="*/ 397 w 812"/>
                <a:gd name="T1" fmla="*/ 0 h 795"/>
                <a:gd name="T2" fmla="*/ 397 w 812"/>
                <a:gd name="T3" fmla="*/ 0 h 795"/>
                <a:gd name="T4" fmla="*/ 520 w 812"/>
                <a:gd name="T5" fmla="*/ 9 h 795"/>
                <a:gd name="T6" fmla="*/ 572 w 812"/>
                <a:gd name="T7" fmla="*/ 18 h 795"/>
                <a:gd name="T8" fmla="*/ 590 w 812"/>
                <a:gd name="T9" fmla="*/ 35 h 795"/>
                <a:gd name="T10" fmla="*/ 608 w 812"/>
                <a:gd name="T11" fmla="*/ 44 h 795"/>
                <a:gd name="T12" fmla="*/ 608 w 812"/>
                <a:gd name="T13" fmla="*/ 44 h 795"/>
                <a:gd name="T14" fmla="*/ 670 w 812"/>
                <a:gd name="T15" fmla="*/ 106 h 795"/>
                <a:gd name="T16" fmla="*/ 731 w 812"/>
                <a:gd name="T17" fmla="*/ 176 h 795"/>
                <a:gd name="T18" fmla="*/ 775 w 812"/>
                <a:gd name="T19" fmla="*/ 247 h 795"/>
                <a:gd name="T20" fmla="*/ 793 w 812"/>
                <a:gd name="T21" fmla="*/ 291 h 795"/>
                <a:gd name="T22" fmla="*/ 802 w 812"/>
                <a:gd name="T23" fmla="*/ 326 h 795"/>
                <a:gd name="T24" fmla="*/ 802 w 812"/>
                <a:gd name="T25" fmla="*/ 326 h 795"/>
                <a:gd name="T26" fmla="*/ 811 w 812"/>
                <a:gd name="T27" fmla="*/ 371 h 795"/>
                <a:gd name="T28" fmla="*/ 811 w 812"/>
                <a:gd name="T29" fmla="*/ 415 h 795"/>
                <a:gd name="T30" fmla="*/ 793 w 812"/>
                <a:gd name="T31" fmla="*/ 503 h 795"/>
                <a:gd name="T32" fmla="*/ 758 w 812"/>
                <a:gd name="T33" fmla="*/ 582 h 795"/>
                <a:gd name="T34" fmla="*/ 714 w 812"/>
                <a:gd name="T35" fmla="*/ 653 h 795"/>
                <a:gd name="T36" fmla="*/ 714 w 812"/>
                <a:gd name="T37" fmla="*/ 653 h 795"/>
                <a:gd name="T38" fmla="*/ 652 w 812"/>
                <a:gd name="T39" fmla="*/ 715 h 795"/>
                <a:gd name="T40" fmla="*/ 572 w 812"/>
                <a:gd name="T41" fmla="*/ 759 h 795"/>
                <a:gd name="T42" fmla="*/ 493 w 812"/>
                <a:gd name="T43" fmla="*/ 785 h 795"/>
                <a:gd name="T44" fmla="*/ 406 w 812"/>
                <a:gd name="T45" fmla="*/ 794 h 795"/>
                <a:gd name="T46" fmla="*/ 406 w 812"/>
                <a:gd name="T47" fmla="*/ 794 h 795"/>
                <a:gd name="T48" fmla="*/ 318 w 812"/>
                <a:gd name="T49" fmla="*/ 785 h 795"/>
                <a:gd name="T50" fmla="*/ 238 w 812"/>
                <a:gd name="T51" fmla="*/ 759 h 795"/>
                <a:gd name="T52" fmla="*/ 159 w 812"/>
                <a:gd name="T53" fmla="*/ 715 h 795"/>
                <a:gd name="T54" fmla="*/ 88 w 812"/>
                <a:gd name="T55" fmla="*/ 653 h 795"/>
                <a:gd name="T56" fmla="*/ 88 w 812"/>
                <a:gd name="T57" fmla="*/ 653 h 795"/>
                <a:gd name="T58" fmla="*/ 70 w 812"/>
                <a:gd name="T59" fmla="*/ 626 h 795"/>
                <a:gd name="T60" fmla="*/ 44 w 812"/>
                <a:gd name="T61" fmla="*/ 591 h 795"/>
                <a:gd name="T62" fmla="*/ 18 w 812"/>
                <a:gd name="T63" fmla="*/ 503 h 795"/>
                <a:gd name="T64" fmla="*/ 0 w 812"/>
                <a:gd name="T65" fmla="*/ 415 h 795"/>
                <a:gd name="T66" fmla="*/ 9 w 812"/>
                <a:gd name="T67" fmla="*/ 335 h 795"/>
                <a:gd name="T68" fmla="*/ 9 w 812"/>
                <a:gd name="T69" fmla="*/ 335 h 795"/>
                <a:gd name="T70" fmla="*/ 18 w 812"/>
                <a:gd name="T71" fmla="*/ 300 h 795"/>
                <a:gd name="T72" fmla="*/ 35 w 812"/>
                <a:gd name="T73" fmla="*/ 256 h 795"/>
                <a:gd name="T74" fmla="*/ 79 w 812"/>
                <a:gd name="T75" fmla="*/ 185 h 795"/>
                <a:gd name="T76" fmla="*/ 132 w 812"/>
                <a:gd name="T77" fmla="*/ 115 h 795"/>
                <a:gd name="T78" fmla="*/ 194 w 812"/>
                <a:gd name="T79" fmla="*/ 53 h 795"/>
                <a:gd name="T80" fmla="*/ 194 w 812"/>
                <a:gd name="T81" fmla="*/ 53 h 795"/>
                <a:gd name="T82" fmla="*/ 212 w 812"/>
                <a:gd name="T83" fmla="*/ 35 h 795"/>
                <a:gd name="T84" fmla="*/ 238 w 812"/>
                <a:gd name="T85" fmla="*/ 26 h 795"/>
                <a:gd name="T86" fmla="*/ 291 w 812"/>
                <a:gd name="T87" fmla="*/ 9 h 795"/>
                <a:gd name="T88" fmla="*/ 397 w 812"/>
                <a:gd name="T89" fmla="*/ 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2" h="795">
                  <a:moveTo>
                    <a:pt x="397" y="0"/>
                  </a:moveTo>
                  <a:lnTo>
                    <a:pt x="397" y="0"/>
                  </a:lnTo>
                  <a:lnTo>
                    <a:pt x="520" y="9"/>
                  </a:lnTo>
                  <a:lnTo>
                    <a:pt x="572" y="18"/>
                  </a:lnTo>
                  <a:lnTo>
                    <a:pt x="590" y="35"/>
                  </a:lnTo>
                  <a:lnTo>
                    <a:pt x="608" y="44"/>
                  </a:lnTo>
                  <a:lnTo>
                    <a:pt x="608" y="44"/>
                  </a:lnTo>
                  <a:lnTo>
                    <a:pt x="670" y="106"/>
                  </a:lnTo>
                  <a:lnTo>
                    <a:pt x="731" y="176"/>
                  </a:lnTo>
                  <a:lnTo>
                    <a:pt x="775" y="247"/>
                  </a:lnTo>
                  <a:lnTo>
                    <a:pt x="793" y="291"/>
                  </a:lnTo>
                  <a:lnTo>
                    <a:pt x="802" y="326"/>
                  </a:lnTo>
                  <a:lnTo>
                    <a:pt x="802" y="326"/>
                  </a:lnTo>
                  <a:lnTo>
                    <a:pt x="811" y="371"/>
                  </a:lnTo>
                  <a:lnTo>
                    <a:pt x="811" y="415"/>
                  </a:lnTo>
                  <a:lnTo>
                    <a:pt x="793" y="503"/>
                  </a:lnTo>
                  <a:lnTo>
                    <a:pt x="758" y="582"/>
                  </a:lnTo>
                  <a:lnTo>
                    <a:pt x="714" y="653"/>
                  </a:lnTo>
                  <a:lnTo>
                    <a:pt x="714" y="653"/>
                  </a:lnTo>
                  <a:lnTo>
                    <a:pt x="652" y="715"/>
                  </a:lnTo>
                  <a:lnTo>
                    <a:pt x="572" y="759"/>
                  </a:lnTo>
                  <a:lnTo>
                    <a:pt x="493" y="785"/>
                  </a:lnTo>
                  <a:lnTo>
                    <a:pt x="406" y="794"/>
                  </a:lnTo>
                  <a:lnTo>
                    <a:pt x="406" y="794"/>
                  </a:lnTo>
                  <a:lnTo>
                    <a:pt x="318" y="785"/>
                  </a:lnTo>
                  <a:lnTo>
                    <a:pt x="238" y="759"/>
                  </a:lnTo>
                  <a:lnTo>
                    <a:pt x="159" y="715"/>
                  </a:lnTo>
                  <a:lnTo>
                    <a:pt x="88" y="653"/>
                  </a:lnTo>
                  <a:lnTo>
                    <a:pt x="88" y="653"/>
                  </a:lnTo>
                  <a:lnTo>
                    <a:pt x="70" y="626"/>
                  </a:lnTo>
                  <a:lnTo>
                    <a:pt x="44" y="591"/>
                  </a:lnTo>
                  <a:lnTo>
                    <a:pt x="18" y="503"/>
                  </a:lnTo>
                  <a:lnTo>
                    <a:pt x="0" y="415"/>
                  </a:lnTo>
                  <a:lnTo>
                    <a:pt x="9" y="335"/>
                  </a:lnTo>
                  <a:lnTo>
                    <a:pt x="9" y="335"/>
                  </a:lnTo>
                  <a:lnTo>
                    <a:pt x="18" y="300"/>
                  </a:lnTo>
                  <a:lnTo>
                    <a:pt x="35" y="256"/>
                  </a:lnTo>
                  <a:lnTo>
                    <a:pt x="79" y="185"/>
                  </a:lnTo>
                  <a:lnTo>
                    <a:pt x="132" y="115"/>
                  </a:lnTo>
                  <a:lnTo>
                    <a:pt x="194" y="53"/>
                  </a:lnTo>
                  <a:lnTo>
                    <a:pt x="194" y="53"/>
                  </a:lnTo>
                  <a:lnTo>
                    <a:pt x="212" y="35"/>
                  </a:lnTo>
                  <a:lnTo>
                    <a:pt x="238" y="26"/>
                  </a:lnTo>
                  <a:lnTo>
                    <a:pt x="291" y="9"/>
                  </a:lnTo>
                  <a:lnTo>
                    <a:pt x="39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grpSp>
      <p:sp>
        <p:nvSpPr>
          <p:cNvPr id="24" name="TextBox 23">
            <a:extLst>
              <a:ext uri="{FF2B5EF4-FFF2-40B4-BE49-F238E27FC236}">
                <a16:creationId xmlns:a16="http://schemas.microsoft.com/office/drawing/2014/main" id="{40F4B841-5BC3-4D37-966B-0B26AB1ECC73}"/>
              </a:ext>
            </a:extLst>
          </p:cNvPr>
          <p:cNvSpPr txBox="1"/>
          <p:nvPr/>
        </p:nvSpPr>
        <p:spPr>
          <a:xfrm>
            <a:off x="9453312" y="3689367"/>
            <a:ext cx="2090504" cy="973327"/>
          </a:xfrm>
          <a:prstGeom prst="rect">
            <a:avLst/>
          </a:prstGeom>
          <a:noFill/>
        </p:spPr>
        <p:txBody>
          <a:bodyPr wrap="none" lIns="274164" tIns="146220" rIns="274164" bIns="146220"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1850">
              <a:defRPr/>
            </a:pPr>
            <a:r>
              <a:rPr lang="en-US" sz="2400">
                <a:gradFill>
                  <a:gsLst>
                    <a:gs pos="0">
                      <a:srgbClr val="0078D7"/>
                    </a:gs>
                    <a:gs pos="100000">
                      <a:srgbClr val="0078D7"/>
                    </a:gs>
                  </a:gsLst>
                  <a:lin ang="16200000" scaled="0"/>
                </a:gradFill>
                <a:latin typeface="Segoe UI Light"/>
              </a:rPr>
              <a:t>Logic apps</a:t>
            </a:r>
            <a:br>
              <a:rPr lang="en-US" sz="2400">
                <a:gradFill>
                  <a:gsLst>
                    <a:gs pos="0">
                      <a:srgbClr val="0078D7"/>
                    </a:gs>
                    <a:gs pos="100000">
                      <a:srgbClr val="0078D7"/>
                    </a:gs>
                  </a:gsLst>
                  <a:lin ang="16200000" scaled="0"/>
                </a:gradFill>
                <a:latin typeface="Segoe UI Light"/>
              </a:rPr>
            </a:br>
            <a:r>
              <a:rPr lang="en-US" sz="2400">
                <a:gradFill>
                  <a:gsLst>
                    <a:gs pos="0">
                      <a:srgbClr val="0078D7"/>
                    </a:gs>
                    <a:gs pos="100000">
                      <a:srgbClr val="0078D7"/>
                    </a:gs>
                  </a:gsLst>
                  <a:lin ang="16200000" scaled="0"/>
                </a:gradFill>
                <a:latin typeface="Segoe UI Light"/>
              </a:rPr>
              <a:t>+ Functions</a:t>
            </a:r>
          </a:p>
        </p:txBody>
      </p:sp>
      <p:sp>
        <p:nvSpPr>
          <p:cNvPr id="25" name="TextBox 24">
            <a:extLst>
              <a:ext uri="{FF2B5EF4-FFF2-40B4-BE49-F238E27FC236}">
                <a16:creationId xmlns:a16="http://schemas.microsoft.com/office/drawing/2014/main" id="{DEF149E4-0E30-48D6-A92B-3CD3409A57FA}"/>
              </a:ext>
            </a:extLst>
          </p:cNvPr>
          <p:cNvSpPr txBox="1"/>
          <p:nvPr/>
        </p:nvSpPr>
        <p:spPr>
          <a:xfrm>
            <a:off x="9215842" y="4635404"/>
            <a:ext cx="2565444" cy="583545"/>
          </a:xfrm>
          <a:prstGeom prst="rect">
            <a:avLst/>
          </a:prstGeom>
          <a:noFill/>
        </p:spPr>
        <p:txBody>
          <a:bodyPr wrap="square" lIns="93234" tIns="93234" rIns="93234" bIns="93234" rtlCol="0" anchor="t" anchorCtr="0">
            <a:spAutoFit/>
          </a:bodyPr>
          <a:lstStyle/>
          <a:p>
            <a:pPr algn="ctr" defTabSz="931850">
              <a:lnSpc>
                <a:spcPct val="90000"/>
              </a:lnSpc>
              <a:defRPr/>
            </a:pP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Event–driven,</a:t>
            </a:r>
            <a:b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b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serverless computing </a:t>
            </a:r>
          </a:p>
        </p:txBody>
      </p:sp>
      <p:grpSp>
        <p:nvGrpSpPr>
          <p:cNvPr id="60" name="Group 59">
            <a:extLst>
              <a:ext uri="{FF2B5EF4-FFF2-40B4-BE49-F238E27FC236}">
                <a16:creationId xmlns:a16="http://schemas.microsoft.com/office/drawing/2014/main" id="{21919FBB-500F-4D76-BC10-C05A225A5098}"/>
              </a:ext>
            </a:extLst>
          </p:cNvPr>
          <p:cNvGrpSpPr/>
          <p:nvPr/>
        </p:nvGrpSpPr>
        <p:grpSpPr>
          <a:xfrm>
            <a:off x="9574413" y="2604163"/>
            <a:ext cx="1848305" cy="739359"/>
            <a:chOff x="6534640" y="2251201"/>
            <a:chExt cx="1812485" cy="725031"/>
          </a:xfrm>
        </p:grpSpPr>
        <p:grpSp>
          <p:nvGrpSpPr>
            <p:cNvPr id="61" name="Group 60">
              <a:extLst>
                <a:ext uri="{FF2B5EF4-FFF2-40B4-BE49-F238E27FC236}">
                  <a16:creationId xmlns:a16="http://schemas.microsoft.com/office/drawing/2014/main" id="{725092E1-01F7-4FEF-B850-2A3FC69A1FB3}"/>
                </a:ext>
              </a:extLst>
            </p:cNvPr>
            <p:cNvGrpSpPr/>
            <p:nvPr/>
          </p:nvGrpSpPr>
          <p:grpSpPr>
            <a:xfrm>
              <a:off x="6534640" y="2251201"/>
              <a:ext cx="881620" cy="693398"/>
              <a:chOff x="6529388" y="2047876"/>
              <a:chExt cx="1435100" cy="1128712"/>
            </a:xfrm>
            <a:solidFill>
              <a:srgbClr val="001F54"/>
            </a:solidFill>
          </p:grpSpPr>
          <p:sp>
            <p:nvSpPr>
              <p:cNvPr id="66" name="Freeform 33">
                <a:extLst>
                  <a:ext uri="{FF2B5EF4-FFF2-40B4-BE49-F238E27FC236}">
                    <a16:creationId xmlns:a16="http://schemas.microsoft.com/office/drawing/2014/main" id="{E3ECB61E-71D0-46D7-8CA9-AE8DAF4A5484}"/>
                  </a:ext>
                </a:extLst>
              </p:cNvPr>
              <p:cNvSpPr>
                <a:spLocks/>
              </p:cNvSpPr>
              <p:nvPr/>
            </p:nvSpPr>
            <p:spPr bwMode="auto">
              <a:xfrm>
                <a:off x="7742238" y="2052638"/>
                <a:ext cx="222250" cy="1123950"/>
              </a:xfrm>
              <a:custGeom>
                <a:avLst/>
                <a:gdLst>
                  <a:gd name="T0" fmla="*/ 0 w 52"/>
                  <a:gd name="T1" fmla="*/ 263 h 263"/>
                  <a:gd name="T2" fmla="*/ 0 w 52"/>
                  <a:gd name="T3" fmla="*/ 246 h 263"/>
                  <a:gd name="T4" fmla="*/ 9 w 52"/>
                  <a:gd name="T5" fmla="*/ 246 h 263"/>
                  <a:gd name="T6" fmla="*/ 15 w 52"/>
                  <a:gd name="T7" fmla="*/ 243 h 263"/>
                  <a:gd name="T8" fmla="*/ 18 w 52"/>
                  <a:gd name="T9" fmla="*/ 237 h 263"/>
                  <a:gd name="T10" fmla="*/ 18 w 52"/>
                  <a:gd name="T11" fmla="*/ 148 h 263"/>
                  <a:gd name="T12" fmla="*/ 24 w 52"/>
                  <a:gd name="T13" fmla="*/ 132 h 263"/>
                  <a:gd name="T14" fmla="*/ 25 w 52"/>
                  <a:gd name="T15" fmla="*/ 131 h 263"/>
                  <a:gd name="T16" fmla="*/ 24 w 52"/>
                  <a:gd name="T17" fmla="*/ 130 h 263"/>
                  <a:gd name="T18" fmla="*/ 18 w 52"/>
                  <a:gd name="T19" fmla="*/ 114 h 263"/>
                  <a:gd name="T20" fmla="*/ 18 w 52"/>
                  <a:gd name="T21" fmla="*/ 25 h 263"/>
                  <a:gd name="T22" fmla="*/ 15 w 52"/>
                  <a:gd name="T23" fmla="*/ 19 h 263"/>
                  <a:gd name="T24" fmla="*/ 13 w 52"/>
                  <a:gd name="T25" fmla="*/ 17 h 263"/>
                  <a:gd name="T26" fmla="*/ 9 w 52"/>
                  <a:gd name="T27" fmla="*/ 16 h 263"/>
                  <a:gd name="T28" fmla="*/ 0 w 52"/>
                  <a:gd name="T29" fmla="*/ 16 h 263"/>
                  <a:gd name="T30" fmla="*/ 0 w 52"/>
                  <a:gd name="T31" fmla="*/ 0 h 263"/>
                  <a:gd name="T32" fmla="*/ 9 w 52"/>
                  <a:gd name="T33" fmla="*/ 0 h 263"/>
                  <a:gd name="T34" fmla="*/ 19 w 52"/>
                  <a:gd name="T35" fmla="*/ 2 h 263"/>
                  <a:gd name="T36" fmla="*/ 27 w 52"/>
                  <a:gd name="T37" fmla="*/ 7 h 263"/>
                  <a:gd name="T38" fmla="*/ 35 w 52"/>
                  <a:gd name="T39" fmla="*/ 25 h 263"/>
                  <a:gd name="T40" fmla="*/ 35 w 52"/>
                  <a:gd name="T41" fmla="*/ 114 h 263"/>
                  <a:gd name="T42" fmla="*/ 37 w 52"/>
                  <a:gd name="T43" fmla="*/ 120 h 263"/>
                  <a:gd name="T44" fmla="*/ 43 w 52"/>
                  <a:gd name="T45" fmla="*/ 123 h 263"/>
                  <a:gd name="T46" fmla="*/ 52 w 52"/>
                  <a:gd name="T47" fmla="*/ 123 h 263"/>
                  <a:gd name="T48" fmla="*/ 52 w 52"/>
                  <a:gd name="T49" fmla="*/ 139 h 263"/>
                  <a:gd name="T50" fmla="*/ 43 w 52"/>
                  <a:gd name="T51" fmla="*/ 139 h 263"/>
                  <a:gd name="T52" fmla="*/ 37 w 52"/>
                  <a:gd name="T53" fmla="*/ 142 h 263"/>
                  <a:gd name="T54" fmla="*/ 35 w 52"/>
                  <a:gd name="T55" fmla="*/ 148 h 263"/>
                  <a:gd name="T56" fmla="*/ 35 w 52"/>
                  <a:gd name="T57" fmla="*/ 237 h 263"/>
                  <a:gd name="T58" fmla="*/ 27 w 52"/>
                  <a:gd name="T59" fmla="*/ 255 h 263"/>
                  <a:gd name="T60" fmla="*/ 9 w 52"/>
                  <a:gd name="T61" fmla="*/ 263 h 263"/>
                  <a:gd name="T62" fmla="*/ 0 w 52"/>
                  <a:gd name="T6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63">
                    <a:moveTo>
                      <a:pt x="0" y="263"/>
                    </a:moveTo>
                    <a:cubicBezTo>
                      <a:pt x="0" y="246"/>
                      <a:pt x="0" y="246"/>
                      <a:pt x="0" y="246"/>
                    </a:cubicBezTo>
                    <a:cubicBezTo>
                      <a:pt x="9" y="246"/>
                      <a:pt x="9" y="246"/>
                      <a:pt x="9" y="246"/>
                    </a:cubicBezTo>
                    <a:cubicBezTo>
                      <a:pt x="12" y="246"/>
                      <a:pt x="14" y="245"/>
                      <a:pt x="15" y="243"/>
                    </a:cubicBezTo>
                    <a:cubicBezTo>
                      <a:pt x="17" y="242"/>
                      <a:pt x="18" y="240"/>
                      <a:pt x="18" y="237"/>
                    </a:cubicBezTo>
                    <a:cubicBezTo>
                      <a:pt x="18" y="148"/>
                      <a:pt x="18" y="148"/>
                      <a:pt x="18" y="148"/>
                    </a:cubicBezTo>
                    <a:cubicBezTo>
                      <a:pt x="18" y="143"/>
                      <a:pt x="20" y="137"/>
                      <a:pt x="24" y="132"/>
                    </a:cubicBezTo>
                    <a:cubicBezTo>
                      <a:pt x="25" y="131"/>
                      <a:pt x="25" y="131"/>
                      <a:pt x="25" y="131"/>
                    </a:cubicBezTo>
                    <a:cubicBezTo>
                      <a:pt x="24" y="130"/>
                      <a:pt x="24" y="130"/>
                      <a:pt x="24" y="130"/>
                    </a:cubicBezTo>
                    <a:cubicBezTo>
                      <a:pt x="20" y="125"/>
                      <a:pt x="18" y="120"/>
                      <a:pt x="18" y="114"/>
                    </a:cubicBezTo>
                    <a:cubicBezTo>
                      <a:pt x="18" y="25"/>
                      <a:pt x="18" y="25"/>
                      <a:pt x="18" y="25"/>
                    </a:cubicBezTo>
                    <a:cubicBezTo>
                      <a:pt x="18" y="23"/>
                      <a:pt x="17" y="21"/>
                      <a:pt x="15" y="19"/>
                    </a:cubicBezTo>
                    <a:cubicBezTo>
                      <a:pt x="15" y="18"/>
                      <a:pt x="14" y="18"/>
                      <a:pt x="13" y="17"/>
                    </a:cubicBezTo>
                    <a:cubicBezTo>
                      <a:pt x="12" y="17"/>
                      <a:pt x="11" y="16"/>
                      <a:pt x="9" y="16"/>
                    </a:cubicBezTo>
                    <a:cubicBezTo>
                      <a:pt x="0" y="16"/>
                      <a:pt x="0" y="16"/>
                      <a:pt x="0" y="16"/>
                    </a:cubicBezTo>
                    <a:cubicBezTo>
                      <a:pt x="0" y="0"/>
                      <a:pt x="0" y="0"/>
                      <a:pt x="0" y="0"/>
                    </a:cubicBezTo>
                    <a:cubicBezTo>
                      <a:pt x="9" y="0"/>
                      <a:pt x="9" y="0"/>
                      <a:pt x="9" y="0"/>
                    </a:cubicBezTo>
                    <a:cubicBezTo>
                      <a:pt x="12" y="0"/>
                      <a:pt x="16" y="0"/>
                      <a:pt x="19" y="2"/>
                    </a:cubicBezTo>
                    <a:cubicBezTo>
                      <a:pt x="22" y="3"/>
                      <a:pt x="25" y="5"/>
                      <a:pt x="27" y="7"/>
                    </a:cubicBezTo>
                    <a:cubicBezTo>
                      <a:pt x="32" y="12"/>
                      <a:pt x="35" y="18"/>
                      <a:pt x="35" y="25"/>
                    </a:cubicBezTo>
                    <a:cubicBezTo>
                      <a:pt x="35" y="114"/>
                      <a:pt x="35" y="114"/>
                      <a:pt x="35" y="114"/>
                    </a:cubicBezTo>
                    <a:cubicBezTo>
                      <a:pt x="35" y="117"/>
                      <a:pt x="36" y="119"/>
                      <a:pt x="37" y="120"/>
                    </a:cubicBezTo>
                    <a:cubicBezTo>
                      <a:pt x="39" y="122"/>
                      <a:pt x="41" y="123"/>
                      <a:pt x="43" y="123"/>
                    </a:cubicBezTo>
                    <a:cubicBezTo>
                      <a:pt x="52" y="123"/>
                      <a:pt x="52" y="123"/>
                      <a:pt x="52" y="123"/>
                    </a:cubicBezTo>
                    <a:cubicBezTo>
                      <a:pt x="52" y="139"/>
                      <a:pt x="52" y="139"/>
                      <a:pt x="52" y="139"/>
                    </a:cubicBezTo>
                    <a:cubicBezTo>
                      <a:pt x="43" y="139"/>
                      <a:pt x="43" y="139"/>
                      <a:pt x="43" y="139"/>
                    </a:cubicBezTo>
                    <a:cubicBezTo>
                      <a:pt x="41" y="139"/>
                      <a:pt x="39" y="140"/>
                      <a:pt x="37" y="142"/>
                    </a:cubicBezTo>
                    <a:cubicBezTo>
                      <a:pt x="36" y="144"/>
                      <a:pt x="35" y="146"/>
                      <a:pt x="35" y="148"/>
                    </a:cubicBezTo>
                    <a:cubicBezTo>
                      <a:pt x="35" y="237"/>
                      <a:pt x="35" y="237"/>
                      <a:pt x="35" y="237"/>
                    </a:cubicBezTo>
                    <a:cubicBezTo>
                      <a:pt x="35" y="244"/>
                      <a:pt x="32" y="250"/>
                      <a:pt x="27" y="255"/>
                    </a:cubicBezTo>
                    <a:cubicBezTo>
                      <a:pt x="23" y="260"/>
                      <a:pt x="16" y="263"/>
                      <a:pt x="9" y="263"/>
                    </a:cubicBezTo>
                    <a:lnTo>
                      <a:pt x="0"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67" name="Freeform 34">
                <a:extLst>
                  <a:ext uri="{FF2B5EF4-FFF2-40B4-BE49-F238E27FC236}">
                    <a16:creationId xmlns:a16="http://schemas.microsoft.com/office/drawing/2014/main" id="{C7F6B3C4-CB5B-4343-ACF8-8903B227EF56}"/>
                  </a:ext>
                </a:extLst>
              </p:cNvPr>
              <p:cNvSpPr>
                <a:spLocks noEditPoints="1"/>
              </p:cNvSpPr>
              <p:nvPr/>
            </p:nvSpPr>
            <p:spPr bwMode="auto">
              <a:xfrm>
                <a:off x="6840538" y="2143125"/>
                <a:ext cx="803275" cy="866775"/>
              </a:xfrm>
              <a:custGeom>
                <a:avLst/>
                <a:gdLst>
                  <a:gd name="T0" fmla="*/ 132 w 188"/>
                  <a:gd name="T1" fmla="*/ 201 h 203"/>
                  <a:gd name="T2" fmla="*/ 129 w 188"/>
                  <a:gd name="T3" fmla="*/ 153 h 203"/>
                  <a:gd name="T4" fmla="*/ 138 w 188"/>
                  <a:gd name="T5" fmla="*/ 144 h 203"/>
                  <a:gd name="T6" fmla="*/ 150 w 188"/>
                  <a:gd name="T7" fmla="*/ 125 h 203"/>
                  <a:gd name="T8" fmla="*/ 143 w 188"/>
                  <a:gd name="T9" fmla="*/ 116 h 203"/>
                  <a:gd name="T10" fmla="*/ 95 w 188"/>
                  <a:gd name="T11" fmla="*/ 103 h 203"/>
                  <a:gd name="T12" fmla="*/ 93 w 188"/>
                  <a:gd name="T13" fmla="*/ 103 h 203"/>
                  <a:gd name="T14" fmla="*/ 46 w 188"/>
                  <a:gd name="T15" fmla="*/ 116 h 203"/>
                  <a:gd name="T16" fmla="*/ 39 w 188"/>
                  <a:gd name="T17" fmla="*/ 125 h 203"/>
                  <a:gd name="T18" fmla="*/ 50 w 188"/>
                  <a:gd name="T19" fmla="*/ 144 h 203"/>
                  <a:gd name="T20" fmla="*/ 56 w 188"/>
                  <a:gd name="T21" fmla="*/ 146 h 203"/>
                  <a:gd name="T22" fmla="*/ 59 w 188"/>
                  <a:gd name="T23" fmla="*/ 194 h 203"/>
                  <a:gd name="T24" fmla="*/ 50 w 188"/>
                  <a:gd name="T25" fmla="*/ 203 h 203"/>
                  <a:gd name="T26" fmla="*/ 2 w 188"/>
                  <a:gd name="T27" fmla="*/ 201 h 203"/>
                  <a:gd name="T28" fmla="*/ 0 w 188"/>
                  <a:gd name="T29" fmla="*/ 153 h 203"/>
                  <a:gd name="T30" fmla="*/ 9 w 188"/>
                  <a:gd name="T31" fmla="*/ 144 h 203"/>
                  <a:gd name="T32" fmla="*/ 22 w 188"/>
                  <a:gd name="T33" fmla="*/ 125 h 203"/>
                  <a:gd name="T34" fmla="*/ 42 w 188"/>
                  <a:gd name="T35" fmla="*/ 100 h 203"/>
                  <a:gd name="T36" fmla="*/ 84 w 188"/>
                  <a:gd name="T37" fmla="*/ 88 h 203"/>
                  <a:gd name="T38" fmla="*/ 86 w 188"/>
                  <a:gd name="T39" fmla="*/ 62 h 203"/>
                  <a:gd name="T40" fmla="*/ 65 w 188"/>
                  <a:gd name="T41" fmla="*/ 59 h 203"/>
                  <a:gd name="T42" fmla="*/ 62 w 188"/>
                  <a:gd name="T43" fmla="*/ 10 h 203"/>
                  <a:gd name="T44" fmla="*/ 73 w 188"/>
                  <a:gd name="T45" fmla="*/ 0 h 203"/>
                  <a:gd name="T46" fmla="*/ 117 w 188"/>
                  <a:gd name="T47" fmla="*/ 1 h 203"/>
                  <a:gd name="T48" fmla="*/ 124 w 188"/>
                  <a:gd name="T49" fmla="*/ 10 h 203"/>
                  <a:gd name="T50" fmla="*/ 121 w 188"/>
                  <a:gd name="T51" fmla="*/ 59 h 203"/>
                  <a:gd name="T52" fmla="*/ 102 w 188"/>
                  <a:gd name="T53" fmla="*/ 62 h 203"/>
                  <a:gd name="T54" fmla="*/ 104 w 188"/>
                  <a:gd name="T55" fmla="*/ 88 h 203"/>
                  <a:gd name="T56" fmla="*/ 146 w 188"/>
                  <a:gd name="T57" fmla="*/ 100 h 203"/>
                  <a:gd name="T58" fmla="*/ 166 w 188"/>
                  <a:gd name="T59" fmla="*/ 125 h 203"/>
                  <a:gd name="T60" fmla="*/ 179 w 188"/>
                  <a:gd name="T61" fmla="*/ 144 h 203"/>
                  <a:gd name="T62" fmla="*/ 185 w 188"/>
                  <a:gd name="T63" fmla="*/ 146 h 203"/>
                  <a:gd name="T64" fmla="*/ 188 w 188"/>
                  <a:gd name="T65" fmla="*/ 194 h 203"/>
                  <a:gd name="T66" fmla="*/ 179 w 188"/>
                  <a:gd name="T67" fmla="*/ 203 h 203"/>
                  <a:gd name="T68" fmla="*/ 144 w 188"/>
                  <a:gd name="T69" fmla="*/ 188 h 203"/>
                  <a:gd name="T70" fmla="*/ 173 w 188"/>
                  <a:gd name="T71" fmla="*/ 159 h 203"/>
                  <a:gd name="T72" fmla="*/ 144 w 188"/>
                  <a:gd name="T73" fmla="*/ 188 h 203"/>
                  <a:gd name="T74" fmla="*/ 43 w 188"/>
                  <a:gd name="T75" fmla="*/ 188 h 203"/>
                  <a:gd name="T76" fmla="*/ 15 w 188"/>
                  <a:gd name="T77" fmla="*/ 159 h 203"/>
                  <a:gd name="T78" fmla="*/ 79 w 188"/>
                  <a:gd name="T79" fmla="*/ 45 h 203"/>
                  <a:gd name="T80" fmla="*/ 107 w 188"/>
                  <a:gd name="T81" fmla="*/ 16 h 203"/>
                  <a:gd name="T82" fmla="*/ 79 w 188"/>
                  <a:gd name="T83" fmla="*/ 4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03">
                    <a:moveTo>
                      <a:pt x="138" y="203"/>
                    </a:moveTo>
                    <a:cubicBezTo>
                      <a:pt x="135" y="203"/>
                      <a:pt x="133" y="202"/>
                      <a:pt x="132" y="201"/>
                    </a:cubicBezTo>
                    <a:cubicBezTo>
                      <a:pt x="130" y="199"/>
                      <a:pt x="129" y="196"/>
                      <a:pt x="129" y="194"/>
                    </a:cubicBezTo>
                    <a:cubicBezTo>
                      <a:pt x="129" y="153"/>
                      <a:pt x="129" y="153"/>
                      <a:pt x="129" y="153"/>
                    </a:cubicBezTo>
                    <a:cubicBezTo>
                      <a:pt x="129" y="150"/>
                      <a:pt x="130" y="148"/>
                      <a:pt x="132" y="146"/>
                    </a:cubicBezTo>
                    <a:cubicBezTo>
                      <a:pt x="133" y="145"/>
                      <a:pt x="135" y="144"/>
                      <a:pt x="138" y="144"/>
                    </a:cubicBezTo>
                    <a:cubicBezTo>
                      <a:pt x="150" y="144"/>
                      <a:pt x="150" y="144"/>
                      <a:pt x="150" y="144"/>
                    </a:cubicBezTo>
                    <a:cubicBezTo>
                      <a:pt x="150" y="125"/>
                      <a:pt x="150" y="125"/>
                      <a:pt x="150" y="125"/>
                    </a:cubicBezTo>
                    <a:cubicBezTo>
                      <a:pt x="150" y="123"/>
                      <a:pt x="149" y="121"/>
                      <a:pt x="147" y="120"/>
                    </a:cubicBezTo>
                    <a:cubicBezTo>
                      <a:pt x="146" y="118"/>
                      <a:pt x="145" y="117"/>
                      <a:pt x="143" y="116"/>
                    </a:cubicBezTo>
                    <a:cubicBezTo>
                      <a:pt x="106" y="108"/>
                      <a:pt x="106" y="108"/>
                      <a:pt x="106" y="108"/>
                    </a:cubicBezTo>
                    <a:cubicBezTo>
                      <a:pt x="102" y="107"/>
                      <a:pt x="98" y="105"/>
                      <a:pt x="95" y="103"/>
                    </a:cubicBezTo>
                    <a:cubicBezTo>
                      <a:pt x="94" y="102"/>
                      <a:pt x="94" y="102"/>
                      <a:pt x="94" y="102"/>
                    </a:cubicBezTo>
                    <a:cubicBezTo>
                      <a:pt x="93" y="103"/>
                      <a:pt x="93" y="103"/>
                      <a:pt x="93" y="103"/>
                    </a:cubicBezTo>
                    <a:cubicBezTo>
                      <a:pt x="90" y="105"/>
                      <a:pt x="87" y="107"/>
                      <a:pt x="83" y="108"/>
                    </a:cubicBezTo>
                    <a:cubicBezTo>
                      <a:pt x="46" y="116"/>
                      <a:pt x="46" y="116"/>
                      <a:pt x="46" y="116"/>
                    </a:cubicBezTo>
                    <a:cubicBezTo>
                      <a:pt x="43" y="117"/>
                      <a:pt x="42" y="118"/>
                      <a:pt x="41" y="120"/>
                    </a:cubicBezTo>
                    <a:cubicBezTo>
                      <a:pt x="39" y="121"/>
                      <a:pt x="39" y="123"/>
                      <a:pt x="39" y="125"/>
                    </a:cubicBezTo>
                    <a:cubicBezTo>
                      <a:pt x="39" y="144"/>
                      <a:pt x="39" y="144"/>
                      <a:pt x="39" y="144"/>
                    </a:cubicBezTo>
                    <a:cubicBezTo>
                      <a:pt x="50" y="144"/>
                      <a:pt x="50" y="144"/>
                      <a:pt x="50" y="144"/>
                    </a:cubicBezTo>
                    <a:cubicBezTo>
                      <a:pt x="51" y="144"/>
                      <a:pt x="52" y="144"/>
                      <a:pt x="53" y="144"/>
                    </a:cubicBezTo>
                    <a:cubicBezTo>
                      <a:pt x="54" y="145"/>
                      <a:pt x="55" y="146"/>
                      <a:pt x="56" y="146"/>
                    </a:cubicBezTo>
                    <a:cubicBezTo>
                      <a:pt x="58" y="148"/>
                      <a:pt x="59" y="150"/>
                      <a:pt x="59" y="153"/>
                    </a:cubicBezTo>
                    <a:cubicBezTo>
                      <a:pt x="59" y="194"/>
                      <a:pt x="59" y="194"/>
                      <a:pt x="59" y="194"/>
                    </a:cubicBezTo>
                    <a:cubicBezTo>
                      <a:pt x="59" y="197"/>
                      <a:pt x="58" y="199"/>
                      <a:pt x="56" y="201"/>
                    </a:cubicBezTo>
                    <a:cubicBezTo>
                      <a:pt x="54" y="203"/>
                      <a:pt x="52" y="203"/>
                      <a:pt x="50" y="203"/>
                    </a:cubicBezTo>
                    <a:cubicBezTo>
                      <a:pt x="9" y="203"/>
                      <a:pt x="9" y="203"/>
                      <a:pt x="9" y="203"/>
                    </a:cubicBezTo>
                    <a:cubicBezTo>
                      <a:pt x="6" y="203"/>
                      <a:pt x="4" y="202"/>
                      <a:pt x="2" y="201"/>
                    </a:cubicBezTo>
                    <a:cubicBezTo>
                      <a:pt x="1" y="199"/>
                      <a:pt x="0" y="197"/>
                      <a:pt x="0" y="194"/>
                    </a:cubicBezTo>
                    <a:cubicBezTo>
                      <a:pt x="0" y="153"/>
                      <a:pt x="0" y="153"/>
                      <a:pt x="0" y="153"/>
                    </a:cubicBezTo>
                    <a:cubicBezTo>
                      <a:pt x="0" y="150"/>
                      <a:pt x="1" y="148"/>
                      <a:pt x="2" y="146"/>
                    </a:cubicBezTo>
                    <a:cubicBezTo>
                      <a:pt x="4" y="145"/>
                      <a:pt x="6" y="144"/>
                      <a:pt x="9" y="144"/>
                    </a:cubicBezTo>
                    <a:cubicBezTo>
                      <a:pt x="22" y="144"/>
                      <a:pt x="22" y="144"/>
                      <a:pt x="22" y="144"/>
                    </a:cubicBezTo>
                    <a:cubicBezTo>
                      <a:pt x="22" y="125"/>
                      <a:pt x="22" y="125"/>
                      <a:pt x="22" y="125"/>
                    </a:cubicBezTo>
                    <a:cubicBezTo>
                      <a:pt x="22" y="119"/>
                      <a:pt x="24" y="114"/>
                      <a:pt x="28" y="109"/>
                    </a:cubicBezTo>
                    <a:cubicBezTo>
                      <a:pt x="31" y="105"/>
                      <a:pt x="36" y="101"/>
                      <a:pt x="42" y="100"/>
                    </a:cubicBezTo>
                    <a:cubicBezTo>
                      <a:pt x="79" y="92"/>
                      <a:pt x="79" y="92"/>
                      <a:pt x="79" y="92"/>
                    </a:cubicBezTo>
                    <a:cubicBezTo>
                      <a:pt x="81" y="91"/>
                      <a:pt x="83" y="90"/>
                      <a:pt x="84" y="88"/>
                    </a:cubicBezTo>
                    <a:cubicBezTo>
                      <a:pt x="85" y="87"/>
                      <a:pt x="86" y="85"/>
                      <a:pt x="86" y="83"/>
                    </a:cubicBezTo>
                    <a:cubicBezTo>
                      <a:pt x="86" y="62"/>
                      <a:pt x="86" y="62"/>
                      <a:pt x="86" y="62"/>
                    </a:cubicBezTo>
                    <a:cubicBezTo>
                      <a:pt x="73" y="62"/>
                      <a:pt x="73" y="62"/>
                      <a:pt x="73" y="62"/>
                    </a:cubicBezTo>
                    <a:cubicBezTo>
                      <a:pt x="70" y="62"/>
                      <a:pt x="67" y="61"/>
                      <a:pt x="65" y="59"/>
                    </a:cubicBezTo>
                    <a:cubicBezTo>
                      <a:pt x="63" y="57"/>
                      <a:pt x="62" y="54"/>
                      <a:pt x="62" y="51"/>
                    </a:cubicBezTo>
                    <a:cubicBezTo>
                      <a:pt x="62" y="10"/>
                      <a:pt x="62" y="10"/>
                      <a:pt x="62" y="10"/>
                    </a:cubicBezTo>
                    <a:cubicBezTo>
                      <a:pt x="62" y="8"/>
                      <a:pt x="63" y="5"/>
                      <a:pt x="65" y="3"/>
                    </a:cubicBezTo>
                    <a:cubicBezTo>
                      <a:pt x="67" y="1"/>
                      <a:pt x="70" y="0"/>
                      <a:pt x="73" y="0"/>
                    </a:cubicBezTo>
                    <a:cubicBezTo>
                      <a:pt x="113" y="0"/>
                      <a:pt x="113" y="0"/>
                      <a:pt x="113" y="0"/>
                    </a:cubicBezTo>
                    <a:cubicBezTo>
                      <a:pt x="115" y="0"/>
                      <a:pt x="116" y="0"/>
                      <a:pt x="117" y="1"/>
                    </a:cubicBezTo>
                    <a:cubicBezTo>
                      <a:pt x="118" y="1"/>
                      <a:pt x="120" y="2"/>
                      <a:pt x="121" y="3"/>
                    </a:cubicBezTo>
                    <a:cubicBezTo>
                      <a:pt x="123" y="5"/>
                      <a:pt x="124" y="8"/>
                      <a:pt x="124" y="10"/>
                    </a:cubicBezTo>
                    <a:cubicBezTo>
                      <a:pt x="124" y="51"/>
                      <a:pt x="124" y="51"/>
                      <a:pt x="124" y="51"/>
                    </a:cubicBezTo>
                    <a:cubicBezTo>
                      <a:pt x="124" y="54"/>
                      <a:pt x="123" y="57"/>
                      <a:pt x="121" y="59"/>
                    </a:cubicBezTo>
                    <a:cubicBezTo>
                      <a:pt x="119" y="61"/>
                      <a:pt x="116" y="62"/>
                      <a:pt x="113" y="62"/>
                    </a:cubicBezTo>
                    <a:cubicBezTo>
                      <a:pt x="102" y="62"/>
                      <a:pt x="102" y="62"/>
                      <a:pt x="102" y="62"/>
                    </a:cubicBezTo>
                    <a:cubicBezTo>
                      <a:pt x="102" y="83"/>
                      <a:pt x="102" y="83"/>
                      <a:pt x="102" y="83"/>
                    </a:cubicBezTo>
                    <a:cubicBezTo>
                      <a:pt x="102" y="85"/>
                      <a:pt x="103" y="87"/>
                      <a:pt x="104" y="88"/>
                    </a:cubicBezTo>
                    <a:cubicBezTo>
                      <a:pt x="106" y="90"/>
                      <a:pt x="107" y="91"/>
                      <a:pt x="109" y="92"/>
                    </a:cubicBezTo>
                    <a:cubicBezTo>
                      <a:pt x="146" y="100"/>
                      <a:pt x="146" y="100"/>
                      <a:pt x="146" y="100"/>
                    </a:cubicBezTo>
                    <a:cubicBezTo>
                      <a:pt x="152" y="101"/>
                      <a:pt x="157" y="105"/>
                      <a:pt x="160" y="109"/>
                    </a:cubicBezTo>
                    <a:cubicBezTo>
                      <a:pt x="164" y="114"/>
                      <a:pt x="166" y="119"/>
                      <a:pt x="166" y="125"/>
                    </a:cubicBezTo>
                    <a:cubicBezTo>
                      <a:pt x="166" y="144"/>
                      <a:pt x="166" y="144"/>
                      <a:pt x="166" y="144"/>
                    </a:cubicBezTo>
                    <a:cubicBezTo>
                      <a:pt x="179" y="144"/>
                      <a:pt x="179" y="144"/>
                      <a:pt x="179" y="144"/>
                    </a:cubicBezTo>
                    <a:cubicBezTo>
                      <a:pt x="180" y="144"/>
                      <a:pt x="181" y="144"/>
                      <a:pt x="182" y="144"/>
                    </a:cubicBezTo>
                    <a:cubicBezTo>
                      <a:pt x="184" y="145"/>
                      <a:pt x="184" y="146"/>
                      <a:pt x="185" y="146"/>
                    </a:cubicBezTo>
                    <a:cubicBezTo>
                      <a:pt x="187" y="148"/>
                      <a:pt x="188" y="151"/>
                      <a:pt x="188" y="153"/>
                    </a:cubicBezTo>
                    <a:cubicBezTo>
                      <a:pt x="188" y="194"/>
                      <a:pt x="188" y="194"/>
                      <a:pt x="188" y="194"/>
                    </a:cubicBezTo>
                    <a:cubicBezTo>
                      <a:pt x="188" y="197"/>
                      <a:pt x="186" y="199"/>
                      <a:pt x="185" y="201"/>
                    </a:cubicBezTo>
                    <a:cubicBezTo>
                      <a:pt x="184" y="202"/>
                      <a:pt x="181" y="203"/>
                      <a:pt x="179" y="203"/>
                    </a:cubicBezTo>
                    <a:lnTo>
                      <a:pt x="138" y="203"/>
                    </a:lnTo>
                    <a:close/>
                    <a:moveTo>
                      <a:pt x="144" y="188"/>
                    </a:moveTo>
                    <a:cubicBezTo>
                      <a:pt x="173" y="188"/>
                      <a:pt x="173" y="188"/>
                      <a:pt x="173" y="188"/>
                    </a:cubicBezTo>
                    <a:cubicBezTo>
                      <a:pt x="173" y="159"/>
                      <a:pt x="173" y="159"/>
                      <a:pt x="173" y="159"/>
                    </a:cubicBezTo>
                    <a:cubicBezTo>
                      <a:pt x="144" y="159"/>
                      <a:pt x="144" y="159"/>
                      <a:pt x="144" y="159"/>
                    </a:cubicBezTo>
                    <a:lnTo>
                      <a:pt x="144" y="188"/>
                    </a:lnTo>
                    <a:close/>
                    <a:moveTo>
                      <a:pt x="15" y="188"/>
                    </a:moveTo>
                    <a:cubicBezTo>
                      <a:pt x="43" y="188"/>
                      <a:pt x="43" y="188"/>
                      <a:pt x="43" y="188"/>
                    </a:cubicBezTo>
                    <a:cubicBezTo>
                      <a:pt x="43" y="159"/>
                      <a:pt x="43" y="159"/>
                      <a:pt x="43" y="159"/>
                    </a:cubicBezTo>
                    <a:cubicBezTo>
                      <a:pt x="15" y="159"/>
                      <a:pt x="15" y="159"/>
                      <a:pt x="15" y="159"/>
                    </a:cubicBezTo>
                    <a:lnTo>
                      <a:pt x="15" y="188"/>
                    </a:lnTo>
                    <a:close/>
                    <a:moveTo>
                      <a:pt x="79" y="45"/>
                    </a:moveTo>
                    <a:cubicBezTo>
                      <a:pt x="107" y="45"/>
                      <a:pt x="107" y="45"/>
                      <a:pt x="107" y="45"/>
                    </a:cubicBezTo>
                    <a:cubicBezTo>
                      <a:pt x="107" y="16"/>
                      <a:pt x="107" y="16"/>
                      <a:pt x="107" y="16"/>
                    </a:cubicBezTo>
                    <a:cubicBezTo>
                      <a:pt x="79" y="16"/>
                      <a:pt x="79" y="16"/>
                      <a:pt x="79" y="16"/>
                    </a:cubicBezTo>
                    <a:lnTo>
                      <a:pt x="79"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sp>
            <p:nvSpPr>
              <p:cNvPr id="68" name="Freeform 35">
                <a:extLst>
                  <a:ext uri="{FF2B5EF4-FFF2-40B4-BE49-F238E27FC236}">
                    <a16:creationId xmlns:a16="http://schemas.microsoft.com/office/drawing/2014/main" id="{3EB3BF14-7602-46D2-BC48-9A1BD86D2E9B}"/>
                  </a:ext>
                </a:extLst>
              </p:cNvPr>
              <p:cNvSpPr>
                <a:spLocks/>
              </p:cNvSpPr>
              <p:nvPr/>
            </p:nvSpPr>
            <p:spPr bwMode="auto">
              <a:xfrm>
                <a:off x="6529388" y="2047876"/>
                <a:ext cx="222250" cy="1120775"/>
              </a:xfrm>
              <a:custGeom>
                <a:avLst/>
                <a:gdLst>
                  <a:gd name="T0" fmla="*/ 44 w 52"/>
                  <a:gd name="T1" fmla="*/ 262 h 262"/>
                  <a:gd name="T2" fmla="*/ 26 w 52"/>
                  <a:gd name="T3" fmla="*/ 255 h 262"/>
                  <a:gd name="T4" fmla="*/ 18 w 52"/>
                  <a:gd name="T5" fmla="*/ 237 h 262"/>
                  <a:gd name="T6" fmla="*/ 18 w 52"/>
                  <a:gd name="T7" fmla="*/ 148 h 262"/>
                  <a:gd name="T8" fmla="*/ 15 w 52"/>
                  <a:gd name="T9" fmla="*/ 142 h 262"/>
                  <a:gd name="T10" fmla="*/ 13 w 52"/>
                  <a:gd name="T11" fmla="*/ 140 h 262"/>
                  <a:gd name="T12" fmla="*/ 10 w 52"/>
                  <a:gd name="T13" fmla="*/ 139 h 262"/>
                  <a:gd name="T14" fmla="*/ 0 w 52"/>
                  <a:gd name="T15" fmla="*/ 139 h 262"/>
                  <a:gd name="T16" fmla="*/ 0 w 52"/>
                  <a:gd name="T17" fmla="*/ 123 h 262"/>
                  <a:gd name="T18" fmla="*/ 10 w 52"/>
                  <a:gd name="T19" fmla="*/ 123 h 262"/>
                  <a:gd name="T20" fmla="*/ 15 w 52"/>
                  <a:gd name="T21" fmla="*/ 120 h 262"/>
                  <a:gd name="T22" fmla="*/ 18 w 52"/>
                  <a:gd name="T23" fmla="*/ 114 h 262"/>
                  <a:gd name="T24" fmla="*/ 18 w 52"/>
                  <a:gd name="T25" fmla="*/ 25 h 262"/>
                  <a:gd name="T26" fmla="*/ 26 w 52"/>
                  <a:gd name="T27" fmla="*/ 7 h 262"/>
                  <a:gd name="T28" fmla="*/ 44 w 52"/>
                  <a:gd name="T29" fmla="*/ 0 h 262"/>
                  <a:gd name="T30" fmla="*/ 52 w 52"/>
                  <a:gd name="T31" fmla="*/ 0 h 262"/>
                  <a:gd name="T32" fmla="*/ 52 w 52"/>
                  <a:gd name="T33" fmla="*/ 16 h 262"/>
                  <a:gd name="T34" fmla="*/ 44 w 52"/>
                  <a:gd name="T35" fmla="*/ 16 h 262"/>
                  <a:gd name="T36" fmla="*/ 37 w 52"/>
                  <a:gd name="T37" fmla="*/ 19 h 262"/>
                  <a:gd name="T38" fmla="*/ 35 w 52"/>
                  <a:gd name="T39" fmla="*/ 25 h 262"/>
                  <a:gd name="T40" fmla="*/ 35 w 52"/>
                  <a:gd name="T41" fmla="*/ 114 h 262"/>
                  <a:gd name="T42" fmla="*/ 29 w 52"/>
                  <a:gd name="T43" fmla="*/ 130 h 262"/>
                  <a:gd name="T44" fmla="*/ 28 w 52"/>
                  <a:gd name="T45" fmla="*/ 131 h 262"/>
                  <a:gd name="T46" fmla="*/ 29 w 52"/>
                  <a:gd name="T47" fmla="*/ 132 h 262"/>
                  <a:gd name="T48" fmla="*/ 35 w 52"/>
                  <a:gd name="T49" fmla="*/ 148 h 262"/>
                  <a:gd name="T50" fmla="*/ 35 w 52"/>
                  <a:gd name="T51" fmla="*/ 237 h 262"/>
                  <a:gd name="T52" fmla="*/ 37 w 52"/>
                  <a:gd name="T53" fmla="*/ 243 h 262"/>
                  <a:gd name="T54" fmla="*/ 44 w 52"/>
                  <a:gd name="T55" fmla="*/ 246 h 262"/>
                  <a:gd name="T56" fmla="*/ 52 w 52"/>
                  <a:gd name="T57" fmla="*/ 246 h 262"/>
                  <a:gd name="T58" fmla="*/ 52 w 52"/>
                  <a:gd name="T59" fmla="*/ 262 h 262"/>
                  <a:gd name="T60" fmla="*/ 44 w 52"/>
                  <a:gd name="T61"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262">
                    <a:moveTo>
                      <a:pt x="44" y="262"/>
                    </a:moveTo>
                    <a:cubicBezTo>
                      <a:pt x="37" y="262"/>
                      <a:pt x="30" y="260"/>
                      <a:pt x="26" y="255"/>
                    </a:cubicBezTo>
                    <a:cubicBezTo>
                      <a:pt x="21" y="250"/>
                      <a:pt x="18" y="244"/>
                      <a:pt x="18" y="237"/>
                    </a:cubicBezTo>
                    <a:cubicBezTo>
                      <a:pt x="18" y="148"/>
                      <a:pt x="18" y="148"/>
                      <a:pt x="18" y="148"/>
                    </a:cubicBezTo>
                    <a:cubicBezTo>
                      <a:pt x="18" y="146"/>
                      <a:pt x="17" y="144"/>
                      <a:pt x="15" y="142"/>
                    </a:cubicBezTo>
                    <a:cubicBezTo>
                      <a:pt x="15" y="141"/>
                      <a:pt x="14" y="141"/>
                      <a:pt x="13" y="140"/>
                    </a:cubicBezTo>
                    <a:cubicBezTo>
                      <a:pt x="12" y="140"/>
                      <a:pt x="11" y="139"/>
                      <a:pt x="10" y="139"/>
                    </a:cubicBezTo>
                    <a:cubicBezTo>
                      <a:pt x="0" y="139"/>
                      <a:pt x="0" y="139"/>
                      <a:pt x="0" y="139"/>
                    </a:cubicBezTo>
                    <a:cubicBezTo>
                      <a:pt x="0" y="123"/>
                      <a:pt x="0" y="123"/>
                      <a:pt x="0" y="123"/>
                    </a:cubicBezTo>
                    <a:cubicBezTo>
                      <a:pt x="10" y="123"/>
                      <a:pt x="10" y="123"/>
                      <a:pt x="10" y="123"/>
                    </a:cubicBezTo>
                    <a:cubicBezTo>
                      <a:pt x="12" y="123"/>
                      <a:pt x="14" y="122"/>
                      <a:pt x="15" y="120"/>
                    </a:cubicBezTo>
                    <a:cubicBezTo>
                      <a:pt x="17" y="118"/>
                      <a:pt x="18" y="116"/>
                      <a:pt x="18" y="114"/>
                    </a:cubicBezTo>
                    <a:cubicBezTo>
                      <a:pt x="18" y="25"/>
                      <a:pt x="18" y="25"/>
                      <a:pt x="18" y="25"/>
                    </a:cubicBezTo>
                    <a:cubicBezTo>
                      <a:pt x="18" y="19"/>
                      <a:pt x="21" y="12"/>
                      <a:pt x="26" y="7"/>
                    </a:cubicBezTo>
                    <a:cubicBezTo>
                      <a:pt x="30" y="2"/>
                      <a:pt x="37" y="0"/>
                      <a:pt x="44" y="0"/>
                    </a:cubicBezTo>
                    <a:cubicBezTo>
                      <a:pt x="52" y="0"/>
                      <a:pt x="52" y="0"/>
                      <a:pt x="52" y="0"/>
                    </a:cubicBezTo>
                    <a:cubicBezTo>
                      <a:pt x="52" y="16"/>
                      <a:pt x="52" y="16"/>
                      <a:pt x="52" y="16"/>
                    </a:cubicBezTo>
                    <a:cubicBezTo>
                      <a:pt x="44" y="16"/>
                      <a:pt x="44" y="16"/>
                      <a:pt x="44" y="16"/>
                    </a:cubicBezTo>
                    <a:cubicBezTo>
                      <a:pt x="41" y="16"/>
                      <a:pt x="39" y="17"/>
                      <a:pt x="37" y="19"/>
                    </a:cubicBezTo>
                    <a:cubicBezTo>
                      <a:pt x="36" y="21"/>
                      <a:pt x="35" y="23"/>
                      <a:pt x="35" y="25"/>
                    </a:cubicBezTo>
                    <a:cubicBezTo>
                      <a:pt x="35" y="114"/>
                      <a:pt x="35" y="114"/>
                      <a:pt x="35" y="114"/>
                    </a:cubicBezTo>
                    <a:cubicBezTo>
                      <a:pt x="35" y="120"/>
                      <a:pt x="33" y="125"/>
                      <a:pt x="29" y="130"/>
                    </a:cubicBezTo>
                    <a:cubicBezTo>
                      <a:pt x="28" y="131"/>
                      <a:pt x="28" y="131"/>
                      <a:pt x="28" y="131"/>
                    </a:cubicBezTo>
                    <a:cubicBezTo>
                      <a:pt x="29" y="132"/>
                      <a:pt x="29" y="132"/>
                      <a:pt x="29" y="132"/>
                    </a:cubicBezTo>
                    <a:cubicBezTo>
                      <a:pt x="33" y="137"/>
                      <a:pt x="35" y="142"/>
                      <a:pt x="35" y="148"/>
                    </a:cubicBezTo>
                    <a:cubicBezTo>
                      <a:pt x="35" y="237"/>
                      <a:pt x="35" y="237"/>
                      <a:pt x="35" y="237"/>
                    </a:cubicBezTo>
                    <a:cubicBezTo>
                      <a:pt x="35" y="239"/>
                      <a:pt x="36" y="241"/>
                      <a:pt x="37" y="243"/>
                    </a:cubicBezTo>
                    <a:cubicBezTo>
                      <a:pt x="39" y="245"/>
                      <a:pt x="41" y="246"/>
                      <a:pt x="44" y="246"/>
                    </a:cubicBezTo>
                    <a:cubicBezTo>
                      <a:pt x="52" y="246"/>
                      <a:pt x="52" y="246"/>
                      <a:pt x="52" y="246"/>
                    </a:cubicBezTo>
                    <a:cubicBezTo>
                      <a:pt x="52" y="262"/>
                      <a:pt x="52" y="262"/>
                      <a:pt x="52" y="262"/>
                    </a:cubicBezTo>
                    <a:lnTo>
                      <a:pt x="44"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a:endParaRPr>
              </a:p>
            </p:txBody>
          </p:sp>
        </p:grpSp>
        <p:grpSp>
          <p:nvGrpSpPr>
            <p:cNvPr id="62" name="Group 61">
              <a:extLst>
                <a:ext uri="{FF2B5EF4-FFF2-40B4-BE49-F238E27FC236}">
                  <a16:creationId xmlns:a16="http://schemas.microsoft.com/office/drawing/2014/main" id="{9E798591-96AF-4B92-9BD1-1B6A68E85C71}"/>
                </a:ext>
              </a:extLst>
            </p:cNvPr>
            <p:cNvGrpSpPr/>
            <p:nvPr/>
          </p:nvGrpSpPr>
          <p:grpSpPr>
            <a:xfrm>
              <a:off x="7565227" y="2293034"/>
              <a:ext cx="781898" cy="683198"/>
              <a:chOff x="2528994" y="1563688"/>
              <a:chExt cx="5141663" cy="4492625"/>
            </a:xfrm>
            <a:solidFill>
              <a:srgbClr val="001F54"/>
            </a:solidFill>
          </p:grpSpPr>
          <p:sp>
            <p:nvSpPr>
              <p:cNvPr id="63" name="Freeform 1">
                <a:extLst>
                  <a:ext uri="{FF2B5EF4-FFF2-40B4-BE49-F238E27FC236}">
                    <a16:creationId xmlns:a16="http://schemas.microsoft.com/office/drawing/2014/main" id="{27720637-46D7-40B4-BA9A-C79ED91E9F6C}"/>
                  </a:ext>
                </a:extLst>
              </p:cNvPr>
              <p:cNvSpPr>
                <a:spLocks noChangeArrowheads="1"/>
              </p:cNvSpPr>
              <p:nvPr/>
            </p:nvSpPr>
            <p:spPr bwMode="auto">
              <a:xfrm>
                <a:off x="3840163" y="1563688"/>
                <a:ext cx="2600325" cy="4492625"/>
              </a:xfrm>
              <a:custGeom>
                <a:avLst/>
                <a:gdLst>
                  <a:gd name="T0" fmla="*/ 1065 w 7222"/>
                  <a:gd name="T1" fmla="*/ 5719 h 12478"/>
                  <a:gd name="T2" fmla="*/ 2408 w 7222"/>
                  <a:gd name="T3" fmla="*/ 790 h 12478"/>
                  <a:gd name="T4" fmla="*/ 5390 w 7222"/>
                  <a:gd name="T5" fmla="*/ 790 h 12478"/>
                  <a:gd name="T6" fmla="*/ 3473 w 7222"/>
                  <a:gd name="T7" fmla="*/ 4639 h 12478"/>
                  <a:gd name="T8" fmla="*/ 5717 w 7222"/>
                  <a:gd name="T9" fmla="*/ 4639 h 12478"/>
                  <a:gd name="T10" fmla="*/ 2821 w 7222"/>
                  <a:gd name="T11" fmla="*/ 8953 h 12478"/>
                  <a:gd name="T12" fmla="*/ 3385 w 7222"/>
                  <a:gd name="T13" fmla="*/ 5719 h 12478"/>
                  <a:gd name="T14" fmla="*/ 1065 w 7222"/>
                  <a:gd name="T15" fmla="*/ 5719 h 12478"/>
                  <a:gd name="T16" fmla="*/ 7221 w 7222"/>
                  <a:gd name="T17" fmla="*/ 3850 h 12478"/>
                  <a:gd name="T18" fmla="*/ 4738 w 7222"/>
                  <a:gd name="T19" fmla="*/ 3850 h 12478"/>
                  <a:gd name="T20" fmla="*/ 6769 w 7222"/>
                  <a:gd name="T21" fmla="*/ 0 h 12478"/>
                  <a:gd name="T22" fmla="*/ 1842 w 7222"/>
                  <a:gd name="T23" fmla="*/ 0 h 12478"/>
                  <a:gd name="T24" fmla="*/ 0 w 7222"/>
                  <a:gd name="T25" fmla="*/ 6508 h 12478"/>
                  <a:gd name="T26" fmla="*/ 2533 w 7222"/>
                  <a:gd name="T27" fmla="*/ 6508 h 12478"/>
                  <a:gd name="T28" fmla="*/ 1265 w 7222"/>
                  <a:gd name="T29" fmla="*/ 12477 h 12478"/>
                  <a:gd name="T30" fmla="*/ 7221 w 7222"/>
                  <a:gd name="T31" fmla="*/ 3850 h 12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2" h="12478">
                    <a:moveTo>
                      <a:pt x="1065" y="5719"/>
                    </a:moveTo>
                    <a:lnTo>
                      <a:pt x="2408" y="790"/>
                    </a:lnTo>
                    <a:lnTo>
                      <a:pt x="5390" y="790"/>
                    </a:lnTo>
                    <a:lnTo>
                      <a:pt x="3473" y="4639"/>
                    </a:lnTo>
                    <a:lnTo>
                      <a:pt x="5717" y="4639"/>
                    </a:lnTo>
                    <a:lnTo>
                      <a:pt x="2821" y="8953"/>
                    </a:lnTo>
                    <a:lnTo>
                      <a:pt x="3385" y="5719"/>
                    </a:lnTo>
                    <a:lnTo>
                      <a:pt x="1065" y="5719"/>
                    </a:lnTo>
                    <a:close/>
                    <a:moveTo>
                      <a:pt x="7221" y="3850"/>
                    </a:moveTo>
                    <a:lnTo>
                      <a:pt x="4738" y="3850"/>
                    </a:lnTo>
                    <a:lnTo>
                      <a:pt x="6769" y="0"/>
                    </a:lnTo>
                    <a:lnTo>
                      <a:pt x="1842" y="0"/>
                    </a:lnTo>
                    <a:lnTo>
                      <a:pt x="0" y="6508"/>
                    </a:lnTo>
                    <a:lnTo>
                      <a:pt x="2533" y="6508"/>
                    </a:lnTo>
                    <a:lnTo>
                      <a:pt x="1265" y="12477"/>
                    </a:lnTo>
                    <a:lnTo>
                      <a:pt x="7221" y="385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64" name="Freeform 2">
                <a:extLst>
                  <a:ext uri="{FF2B5EF4-FFF2-40B4-BE49-F238E27FC236}">
                    <a16:creationId xmlns:a16="http://schemas.microsoft.com/office/drawing/2014/main" id="{BB1BC0ED-D355-4C67-B242-2F965979A2A8}"/>
                  </a:ext>
                </a:extLst>
              </p:cNvPr>
              <p:cNvSpPr>
                <a:spLocks noChangeArrowheads="1"/>
              </p:cNvSpPr>
              <p:nvPr/>
            </p:nvSpPr>
            <p:spPr bwMode="auto">
              <a:xfrm>
                <a:off x="2528994" y="2769723"/>
                <a:ext cx="908929" cy="1580501"/>
              </a:xfrm>
              <a:custGeom>
                <a:avLst/>
                <a:gdLst>
                  <a:gd name="T0" fmla="*/ 3097 w 3561"/>
                  <a:gd name="T1" fmla="*/ 6195 h 6196"/>
                  <a:gd name="T2" fmla="*/ 0 w 3561"/>
                  <a:gd name="T3" fmla="*/ 3098 h 6196"/>
                  <a:gd name="T4" fmla="*/ 3097 w 3561"/>
                  <a:gd name="T5" fmla="*/ 0 h 6196"/>
                  <a:gd name="T6" fmla="*/ 3560 w 3561"/>
                  <a:gd name="T7" fmla="*/ 464 h 6196"/>
                  <a:gd name="T8" fmla="*/ 940 w 3561"/>
                  <a:gd name="T9" fmla="*/ 3098 h 6196"/>
                  <a:gd name="T10" fmla="*/ 3560 w 3561"/>
                  <a:gd name="T11" fmla="*/ 5718 h 6196"/>
                  <a:gd name="T12" fmla="*/ 3097 w 3561"/>
                  <a:gd name="T13" fmla="*/ 6195 h 6196"/>
                </a:gdLst>
                <a:ahLst/>
                <a:cxnLst>
                  <a:cxn ang="0">
                    <a:pos x="T0" y="T1"/>
                  </a:cxn>
                  <a:cxn ang="0">
                    <a:pos x="T2" y="T3"/>
                  </a:cxn>
                  <a:cxn ang="0">
                    <a:pos x="T4" y="T5"/>
                  </a:cxn>
                  <a:cxn ang="0">
                    <a:pos x="T6" y="T7"/>
                  </a:cxn>
                  <a:cxn ang="0">
                    <a:pos x="T8" y="T9"/>
                  </a:cxn>
                  <a:cxn ang="0">
                    <a:pos x="T10" y="T11"/>
                  </a:cxn>
                  <a:cxn ang="0">
                    <a:pos x="T12" y="T13"/>
                  </a:cxn>
                </a:cxnLst>
                <a:rect l="0" t="0" r="r" b="b"/>
                <a:pathLst>
                  <a:path w="3561" h="6196">
                    <a:moveTo>
                      <a:pt x="3097" y="6195"/>
                    </a:moveTo>
                    <a:lnTo>
                      <a:pt x="0" y="3098"/>
                    </a:lnTo>
                    <a:lnTo>
                      <a:pt x="3097" y="0"/>
                    </a:lnTo>
                    <a:lnTo>
                      <a:pt x="3560" y="464"/>
                    </a:lnTo>
                    <a:lnTo>
                      <a:pt x="940" y="3098"/>
                    </a:lnTo>
                    <a:lnTo>
                      <a:pt x="3560" y="5718"/>
                    </a:lnTo>
                    <a:lnTo>
                      <a:pt x="3097" y="6195"/>
                    </a:lnTo>
                  </a:path>
                </a:pathLst>
              </a:custGeom>
              <a:grpFill/>
              <a:ln w="12700" cap="flat">
                <a:solidFill>
                  <a:srgbClr val="001F54"/>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sp>
            <p:nvSpPr>
              <p:cNvPr id="65" name="Freeform 3">
                <a:extLst>
                  <a:ext uri="{FF2B5EF4-FFF2-40B4-BE49-F238E27FC236}">
                    <a16:creationId xmlns:a16="http://schemas.microsoft.com/office/drawing/2014/main" id="{C4074AE7-05D8-42BF-8C30-275580B130F0}"/>
                  </a:ext>
                </a:extLst>
              </p:cNvPr>
              <p:cNvSpPr>
                <a:spLocks noChangeArrowheads="1"/>
              </p:cNvSpPr>
              <p:nvPr/>
            </p:nvSpPr>
            <p:spPr bwMode="auto">
              <a:xfrm>
                <a:off x="6761728" y="2769723"/>
                <a:ext cx="908929" cy="1580501"/>
              </a:xfrm>
              <a:custGeom>
                <a:avLst/>
                <a:gdLst>
                  <a:gd name="T0" fmla="*/ 463 w 3561"/>
                  <a:gd name="T1" fmla="*/ 6195 h 6196"/>
                  <a:gd name="T2" fmla="*/ 0 w 3561"/>
                  <a:gd name="T3" fmla="*/ 5718 h 6196"/>
                  <a:gd name="T4" fmla="*/ 2620 w 3561"/>
                  <a:gd name="T5" fmla="*/ 3098 h 6196"/>
                  <a:gd name="T6" fmla="*/ 0 w 3561"/>
                  <a:gd name="T7" fmla="*/ 464 h 6196"/>
                  <a:gd name="T8" fmla="*/ 463 w 3561"/>
                  <a:gd name="T9" fmla="*/ 0 h 6196"/>
                  <a:gd name="T10" fmla="*/ 3560 w 3561"/>
                  <a:gd name="T11" fmla="*/ 3098 h 6196"/>
                  <a:gd name="T12" fmla="*/ 463 w 3561"/>
                  <a:gd name="T13" fmla="*/ 6195 h 6196"/>
                </a:gdLst>
                <a:ahLst/>
                <a:cxnLst>
                  <a:cxn ang="0">
                    <a:pos x="T0" y="T1"/>
                  </a:cxn>
                  <a:cxn ang="0">
                    <a:pos x="T2" y="T3"/>
                  </a:cxn>
                  <a:cxn ang="0">
                    <a:pos x="T4" y="T5"/>
                  </a:cxn>
                  <a:cxn ang="0">
                    <a:pos x="T6" y="T7"/>
                  </a:cxn>
                  <a:cxn ang="0">
                    <a:pos x="T8" y="T9"/>
                  </a:cxn>
                  <a:cxn ang="0">
                    <a:pos x="T10" y="T11"/>
                  </a:cxn>
                  <a:cxn ang="0">
                    <a:pos x="T12" y="T13"/>
                  </a:cxn>
                </a:cxnLst>
                <a:rect l="0" t="0" r="r" b="b"/>
                <a:pathLst>
                  <a:path w="3561" h="6196">
                    <a:moveTo>
                      <a:pt x="463" y="6195"/>
                    </a:moveTo>
                    <a:lnTo>
                      <a:pt x="0" y="5718"/>
                    </a:lnTo>
                    <a:lnTo>
                      <a:pt x="2620" y="3098"/>
                    </a:lnTo>
                    <a:lnTo>
                      <a:pt x="0" y="464"/>
                    </a:lnTo>
                    <a:lnTo>
                      <a:pt x="463" y="0"/>
                    </a:lnTo>
                    <a:lnTo>
                      <a:pt x="3560" y="3098"/>
                    </a:lnTo>
                    <a:lnTo>
                      <a:pt x="463" y="6195"/>
                    </a:lnTo>
                  </a:path>
                </a:pathLst>
              </a:custGeom>
              <a:grpFill/>
              <a:ln w="12700" cap="flat">
                <a:solidFill>
                  <a:srgbClr val="001F54"/>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sz="1836">
                  <a:solidFill>
                    <a:srgbClr val="505050"/>
                  </a:solidFill>
                  <a:latin typeface="Segoe UI"/>
                </a:endParaRPr>
              </a:p>
            </p:txBody>
          </p:sp>
        </p:grpSp>
      </p:grpSp>
      <p:sp>
        <p:nvSpPr>
          <p:cNvPr id="26" name="TextBox 25">
            <a:extLst>
              <a:ext uri="{FF2B5EF4-FFF2-40B4-BE49-F238E27FC236}">
                <a16:creationId xmlns:a16="http://schemas.microsoft.com/office/drawing/2014/main" id="{9737CA51-F660-45A6-BF5C-BBE2CD53173E}"/>
              </a:ext>
            </a:extLst>
          </p:cNvPr>
          <p:cNvSpPr txBox="1"/>
          <p:nvPr/>
        </p:nvSpPr>
        <p:spPr>
          <a:xfrm>
            <a:off x="4018430" y="3737566"/>
            <a:ext cx="1474141" cy="973327"/>
          </a:xfrm>
          <a:prstGeom prst="rect">
            <a:avLst/>
          </a:prstGeom>
          <a:noFill/>
        </p:spPr>
        <p:txBody>
          <a:bodyPr wrap="none" lIns="274164" tIns="146220" rIns="274164" bIns="146220" rtlCol="0" anchor="t">
            <a:spAutoFit/>
          </a:bodyPr>
          <a:lstStyle>
            <a:defPPr>
              <a:defRPr lang="en-US"/>
            </a:defPPr>
            <a:lvl1pPr algn="ctr" defTabSz="932029">
              <a:lnSpc>
                <a:spcPct val="90000"/>
              </a:lnSpc>
              <a:spcAft>
                <a:spcPts val="0"/>
              </a:spcAft>
              <a:defRPr sz="2400" kern="0">
                <a:solidFill>
                  <a:srgbClr val="0078D7"/>
                </a:solidFill>
                <a:latin typeface="+mj-lt"/>
                <a:cs typeface="Segoe UI Semibold" panose="020B0702040204020203" pitchFamily="34" charset="0"/>
              </a:defRPr>
            </a:lvl1pPr>
          </a:lstStyle>
          <a:p>
            <a:pPr defTabSz="950576"/>
            <a:r>
              <a:rPr lang="en-US">
                <a:gradFill>
                  <a:gsLst>
                    <a:gs pos="0">
                      <a:srgbClr val="0078D7"/>
                    </a:gs>
                    <a:gs pos="100000">
                      <a:srgbClr val="0078D7"/>
                    </a:gs>
                  </a:gsLst>
                  <a:lin ang="16200000" scaled="0"/>
                </a:gradFill>
                <a:latin typeface="Segoe UI Light"/>
              </a:rPr>
              <a:t>Service</a:t>
            </a:r>
            <a:br>
              <a:rPr lang="en-US">
                <a:gradFill>
                  <a:gsLst>
                    <a:gs pos="0">
                      <a:srgbClr val="0078D7"/>
                    </a:gs>
                    <a:gs pos="100000">
                      <a:srgbClr val="0078D7"/>
                    </a:gs>
                  </a:gsLst>
                  <a:lin ang="16200000" scaled="0"/>
                </a:gradFill>
                <a:latin typeface="Segoe UI Light"/>
              </a:rPr>
            </a:br>
            <a:r>
              <a:rPr lang="en-US">
                <a:gradFill>
                  <a:gsLst>
                    <a:gs pos="0">
                      <a:srgbClr val="0078D7"/>
                    </a:gs>
                    <a:gs pos="100000">
                      <a:srgbClr val="0078D7"/>
                    </a:gs>
                  </a:gsLst>
                  <a:lin ang="16200000" scaled="0"/>
                </a:gradFill>
                <a:latin typeface="Segoe UI Light"/>
              </a:rPr>
              <a:t>fabric</a:t>
            </a:r>
          </a:p>
        </p:txBody>
      </p:sp>
      <p:sp>
        <p:nvSpPr>
          <p:cNvPr id="27" name="TextBox 26">
            <a:extLst>
              <a:ext uri="{FF2B5EF4-FFF2-40B4-BE49-F238E27FC236}">
                <a16:creationId xmlns:a16="http://schemas.microsoft.com/office/drawing/2014/main" id="{6E56843F-7078-46D7-B6F5-55B5576AD50D}"/>
              </a:ext>
            </a:extLst>
          </p:cNvPr>
          <p:cNvSpPr txBox="1"/>
          <p:nvPr/>
        </p:nvSpPr>
        <p:spPr>
          <a:xfrm>
            <a:off x="3286952" y="4664134"/>
            <a:ext cx="2937097" cy="583545"/>
          </a:xfrm>
          <a:prstGeom prst="rect">
            <a:avLst/>
          </a:prstGeom>
          <a:noFill/>
        </p:spPr>
        <p:txBody>
          <a:bodyPr wrap="square" lIns="93234" tIns="93234" rIns="93234" bIns="93234" rtlCol="0" anchor="t" anchorCtr="0">
            <a:spAutoFit/>
          </a:bodyPr>
          <a:lstStyle/>
          <a:p>
            <a:pPr algn="ctr" defTabSz="931850">
              <a:lnSpc>
                <a:spcPct val="90000"/>
              </a:lnSpc>
              <a:defRPr/>
            </a:pP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Build, deploy and </a:t>
            </a:r>
            <a:b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br>
            <a:r>
              <a:rPr lang="en-US" sz="1399" spc="31">
                <a:gradFill>
                  <a:gsLst>
                    <a:gs pos="0">
                      <a:srgbClr val="505050"/>
                    </a:gs>
                    <a:gs pos="100000">
                      <a:srgbClr val="505050"/>
                    </a:gs>
                  </a:gsLst>
                  <a:lin ang="16200000" scaled="0"/>
                </a:gradFill>
                <a:latin typeface="Segoe UI" panose="020B0502040204020203" pitchFamily="34" charset="0"/>
                <a:cs typeface="Segoe UI" panose="020B0502040204020203" pitchFamily="34" charset="0"/>
              </a:rPr>
              <a:t>operate applications at scale</a:t>
            </a:r>
          </a:p>
        </p:txBody>
      </p:sp>
      <p:sp>
        <p:nvSpPr>
          <p:cNvPr id="69" name="Freeform 92">
            <a:extLst>
              <a:ext uri="{FF2B5EF4-FFF2-40B4-BE49-F238E27FC236}">
                <a16:creationId xmlns:a16="http://schemas.microsoft.com/office/drawing/2014/main" id="{18AEE709-3F39-4C1D-BC3F-EFB373B83F43}"/>
              </a:ext>
            </a:extLst>
          </p:cNvPr>
          <p:cNvSpPr>
            <a:spLocks noChangeArrowheads="1"/>
          </p:cNvSpPr>
          <p:nvPr/>
        </p:nvSpPr>
        <p:spPr bwMode="auto">
          <a:xfrm>
            <a:off x="4331377" y="2575434"/>
            <a:ext cx="848247" cy="854280"/>
          </a:xfrm>
          <a:custGeom>
            <a:avLst/>
            <a:gdLst>
              <a:gd name="T0" fmla="*/ 5475 w 6200"/>
              <a:gd name="T1" fmla="*/ 1705 h 6244"/>
              <a:gd name="T2" fmla="*/ 4071 w 6200"/>
              <a:gd name="T3" fmla="*/ 1228 h 6244"/>
              <a:gd name="T4" fmla="*/ 3876 w 6200"/>
              <a:gd name="T5" fmla="*/ 353 h 6244"/>
              <a:gd name="T6" fmla="*/ 3012 w 6200"/>
              <a:gd name="T7" fmla="*/ 0 h 6244"/>
              <a:gd name="T8" fmla="*/ 2208 w 6200"/>
              <a:gd name="T9" fmla="*/ 601 h 6244"/>
              <a:gd name="T10" fmla="*/ 1581 w 6200"/>
              <a:gd name="T11" fmla="*/ 1872 h 6244"/>
              <a:gd name="T12" fmla="*/ 795 w 6200"/>
              <a:gd name="T13" fmla="*/ 1687 h 6244"/>
              <a:gd name="T14" fmla="*/ 53 w 6200"/>
              <a:gd name="T15" fmla="*/ 2358 h 6244"/>
              <a:gd name="T16" fmla="*/ 230 w 6200"/>
              <a:gd name="T17" fmla="*/ 3276 h 6244"/>
              <a:gd name="T18" fmla="*/ 1033 w 6200"/>
              <a:gd name="T19" fmla="*/ 3638 h 6244"/>
              <a:gd name="T20" fmla="*/ 698 w 6200"/>
              <a:gd name="T21" fmla="*/ 5254 h 6244"/>
              <a:gd name="T22" fmla="*/ 1210 w 6200"/>
              <a:gd name="T23" fmla="*/ 6128 h 6244"/>
              <a:gd name="T24" fmla="*/ 2093 w 6200"/>
              <a:gd name="T25" fmla="*/ 6155 h 6244"/>
              <a:gd name="T26" fmla="*/ 2650 w 6200"/>
              <a:gd name="T27" fmla="*/ 5466 h 6244"/>
              <a:gd name="T28" fmla="*/ 3991 w 6200"/>
              <a:gd name="T29" fmla="*/ 6066 h 6244"/>
              <a:gd name="T30" fmla="*/ 4839 w 6200"/>
              <a:gd name="T31" fmla="*/ 6199 h 6244"/>
              <a:gd name="T32" fmla="*/ 5510 w 6200"/>
              <a:gd name="T33" fmla="*/ 5457 h 6244"/>
              <a:gd name="T34" fmla="*/ 5007 w 6200"/>
              <a:gd name="T35" fmla="*/ 4388 h 6244"/>
              <a:gd name="T36" fmla="*/ 5987 w 6200"/>
              <a:gd name="T37" fmla="*/ 3258 h 6244"/>
              <a:gd name="T38" fmla="*/ 6146 w 6200"/>
              <a:gd name="T39" fmla="*/ 2340 h 6244"/>
              <a:gd name="T40" fmla="*/ 3479 w 6200"/>
              <a:gd name="T41" fmla="*/ 539 h 6244"/>
              <a:gd name="T42" fmla="*/ 3691 w 6200"/>
              <a:gd name="T43" fmla="*/ 1042 h 6244"/>
              <a:gd name="T44" fmla="*/ 3337 w 6200"/>
              <a:gd name="T45" fmla="*/ 1519 h 6244"/>
              <a:gd name="T46" fmla="*/ 2791 w 6200"/>
              <a:gd name="T47" fmla="*/ 1466 h 6244"/>
              <a:gd name="T48" fmla="*/ 2535 w 6200"/>
              <a:gd name="T49" fmla="*/ 980 h 6244"/>
              <a:gd name="T50" fmla="*/ 2844 w 6200"/>
              <a:gd name="T51" fmla="*/ 477 h 6244"/>
              <a:gd name="T52" fmla="*/ 459 w 6200"/>
              <a:gd name="T53" fmla="*/ 2429 h 6244"/>
              <a:gd name="T54" fmla="*/ 927 w 6200"/>
              <a:gd name="T55" fmla="*/ 2075 h 6244"/>
              <a:gd name="T56" fmla="*/ 1440 w 6200"/>
              <a:gd name="T57" fmla="*/ 2287 h 6244"/>
              <a:gd name="T58" fmla="*/ 1546 w 6200"/>
              <a:gd name="T59" fmla="*/ 2826 h 6244"/>
              <a:gd name="T60" fmla="*/ 1104 w 6200"/>
              <a:gd name="T61" fmla="*/ 3214 h 6244"/>
              <a:gd name="T62" fmla="*/ 583 w 6200"/>
              <a:gd name="T63" fmla="*/ 3065 h 6244"/>
              <a:gd name="T64" fmla="*/ 1625 w 6200"/>
              <a:gd name="T65" fmla="*/ 5837 h 6244"/>
              <a:gd name="T66" fmla="*/ 1148 w 6200"/>
              <a:gd name="T67" fmla="*/ 5483 h 6244"/>
              <a:gd name="T68" fmla="*/ 1201 w 6200"/>
              <a:gd name="T69" fmla="*/ 4936 h 6244"/>
              <a:gd name="T70" fmla="*/ 1678 w 6200"/>
              <a:gd name="T71" fmla="*/ 4680 h 6244"/>
              <a:gd name="T72" fmla="*/ 2217 w 6200"/>
              <a:gd name="T73" fmla="*/ 5466 h 6244"/>
              <a:gd name="T74" fmla="*/ 4433 w 6200"/>
              <a:gd name="T75" fmla="*/ 5828 h 6244"/>
              <a:gd name="T76" fmla="*/ 4000 w 6200"/>
              <a:gd name="T77" fmla="*/ 5430 h 6244"/>
              <a:gd name="T78" fmla="*/ 4106 w 6200"/>
              <a:gd name="T79" fmla="*/ 4892 h 6244"/>
              <a:gd name="T80" fmla="*/ 4609 w 6200"/>
              <a:gd name="T81" fmla="*/ 4680 h 6244"/>
              <a:gd name="T82" fmla="*/ 5077 w 6200"/>
              <a:gd name="T83" fmla="*/ 5033 h 6244"/>
              <a:gd name="T84" fmla="*/ 5024 w 6200"/>
              <a:gd name="T85" fmla="*/ 5581 h 6244"/>
              <a:gd name="T86" fmla="*/ 4547 w 6200"/>
              <a:gd name="T87" fmla="*/ 4274 h 6244"/>
              <a:gd name="T88" fmla="*/ 3806 w 6200"/>
              <a:gd name="T89" fmla="*/ 4609 h 6244"/>
              <a:gd name="T90" fmla="*/ 2561 w 6200"/>
              <a:gd name="T91" fmla="*/ 4812 h 6244"/>
              <a:gd name="T92" fmla="*/ 1855 w 6200"/>
              <a:gd name="T93" fmla="*/ 4291 h 6244"/>
              <a:gd name="T94" fmla="*/ 1890 w 6200"/>
              <a:gd name="T95" fmla="*/ 3056 h 6244"/>
              <a:gd name="T96" fmla="*/ 2491 w 6200"/>
              <a:gd name="T97" fmla="*/ 1749 h 6244"/>
              <a:gd name="T98" fmla="*/ 3417 w 6200"/>
              <a:gd name="T99" fmla="*/ 1925 h 6244"/>
              <a:gd name="T100" fmla="*/ 4265 w 6200"/>
              <a:gd name="T101" fmla="*/ 2393 h 6244"/>
              <a:gd name="T102" fmla="*/ 4424 w 6200"/>
              <a:gd name="T103" fmla="*/ 3240 h 6244"/>
              <a:gd name="T104" fmla="*/ 5766 w 6200"/>
              <a:gd name="T105" fmla="*/ 2808 h 6244"/>
              <a:gd name="T106" fmla="*/ 5395 w 6200"/>
              <a:gd name="T107" fmla="*/ 3196 h 6244"/>
              <a:gd name="T108" fmla="*/ 4857 w 6200"/>
              <a:gd name="T109" fmla="*/ 3109 h 6244"/>
              <a:gd name="T110" fmla="*/ 4645 w 6200"/>
              <a:gd name="T111" fmla="*/ 2561 h 6244"/>
              <a:gd name="T112" fmla="*/ 4980 w 6200"/>
              <a:gd name="T113" fmla="*/ 2128 h 6244"/>
              <a:gd name="T114" fmla="*/ 5528 w 6200"/>
              <a:gd name="T115" fmla="*/ 2164 h 6244"/>
              <a:gd name="T116" fmla="*/ 5784 w 6200"/>
              <a:gd name="T117" fmla="*/ 2694 h 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00" h="6244">
                <a:moveTo>
                  <a:pt x="6067" y="2164"/>
                </a:moveTo>
                <a:lnTo>
                  <a:pt x="6067" y="2164"/>
                </a:lnTo>
                <a:lnTo>
                  <a:pt x="6014" y="2084"/>
                </a:lnTo>
                <a:lnTo>
                  <a:pt x="5961" y="2005"/>
                </a:lnTo>
                <a:lnTo>
                  <a:pt x="5890" y="1934"/>
                </a:lnTo>
                <a:lnTo>
                  <a:pt x="5819" y="1872"/>
                </a:lnTo>
                <a:lnTo>
                  <a:pt x="5740" y="1819"/>
                </a:lnTo>
                <a:lnTo>
                  <a:pt x="5651" y="1775"/>
                </a:lnTo>
                <a:lnTo>
                  <a:pt x="5563" y="1731"/>
                </a:lnTo>
                <a:lnTo>
                  <a:pt x="5475" y="1705"/>
                </a:lnTo>
                <a:lnTo>
                  <a:pt x="5475" y="1705"/>
                </a:lnTo>
                <a:lnTo>
                  <a:pt x="5369" y="1678"/>
                </a:lnTo>
                <a:lnTo>
                  <a:pt x="5254" y="1669"/>
                </a:lnTo>
                <a:lnTo>
                  <a:pt x="5148" y="1669"/>
                </a:lnTo>
                <a:lnTo>
                  <a:pt x="5042" y="1687"/>
                </a:lnTo>
                <a:lnTo>
                  <a:pt x="4945" y="1705"/>
                </a:lnTo>
                <a:lnTo>
                  <a:pt x="4848" y="1740"/>
                </a:lnTo>
                <a:lnTo>
                  <a:pt x="4751" y="1784"/>
                </a:lnTo>
                <a:lnTo>
                  <a:pt x="4662" y="1846"/>
                </a:lnTo>
                <a:lnTo>
                  <a:pt x="4044" y="1298"/>
                </a:lnTo>
                <a:lnTo>
                  <a:pt x="4044" y="1298"/>
                </a:lnTo>
                <a:lnTo>
                  <a:pt x="4071" y="1228"/>
                </a:lnTo>
                <a:lnTo>
                  <a:pt x="4088" y="1148"/>
                </a:lnTo>
                <a:lnTo>
                  <a:pt x="4097" y="1069"/>
                </a:lnTo>
                <a:lnTo>
                  <a:pt x="4097" y="980"/>
                </a:lnTo>
                <a:lnTo>
                  <a:pt x="4097" y="980"/>
                </a:lnTo>
                <a:lnTo>
                  <a:pt x="4097" y="883"/>
                </a:lnTo>
                <a:lnTo>
                  <a:pt x="4079" y="786"/>
                </a:lnTo>
                <a:lnTo>
                  <a:pt x="4053" y="689"/>
                </a:lnTo>
                <a:lnTo>
                  <a:pt x="4026" y="601"/>
                </a:lnTo>
                <a:lnTo>
                  <a:pt x="3982" y="512"/>
                </a:lnTo>
                <a:lnTo>
                  <a:pt x="3929" y="433"/>
                </a:lnTo>
                <a:lnTo>
                  <a:pt x="3876" y="353"/>
                </a:lnTo>
                <a:lnTo>
                  <a:pt x="3814" y="291"/>
                </a:lnTo>
                <a:lnTo>
                  <a:pt x="3744" y="221"/>
                </a:lnTo>
                <a:lnTo>
                  <a:pt x="3664" y="168"/>
                </a:lnTo>
                <a:lnTo>
                  <a:pt x="3585" y="115"/>
                </a:lnTo>
                <a:lnTo>
                  <a:pt x="3496" y="79"/>
                </a:lnTo>
                <a:lnTo>
                  <a:pt x="3408" y="44"/>
                </a:lnTo>
                <a:lnTo>
                  <a:pt x="3311" y="18"/>
                </a:lnTo>
                <a:lnTo>
                  <a:pt x="3214" y="0"/>
                </a:lnTo>
                <a:lnTo>
                  <a:pt x="3117" y="0"/>
                </a:lnTo>
                <a:lnTo>
                  <a:pt x="3117" y="0"/>
                </a:lnTo>
                <a:lnTo>
                  <a:pt x="3012" y="0"/>
                </a:lnTo>
                <a:lnTo>
                  <a:pt x="2915" y="18"/>
                </a:lnTo>
                <a:lnTo>
                  <a:pt x="2826" y="44"/>
                </a:lnTo>
                <a:lnTo>
                  <a:pt x="2729" y="79"/>
                </a:lnTo>
                <a:lnTo>
                  <a:pt x="2641" y="115"/>
                </a:lnTo>
                <a:lnTo>
                  <a:pt x="2561" y="168"/>
                </a:lnTo>
                <a:lnTo>
                  <a:pt x="2491" y="221"/>
                </a:lnTo>
                <a:lnTo>
                  <a:pt x="2420" y="291"/>
                </a:lnTo>
                <a:lnTo>
                  <a:pt x="2358" y="353"/>
                </a:lnTo>
                <a:lnTo>
                  <a:pt x="2296" y="433"/>
                </a:lnTo>
                <a:lnTo>
                  <a:pt x="2252" y="512"/>
                </a:lnTo>
                <a:lnTo>
                  <a:pt x="2208" y="601"/>
                </a:lnTo>
                <a:lnTo>
                  <a:pt x="2173" y="689"/>
                </a:lnTo>
                <a:lnTo>
                  <a:pt x="2146" y="786"/>
                </a:lnTo>
                <a:lnTo>
                  <a:pt x="2137" y="883"/>
                </a:lnTo>
                <a:lnTo>
                  <a:pt x="2128" y="980"/>
                </a:lnTo>
                <a:lnTo>
                  <a:pt x="2128" y="980"/>
                </a:lnTo>
                <a:lnTo>
                  <a:pt x="2137" y="1077"/>
                </a:lnTo>
                <a:lnTo>
                  <a:pt x="2146" y="1166"/>
                </a:lnTo>
                <a:lnTo>
                  <a:pt x="2173" y="1254"/>
                </a:lnTo>
                <a:lnTo>
                  <a:pt x="2199" y="1342"/>
                </a:lnTo>
                <a:lnTo>
                  <a:pt x="1581" y="1872"/>
                </a:lnTo>
                <a:lnTo>
                  <a:pt x="1581" y="1872"/>
                </a:lnTo>
                <a:lnTo>
                  <a:pt x="1519" y="1828"/>
                </a:lnTo>
                <a:lnTo>
                  <a:pt x="1457" y="1784"/>
                </a:lnTo>
                <a:lnTo>
                  <a:pt x="1387" y="1749"/>
                </a:lnTo>
                <a:lnTo>
                  <a:pt x="1307" y="1722"/>
                </a:lnTo>
                <a:lnTo>
                  <a:pt x="1236" y="1696"/>
                </a:lnTo>
                <a:lnTo>
                  <a:pt x="1157" y="1678"/>
                </a:lnTo>
                <a:lnTo>
                  <a:pt x="1077" y="1669"/>
                </a:lnTo>
                <a:lnTo>
                  <a:pt x="989" y="1669"/>
                </a:lnTo>
                <a:lnTo>
                  <a:pt x="989" y="1669"/>
                </a:lnTo>
                <a:lnTo>
                  <a:pt x="892" y="1669"/>
                </a:lnTo>
                <a:lnTo>
                  <a:pt x="795" y="1687"/>
                </a:lnTo>
                <a:lnTo>
                  <a:pt x="698" y="1713"/>
                </a:lnTo>
                <a:lnTo>
                  <a:pt x="609" y="1740"/>
                </a:lnTo>
                <a:lnTo>
                  <a:pt x="521" y="1784"/>
                </a:lnTo>
                <a:lnTo>
                  <a:pt x="442" y="1837"/>
                </a:lnTo>
                <a:lnTo>
                  <a:pt x="362" y="1890"/>
                </a:lnTo>
                <a:lnTo>
                  <a:pt x="291" y="1952"/>
                </a:lnTo>
                <a:lnTo>
                  <a:pt x="230" y="2022"/>
                </a:lnTo>
                <a:lnTo>
                  <a:pt x="177" y="2102"/>
                </a:lnTo>
                <a:lnTo>
                  <a:pt x="124" y="2181"/>
                </a:lnTo>
                <a:lnTo>
                  <a:pt x="79" y="2270"/>
                </a:lnTo>
                <a:lnTo>
                  <a:pt x="53" y="2358"/>
                </a:lnTo>
                <a:lnTo>
                  <a:pt x="26" y="2455"/>
                </a:lnTo>
                <a:lnTo>
                  <a:pt x="9" y="2552"/>
                </a:lnTo>
                <a:lnTo>
                  <a:pt x="0" y="2650"/>
                </a:lnTo>
                <a:lnTo>
                  <a:pt x="0" y="2650"/>
                </a:lnTo>
                <a:lnTo>
                  <a:pt x="9" y="2755"/>
                </a:lnTo>
                <a:lnTo>
                  <a:pt x="26" y="2853"/>
                </a:lnTo>
                <a:lnTo>
                  <a:pt x="53" y="2941"/>
                </a:lnTo>
                <a:lnTo>
                  <a:pt x="79" y="3038"/>
                </a:lnTo>
                <a:lnTo>
                  <a:pt x="124" y="3125"/>
                </a:lnTo>
                <a:lnTo>
                  <a:pt x="177" y="3205"/>
                </a:lnTo>
                <a:lnTo>
                  <a:pt x="230" y="3276"/>
                </a:lnTo>
                <a:lnTo>
                  <a:pt x="291" y="3346"/>
                </a:lnTo>
                <a:lnTo>
                  <a:pt x="362" y="3408"/>
                </a:lnTo>
                <a:lnTo>
                  <a:pt x="442" y="3470"/>
                </a:lnTo>
                <a:lnTo>
                  <a:pt x="521" y="3514"/>
                </a:lnTo>
                <a:lnTo>
                  <a:pt x="609" y="3558"/>
                </a:lnTo>
                <a:lnTo>
                  <a:pt x="698" y="3593"/>
                </a:lnTo>
                <a:lnTo>
                  <a:pt x="795" y="3620"/>
                </a:lnTo>
                <a:lnTo>
                  <a:pt x="892" y="3629"/>
                </a:lnTo>
                <a:lnTo>
                  <a:pt x="989" y="3638"/>
                </a:lnTo>
                <a:lnTo>
                  <a:pt x="989" y="3638"/>
                </a:lnTo>
                <a:lnTo>
                  <a:pt x="1033" y="3638"/>
                </a:lnTo>
                <a:lnTo>
                  <a:pt x="1219" y="4388"/>
                </a:lnTo>
                <a:lnTo>
                  <a:pt x="1219" y="4388"/>
                </a:lnTo>
                <a:lnTo>
                  <a:pt x="1113" y="4459"/>
                </a:lnTo>
                <a:lnTo>
                  <a:pt x="1007" y="4547"/>
                </a:lnTo>
                <a:lnTo>
                  <a:pt x="919" y="4636"/>
                </a:lnTo>
                <a:lnTo>
                  <a:pt x="839" y="4742"/>
                </a:lnTo>
                <a:lnTo>
                  <a:pt x="777" y="4865"/>
                </a:lnTo>
                <a:lnTo>
                  <a:pt x="733" y="4989"/>
                </a:lnTo>
                <a:lnTo>
                  <a:pt x="707" y="5121"/>
                </a:lnTo>
                <a:lnTo>
                  <a:pt x="698" y="5254"/>
                </a:lnTo>
                <a:lnTo>
                  <a:pt x="698" y="5254"/>
                </a:lnTo>
                <a:lnTo>
                  <a:pt x="698" y="5360"/>
                </a:lnTo>
                <a:lnTo>
                  <a:pt x="715" y="5457"/>
                </a:lnTo>
                <a:lnTo>
                  <a:pt x="742" y="5554"/>
                </a:lnTo>
                <a:lnTo>
                  <a:pt x="768" y="5642"/>
                </a:lnTo>
                <a:lnTo>
                  <a:pt x="813" y="5731"/>
                </a:lnTo>
                <a:lnTo>
                  <a:pt x="866" y="5810"/>
                </a:lnTo>
                <a:lnTo>
                  <a:pt x="919" y="5881"/>
                </a:lnTo>
                <a:lnTo>
                  <a:pt x="980" y="5952"/>
                </a:lnTo>
                <a:lnTo>
                  <a:pt x="1051" y="6022"/>
                </a:lnTo>
                <a:lnTo>
                  <a:pt x="1130" y="6075"/>
                </a:lnTo>
                <a:lnTo>
                  <a:pt x="1210" y="6128"/>
                </a:lnTo>
                <a:lnTo>
                  <a:pt x="1298" y="6164"/>
                </a:lnTo>
                <a:lnTo>
                  <a:pt x="1387" y="6199"/>
                </a:lnTo>
                <a:lnTo>
                  <a:pt x="1484" y="6225"/>
                </a:lnTo>
                <a:lnTo>
                  <a:pt x="1581" y="6243"/>
                </a:lnTo>
                <a:lnTo>
                  <a:pt x="1678" y="6243"/>
                </a:lnTo>
                <a:lnTo>
                  <a:pt x="1678" y="6243"/>
                </a:lnTo>
                <a:lnTo>
                  <a:pt x="1766" y="6243"/>
                </a:lnTo>
                <a:lnTo>
                  <a:pt x="1855" y="6225"/>
                </a:lnTo>
                <a:lnTo>
                  <a:pt x="1934" y="6208"/>
                </a:lnTo>
                <a:lnTo>
                  <a:pt x="2023" y="6181"/>
                </a:lnTo>
                <a:lnTo>
                  <a:pt x="2093" y="6155"/>
                </a:lnTo>
                <a:lnTo>
                  <a:pt x="2173" y="6111"/>
                </a:lnTo>
                <a:lnTo>
                  <a:pt x="2243" y="6066"/>
                </a:lnTo>
                <a:lnTo>
                  <a:pt x="2305" y="6022"/>
                </a:lnTo>
                <a:lnTo>
                  <a:pt x="2367" y="5969"/>
                </a:lnTo>
                <a:lnTo>
                  <a:pt x="2420" y="5907"/>
                </a:lnTo>
                <a:lnTo>
                  <a:pt x="2473" y="5837"/>
                </a:lnTo>
                <a:lnTo>
                  <a:pt x="2526" y="5775"/>
                </a:lnTo>
                <a:lnTo>
                  <a:pt x="2561" y="5695"/>
                </a:lnTo>
                <a:lnTo>
                  <a:pt x="2597" y="5625"/>
                </a:lnTo>
                <a:lnTo>
                  <a:pt x="2623" y="5545"/>
                </a:lnTo>
                <a:lnTo>
                  <a:pt x="2650" y="5466"/>
                </a:lnTo>
                <a:lnTo>
                  <a:pt x="3585" y="5466"/>
                </a:lnTo>
                <a:lnTo>
                  <a:pt x="3585" y="5466"/>
                </a:lnTo>
                <a:lnTo>
                  <a:pt x="3602" y="5545"/>
                </a:lnTo>
                <a:lnTo>
                  <a:pt x="3629" y="5625"/>
                </a:lnTo>
                <a:lnTo>
                  <a:pt x="3664" y="5695"/>
                </a:lnTo>
                <a:lnTo>
                  <a:pt x="3708" y="5775"/>
                </a:lnTo>
                <a:lnTo>
                  <a:pt x="3753" y="5837"/>
                </a:lnTo>
                <a:lnTo>
                  <a:pt x="3806" y="5907"/>
                </a:lnTo>
                <a:lnTo>
                  <a:pt x="3859" y="5969"/>
                </a:lnTo>
                <a:lnTo>
                  <a:pt x="3920" y="6022"/>
                </a:lnTo>
                <a:lnTo>
                  <a:pt x="3991" y="6066"/>
                </a:lnTo>
                <a:lnTo>
                  <a:pt x="4062" y="6111"/>
                </a:lnTo>
                <a:lnTo>
                  <a:pt x="4132" y="6155"/>
                </a:lnTo>
                <a:lnTo>
                  <a:pt x="4212" y="6181"/>
                </a:lnTo>
                <a:lnTo>
                  <a:pt x="4291" y="6208"/>
                </a:lnTo>
                <a:lnTo>
                  <a:pt x="4371" y="6225"/>
                </a:lnTo>
                <a:lnTo>
                  <a:pt x="4459" y="6243"/>
                </a:lnTo>
                <a:lnTo>
                  <a:pt x="4547" y="6243"/>
                </a:lnTo>
                <a:lnTo>
                  <a:pt x="4547" y="6243"/>
                </a:lnTo>
                <a:lnTo>
                  <a:pt x="4645" y="6243"/>
                </a:lnTo>
                <a:lnTo>
                  <a:pt x="4742" y="6225"/>
                </a:lnTo>
                <a:lnTo>
                  <a:pt x="4839" y="6199"/>
                </a:lnTo>
                <a:lnTo>
                  <a:pt x="4927" y="6164"/>
                </a:lnTo>
                <a:lnTo>
                  <a:pt x="5016" y="6128"/>
                </a:lnTo>
                <a:lnTo>
                  <a:pt x="5095" y="6075"/>
                </a:lnTo>
                <a:lnTo>
                  <a:pt x="5174" y="6022"/>
                </a:lnTo>
                <a:lnTo>
                  <a:pt x="5245" y="5952"/>
                </a:lnTo>
                <a:lnTo>
                  <a:pt x="5307" y="5881"/>
                </a:lnTo>
                <a:lnTo>
                  <a:pt x="5369" y="5810"/>
                </a:lnTo>
                <a:lnTo>
                  <a:pt x="5413" y="5731"/>
                </a:lnTo>
                <a:lnTo>
                  <a:pt x="5457" y="5642"/>
                </a:lnTo>
                <a:lnTo>
                  <a:pt x="5492" y="5554"/>
                </a:lnTo>
                <a:lnTo>
                  <a:pt x="5510" y="5457"/>
                </a:lnTo>
                <a:lnTo>
                  <a:pt x="5528" y="5360"/>
                </a:lnTo>
                <a:lnTo>
                  <a:pt x="5537" y="5254"/>
                </a:lnTo>
                <a:lnTo>
                  <a:pt x="5537" y="5254"/>
                </a:lnTo>
                <a:lnTo>
                  <a:pt x="5528" y="5121"/>
                </a:lnTo>
                <a:lnTo>
                  <a:pt x="5492" y="4989"/>
                </a:lnTo>
                <a:lnTo>
                  <a:pt x="5448" y="4865"/>
                </a:lnTo>
                <a:lnTo>
                  <a:pt x="5386" y="4742"/>
                </a:lnTo>
                <a:lnTo>
                  <a:pt x="5307" y="4636"/>
                </a:lnTo>
                <a:lnTo>
                  <a:pt x="5219" y="4538"/>
                </a:lnTo>
                <a:lnTo>
                  <a:pt x="5122" y="4459"/>
                </a:lnTo>
                <a:lnTo>
                  <a:pt x="5007" y="4388"/>
                </a:lnTo>
                <a:lnTo>
                  <a:pt x="5254" y="3638"/>
                </a:lnTo>
                <a:lnTo>
                  <a:pt x="5254" y="3638"/>
                </a:lnTo>
                <a:lnTo>
                  <a:pt x="5369" y="3620"/>
                </a:lnTo>
                <a:lnTo>
                  <a:pt x="5484" y="3602"/>
                </a:lnTo>
                <a:lnTo>
                  <a:pt x="5590" y="3558"/>
                </a:lnTo>
                <a:lnTo>
                  <a:pt x="5696" y="3505"/>
                </a:lnTo>
                <a:lnTo>
                  <a:pt x="5696" y="3505"/>
                </a:lnTo>
                <a:lnTo>
                  <a:pt x="5784" y="3452"/>
                </a:lnTo>
                <a:lnTo>
                  <a:pt x="5855" y="3399"/>
                </a:lnTo>
                <a:lnTo>
                  <a:pt x="5925" y="3329"/>
                </a:lnTo>
                <a:lnTo>
                  <a:pt x="5987" y="3258"/>
                </a:lnTo>
                <a:lnTo>
                  <a:pt x="6049" y="3178"/>
                </a:lnTo>
                <a:lnTo>
                  <a:pt x="6093" y="3100"/>
                </a:lnTo>
                <a:lnTo>
                  <a:pt x="6128" y="3003"/>
                </a:lnTo>
                <a:lnTo>
                  <a:pt x="6164" y="2914"/>
                </a:lnTo>
                <a:lnTo>
                  <a:pt x="6164" y="2914"/>
                </a:lnTo>
                <a:lnTo>
                  <a:pt x="6181" y="2817"/>
                </a:lnTo>
                <a:lnTo>
                  <a:pt x="6199" y="2720"/>
                </a:lnTo>
                <a:lnTo>
                  <a:pt x="6199" y="2623"/>
                </a:lnTo>
                <a:lnTo>
                  <a:pt x="6190" y="2526"/>
                </a:lnTo>
                <a:lnTo>
                  <a:pt x="6173" y="2438"/>
                </a:lnTo>
                <a:lnTo>
                  <a:pt x="6146" y="2340"/>
                </a:lnTo>
                <a:lnTo>
                  <a:pt x="6111" y="2252"/>
                </a:lnTo>
                <a:lnTo>
                  <a:pt x="6067" y="2164"/>
                </a:lnTo>
                <a:close/>
                <a:moveTo>
                  <a:pt x="3117" y="406"/>
                </a:moveTo>
                <a:lnTo>
                  <a:pt x="3117" y="406"/>
                </a:lnTo>
                <a:lnTo>
                  <a:pt x="3170" y="406"/>
                </a:lnTo>
                <a:lnTo>
                  <a:pt x="3231" y="415"/>
                </a:lnTo>
                <a:lnTo>
                  <a:pt x="3284" y="433"/>
                </a:lnTo>
                <a:lnTo>
                  <a:pt x="3337" y="450"/>
                </a:lnTo>
                <a:lnTo>
                  <a:pt x="3390" y="477"/>
                </a:lnTo>
                <a:lnTo>
                  <a:pt x="3435" y="503"/>
                </a:lnTo>
                <a:lnTo>
                  <a:pt x="3479" y="539"/>
                </a:lnTo>
                <a:lnTo>
                  <a:pt x="3523" y="574"/>
                </a:lnTo>
                <a:lnTo>
                  <a:pt x="3558" y="618"/>
                </a:lnTo>
                <a:lnTo>
                  <a:pt x="3594" y="662"/>
                </a:lnTo>
                <a:lnTo>
                  <a:pt x="3620" y="707"/>
                </a:lnTo>
                <a:lnTo>
                  <a:pt x="3647" y="760"/>
                </a:lnTo>
                <a:lnTo>
                  <a:pt x="3664" y="813"/>
                </a:lnTo>
                <a:lnTo>
                  <a:pt x="3682" y="866"/>
                </a:lnTo>
                <a:lnTo>
                  <a:pt x="3691" y="927"/>
                </a:lnTo>
                <a:lnTo>
                  <a:pt x="3691" y="980"/>
                </a:lnTo>
                <a:lnTo>
                  <a:pt x="3691" y="980"/>
                </a:lnTo>
                <a:lnTo>
                  <a:pt x="3691" y="1042"/>
                </a:lnTo>
                <a:lnTo>
                  <a:pt x="3682" y="1104"/>
                </a:lnTo>
                <a:lnTo>
                  <a:pt x="3664" y="1157"/>
                </a:lnTo>
                <a:lnTo>
                  <a:pt x="3647" y="1210"/>
                </a:lnTo>
                <a:lnTo>
                  <a:pt x="3620" y="1263"/>
                </a:lnTo>
                <a:lnTo>
                  <a:pt x="3594" y="1307"/>
                </a:lnTo>
                <a:lnTo>
                  <a:pt x="3558" y="1351"/>
                </a:lnTo>
                <a:lnTo>
                  <a:pt x="3523" y="1395"/>
                </a:lnTo>
                <a:lnTo>
                  <a:pt x="3479" y="1431"/>
                </a:lnTo>
                <a:lnTo>
                  <a:pt x="3435" y="1466"/>
                </a:lnTo>
                <a:lnTo>
                  <a:pt x="3390" y="1493"/>
                </a:lnTo>
                <a:lnTo>
                  <a:pt x="3337" y="1519"/>
                </a:lnTo>
                <a:lnTo>
                  <a:pt x="3284" y="1537"/>
                </a:lnTo>
                <a:lnTo>
                  <a:pt x="3231" y="1554"/>
                </a:lnTo>
                <a:lnTo>
                  <a:pt x="3170" y="1563"/>
                </a:lnTo>
                <a:lnTo>
                  <a:pt x="3117" y="1563"/>
                </a:lnTo>
                <a:lnTo>
                  <a:pt x="3117" y="1563"/>
                </a:lnTo>
                <a:lnTo>
                  <a:pt x="3056" y="1563"/>
                </a:lnTo>
                <a:lnTo>
                  <a:pt x="3003" y="1554"/>
                </a:lnTo>
                <a:lnTo>
                  <a:pt x="2941" y="1537"/>
                </a:lnTo>
                <a:lnTo>
                  <a:pt x="2888" y="1519"/>
                </a:lnTo>
                <a:lnTo>
                  <a:pt x="2844" y="1493"/>
                </a:lnTo>
                <a:lnTo>
                  <a:pt x="2791" y="1466"/>
                </a:lnTo>
                <a:lnTo>
                  <a:pt x="2747" y="1431"/>
                </a:lnTo>
                <a:lnTo>
                  <a:pt x="2703" y="1395"/>
                </a:lnTo>
                <a:lnTo>
                  <a:pt x="2667" y="1351"/>
                </a:lnTo>
                <a:lnTo>
                  <a:pt x="2632" y="1307"/>
                </a:lnTo>
                <a:lnTo>
                  <a:pt x="2605" y="1263"/>
                </a:lnTo>
                <a:lnTo>
                  <a:pt x="2579" y="1210"/>
                </a:lnTo>
                <a:lnTo>
                  <a:pt x="2561" y="1157"/>
                </a:lnTo>
                <a:lnTo>
                  <a:pt x="2552" y="1104"/>
                </a:lnTo>
                <a:lnTo>
                  <a:pt x="2544" y="1042"/>
                </a:lnTo>
                <a:lnTo>
                  <a:pt x="2535" y="980"/>
                </a:lnTo>
                <a:lnTo>
                  <a:pt x="2535" y="980"/>
                </a:lnTo>
                <a:lnTo>
                  <a:pt x="2544" y="927"/>
                </a:lnTo>
                <a:lnTo>
                  <a:pt x="2552" y="866"/>
                </a:lnTo>
                <a:lnTo>
                  <a:pt x="2561" y="813"/>
                </a:lnTo>
                <a:lnTo>
                  <a:pt x="2579" y="760"/>
                </a:lnTo>
                <a:lnTo>
                  <a:pt x="2605" y="707"/>
                </a:lnTo>
                <a:lnTo>
                  <a:pt x="2632" y="662"/>
                </a:lnTo>
                <a:lnTo>
                  <a:pt x="2667" y="618"/>
                </a:lnTo>
                <a:lnTo>
                  <a:pt x="2703" y="574"/>
                </a:lnTo>
                <a:lnTo>
                  <a:pt x="2747" y="539"/>
                </a:lnTo>
                <a:lnTo>
                  <a:pt x="2791" y="503"/>
                </a:lnTo>
                <a:lnTo>
                  <a:pt x="2844" y="477"/>
                </a:lnTo>
                <a:lnTo>
                  <a:pt x="2888" y="450"/>
                </a:lnTo>
                <a:lnTo>
                  <a:pt x="2941" y="433"/>
                </a:lnTo>
                <a:lnTo>
                  <a:pt x="3003" y="415"/>
                </a:lnTo>
                <a:lnTo>
                  <a:pt x="3056" y="406"/>
                </a:lnTo>
                <a:lnTo>
                  <a:pt x="3117" y="406"/>
                </a:lnTo>
                <a:close/>
                <a:moveTo>
                  <a:pt x="415" y="2650"/>
                </a:moveTo>
                <a:lnTo>
                  <a:pt x="415" y="2650"/>
                </a:lnTo>
                <a:lnTo>
                  <a:pt x="415" y="2597"/>
                </a:lnTo>
                <a:lnTo>
                  <a:pt x="424" y="2535"/>
                </a:lnTo>
                <a:lnTo>
                  <a:pt x="442" y="2482"/>
                </a:lnTo>
                <a:lnTo>
                  <a:pt x="459" y="2429"/>
                </a:lnTo>
                <a:lnTo>
                  <a:pt x="486" y="2376"/>
                </a:lnTo>
                <a:lnTo>
                  <a:pt x="512" y="2332"/>
                </a:lnTo>
                <a:lnTo>
                  <a:pt x="548" y="2287"/>
                </a:lnTo>
                <a:lnTo>
                  <a:pt x="583" y="2243"/>
                </a:lnTo>
                <a:lnTo>
                  <a:pt x="627" y="2208"/>
                </a:lnTo>
                <a:lnTo>
                  <a:pt x="671" y="2173"/>
                </a:lnTo>
                <a:lnTo>
                  <a:pt x="715" y="2146"/>
                </a:lnTo>
                <a:lnTo>
                  <a:pt x="768" y="2120"/>
                </a:lnTo>
                <a:lnTo>
                  <a:pt x="821" y="2102"/>
                </a:lnTo>
                <a:lnTo>
                  <a:pt x="874" y="2084"/>
                </a:lnTo>
                <a:lnTo>
                  <a:pt x="927" y="2075"/>
                </a:lnTo>
                <a:lnTo>
                  <a:pt x="989" y="2075"/>
                </a:lnTo>
                <a:lnTo>
                  <a:pt x="989" y="2075"/>
                </a:lnTo>
                <a:lnTo>
                  <a:pt x="1051" y="2075"/>
                </a:lnTo>
                <a:lnTo>
                  <a:pt x="1104" y="2084"/>
                </a:lnTo>
                <a:lnTo>
                  <a:pt x="1166" y="2102"/>
                </a:lnTo>
                <a:lnTo>
                  <a:pt x="1219" y="2120"/>
                </a:lnTo>
                <a:lnTo>
                  <a:pt x="1263" y="2146"/>
                </a:lnTo>
                <a:lnTo>
                  <a:pt x="1316" y="2173"/>
                </a:lnTo>
                <a:lnTo>
                  <a:pt x="1360" y="2208"/>
                </a:lnTo>
                <a:lnTo>
                  <a:pt x="1395" y="2243"/>
                </a:lnTo>
                <a:lnTo>
                  <a:pt x="1440" y="2287"/>
                </a:lnTo>
                <a:lnTo>
                  <a:pt x="1466" y="2332"/>
                </a:lnTo>
                <a:lnTo>
                  <a:pt x="1501" y="2376"/>
                </a:lnTo>
                <a:lnTo>
                  <a:pt x="1519" y="2429"/>
                </a:lnTo>
                <a:lnTo>
                  <a:pt x="1546" y="2482"/>
                </a:lnTo>
                <a:lnTo>
                  <a:pt x="1554" y="2535"/>
                </a:lnTo>
                <a:lnTo>
                  <a:pt x="1563" y="2597"/>
                </a:lnTo>
                <a:lnTo>
                  <a:pt x="1572" y="2650"/>
                </a:lnTo>
                <a:lnTo>
                  <a:pt x="1572" y="2650"/>
                </a:lnTo>
                <a:lnTo>
                  <a:pt x="1563" y="2711"/>
                </a:lnTo>
                <a:lnTo>
                  <a:pt x="1554" y="2773"/>
                </a:lnTo>
                <a:lnTo>
                  <a:pt x="1546" y="2826"/>
                </a:lnTo>
                <a:lnTo>
                  <a:pt x="1519" y="2879"/>
                </a:lnTo>
                <a:lnTo>
                  <a:pt x="1501" y="2923"/>
                </a:lnTo>
                <a:lnTo>
                  <a:pt x="1466" y="2976"/>
                </a:lnTo>
                <a:lnTo>
                  <a:pt x="1440" y="3020"/>
                </a:lnTo>
                <a:lnTo>
                  <a:pt x="1395" y="3065"/>
                </a:lnTo>
                <a:lnTo>
                  <a:pt x="1360" y="3100"/>
                </a:lnTo>
                <a:lnTo>
                  <a:pt x="1316" y="3134"/>
                </a:lnTo>
                <a:lnTo>
                  <a:pt x="1263" y="3161"/>
                </a:lnTo>
                <a:lnTo>
                  <a:pt x="1219" y="3187"/>
                </a:lnTo>
                <a:lnTo>
                  <a:pt x="1166" y="3205"/>
                </a:lnTo>
                <a:lnTo>
                  <a:pt x="1104" y="3214"/>
                </a:lnTo>
                <a:lnTo>
                  <a:pt x="1051" y="3223"/>
                </a:lnTo>
                <a:lnTo>
                  <a:pt x="989" y="3231"/>
                </a:lnTo>
                <a:lnTo>
                  <a:pt x="989" y="3231"/>
                </a:lnTo>
                <a:lnTo>
                  <a:pt x="927" y="3223"/>
                </a:lnTo>
                <a:lnTo>
                  <a:pt x="874" y="3214"/>
                </a:lnTo>
                <a:lnTo>
                  <a:pt x="821" y="3205"/>
                </a:lnTo>
                <a:lnTo>
                  <a:pt x="768" y="3187"/>
                </a:lnTo>
                <a:lnTo>
                  <a:pt x="715" y="3161"/>
                </a:lnTo>
                <a:lnTo>
                  <a:pt x="671" y="3134"/>
                </a:lnTo>
                <a:lnTo>
                  <a:pt x="627" y="3100"/>
                </a:lnTo>
                <a:lnTo>
                  <a:pt x="583" y="3065"/>
                </a:lnTo>
                <a:lnTo>
                  <a:pt x="548" y="3020"/>
                </a:lnTo>
                <a:lnTo>
                  <a:pt x="512" y="2976"/>
                </a:lnTo>
                <a:lnTo>
                  <a:pt x="486" y="2923"/>
                </a:lnTo>
                <a:lnTo>
                  <a:pt x="459" y="2879"/>
                </a:lnTo>
                <a:lnTo>
                  <a:pt x="442" y="2826"/>
                </a:lnTo>
                <a:lnTo>
                  <a:pt x="424" y="2773"/>
                </a:lnTo>
                <a:lnTo>
                  <a:pt x="415" y="2711"/>
                </a:lnTo>
                <a:lnTo>
                  <a:pt x="415" y="2650"/>
                </a:lnTo>
                <a:close/>
                <a:moveTo>
                  <a:pt x="1678" y="5837"/>
                </a:moveTo>
                <a:lnTo>
                  <a:pt x="1678" y="5837"/>
                </a:lnTo>
                <a:lnTo>
                  <a:pt x="1625" y="5837"/>
                </a:lnTo>
                <a:lnTo>
                  <a:pt x="1563" y="5828"/>
                </a:lnTo>
                <a:lnTo>
                  <a:pt x="1510" y="5810"/>
                </a:lnTo>
                <a:lnTo>
                  <a:pt x="1457" y="5793"/>
                </a:lnTo>
                <a:lnTo>
                  <a:pt x="1404" y="5766"/>
                </a:lnTo>
                <a:lnTo>
                  <a:pt x="1360" y="5740"/>
                </a:lnTo>
                <a:lnTo>
                  <a:pt x="1316" y="5704"/>
                </a:lnTo>
                <a:lnTo>
                  <a:pt x="1272" y="5669"/>
                </a:lnTo>
                <a:lnTo>
                  <a:pt x="1236" y="5625"/>
                </a:lnTo>
                <a:lnTo>
                  <a:pt x="1201" y="5581"/>
                </a:lnTo>
                <a:lnTo>
                  <a:pt x="1175" y="5536"/>
                </a:lnTo>
                <a:lnTo>
                  <a:pt x="1148" y="5483"/>
                </a:lnTo>
                <a:lnTo>
                  <a:pt x="1130" y="5430"/>
                </a:lnTo>
                <a:lnTo>
                  <a:pt x="1113" y="5377"/>
                </a:lnTo>
                <a:lnTo>
                  <a:pt x="1104" y="5316"/>
                </a:lnTo>
                <a:lnTo>
                  <a:pt x="1104" y="5254"/>
                </a:lnTo>
                <a:lnTo>
                  <a:pt x="1104" y="5254"/>
                </a:lnTo>
                <a:lnTo>
                  <a:pt x="1104" y="5201"/>
                </a:lnTo>
                <a:lnTo>
                  <a:pt x="1113" y="5139"/>
                </a:lnTo>
                <a:lnTo>
                  <a:pt x="1130" y="5086"/>
                </a:lnTo>
                <a:lnTo>
                  <a:pt x="1148" y="5033"/>
                </a:lnTo>
                <a:lnTo>
                  <a:pt x="1175" y="4980"/>
                </a:lnTo>
                <a:lnTo>
                  <a:pt x="1201" y="4936"/>
                </a:lnTo>
                <a:lnTo>
                  <a:pt x="1236" y="4892"/>
                </a:lnTo>
                <a:lnTo>
                  <a:pt x="1272" y="4848"/>
                </a:lnTo>
                <a:lnTo>
                  <a:pt x="1316" y="4812"/>
                </a:lnTo>
                <a:lnTo>
                  <a:pt x="1360" y="4777"/>
                </a:lnTo>
                <a:lnTo>
                  <a:pt x="1404" y="4750"/>
                </a:lnTo>
                <a:lnTo>
                  <a:pt x="1457" y="4724"/>
                </a:lnTo>
                <a:lnTo>
                  <a:pt x="1510" y="4706"/>
                </a:lnTo>
                <a:lnTo>
                  <a:pt x="1563" y="4689"/>
                </a:lnTo>
                <a:lnTo>
                  <a:pt x="1625" y="4680"/>
                </a:lnTo>
                <a:lnTo>
                  <a:pt x="1678" y="4680"/>
                </a:lnTo>
                <a:lnTo>
                  <a:pt x="1678" y="4680"/>
                </a:lnTo>
                <a:lnTo>
                  <a:pt x="1784" y="4689"/>
                </a:lnTo>
                <a:lnTo>
                  <a:pt x="1881" y="4715"/>
                </a:lnTo>
                <a:lnTo>
                  <a:pt x="1970" y="4759"/>
                </a:lnTo>
                <a:lnTo>
                  <a:pt x="2049" y="4812"/>
                </a:lnTo>
                <a:lnTo>
                  <a:pt x="2120" y="4883"/>
                </a:lnTo>
                <a:lnTo>
                  <a:pt x="2181" y="4962"/>
                </a:lnTo>
                <a:lnTo>
                  <a:pt x="2217" y="5051"/>
                </a:lnTo>
                <a:lnTo>
                  <a:pt x="2252" y="5148"/>
                </a:lnTo>
                <a:lnTo>
                  <a:pt x="2252" y="5369"/>
                </a:lnTo>
                <a:lnTo>
                  <a:pt x="2252" y="5369"/>
                </a:lnTo>
                <a:lnTo>
                  <a:pt x="2217" y="5466"/>
                </a:lnTo>
                <a:lnTo>
                  <a:pt x="2181" y="5554"/>
                </a:lnTo>
                <a:lnTo>
                  <a:pt x="2120" y="5634"/>
                </a:lnTo>
                <a:lnTo>
                  <a:pt x="2049" y="5704"/>
                </a:lnTo>
                <a:lnTo>
                  <a:pt x="1970" y="5757"/>
                </a:lnTo>
                <a:lnTo>
                  <a:pt x="1881" y="5801"/>
                </a:lnTo>
                <a:lnTo>
                  <a:pt x="1784" y="5828"/>
                </a:lnTo>
                <a:lnTo>
                  <a:pt x="1678" y="5837"/>
                </a:lnTo>
                <a:close/>
                <a:moveTo>
                  <a:pt x="4547" y="5837"/>
                </a:moveTo>
                <a:lnTo>
                  <a:pt x="4547" y="5837"/>
                </a:lnTo>
                <a:lnTo>
                  <a:pt x="4486" y="5837"/>
                </a:lnTo>
                <a:lnTo>
                  <a:pt x="4433" y="5828"/>
                </a:lnTo>
                <a:lnTo>
                  <a:pt x="4380" y="5810"/>
                </a:lnTo>
                <a:lnTo>
                  <a:pt x="4327" y="5793"/>
                </a:lnTo>
                <a:lnTo>
                  <a:pt x="4274" y="5766"/>
                </a:lnTo>
                <a:lnTo>
                  <a:pt x="4221" y="5740"/>
                </a:lnTo>
                <a:lnTo>
                  <a:pt x="4176" y="5704"/>
                </a:lnTo>
                <a:lnTo>
                  <a:pt x="4141" y="5669"/>
                </a:lnTo>
                <a:lnTo>
                  <a:pt x="4106" y="5625"/>
                </a:lnTo>
                <a:lnTo>
                  <a:pt x="4071" y="5581"/>
                </a:lnTo>
                <a:lnTo>
                  <a:pt x="4035" y="5536"/>
                </a:lnTo>
                <a:lnTo>
                  <a:pt x="4018" y="5483"/>
                </a:lnTo>
                <a:lnTo>
                  <a:pt x="4000" y="5430"/>
                </a:lnTo>
                <a:lnTo>
                  <a:pt x="3982" y="5377"/>
                </a:lnTo>
                <a:lnTo>
                  <a:pt x="3973" y="5316"/>
                </a:lnTo>
                <a:lnTo>
                  <a:pt x="3973" y="5254"/>
                </a:lnTo>
                <a:lnTo>
                  <a:pt x="3973" y="5254"/>
                </a:lnTo>
                <a:lnTo>
                  <a:pt x="3973" y="5201"/>
                </a:lnTo>
                <a:lnTo>
                  <a:pt x="3982" y="5139"/>
                </a:lnTo>
                <a:lnTo>
                  <a:pt x="4000" y="5086"/>
                </a:lnTo>
                <a:lnTo>
                  <a:pt x="4018" y="5033"/>
                </a:lnTo>
                <a:lnTo>
                  <a:pt x="4035" y="4980"/>
                </a:lnTo>
                <a:lnTo>
                  <a:pt x="4071" y="4936"/>
                </a:lnTo>
                <a:lnTo>
                  <a:pt x="4106" y="4892"/>
                </a:lnTo>
                <a:lnTo>
                  <a:pt x="4141" y="4848"/>
                </a:lnTo>
                <a:lnTo>
                  <a:pt x="4176" y="4812"/>
                </a:lnTo>
                <a:lnTo>
                  <a:pt x="4221" y="4777"/>
                </a:lnTo>
                <a:lnTo>
                  <a:pt x="4274" y="4750"/>
                </a:lnTo>
                <a:lnTo>
                  <a:pt x="4327" y="4724"/>
                </a:lnTo>
                <a:lnTo>
                  <a:pt x="4380" y="4706"/>
                </a:lnTo>
                <a:lnTo>
                  <a:pt x="4433" y="4689"/>
                </a:lnTo>
                <a:lnTo>
                  <a:pt x="4486" y="4680"/>
                </a:lnTo>
                <a:lnTo>
                  <a:pt x="4547" y="4680"/>
                </a:lnTo>
                <a:lnTo>
                  <a:pt x="4547" y="4680"/>
                </a:lnTo>
                <a:lnTo>
                  <a:pt x="4609" y="4680"/>
                </a:lnTo>
                <a:lnTo>
                  <a:pt x="4662" y="4689"/>
                </a:lnTo>
                <a:lnTo>
                  <a:pt x="4715" y="4706"/>
                </a:lnTo>
                <a:lnTo>
                  <a:pt x="4768" y="4724"/>
                </a:lnTo>
                <a:lnTo>
                  <a:pt x="4821" y="4750"/>
                </a:lnTo>
                <a:lnTo>
                  <a:pt x="4874" y="4777"/>
                </a:lnTo>
                <a:lnTo>
                  <a:pt x="4918" y="4812"/>
                </a:lnTo>
                <a:lnTo>
                  <a:pt x="4954" y="4848"/>
                </a:lnTo>
                <a:lnTo>
                  <a:pt x="4989" y="4892"/>
                </a:lnTo>
                <a:lnTo>
                  <a:pt x="5024" y="4936"/>
                </a:lnTo>
                <a:lnTo>
                  <a:pt x="5051" y="4980"/>
                </a:lnTo>
                <a:lnTo>
                  <a:pt x="5077" y="5033"/>
                </a:lnTo>
                <a:lnTo>
                  <a:pt x="5095" y="5086"/>
                </a:lnTo>
                <a:lnTo>
                  <a:pt x="5113" y="5139"/>
                </a:lnTo>
                <a:lnTo>
                  <a:pt x="5122" y="5201"/>
                </a:lnTo>
                <a:lnTo>
                  <a:pt x="5122" y="5254"/>
                </a:lnTo>
                <a:lnTo>
                  <a:pt x="5122" y="5254"/>
                </a:lnTo>
                <a:lnTo>
                  <a:pt x="5122" y="5316"/>
                </a:lnTo>
                <a:lnTo>
                  <a:pt x="5113" y="5377"/>
                </a:lnTo>
                <a:lnTo>
                  <a:pt x="5095" y="5430"/>
                </a:lnTo>
                <a:lnTo>
                  <a:pt x="5077" y="5483"/>
                </a:lnTo>
                <a:lnTo>
                  <a:pt x="5051" y="5536"/>
                </a:lnTo>
                <a:lnTo>
                  <a:pt x="5024" y="5581"/>
                </a:lnTo>
                <a:lnTo>
                  <a:pt x="4989" y="5625"/>
                </a:lnTo>
                <a:lnTo>
                  <a:pt x="4954" y="5669"/>
                </a:lnTo>
                <a:lnTo>
                  <a:pt x="4918" y="5704"/>
                </a:lnTo>
                <a:lnTo>
                  <a:pt x="4874" y="5740"/>
                </a:lnTo>
                <a:lnTo>
                  <a:pt x="4821" y="5766"/>
                </a:lnTo>
                <a:lnTo>
                  <a:pt x="4768" y="5793"/>
                </a:lnTo>
                <a:lnTo>
                  <a:pt x="4715" y="5810"/>
                </a:lnTo>
                <a:lnTo>
                  <a:pt x="4662" y="5828"/>
                </a:lnTo>
                <a:lnTo>
                  <a:pt x="4609" y="5837"/>
                </a:lnTo>
                <a:lnTo>
                  <a:pt x="4547" y="5837"/>
                </a:lnTo>
                <a:close/>
                <a:moveTo>
                  <a:pt x="4547" y="4274"/>
                </a:moveTo>
                <a:lnTo>
                  <a:pt x="4547" y="4274"/>
                </a:lnTo>
                <a:lnTo>
                  <a:pt x="4459" y="4274"/>
                </a:lnTo>
                <a:lnTo>
                  <a:pt x="4371" y="4291"/>
                </a:lnTo>
                <a:lnTo>
                  <a:pt x="4291" y="4309"/>
                </a:lnTo>
                <a:lnTo>
                  <a:pt x="4212" y="4335"/>
                </a:lnTo>
                <a:lnTo>
                  <a:pt x="4132" y="4362"/>
                </a:lnTo>
                <a:lnTo>
                  <a:pt x="4062" y="4397"/>
                </a:lnTo>
                <a:lnTo>
                  <a:pt x="3991" y="4441"/>
                </a:lnTo>
                <a:lnTo>
                  <a:pt x="3920" y="4494"/>
                </a:lnTo>
                <a:lnTo>
                  <a:pt x="3859" y="4547"/>
                </a:lnTo>
                <a:lnTo>
                  <a:pt x="3806" y="4609"/>
                </a:lnTo>
                <a:lnTo>
                  <a:pt x="3753" y="4671"/>
                </a:lnTo>
                <a:lnTo>
                  <a:pt x="3708" y="4742"/>
                </a:lnTo>
                <a:lnTo>
                  <a:pt x="3664" y="4812"/>
                </a:lnTo>
                <a:lnTo>
                  <a:pt x="3629" y="4892"/>
                </a:lnTo>
                <a:lnTo>
                  <a:pt x="3602" y="4971"/>
                </a:lnTo>
                <a:lnTo>
                  <a:pt x="3585" y="5051"/>
                </a:lnTo>
                <a:lnTo>
                  <a:pt x="2650" y="5051"/>
                </a:lnTo>
                <a:lnTo>
                  <a:pt x="2650" y="5051"/>
                </a:lnTo>
                <a:lnTo>
                  <a:pt x="2623" y="4971"/>
                </a:lnTo>
                <a:lnTo>
                  <a:pt x="2597" y="4892"/>
                </a:lnTo>
                <a:lnTo>
                  <a:pt x="2561" y="4812"/>
                </a:lnTo>
                <a:lnTo>
                  <a:pt x="2526" y="4742"/>
                </a:lnTo>
                <a:lnTo>
                  <a:pt x="2473" y="4671"/>
                </a:lnTo>
                <a:lnTo>
                  <a:pt x="2420" y="4609"/>
                </a:lnTo>
                <a:lnTo>
                  <a:pt x="2367" y="4547"/>
                </a:lnTo>
                <a:lnTo>
                  <a:pt x="2305" y="4494"/>
                </a:lnTo>
                <a:lnTo>
                  <a:pt x="2243" y="4441"/>
                </a:lnTo>
                <a:lnTo>
                  <a:pt x="2173" y="4397"/>
                </a:lnTo>
                <a:lnTo>
                  <a:pt x="2093" y="4362"/>
                </a:lnTo>
                <a:lnTo>
                  <a:pt x="2023" y="4335"/>
                </a:lnTo>
                <a:lnTo>
                  <a:pt x="1934" y="4309"/>
                </a:lnTo>
                <a:lnTo>
                  <a:pt x="1855" y="4291"/>
                </a:lnTo>
                <a:lnTo>
                  <a:pt x="1766" y="4274"/>
                </a:lnTo>
                <a:lnTo>
                  <a:pt x="1678" y="4274"/>
                </a:lnTo>
                <a:lnTo>
                  <a:pt x="1678" y="4274"/>
                </a:lnTo>
                <a:lnTo>
                  <a:pt x="1616" y="4282"/>
                </a:lnTo>
                <a:lnTo>
                  <a:pt x="1422" y="3532"/>
                </a:lnTo>
                <a:lnTo>
                  <a:pt x="1422" y="3532"/>
                </a:lnTo>
                <a:lnTo>
                  <a:pt x="1546" y="3461"/>
                </a:lnTo>
                <a:lnTo>
                  <a:pt x="1652" y="3382"/>
                </a:lnTo>
                <a:lnTo>
                  <a:pt x="1740" y="3284"/>
                </a:lnTo>
                <a:lnTo>
                  <a:pt x="1819" y="3178"/>
                </a:lnTo>
                <a:lnTo>
                  <a:pt x="1890" y="3056"/>
                </a:lnTo>
                <a:lnTo>
                  <a:pt x="1934" y="2932"/>
                </a:lnTo>
                <a:lnTo>
                  <a:pt x="1970" y="2791"/>
                </a:lnTo>
                <a:lnTo>
                  <a:pt x="1978" y="2650"/>
                </a:lnTo>
                <a:lnTo>
                  <a:pt x="1978" y="2650"/>
                </a:lnTo>
                <a:lnTo>
                  <a:pt x="1970" y="2526"/>
                </a:lnTo>
                <a:lnTo>
                  <a:pt x="1943" y="2402"/>
                </a:lnTo>
                <a:lnTo>
                  <a:pt x="1899" y="2287"/>
                </a:lnTo>
                <a:lnTo>
                  <a:pt x="1855" y="2181"/>
                </a:lnTo>
                <a:lnTo>
                  <a:pt x="2420" y="1687"/>
                </a:lnTo>
                <a:lnTo>
                  <a:pt x="2420" y="1687"/>
                </a:lnTo>
                <a:lnTo>
                  <a:pt x="2491" y="1749"/>
                </a:lnTo>
                <a:lnTo>
                  <a:pt x="2570" y="1802"/>
                </a:lnTo>
                <a:lnTo>
                  <a:pt x="2650" y="1855"/>
                </a:lnTo>
                <a:lnTo>
                  <a:pt x="2738" y="1890"/>
                </a:lnTo>
                <a:lnTo>
                  <a:pt x="2826" y="1925"/>
                </a:lnTo>
                <a:lnTo>
                  <a:pt x="2915" y="1952"/>
                </a:lnTo>
                <a:lnTo>
                  <a:pt x="3012" y="1969"/>
                </a:lnTo>
                <a:lnTo>
                  <a:pt x="3117" y="1969"/>
                </a:lnTo>
                <a:lnTo>
                  <a:pt x="3117" y="1969"/>
                </a:lnTo>
                <a:lnTo>
                  <a:pt x="3223" y="1961"/>
                </a:lnTo>
                <a:lnTo>
                  <a:pt x="3320" y="1952"/>
                </a:lnTo>
                <a:lnTo>
                  <a:pt x="3417" y="1925"/>
                </a:lnTo>
                <a:lnTo>
                  <a:pt x="3514" y="1890"/>
                </a:lnTo>
                <a:lnTo>
                  <a:pt x="3602" y="1837"/>
                </a:lnTo>
                <a:lnTo>
                  <a:pt x="3682" y="1784"/>
                </a:lnTo>
                <a:lnTo>
                  <a:pt x="3761" y="1722"/>
                </a:lnTo>
                <a:lnTo>
                  <a:pt x="3832" y="1660"/>
                </a:lnTo>
                <a:lnTo>
                  <a:pt x="4380" y="2137"/>
                </a:lnTo>
                <a:lnTo>
                  <a:pt x="4380" y="2137"/>
                </a:lnTo>
                <a:lnTo>
                  <a:pt x="4309" y="2261"/>
                </a:lnTo>
                <a:lnTo>
                  <a:pt x="4282" y="2323"/>
                </a:lnTo>
                <a:lnTo>
                  <a:pt x="4265" y="2393"/>
                </a:lnTo>
                <a:lnTo>
                  <a:pt x="4265" y="2393"/>
                </a:lnTo>
                <a:lnTo>
                  <a:pt x="4265" y="2393"/>
                </a:lnTo>
                <a:lnTo>
                  <a:pt x="4238" y="2482"/>
                </a:lnTo>
                <a:lnTo>
                  <a:pt x="4229" y="2570"/>
                </a:lnTo>
                <a:lnTo>
                  <a:pt x="4229" y="2667"/>
                </a:lnTo>
                <a:lnTo>
                  <a:pt x="4229" y="2755"/>
                </a:lnTo>
                <a:lnTo>
                  <a:pt x="4247" y="2844"/>
                </a:lnTo>
                <a:lnTo>
                  <a:pt x="4265" y="2923"/>
                </a:lnTo>
                <a:lnTo>
                  <a:pt x="4291" y="3012"/>
                </a:lnTo>
                <a:lnTo>
                  <a:pt x="4335" y="3091"/>
                </a:lnTo>
                <a:lnTo>
                  <a:pt x="4371" y="3170"/>
                </a:lnTo>
                <a:lnTo>
                  <a:pt x="4424" y="3240"/>
                </a:lnTo>
                <a:lnTo>
                  <a:pt x="4477" y="3311"/>
                </a:lnTo>
                <a:lnTo>
                  <a:pt x="4539" y="3373"/>
                </a:lnTo>
                <a:lnTo>
                  <a:pt x="4609" y="3426"/>
                </a:lnTo>
                <a:lnTo>
                  <a:pt x="4680" y="3479"/>
                </a:lnTo>
                <a:lnTo>
                  <a:pt x="4759" y="3523"/>
                </a:lnTo>
                <a:lnTo>
                  <a:pt x="4848" y="3558"/>
                </a:lnTo>
                <a:lnTo>
                  <a:pt x="4609" y="4282"/>
                </a:lnTo>
                <a:lnTo>
                  <a:pt x="4609" y="4282"/>
                </a:lnTo>
                <a:lnTo>
                  <a:pt x="4547" y="4274"/>
                </a:lnTo>
                <a:close/>
                <a:moveTo>
                  <a:pt x="5766" y="2808"/>
                </a:moveTo>
                <a:lnTo>
                  <a:pt x="5766" y="2808"/>
                </a:lnTo>
                <a:lnTo>
                  <a:pt x="5749" y="2861"/>
                </a:lnTo>
                <a:lnTo>
                  <a:pt x="5731" y="2914"/>
                </a:lnTo>
                <a:lnTo>
                  <a:pt x="5704" y="2959"/>
                </a:lnTo>
                <a:lnTo>
                  <a:pt x="5669" y="3012"/>
                </a:lnTo>
                <a:lnTo>
                  <a:pt x="5634" y="3047"/>
                </a:lnTo>
                <a:lnTo>
                  <a:pt x="5590" y="3091"/>
                </a:lnTo>
                <a:lnTo>
                  <a:pt x="5545" y="3125"/>
                </a:lnTo>
                <a:lnTo>
                  <a:pt x="5501" y="3152"/>
                </a:lnTo>
                <a:lnTo>
                  <a:pt x="5501" y="3152"/>
                </a:lnTo>
                <a:lnTo>
                  <a:pt x="5448" y="3178"/>
                </a:lnTo>
                <a:lnTo>
                  <a:pt x="5395" y="3196"/>
                </a:lnTo>
                <a:lnTo>
                  <a:pt x="5342" y="3214"/>
                </a:lnTo>
                <a:lnTo>
                  <a:pt x="5280" y="3223"/>
                </a:lnTo>
                <a:lnTo>
                  <a:pt x="5227" y="3231"/>
                </a:lnTo>
                <a:lnTo>
                  <a:pt x="5174" y="3231"/>
                </a:lnTo>
                <a:lnTo>
                  <a:pt x="5113" y="3223"/>
                </a:lnTo>
                <a:lnTo>
                  <a:pt x="5060" y="3205"/>
                </a:lnTo>
                <a:lnTo>
                  <a:pt x="5060" y="3205"/>
                </a:lnTo>
                <a:lnTo>
                  <a:pt x="5007" y="3187"/>
                </a:lnTo>
                <a:lnTo>
                  <a:pt x="4954" y="3170"/>
                </a:lnTo>
                <a:lnTo>
                  <a:pt x="4901" y="3134"/>
                </a:lnTo>
                <a:lnTo>
                  <a:pt x="4857" y="3109"/>
                </a:lnTo>
                <a:lnTo>
                  <a:pt x="4812" y="3073"/>
                </a:lnTo>
                <a:lnTo>
                  <a:pt x="4777" y="3029"/>
                </a:lnTo>
                <a:lnTo>
                  <a:pt x="4742" y="2985"/>
                </a:lnTo>
                <a:lnTo>
                  <a:pt x="4706" y="2941"/>
                </a:lnTo>
                <a:lnTo>
                  <a:pt x="4689" y="2888"/>
                </a:lnTo>
                <a:lnTo>
                  <a:pt x="4662" y="2835"/>
                </a:lnTo>
                <a:lnTo>
                  <a:pt x="4653" y="2782"/>
                </a:lnTo>
                <a:lnTo>
                  <a:pt x="4636" y="2729"/>
                </a:lnTo>
                <a:lnTo>
                  <a:pt x="4636" y="2676"/>
                </a:lnTo>
                <a:lnTo>
                  <a:pt x="4636" y="2614"/>
                </a:lnTo>
                <a:lnTo>
                  <a:pt x="4645" y="2561"/>
                </a:lnTo>
                <a:lnTo>
                  <a:pt x="4653" y="2499"/>
                </a:lnTo>
                <a:lnTo>
                  <a:pt x="4653" y="2499"/>
                </a:lnTo>
                <a:lnTo>
                  <a:pt x="4671" y="2446"/>
                </a:lnTo>
                <a:lnTo>
                  <a:pt x="4698" y="2393"/>
                </a:lnTo>
                <a:lnTo>
                  <a:pt x="4724" y="2340"/>
                </a:lnTo>
                <a:lnTo>
                  <a:pt x="4759" y="2296"/>
                </a:lnTo>
                <a:lnTo>
                  <a:pt x="4795" y="2252"/>
                </a:lnTo>
                <a:lnTo>
                  <a:pt x="4839" y="2217"/>
                </a:lnTo>
                <a:lnTo>
                  <a:pt x="4883" y="2181"/>
                </a:lnTo>
                <a:lnTo>
                  <a:pt x="4927" y="2146"/>
                </a:lnTo>
                <a:lnTo>
                  <a:pt x="4980" y="2128"/>
                </a:lnTo>
                <a:lnTo>
                  <a:pt x="5024" y="2102"/>
                </a:lnTo>
                <a:lnTo>
                  <a:pt x="5077" y="2093"/>
                </a:lnTo>
                <a:lnTo>
                  <a:pt x="5139" y="2075"/>
                </a:lnTo>
                <a:lnTo>
                  <a:pt x="5192" y="2075"/>
                </a:lnTo>
                <a:lnTo>
                  <a:pt x="5254" y="2075"/>
                </a:lnTo>
                <a:lnTo>
                  <a:pt x="5307" y="2084"/>
                </a:lnTo>
                <a:lnTo>
                  <a:pt x="5369" y="2093"/>
                </a:lnTo>
                <a:lnTo>
                  <a:pt x="5369" y="2093"/>
                </a:lnTo>
                <a:lnTo>
                  <a:pt x="5422" y="2111"/>
                </a:lnTo>
                <a:lnTo>
                  <a:pt x="5475" y="2137"/>
                </a:lnTo>
                <a:lnTo>
                  <a:pt x="5528" y="2164"/>
                </a:lnTo>
                <a:lnTo>
                  <a:pt x="5572" y="2199"/>
                </a:lnTo>
                <a:lnTo>
                  <a:pt x="5616" y="2234"/>
                </a:lnTo>
                <a:lnTo>
                  <a:pt x="5651" y="2279"/>
                </a:lnTo>
                <a:lnTo>
                  <a:pt x="5687" y="2323"/>
                </a:lnTo>
                <a:lnTo>
                  <a:pt x="5713" y="2367"/>
                </a:lnTo>
                <a:lnTo>
                  <a:pt x="5740" y="2420"/>
                </a:lnTo>
                <a:lnTo>
                  <a:pt x="5757" y="2464"/>
                </a:lnTo>
                <a:lnTo>
                  <a:pt x="5775" y="2526"/>
                </a:lnTo>
                <a:lnTo>
                  <a:pt x="5784" y="2579"/>
                </a:lnTo>
                <a:lnTo>
                  <a:pt x="5793" y="2632"/>
                </a:lnTo>
                <a:lnTo>
                  <a:pt x="5784" y="2694"/>
                </a:lnTo>
                <a:lnTo>
                  <a:pt x="5784" y="2747"/>
                </a:lnTo>
                <a:lnTo>
                  <a:pt x="5766" y="2808"/>
                </a:lnTo>
                <a:close/>
              </a:path>
            </a:pathLst>
          </a:custGeom>
          <a:solidFill>
            <a:srgbClr val="001F54"/>
          </a:solidFill>
          <a:ln>
            <a:noFill/>
          </a:ln>
          <a:effectLst/>
        </p:spPr>
        <p:txBody>
          <a:bodyPr wrap="none" anchor="ctr"/>
          <a:lstStyle/>
          <a:p>
            <a:pPr defTabSz="932597"/>
            <a:endParaRPr lang="en-US" sz="1836">
              <a:solidFill>
                <a:srgbClr val="505050"/>
              </a:solidFill>
              <a:latin typeface="Segoe UI"/>
            </a:endParaRPr>
          </a:p>
        </p:txBody>
      </p:sp>
      <p:sp>
        <p:nvSpPr>
          <p:cNvPr id="105" name="Freeform 33">
            <a:extLst>
              <a:ext uri="{FF2B5EF4-FFF2-40B4-BE49-F238E27FC236}">
                <a16:creationId xmlns:a16="http://schemas.microsoft.com/office/drawing/2014/main" id="{99DFACAD-A2AD-4615-878C-7579897160E0}"/>
              </a:ext>
            </a:extLst>
          </p:cNvPr>
          <p:cNvSpPr>
            <a:spLocks noChangeArrowheads="1"/>
          </p:cNvSpPr>
          <p:nvPr/>
        </p:nvSpPr>
        <p:spPr bwMode="auto">
          <a:xfrm>
            <a:off x="9468623" y="513712"/>
            <a:ext cx="234024" cy="227812"/>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tx1"/>
          </a:solidFill>
          <a:ln>
            <a:noFill/>
          </a:ln>
          <a:effectLst/>
        </p:spPr>
        <p:txBody>
          <a:bodyPr wrap="none" anchor="ctr"/>
          <a:lstStyle/>
          <a:p>
            <a:pPr defTabSz="914224">
              <a:defRPr/>
            </a:pPr>
            <a:endParaRPr lang="en-US">
              <a:solidFill>
                <a:srgbClr val="505050"/>
              </a:solidFill>
              <a:latin typeface="Segoe UI"/>
            </a:endParaRPr>
          </a:p>
        </p:txBody>
      </p:sp>
      <p:sp>
        <p:nvSpPr>
          <p:cNvPr id="106" name="Rectangle 105">
            <a:extLst>
              <a:ext uri="{FF2B5EF4-FFF2-40B4-BE49-F238E27FC236}">
                <a16:creationId xmlns:a16="http://schemas.microsoft.com/office/drawing/2014/main" id="{658A40B8-69FF-4906-93DE-B53DFF46E6BA}"/>
              </a:ext>
            </a:extLst>
          </p:cNvPr>
          <p:cNvSpPr/>
          <p:nvPr/>
        </p:nvSpPr>
        <p:spPr bwMode="auto">
          <a:xfrm>
            <a:off x="9205940" y="786401"/>
            <a:ext cx="759389" cy="3547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cs typeface="Segoe UI Semibold" panose="020B0702040204020203" pitchFamily="34" charset="0"/>
              </a:rPr>
              <a:t>Tools</a:t>
            </a:r>
          </a:p>
        </p:txBody>
      </p:sp>
      <p:grpSp>
        <p:nvGrpSpPr>
          <p:cNvPr id="107" name="Group 106">
            <a:extLst>
              <a:ext uri="{FF2B5EF4-FFF2-40B4-BE49-F238E27FC236}">
                <a16:creationId xmlns:a16="http://schemas.microsoft.com/office/drawing/2014/main" id="{767DFD6F-1431-45CB-81E6-12A7FD68347E}"/>
              </a:ext>
            </a:extLst>
          </p:cNvPr>
          <p:cNvGrpSpPr/>
          <p:nvPr/>
        </p:nvGrpSpPr>
        <p:grpSpPr>
          <a:xfrm>
            <a:off x="10069857" y="515149"/>
            <a:ext cx="297134" cy="224936"/>
            <a:chOff x="3461033" y="4287838"/>
            <a:chExt cx="4351337" cy="3294062"/>
          </a:xfrm>
          <a:solidFill>
            <a:schemeClr val="accent1"/>
          </a:solidFill>
        </p:grpSpPr>
        <p:sp>
          <p:nvSpPr>
            <p:cNvPr id="108" name="Freeform 6">
              <a:extLst>
                <a:ext uri="{FF2B5EF4-FFF2-40B4-BE49-F238E27FC236}">
                  <a16:creationId xmlns:a16="http://schemas.microsoft.com/office/drawing/2014/main" id="{E09D2F0D-EAC4-4BD6-8CC2-2D4F9498157B}"/>
                </a:ext>
              </a:extLst>
            </p:cNvPr>
            <p:cNvSpPr>
              <a:spLocks noChangeArrowheads="1"/>
            </p:cNvSpPr>
            <p:nvPr/>
          </p:nvSpPr>
          <p:spPr bwMode="auto">
            <a:xfrm>
              <a:off x="346103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endParaRPr lang="en-US">
                <a:solidFill>
                  <a:srgbClr val="505050"/>
                </a:solidFill>
                <a:latin typeface="Segoe UI"/>
              </a:endParaRPr>
            </a:p>
          </p:txBody>
        </p:sp>
        <p:sp>
          <p:nvSpPr>
            <p:cNvPr id="109" name="Freeform 7">
              <a:extLst>
                <a:ext uri="{FF2B5EF4-FFF2-40B4-BE49-F238E27FC236}">
                  <a16:creationId xmlns:a16="http://schemas.microsoft.com/office/drawing/2014/main" id="{08741587-AE1F-4CBA-8D5E-5DF587FBE298}"/>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grpSp>
      <p:sp>
        <p:nvSpPr>
          <p:cNvPr id="110" name="Rectangle 109">
            <a:extLst>
              <a:ext uri="{FF2B5EF4-FFF2-40B4-BE49-F238E27FC236}">
                <a16:creationId xmlns:a16="http://schemas.microsoft.com/office/drawing/2014/main" id="{065A1CED-180E-4618-B0E6-656B28226706}"/>
              </a:ext>
            </a:extLst>
          </p:cNvPr>
          <p:cNvSpPr/>
          <p:nvPr/>
        </p:nvSpPr>
        <p:spPr bwMode="auto">
          <a:xfrm>
            <a:off x="9721969" y="786401"/>
            <a:ext cx="992912" cy="3520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dvanced</a:t>
            </a:r>
            <a:b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br>
            <a: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workloads</a:t>
            </a:r>
          </a:p>
        </p:txBody>
      </p:sp>
      <p:grpSp>
        <p:nvGrpSpPr>
          <p:cNvPr id="111" name="Group 110">
            <a:extLst>
              <a:ext uri="{FF2B5EF4-FFF2-40B4-BE49-F238E27FC236}">
                <a16:creationId xmlns:a16="http://schemas.microsoft.com/office/drawing/2014/main" id="{65371B84-89CA-4894-BA15-789F60C9755F}"/>
              </a:ext>
            </a:extLst>
          </p:cNvPr>
          <p:cNvGrpSpPr/>
          <p:nvPr/>
        </p:nvGrpSpPr>
        <p:grpSpPr>
          <a:xfrm>
            <a:off x="10802952" y="503765"/>
            <a:ext cx="330048" cy="247703"/>
            <a:chOff x="3658178" y="5898425"/>
            <a:chExt cx="530263" cy="397965"/>
          </a:xfrm>
          <a:solidFill>
            <a:schemeClr val="tx1"/>
          </a:solidFill>
        </p:grpSpPr>
        <p:sp>
          <p:nvSpPr>
            <p:cNvPr id="112" name="Freeform 1">
              <a:extLst>
                <a:ext uri="{FF2B5EF4-FFF2-40B4-BE49-F238E27FC236}">
                  <a16:creationId xmlns:a16="http://schemas.microsoft.com/office/drawing/2014/main" id="{DAD36FE1-7242-4457-B503-DF870B729A7C}"/>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113" name="Freeform 2">
              <a:extLst>
                <a:ext uri="{FF2B5EF4-FFF2-40B4-BE49-F238E27FC236}">
                  <a16:creationId xmlns:a16="http://schemas.microsoft.com/office/drawing/2014/main" id="{C3442387-8B49-41E6-97C0-4CDE73172C81}"/>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114" name="Freeform 3">
              <a:extLst>
                <a:ext uri="{FF2B5EF4-FFF2-40B4-BE49-F238E27FC236}">
                  <a16:creationId xmlns:a16="http://schemas.microsoft.com/office/drawing/2014/main" id="{BE06980F-EFEA-4806-BD60-613D2D930155}"/>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115" name="Freeform 4">
              <a:extLst>
                <a:ext uri="{FF2B5EF4-FFF2-40B4-BE49-F238E27FC236}">
                  <a16:creationId xmlns:a16="http://schemas.microsoft.com/office/drawing/2014/main" id="{D70995F4-EB1E-4A54-9817-BAB4AC9A3734}"/>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grpSp>
      <p:sp>
        <p:nvSpPr>
          <p:cNvPr id="116" name="Rectangle 115">
            <a:extLst>
              <a:ext uri="{FF2B5EF4-FFF2-40B4-BE49-F238E27FC236}">
                <a16:creationId xmlns:a16="http://schemas.microsoft.com/office/drawing/2014/main" id="{730F2717-0CBC-4ADD-84C0-6870A8D965B0}"/>
              </a:ext>
            </a:extLst>
          </p:cNvPr>
          <p:cNvSpPr/>
          <p:nvPr/>
        </p:nvSpPr>
        <p:spPr bwMode="auto">
          <a:xfrm>
            <a:off x="10471520" y="786400"/>
            <a:ext cx="992912" cy="3508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cs typeface="Segoe UI Semibold" panose="020B0702040204020203" pitchFamily="34" charset="0"/>
              </a:rPr>
              <a:t>Core infrastructure</a:t>
            </a:r>
          </a:p>
        </p:txBody>
      </p:sp>
      <p:grpSp>
        <p:nvGrpSpPr>
          <p:cNvPr id="117" name="Group 116">
            <a:extLst>
              <a:ext uri="{FF2B5EF4-FFF2-40B4-BE49-F238E27FC236}">
                <a16:creationId xmlns:a16="http://schemas.microsoft.com/office/drawing/2014/main" id="{554218C8-19EF-427C-9033-781A04679D90}"/>
              </a:ext>
            </a:extLst>
          </p:cNvPr>
          <p:cNvGrpSpPr/>
          <p:nvPr/>
        </p:nvGrpSpPr>
        <p:grpSpPr>
          <a:xfrm>
            <a:off x="11597877" y="475529"/>
            <a:ext cx="239304" cy="304175"/>
            <a:chOff x="11113218" y="-1760538"/>
            <a:chExt cx="439251" cy="558324"/>
          </a:xfrm>
          <a:solidFill>
            <a:schemeClr val="tx1"/>
          </a:solidFill>
        </p:grpSpPr>
        <p:sp>
          <p:nvSpPr>
            <p:cNvPr id="118" name="Freeform 21">
              <a:extLst>
                <a:ext uri="{FF2B5EF4-FFF2-40B4-BE49-F238E27FC236}">
                  <a16:creationId xmlns:a16="http://schemas.microsoft.com/office/drawing/2014/main" id="{4C85CE8F-804D-4F6F-BAA7-F1559C422CB0}"/>
                </a:ext>
              </a:extLst>
            </p:cNvPr>
            <p:cNvSpPr>
              <a:spLocks noChangeArrowheads="1"/>
            </p:cNvSpPr>
            <p:nvPr/>
          </p:nvSpPr>
          <p:spPr bwMode="auto">
            <a:xfrm>
              <a:off x="11113218" y="-1760538"/>
              <a:ext cx="439251" cy="558324"/>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sp>
          <p:nvSpPr>
            <p:cNvPr id="119" name="Freeform 22">
              <a:extLst>
                <a:ext uri="{FF2B5EF4-FFF2-40B4-BE49-F238E27FC236}">
                  <a16:creationId xmlns:a16="http://schemas.microsoft.com/office/drawing/2014/main" id="{492F8381-A926-44E9-96A8-854ABC7C10FD}"/>
                </a:ext>
              </a:extLst>
            </p:cNvPr>
            <p:cNvSpPr>
              <a:spLocks noChangeArrowheads="1"/>
            </p:cNvSpPr>
            <p:nvPr/>
          </p:nvSpPr>
          <p:spPr bwMode="auto">
            <a:xfrm>
              <a:off x="11449873" y="-1297715"/>
              <a:ext cx="37286" cy="37286"/>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sp>
          <p:nvSpPr>
            <p:cNvPr id="120" name="Freeform 23">
              <a:extLst>
                <a:ext uri="{FF2B5EF4-FFF2-40B4-BE49-F238E27FC236}">
                  <a16:creationId xmlns:a16="http://schemas.microsoft.com/office/drawing/2014/main" id="{5E540B2A-3FAE-4805-A124-A9535376BC37}"/>
                </a:ext>
              </a:extLst>
            </p:cNvPr>
            <p:cNvSpPr>
              <a:spLocks noChangeArrowheads="1"/>
            </p:cNvSpPr>
            <p:nvPr/>
          </p:nvSpPr>
          <p:spPr bwMode="auto">
            <a:xfrm>
              <a:off x="11174559" y="-1291461"/>
              <a:ext cx="205794" cy="24777"/>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grpSp>
      <p:sp>
        <p:nvSpPr>
          <p:cNvPr id="121" name="Rectangle 120">
            <a:extLst>
              <a:ext uri="{FF2B5EF4-FFF2-40B4-BE49-F238E27FC236}">
                <a16:creationId xmlns:a16="http://schemas.microsoft.com/office/drawing/2014/main" id="{E0C4C6A8-3D81-4579-8344-5E0936B93AAB}"/>
              </a:ext>
            </a:extLst>
          </p:cNvPr>
          <p:cNvSpPr/>
          <p:nvPr/>
        </p:nvSpPr>
        <p:spPr bwMode="auto">
          <a:xfrm>
            <a:off x="11221073" y="786401"/>
            <a:ext cx="992912" cy="3493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ea typeface="Segoe UI" pitchFamily="34" charset="0"/>
                <a:cs typeface="Segoe UI Semibold" panose="020B0702040204020203" pitchFamily="34" charset="0"/>
              </a:rPr>
              <a:t>Azure Stack + Hybrid</a:t>
            </a:r>
          </a:p>
        </p:txBody>
      </p:sp>
    </p:spTree>
    <p:extLst>
      <p:ext uri="{BB962C8B-B14F-4D97-AF65-F5344CB8AC3E}">
        <p14:creationId xmlns:p14="http://schemas.microsoft.com/office/powerpoint/2010/main" val="105968475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 Service – Azure PaaS </a:t>
            </a:r>
          </a:p>
        </p:txBody>
      </p:sp>
      <p:grpSp>
        <p:nvGrpSpPr>
          <p:cNvPr id="41" name="Group 40"/>
          <p:cNvGrpSpPr/>
          <p:nvPr/>
        </p:nvGrpSpPr>
        <p:grpSpPr>
          <a:xfrm>
            <a:off x="4615317" y="3363680"/>
            <a:ext cx="462642" cy="272457"/>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p:cNvGrpSpPr/>
          <p:nvPr/>
        </p:nvGrpSpPr>
        <p:grpSpPr>
          <a:xfrm>
            <a:off x="884238" y="1825992"/>
            <a:ext cx="3343054" cy="3327828"/>
            <a:chOff x="827088" y="-3463925"/>
            <a:chExt cx="3833812" cy="3816350"/>
          </a:xfrm>
        </p:grpSpPr>
        <p:sp>
          <p:nvSpPr>
            <p:cNvPr id="37"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3" name="Group 32"/>
          <p:cNvGrpSpPr/>
          <p:nvPr/>
        </p:nvGrpSpPr>
        <p:grpSpPr>
          <a:xfrm>
            <a:off x="9145690" y="3643020"/>
            <a:ext cx="2635145" cy="1689599"/>
            <a:chOff x="8728103" y="4231511"/>
            <a:chExt cx="2635145" cy="1689599"/>
          </a:xfrm>
        </p:grpSpPr>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4157" y="4231511"/>
              <a:ext cx="683036" cy="683036"/>
            </a:xfrm>
            <a:prstGeom prst="flowChartOffpageConnector">
              <a:avLst/>
            </a:prstGeom>
            <a:noFill/>
          </p:spPr>
        </p:pic>
        <p:sp>
          <p:nvSpPr>
            <p:cNvPr id="49" name="TextBox 48"/>
            <p:cNvSpPr txBox="1"/>
            <p:nvPr/>
          </p:nvSpPr>
          <p:spPr>
            <a:xfrm>
              <a:off x="8728103" y="5010007"/>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API Apps</a:t>
              </a:r>
            </a:p>
          </p:txBody>
        </p:sp>
        <p:sp>
          <p:nvSpPr>
            <p:cNvPr id="54" name="TextBox 53"/>
            <p:cNvSpPr txBox="1"/>
            <p:nvPr/>
          </p:nvSpPr>
          <p:spPr>
            <a:xfrm>
              <a:off x="8728103" y="5444056"/>
              <a:ext cx="2635145"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Easily build and consume APIs in the cloud</a:t>
              </a:r>
            </a:p>
          </p:txBody>
        </p:sp>
      </p:grpSp>
      <p:grpSp>
        <p:nvGrpSpPr>
          <p:cNvPr id="55" name="Group 54"/>
          <p:cNvGrpSpPr/>
          <p:nvPr/>
        </p:nvGrpSpPr>
        <p:grpSpPr>
          <a:xfrm>
            <a:off x="5466918" y="1487693"/>
            <a:ext cx="3380957" cy="1713152"/>
            <a:chOff x="5434663" y="1339128"/>
            <a:chExt cx="3380957" cy="1713152"/>
          </a:xfrm>
        </p:grpSpPr>
        <p:sp>
          <p:nvSpPr>
            <p:cNvPr id="56" name="TextBox 55"/>
            <p:cNvSpPr txBox="1"/>
            <p:nvPr/>
          </p:nvSpPr>
          <p:spPr>
            <a:xfrm>
              <a:off x="5648241" y="2147024"/>
              <a:ext cx="2929173"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Web Apps</a:t>
              </a:r>
            </a:p>
          </p:txBody>
        </p:sp>
        <p:sp>
          <p:nvSpPr>
            <p:cNvPr id="57" name="TextBox 56"/>
            <p:cNvSpPr txBox="1"/>
            <p:nvPr/>
          </p:nvSpPr>
          <p:spPr>
            <a:xfrm>
              <a:off x="5434663" y="2575226"/>
              <a:ext cx="3380957" cy="477054"/>
            </a:xfrm>
            <a:prstGeom prst="rect">
              <a:avLst/>
            </a:prstGeom>
            <a:noFill/>
          </p:spPr>
          <p:txBody>
            <a:bodyPr wrap="square" lIns="186494" rIns="186494" rtlCol="0">
              <a:spAutoFit/>
            </a:bodyPr>
            <a:lstStyle/>
            <a:p>
              <a:pPr algn="ctr">
                <a:lnSpc>
                  <a:spcPts val="1530"/>
                </a:lnSpc>
                <a:defRPr/>
              </a:pPr>
              <a:r>
                <a:rPr lang="en-US" sz="1600" kern="0" dirty="0">
                  <a:latin typeface="Segoe UI Light"/>
                </a:rPr>
                <a:t>Web apps that scale </a:t>
              </a:r>
              <a:br>
                <a:rPr lang="en-US" sz="1600" kern="0" dirty="0">
                  <a:latin typeface="Segoe UI Light"/>
                </a:rPr>
              </a:br>
              <a:r>
                <a:rPr lang="en-US" sz="1600" kern="0" dirty="0">
                  <a:latin typeface="Segoe UI Light"/>
                </a:rPr>
                <a:t>with your business</a:t>
              </a:r>
            </a:p>
          </p:txBody>
        </p:sp>
        <p:pic>
          <p:nvPicPr>
            <p:cNvPr id="58" name="Picture 57"/>
            <p:cNvPicPr>
              <a:picLocks noChangeAspect="1"/>
            </p:cNvPicPr>
            <p:nvPr/>
          </p:nvPicPr>
          <p:blipFill>
            <a:blip r:embed="rId4"/>
            <a:stretch>
              <a:fillRect/>
            </a:stretch>
          </p:blipFill>
          <p:spPr>
            <a:xfrm>
              <a:off x="6781285" y="1339128"/>
              <a:ext cx="724282" cy="707395"/>
            </a:xfrm>
            <a:prstGeom prst="rect">
              <a:avLst/>
            </a:prstGeom>
          </p:spPr>
        </p:pic>
      </p:grpSp>
      <p:grpSp>
        <p:nvGrpSpPr>
          <p:cNvPr id="59" name="Group 58"/>
          <p:cNvGrpSpPr/>
          <p:nvPr/>
        </p:nvGrpSpPr>
        <p:grpSpPr>
          <a:xfrm>
            <a:off x="9145691" y="1439862"/>
            <a:ext cx="2635146" cy="1760983"/>
            <a:chOff x="8642021" y="1291297"/>
            <a:chExt cx="2635146" cy="1760983"/>
          </a:xfrm>
        </p:grpSpPr>
        <p:sp>
          <p:nvSpPr>
            <p:cNvPr id="60" name="TextBox 59"/>
            <p:cNvSpPr txBox="1"/>
            <p:nvPr/>
          </p:nvSpPr>
          <p:spPr>
            <a:xfrm>
              <a:off x="8642022" y="2147024"/>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Mobile Apps</a:t>
              </a:r>
            </a:p>
          </p:txBody>
        </p:sp>
        <p:sp>
          <p:nvSpPr>
            <p:cNvPr id="61" name="TextBox 60"/>
            <p:cNvSpPr txBox="1"/>
            <p:nvPr/>
          </p:nvSpPr>
          <p:spPr>
            <a:xfrm>
              <a:off x="8642021" y="2575226"/>
              <a:ext cx="2635145"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Build Mobile apps </a:t>
              </a:r>
              <a:br>
                <a:rPr lang="en-US" sz="1600" dirty="0">
                  <a:solidFill>
                    <a:schemeClr val="tx1"/>
                  </a:solidFill>
                </a:rPr>
              </a:br>
              <a:r>
                <a:rPr lang="en-US" sz="1600" dirty="0">
                  <a:solidFill>
                    <a:schemeClr val="tx1"/>
                  </a:solidFill>
                </a:rPr>
                <a:t>for any device</a:t>
              </a:r>
            </a:p>
          </p:txBody>
        </p:sp>
        <p:pic>
          <p:nvPicPr>
            <p:cNvPr id="62" name="Picture 61"/>
            <p:cNvPicPr>
              <a:picLocks noChangeAspect="1"/>
            </p:cNvPicPr>
            <p:nvPr/>
          </p:nvPicPr>
          <p:blipFill>
            <a:blip r:embed="rId5"/>
            <a:stretch>
              <a:fillRect/>
            </a:stretch>
          </p:blipFill>
          <p:spPr>
            <a:xfrm>
              <a:off x="9633371" y="1291297"/>
              <a:ext cx="556237" cy="798699"/>
            </a:xfrm>
            <a:prstGeom prst="rect">
              <a:avLst/>
            </a:prstGeom>
          </p:spPr>
        </p:pic>
      </p:grpSp>
      <p:cxnSp>
        <p:nvCxnSpPr>
          <p:cNvPr id="63" name="Straight Connector 62"/>
          <p:cNvCxnSpPr/>
          <p:nvPr/>
        </p:nvCxnSpPr>
        <p:spPr>
          <a:xfrm>
            <a:off x="8904293" y="1484912"/>
            <a:ext cx="0" cy="4132056"/>
          </a:xfrm>
          <a:prstGeom prst="line">
            <a:avLst/>
          </a:prstGeom>
          <a:ln>
            <a:solidFill>
              <a:schemeClr val="accent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146229" y="3385899"/>
            <a:ext cx="5516128" cy="0"/>
          </a:xfrm>
          <a:prstGeom prst="line">
            <a:avLst/>
          </a:prstGeom>
          <a:ln>
            <a:solidFill>
              <a:schemeClr val="accent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7652023" y="5810984"/>
            <a:ext cx="2910199" cy="901606"/>
            <a:chOff x="5731151" y="2575724"/>
            <a:chExt cx="2910199" cy="901606"/>
          </a:xfrm>
        </p:grpSpPr>
        <p:sp>
          <p:nvSpPr>
            <p:cNvPr id="67" name="TextBox 66"/>
            <p:cNvSpPr txBox="1"/>
            <p:nvPr/>
          </p:nvSpPr>
          <p:spPr>
            <a:xfrm>
              <a:off x="5827509" y="2575724"/>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Logic Apps</a:t>
              </a:r>
            </a:p>
          </p:txBody>
        </p:sp>
        <p:sp>
          <p:nvSpPr>
            <p:cNvPr id="68" name="TextBox 67"/>
            <p:cNvSpPr txBox="1"/>
            <p:nvPr/>
          </p:nvSpPr>
          <p:spPr>
            <a:xfrm>
              <a:off x="5731151" y="3000276"/>
              <a:ext cx="2910199"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Automate business process across SaaS and on-premises </a:t>
              </a:r>
            </a:p>
          </p:txBody>
        </p:sp>
      </p:grpSp>
      <p:pic>
        <p:nvPicPr>
          <p:cNvPr id="6" name="Picture 5"/>
          <p:cNvPicPr>
            <a:picLocks noChangeAspect="1"/>
          </p:cNvPicPr>
          <p:nvPr/>
        </p:nvPicPr>
        <p:blipFill>
          <a:blip r:embed="rId6"/>
          <a:stretch>
            <a:fillRect/>
          </a:stretch>
        </p:blipFill>
        <p:spPr>
          <a:xfrm>
            <a:off x="6813540" y="3636137"/>
            <a:ext cx="843033" cy="843033"/>
          </a:xfrm>
          <a:prstGeom prst="rect">
            <a:avLst/>
          </a:prstGeom>
        </p:spPr>
      </p:pic>
      <p:sp>
        <p:nvSpPr>
          <p:cNvPr id="52" name="TextBox 51"/>
          <p:cNvSpPr txBox="1"/>
          <p:nvPr/>
        </p:nvSpPr>
        <p:spPr>
          <a:xfrm>
            <a:off x="6474817" y="4396763"/>
            <a:ext cx="1562700"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Functions</a:t>
            </a:r>
          </a:p>
        </p:txBody>
      </p:sp>
      <p:sp>
        <p:nvSpPr>
          <p:cNvPr id="53" name="TextBox 52"/>
          <p:cNvSpPr txBox="1"/>
          <p:nvPr/>
        </p:nvSpPr>
        <p:spPr>
          <a:xfrm>
            <a:off x="5939966" y="4826705"/>
            <a:ext cx="2605059"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Create </a:t>
            </a:r>
            <a:r>
              <a:rPr lang="en-US" sz="1600" dirty="0" err="1">
                <a:solidFill>
                  <a:schemeClr val="tx1"/>
                </a:solidFill>
              </a:rPr>
              <a:t>serverless</a:t>
            </a:r>
            <a:r>
              <a:rPr lang="en-US" sz="1600" dirty="0">
                <a:solidFill>
                  <a:schemeClr val="tx1"/>
                </a:solidFill>
              </a:rPr>
              <a:t> apps without infrastructure</a:t>
            </a:r>
          </a:p>
        </p:txBody>
      </p:sp>
      <p:pic>
        <p:nvPicPr>
          <p:cNvPr id="36" name="Graphic 35">
            <a:extLst>
              <a:ext uri="{FF2B5EF4-FFF2-40B4-BE49-F238E27FC236}">
                <a16:creationId xmlns:a16="http://schemas.microsoft.com/office/drawing/2014/main" id="{B4506F05-CBC3-45C3-A216-6FB835FEF0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14488" y="5958850"/>
            <a:ext cx="785714" cy="785714"/>
          </a:xfrm>
          <a:prstGeom prst="rect">
            <a:avLst/>
          </a:prstGeom>
        </p:spPr>
      </p:pic>
    </p:spTree>
    <p:extLst>
      <p:ext uri="{BB962C8B-B14F-4D97-AF65-F5344CB8AC3E}">
        <p14:creationId xmlns:p14="http://schemas.microsoft.com/office/powerpoint/2010/main" val="5015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98576" y="295730"/>
            <a:ext cx="10962419" cy="917444"/>
          </a:xfrm>
        </p:spPr>
        <p:txBody>
          <a:bodyPr/>
          <a:lstStyle/>
          <a:p>
            <a:r>
              <a:rPr lang="en-US"/>
              <a:t>Azure App Service</a:t>
            </a:r>
          </a:p>
        </p:txBody>
      </p:sp>
      <p:grpSp>
        <p:nvGrpSpPr>
          <p:cNvPr id="61" name="Group 60"/>
          <p:cNvGrpSpPr>
            <a:grpSpLocks noChangeAspect="1"/>
          </p:cNvGrpSpPr>
          <p:nvPr/>
        </p:nvGrpSpPr>
        <p:grpSpPr>
          <a:xfrm>
            <a:off x="275482" y="299319"/>
            <a:ext cx="918456" cy="914270"/>
            <a:chOff x="827088" y="-3463925"/>
            <a:chExt cx="3833812" cy="3816350"/>
          </a:xfrm>
        </p:grpSpPr>
        <p:sp>
          <p:nvSpPr>
            <p:cNvPr id="62"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3"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4"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5"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6"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7"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8"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9"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grpSp>
      <p:sp>
        <p:nvSpPr>
          <p:cNvPr id="70" name="TextBox 69"/>
          <p:cNvSpPr txBox="1"/>
          <p:nvPr/>
        </p:nvSpPr>
        <p:spPr>
          <a:xfrm>
            <a:off x="275483" y="1618180"/>
            <a:ext cx="3931363" cy="4900489"/>
          </a:xfrm>
          <a:prstGeom prst="rect">
            <a:avLst/>
          </a:prstGeom>
          <a:solidFill>
            <a:srgbClr val="4B4B4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Enterprise-grade apps</a:t>
            </a:r>
          </a:p>
        </p:txBody>
      </p:sp>
      <p:sp>
        <p:nvSpPr>
          <p:cNvPr id="71" name="TextBox 70"/>
          <p:cNvSpPr txBox="1"/>
          <p:nvPr/>
        </p:nvSpPr>
        <p:spPr>
          <a:xfrm>
            <a:off x="4252557" y="1618182"/>
            <a:ext cx="3931363" cy="4900489"/>
          </a:xfrm>
          <a:prstGeom prst="rect">
            <a:avLst/>
          </a:prstGeom>
          <a:solidFill>
            <a:srgbClr val="1B1B1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Fully managed platform</a:t>
            </a:r>
          </a:p>
        </p:txBody>
      </p:sp>
      <p:sp>
        <p:nvSpPr>
          <p:cNvPr id="72" name="TextBox 71"/>
          <p:cNvSpPr txBox="1"/>
          <p:nvPr/>
        </p:nvSpPr>
        <p:spPr>
          <a:xfrm>
            <a:off x="8229632" y="1618182"/>
            <a:ext cx="3931363" cy="4900489"/>
          </a:xfrm>
          <a:prstGeom prst="rect">
            <a:avLst/>
          </a:prstGeom>
          <a:solidFill>
            <a:srgbClr val="4B4B4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High productivity development</a:t>
            </a:r>
          </a:p>
        </p:txBody>
      </p:sp>
      <p:grpSp>
        <p:nvGrpSpPr>
          <p:cNvPr id="30" name="Group 29"/>
          <p:cNvGrpSpPr/>
          <p:nvPr/>
        </p:nvGrpSpPr>
        <p:grpSpPr>
          <a:xfrm>
            <a:off x="497683" y="4735338"/>
            <a:ext cx="1518730" cy="1131305"/>
            <a:chOff x="496870" y="4735511"/>
            <a:chExt cx="1518944" cy="1131465"/>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0" name="TextBox 109"/>
            <p:cNvSpPr txBox="1"/>
            <p:nvPr/>
          </p:nvSpPr>
          <p:spPr>
            <a:xfrm>
              <a:off x="496870" y="5379331"/>
              <a:ext cx="151894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Active Directory </a:t>
              </a:r>
            </a:p>
            <a:p>
              <a:r>
                <a:rPr lang="en-US" sz="1399"/>
                <a:t>integrated </a:t>
              </a:r>
            </a:p>
          </p:txBody>
        </p:sp>
      </p:grpSp>
      <p:grpSp>
        <p:nvGrpSpPr>
          <p:cNvPr id="31" name="Group 30"/>
          <p:cNvGrpSpPr/>
          <p:nvPr/>
        </p:nvGrpSpPr>
        <p:grpSpPr>
          <a:xfrm>
            <a:off x="2315507" y="4661526"/>
            <a:ext cx="1808109" cy="1007484"/>
            <a:chOff x="2314953" y="4661692"/>
            <a:chExt cx="1808365" cy="1007627"/>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6" name="TextBox 115"/>
            <p:cNvSpPr txBox="1"/>
            <p:nvPr/>
          </p:nvSpPr>
          <p:spPr>
            <a:xfrm>
              <a:off x="2314953" y="5379331"/>
              <a:ext cx="1808365" cy="289988"/>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Secure + compliant </a:t>
              </a:r>
            </a:p>
          </p:txBody>
        </p:sp>
      </p:grpSp>
      <p:grpSp>
        <p:nvGrpSpPr>
          <p:cNvPr id="35" name="Group 34"/>
          <p:cNvGrpSpPr/>
          <p:nvPr/>
        </p:nvGrpSpPr>
        <p:grpSpPr>
          <a:xfrm>
            <a:off x="4454990" y="4655380"/>
            <a:ext cx="1557967" cy="1211259"/>
            <a:chOff x="4454739" y="4655544"/>
            <a:chExt cx="1558187" cy="1211432"/>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5" name="TextBox 124"/>
            <p:cNvSpPr txBox="1"/>
            <p:nvPr/>
          </p:nvSpPr>
          <p:spPr>
            <a:xfrm>
              <a:off x="4454739" y="5379331"/>
              <a:ext cx="1558187"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Reduced</a:t>
              </a:r>
              <a:br>
                <a:rPr lang="en-US" sz="1399"/>
              </a:br>
              <a:r>
                <a:rPr lang="en-US" sz="1399"/>
                <a:t>operations costs </a:t>
              </a:r>
            </a:p>
          </p:txBody>
        </p:sp>
      </p:grpSp>
      <p:grpSp>
        <p:nvGrpSpPr>
          <p:cNvPr id="36" name="Group 35"/>
          <p:cNvGrpSpPr/>
          <p:nvPr/>
        </p:nvGrpSpPr>
        <p:grpSpPr>
          <a:xfrm>
            <a:off x="6635779" y="4594861"/>
            <a:ext cx="1124715" cy="1271779"/>
            <a:chOff x="6635837" y="4595017"/>
            <a:chExt cx="1124874" cy="127195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8" name="TextBox 127"/>
            <p:cNvSpPr txBox="1"/>
            <p:nvPr/>
          </p:nvSpPr>
          <p:spPr>
            <a:xfrm>
              <a:off x="6635837" y="5379331"/>
              <a:ext cx="112487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Backup and</a:t>
              </a:r>
              <a:br>
                <a:rPr lang="en-US" sz="1399"/>
              </a:br>
              <a:r>
                <a:rPr lang="en-US" sz="1399"/>
                <a:t>recovery </a:t>
              </a:r>
            </a:p>
          </p:txBody>
        </p:sp>
      </p:grpSp>
      <p:grpSp>
        <p:nvGrpSpPr>
          <p:cNvPr id="40" name="Group 39"/>
          <p:cNvGrpSpPr/>
          <p:nvPr/>
        </p:nvGrpSpPr>
        <p:grpSpPr>
          <a:xfrm>
            <a:off x="8673822" y="4690098"/>
            <a:ext cx="1077302" cy="1176542"/>
            <a:chOff x="8674171" y="4690267"/>
            <a:chExt cx="1077455" cy="1176709"/>
          </a:xfrm>
        </p:grpSpPr>
        <p:sp>
          <p:nvSpPr>
            <p:cNvPr id="79" name="Freeform 150"/>
            <p:cNvSpPr>
              <a:spLocks noChangeAspect="1" noEditPoints="1"/>
            </p:cNvSpPr>
            <p:nvPr/>
          </p:nvSpPr>
          <p:spPr bwMode="auto">
            <a:xfrm>
              <a:off x="8897382" y="4690267"/>
              <a:ext cx="631032" cy="54054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7" name="TextBox 136"/>
            <p:cNvSpPr txBox="1"/>
            <p:nvPr/>
          </p:nvSpPr>
          <p:spPr>
            <a:xfrm>
              <a:off x="8674171" y="5379331"/>
              <a:ext cx="1077455"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Testing in</a:t>
              </a:r>
              <a:br>
                <a:rPr lang="en-US" sz="1399"/>
              </a:br>
              <a:r>
                <a:rPr lang="en-US" sz="1399"/>
                <a:t>production</a:t>
              </a:r>
            </a:p>
          </p:txBody>
        </p:sp>
      </p:grpSp>
      <p:grpSp>
        <p:nvGrpSpPr>
          <p:cNvPr id="39" name="Group 38"/>
          <p:cNvGrpSpPr/>
          <p:nvPr/>
        </p:nvGrpSpPr>
        <p:grpSpPr>
          <a:xfrm>
            <a:off x="10590618" y="4649622"/>
            <a:ext cx="1175397" cy="1217016"/>
            <a:chOff x="10591235" y="4649786"/>
            <a:chExt cx="1175564" cy="121718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40" name="TextBox 139"/>
            <p:cNvSpPr txBox="1"/>
            <p:nvPr/>
          </p:nvSpPr>
          <p:spPr>
            <a:xfrm>
              <a:off x="10591235" y="5379330"/>
              <a:ext cx="117556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App gallery</a:t>
              </a:r>
              <a:br>
                <a:rPr lang="en-US" sz="1399"/>
              </a:br>
              <a:r>
                <a:rPr lang="en-US" sz="1399"/>
                <a:t>marketplace</a:t>
              </a:r>
            </a:p>
          </p:txBody>
        </p:sp>
      </p:grpSp>
      <p:grpSp>
        <p:nvGrpSpPr>
          <p:cNvPr id="29" name="Group 28"/>
          <p:cNvGrpSpPr/>
          <p:nvPr/>
        </p:nvGrpSpPr>
        <p:grpSpPr>
          <a:xfrm>
            <a:off x="502586" y="2670029"/>
            <a:ext cx="1508919" cy="1314809"/>
            <a:chOff x="501774" y="2669912"/>
            <a:chExt cx="1509134" cy="1314995"/>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07" name="TextBox 106"/>
            <p:cNvSpPr txBox="1"/>
            <p:nvPr/>
          </p:nvSpPr>
          <p:spPr>
            <a:xfrm>
              <a:off x="501774" y="3497262"/>
              <a:ext cx="1509134"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Global data</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center footprint </a:t>
              </a:r>
            </a:p>
          </p:txBody>
        </p:sp>
      </p:grpSp>
      <p:grpSp>
        <p:nvGrpSpPr>
          <p:cNvPr id="32" name="Group 31"/>
          <p:cNvGrpSpPr/>
          <p:nvPr/>
        </p:nvGrpSpPr>
        <p:grpSpPr>
          <a:xfrm>
            <a:off x="2491262" y="2756458"/>
            <a:ext cx="1456602" cy="1030752"/>
            <a:chOff x="2490732" y="2756352"/>
            <a:chExt cx="1456808" cy="1030898"/>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3" name="TextBox 112"/>
            <p:cNvSpPr txBox="1"/>
            <p:nvPr/>
          </p:nvSpPr>
          <p:spPr>
            <a:xfrm>
              <a:off x="2490732" y="3497262"/>
              <a:ext cx="1456808" cy="289988"/>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Hybrid support </a:t>
              </a:r>
            </a:p>
          </p:txBody>
        </p:sp>
      </p:grpSp>
      <p:grpSp>
        <p:nvGrpSpPr>
          <p:cNvPr id="33" name="Group 32"/>
          <p:cNvGrpSpPr/>
          <p:nvPr/>
        </p:nvGrpSpPr>
        <p:grpSpPr>
          <a:xfrm>
            <a:off x="4346267" y="2760505"/>
            <a:ext cx="1775410" cy="1224333"/>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9" name="TextBox 118"/>
            <p:cNvSpPr txBox="1"/>
            <p:nvPr/>
          </p:nvSpPr>
          <p:spPr>
            <a:xfrm>
              <a:off x="4346001" y="3497262"/>
              <a:ext cx="1775661"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Built-in auto scale</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and load balancing </a:t>
              </a:r>
            </a:p>
          </p:txBody>
        </p:sp>
      </p:grpSp>
      <p:grpSp>
        <p:nvGrpSpPr>
          <p:cNvPr id="34" name="Group 33"/>
          <p:cNvGrpSpPr/>
          <p:nvPr/>
        </p:nvGrpSpPr>
        <p:grpSpPr>
          <a:xfrm>
            <a:off x="6311250" y="2675982"/>
            <a:ext cx="1773776" cy="1308855"/>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2" name="TextBox 121"/>
            <p:cNvSpPr txBox="1"/>
            <p:nvPr/>
          </p:nvSpPr>
          <p:spPr>
            <a:xfrm>
              <a:off x="6311261" y="3497262"/>
              <a:ext cx="1774027"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High availability</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with auto-patching </a:t>
              </a:r>
            </a:p>
          </p:txBody>
        </p:sp>
      </p:grpSp>
      <p:grpSp>
        <p:nvGrpSpPr>
          <p:cNvPr id="37" name="Group 36"/>
          <p:cNvGrpSpPr/>
          <p:nvPr/>
        </p:nvGrpSpPr>
        <p:grpSpPr>
          <a:xfrm>
            <a:off x="8364009" y="2678362"/>
            <a:ext cx="1696935" cy="1306475"/>
            <a:chOff x="8364311" y="2678247"/>
            <a:chExt cx="1697175" cy="130666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1" name="TextBox 130"/>
            <p:cNvSpPr txBox="1"/>
            <p:nvPr/>
          </p:nvSpPr>
          <p:spPr>
            <a:xfrm>
              <a:off x="8364311" y="3497262"/>
              <a:ext cx="1697175"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NET, Java, PHP,</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Node, and Python </a:t>
              </a:r>
            </a:p>
          </p:txBody>
        </p:sp>
      </p:grpSp>
      <p:grpSp>
        <p:nvGrpSpPr>
          <p:cNvPr id="38" name="Group 37"/>
          <p:cNvGrpSpPr/>
          <p:nvPr/>
        </p:nvGrpSpPr>
        <p:grpSpPr>
          <a:xfrm>
            <a:off x="10600421" y="2691458"/>
            <a:ext cx="1155778" cy="1293379"/>
            <a:chOff x="10601045" y="2691344"/>
            <a:chExt cx="1155943" cy="1293563"/>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4" name="TextBox 133"/>
            <p:cNvSpPr txBox="1"/>
            <p:nvPr/>
          </p:nvSpPr>
          <p:spPr>
            <a:xfrm>
              <a:off x="10601045" y="3497262"/>
              <a:ext cx="1155943"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Staging and</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deployment</a:t>
              </a:r>
            </a:p>
          </p:txBody>
        </p:sp>
      </p:grpSp>
    </p:spTree>
    <p:extLst>
      <p:ext uri="{BB962C8B-B14F-4D97-AF65-F5344CB8AC3E}">
        <p14:creationId xmlns:p14="http://schemas.microsoft.com/office/powerpoint/2010/main" val="8617430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35" presetClass="path" presetSubtype="0" decel="100000" fill="hold" nodeType="withEffect">
                                  <p:stCondLst>
                                    <p:cond delay="200"/>
                                  </p:stCondLst>
                                  <p:childTnLst>
                                    <p:animMotion origin="layout" path="M 2.77556E-17 -3.7037E-6 L 2.77556E-17 0.02616 " pathEditMode="relative" rAng="0" ptsTypes="AA">
                                      <p:cBhvr>
                                        <p:cTn id="9" dur="500" spd="-100000" fill="hold"/>
                                        <p:tgtEl>
                                          <p:spTgt spid="29"/>
                                        </p:tgtEl>
                                        <p:attrNameLst>
                                          <p:attrName>ppt_x</p:attrName>
                                          <p:attrName>ppt_y</p:attrName>
                                        </p:attrNameLst>
                                      </p:cBhvr>
                                      <p:rCtr x="0" y="1296"/>
                                    </p:animMotion>
                                  </p:childTnLst>
                                </p:cTn>
                              </p:par>
                              <p:par>
                                <p:cTn id="10" presetID="10" presetClass="entr" presetSubtype="0" fill="hold" nodeType="withEffect">
                                  <p:stCondLst>
                                    <p:cond delay="3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35" presetClass="path" presetSubtype="0" decel="100000" fill="hold" nodeType="withEffect">
                                  <p:stCondLst>
                                    <p:cond delay="300"/>
                                  </p:stCondLst>
                                  <p:childTnLst>
                                    <p:animMotion origin="layout" path="M 2.77556E-17 -3.7037E-6 L 2.77556E-17 0.02616 " pathEditMode="relative" rAng="0" ptsTypes="AA">
                                      <p:cBhvr>
                                        <p:cTn id="14" dur="500" spd="-100000" fill="hold"/>
                                        <p:tgtEl>
                                          <p:spTgt spid="32"/>
                                        </p:tgtEl>
                                        <p:attrNameLst>
                                          <p:attrName>ppt_x</p:attrName>
                                          <p:attrName>ppt_y</p:attrName>
                                        </p:attrNameLst>
                                      </p:cBhvr>
                                      <p:rCtr x="0" y="1296"/>
                                    </p:animMotion>
                                  </p:childTnLst>
                                </p:cTn>
                              </p:par>
                              <p:par>
                                <p:cTn id="15" presetID="10" presetClass="entr" presetSubtype="0" fill="hold" nodeType="withEffect">
                                  <p:stCondLst>
                                    <p:cond delay="40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par>
                                <p:cTn id="18" presetID="35" presetClass="path" presetSubtype="0" decel="100000" fill="hold" nodeType="withEffect">
                                  <p:stCondLst>
                                    <p:cond delay="400"/>
                                  </p:stCondLst>
                                  <p:childTnLst>
                                    <p:animMotion origin="layout" path="M 2.77556E-17 -3.7037E-6 L 2.77556E-17 0.02616 " pathEditMode="relative" rAng="0" ptsTypes="AA">
                                      <p:cBhvr>
                                        <p:cTn id="19" dur="500" spd="-100000" fill="hold"/>
                                        <p:tgtEl>
                                          <p:spTgt spid="30"/>
                                        </p:tgtEl>
                                        <p:attrNameLst>
                                          <p:attrName>ppt_x</p:attrName>
                                          <p:attrName>ppt_y</p:attrName>
                                        </p:attrNameLst>
                                      </p:cBhvr>
                                      <p:rCtr x="0" y="1296"/>
                                    </p:animMotion>
                                  </p:childTnLst>
                                </p:cTn>
                              </p:par>
                              <p:par>
                                <p:cTn id="20" presetID="10" presetClass="entr" presetSubtype="0" fill="hold" nodeType="withEffect">
                                  <p:stCondLst>
                                    <p:cond delay="50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35" presetClass="path" presetSubtype="0" decel="100000" fill="hold" nodeType="withEffect">
                                  <p:stCondLst>
                                    <p:cond delay="500"/>
                                  </p:stCondLst>
                                  <p:childTnLst>
                                    <p:animMotion origin="layout" path="M 2.77556E-17 -3.7037E-6 L 2.77556E-17 0.02616 " pathEditMode="relative" rAng="0" ptsTypes="AA">
                                      <p:cBhvr>
                                        <p:cTn id="24" dur="500" spd="-100000" fill="hold"/>
                                        <p:tgtEl>
                                          <p:spTgt spid="31"/>
                                        </p:tgtEl>
                                        <p:attrNameLst>
                                          <p:attrName>ppt_x</p:attrName>
                                          <p:attrName>ppt_y</p:attrName>
                                        </p:attrNameLst>
                                      </p:cBhvr>
                                      <p:rCtr x="0" y="1296"/>
                                    </p:animMotion>
                                  </p:childTnLst>
                                </p:cTn>
                              </p:par>
                              <p:par>
                                <p:cTn id="25" presetID="10" presetClass="entr" presetSubtype="0" fill="hold" nodeType="withEffect">
                                  <p:stCondLst>
                                    <p:cond delay="60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35" presetClass="path" presetSubtype="0" decel="100000" fill="hold" nodeType="withEffect">
                                  <p:stCondLst>
                                    <p:cond delay="600"/>
                                  </p:stCondLst>
                                  <p:childTnLst>
                                    <p:animMotion origin="layout" path="M 2.77556E-17 -3.7037E-6 L 2.77556E-17 0.02616 " pathEditMode="relative" rAng="0" ptsTypes="AA">
                                      <p:cBhvr>
                                        <p:cTn id="29" dur="500" spd="-100000" fill="hold"/>
                                        <p:tgtEl>
                                          <p:spTgt spid="33"/>
                                        </p:tgtEl>
                                        <p:attrNameLst>
                                          <p:attrName>ppt_x</p:attrName>
                                          <p:attrName>ppt_y</p:attrName>
                                        </p:attrNameLst>
                                      </p:cBhvr>
                                      <p:rCtr x="0" y="1296"/>
                                    </p:animMotion>
                                  </p:childTnLst>
                                </p:cTn>
                              </p:par>
                              <p:par>
                                <p:cTn id="30" presetID="10" presetClass="entr" presetSubtype="0" fill="hold" nodeType="withEffect">
                                  <p:stCondLst>
                                    <p:cond delay="70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35" presetClass="path" presetSubtype="0" decel="100000" fill="hold" nodeType="withEffect">
                                  <p:stCondLst>
                                    <p:cond delay="700"/>
                                  </p:stCondLst>
                                  <p:childTnLst>
                                    <p:animMotion origin="layout" path="M 2.77556E-17 -3.7037E-6 L 2.77556E-17 0.02616 " pathEditMode="relative" rAng="0" ptsTypes="AA">
                                      <p:cBhvr>
                                        <p:cTn id="34" dur="500" spd="-100000" fill="hold"/>
                                        <p:tgtEl>
                                          <p:spTgt spid="34"/>
                                        </p:tgtEl>
                                        <p:attrNameLst>
                                          <p:attrName>ppt_x</p:attrName>
                                          <p:attrName>ppt_y</p:attrName>
                                        </p:attrNameLst>
                                      </p:cBhvr>
                                      <p:rCtr x="0" y="1296"/>
                                    </p:animMotion>
                                  </p:childTnLst>
                                </p:cTn>
                              </p:par>
                              <p:par>
                                <p:cTn id="35" presetID="10" presetClass="entr" presetSubtype="0" fill="hold" nodeType="withEffect">
                                  <p:stCondLst>
                                    <p:cond delay="80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35" presetClass="path" presetSubtype="0" decel="100000" fill="hold" nodeType="withEffect">
                                  <p:stCondLst>
                                    <p:cond delay="800"/>
                                  </p:stCondLst>
                                  <p:childTnLst>
                                    <p:animMotion origin="layout" path="M 2.77556E-17 -3.7037E-6 L 2.77556E-17 0.02616 " pathEditMode="relative" rAng="0" ptsTypes="AA">
                                      <p:cBhvr>
                                        <p:cTn id="39" dur="500" spd="-100000" fill="hold"/>
                                        <p:tgtEl>
                                          <p:spTgt spid="35"/>
                                        </p:tgtEl>
                                        <p:attrNameLst>
                                          <p:attrName>ppt_x</p:attrName>
                                          <p:attrName>ppt_y</p:attrName>
                                        </p:attrNameLst>
                                      </p:cBhvr>
                                      <p:rCtr x="0" y="1296"/>
                                    </p:animMotion>
                                  </p:childTnLst>
                                </p:cTn>
                              </p:par>
                              <p:par>
                                <p:cTn id="40" presetID="10" presetClass="entr" presetSubtype="0" fill="hold" nodeType="withEffect">
                                  <p:stCondLst>
                                    <p:cond delay="90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35" presetClass="path" presetSubtype="0" decel="100000" fill="hold" nodeType="withEffect">
                                  <p:stCondLst>
                                    <p:cond delay="900"/>
                                  </p:stCondLst>
                                  <p:childTnLst>
                                    <p:animMotion origin="layout" path="M 2.77556E-17 -3.7037E-6 L 2.77556E-17 0.02616 " pathEditMode="relative" rAng="0" ptsTypes="AA">
                                      <p:cBhvr>
                                        <p:cTn id="44" dur="500" spd="-100000" fill="hold"/>
                                        <p:tgtEl>
                                          <p:spTgt spid="36"/>
                                        </p:tgtEl>
                                        <p:attrNameLst>
                                          <p:attrName>ppt_x</p:attrName>
                                          <p:attrName>ppt_y</p:attrName>
                                        </p:attrNameLst>
                                      </p:cBhvr>
                                      <p:rCtr x="0" y="1296"/>
                                    </p:animMotion>
                                  </p:childTnLst>
                                </p:cTn>
                              </p:par>
                              <p:par>
                                <p:cTn id="45" presetID="10" presetClass="entr" presetSubtype="0" fill="hold" nodeType="withEffect">
                                  <p:stCondLst>
                                    <p:cond delay="10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35" presetClass="path" presetSubtype="0" decel="100000" fill="hold" nodeType="withEffect">
                                  <p:stCondLst>
                                    <p:cond delay="1000"/>
                                  </p:stCondLst>
                                  <p:childTnLst>
                                    <p:animMotion origin="layout" path="M 2.77556E-17 -3.7037E-6 L 2.77556E-17 0.02616 " pathEditMode="relative" rAng="0" ptsTypes="AA">
                                      <p:cBhvr>
                                        <p:cTn id="49" dur="500" spd="-100000" fill="hold"/>
                                        <p:tgtEl>
                                          <p:spTgt spid="37"/>
                                        </p:tgtEl>
                                        <p:attrNameLst>
                                          <p:attrName>ppt_x</p:attrName>
                                          <p:attrName>ppt_y</p:attrName>
                                        </p:attrNameLst>
                                      </p:cBhvr>
                                      <p:rCtr x="0" y="1296"/>
                                    </p:animMotion>
                                  </p:childTnLst>
                                </p:cTn>
                              </p:par>
                              <p:par>
                                <p:cTn id="50" presetID="10" presetClass="entr" presetSubtype="0" fill="hold" nodeType="withEffect">
                                  <p:stCondLst>
                                    <p:cond delay="110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500"/>
                                        <p:tgtEl>
                                          <p:spTgt spid="38"/>
                                        </p:tgtEl>
                                      </p:cBhvr>
                                    </p:animEffect>
                                  </p:childTnLst>
                                </p:cTn>
                              </p:par>
                              <p:par>
                                <p:cTn id="53" presetID="35" presetClass="path" presetSubtype="0" decel="100000" fill="hold" nodeType="withEffect">
                                  <p:stCondLst>
                                    <p:cond delay="1100"/>
                                  </p:stCondLst>
                                  <p:childTnLst>
                                    <p:animMotion origin="layout" path="M 2.77556E-17 -3.7037E-6 L 2.77556E-17 0.02616 " pathEditMode="relative" rAng="0" ptsTypes="AA">
                                      <p:cBhvr>
                                        <p:cTn id="54" dur="500" spd="-100000" fill="hold"/>
                                        <p:tgtEl>
                                          <p:spTgt spid="38"/>
                                        </p:tgtEl>
                                        <p:attrNameLst>
                                          <p:attrName>ppt_x</p:attrName>
                                          <p:attrName>ppt_y</p:attrName>
                                        </p:attrNameLst>
                                      </p:cBhvr>
                                      <p:rCtr x="0" y="1296"/>
                                    </p:animMotion>
                                  </p:childTnLst>
                                </p:cTn>
                              </p:par>
                              <p:par>
                                <p:cTn id="55" presetID="10" presetClass="entr" presetSubtype="0" fill="hold" nodeType="withEffect">
                                  <p:stCondLst>
                                    <p:cond delay="120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35" presetClass="path" presetSubtype="0" decel="100000" fill="hold" nodeType="withEffect">
                                  <p:stCondLst>
                                    <p:cond delay="1200"/>
                                  </p:stCondLst>
                                  <p:childTnLst>
                                    <p:animMotion origin="layout" path="M 2.77556E-17 -3.7037E-6 L 2.77556E-17 0.02616 " pathEditMode="relative" rAng="0" ptsTypes="AA">
                                      <p:cBhvr>
                                        <p:cTn id="59" dur="500" spd="-100000" fill="hold"/>
                                        <p:tgtEl>
                                          <p:spTgt spid="40"/>
                                        </p:tgtEl>
                                        <p:attrNameLst>
                                          <p:attrName>ppt_x</p:attrName>
                                          <p:attrName>ppt_y</p:attrName>
                                        </p:attrNameLst>
                                      </p:cBhvr>
                                      <p:rCtr x="0" y="1296"/>
                                    </p:animMotion>
                                  </p:childTnLst>
                                </p:cTn>
                              </p:par>
                              <p:par>
                                <p:cTn id="60" presetID="10" presetClass="entr" presetSubtype="0" fill="hold" nodeType="withEffect">
                                  <p:stCondLst>
                                    <p:cond delay="130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35" presetClass="path" presetSubtype="0" decel="100000" fill="hold" nodeType="withEffect">
                                  <p:stCondLst>
                                    <p:cond delay="1300"/>
                                  </p:stCondLst>
                                  <p:childTnLst>
                                    <p:animMotion origin="layout" path="M 2.77556E-17 -3.7037E-6 L 2.77556E-17 0.02616 " pathEditMode="relative" rAng="0" ptsTypes="AA">
                                      <p:cBhvr>
                                        <p:cTn id="64" dur="500" spd="-100000" fill="hold"/>
                                        <p:tgtEl>
                                          <p:spTgt spid="3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3385" y="1100149"/>
            <a:ext cx="12429709" cy="589388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pic>
        <p:nvPicPr>
          <p:cNvPr id="289" name="Picture 288"/>
          <p:cNvPicPr>
            <a:picLocks noChangeAspect="1"/>
          </p:cNvPicPr>
          <p:nvPr/>
        </p:nvPicPr>
        <p:blipFill>
          <a:blip r:embed="rId3"/>
          <a:stretch>
            <a:fillRect/>
          </a:stretch>
        </p:blipFill>
        <p:spPr>
          <a:xfrm>
            <a:off x="3383411" y="5723195"/>
            <a:ext cx="2056334" cy="1271585"/>
          </a:xfrm>
          <a:prstGeom prst="rect">
            <a:avLst/>
          </a:prstGeom>
        </p:spPr>
      </p:pic>
      <p:sp>
        <p:nvSpPr>
          <p:cNvPr id="74" name="Bent Arrow 73"/>
          <p:cNvSpPr/>
          <p:nvPr/>
        </p:nvSpPr>
        <p:spPr bwMode="auto">
          <a:xfrm>
            <a:off x="1022625" y="2609978"/>
            <a:ext cx="2835123" cy="3441867"/>
          </a:xfrm>
          <a:prstGeom prst="bentArrow">
            <a:avLst/>
          </a:prstGeom>
          <a:solidFill>
            <a:schemeClr val="bg1">
              <a:alpha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0" y="260350"/>
            <a:ext cx="11499850" cy="698500"/>
          </a:xfrm>
        </p:spPr>
        <p:txBody>
          <a:bodyPr>
            <a:noAutofit/>
          </a:bodyPr>
          <a:lstStyle/>
          <a:p>
            <a:r>
              <a:rPr lang="en-US" sz="4000"/>
              <a:t>Application Insights</a:t>
            </a:r>
          </a:p>
        </p:txBody>
      </p:sp>
      <p:sp>
        <p:nvSpPr>
          <p:cNvPr id="38" name="Freeform 95"/>
          <p:cNvSpPr>
            <a:spLocks/>
          </p:cNvSpPr>
          <p:nvPr/>
        </p:nvSpPr>
        <p:spPr bwMode="auto">
          <a:xfrm flipH="1">
            <a:off x="3631534" y="3157299"/>
            <a:ext cx="1522967" cy="98904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7DCF2">
              <a:alpha val="95000"/>
            </a:srgbClr>
          </a:solidFill>
          <a:ln>
            <a:noFill/>
          </a:ln>
          <a:extLst/>
        </p:spPr>
        <p:txBody>
          <a:bodyPr vert="horz" wrap="square" lIns="95089" tIns="47544" rIns="95089" bIns="47544" numCol="1" anchor="t" anchorCtr="0" compatLnSpc="1">
            <a:prstTxWarp prst="textNoShape">
              <a:avLst/>
            </a:prstTxWarp>
          </a:bodyPr>
          <a:lstStyle/>
          <a:p>
            <a:pPr defTabSz="950791">
              <a:defRPr/>
            </a:pPr>
            <a:endParaRPr lang="en-US" sz="2856" kern="0">
              <a:solidFill>
                <a:srgbClr val="000000"/>
              </a:solidFill>
            </a:endParaRPr>
          </a:p>
        </p:txBody>
      </p:sp>
      <p:sp>
        <p:nvSpPr>
          <p:cNvPr id="39" name="Freeform 95"/>
          <p:cNvSpPr>
            <a:spLocks/>
          </p:cNvSpPr>
          <p:nvPr/>
        </p:nvSpPr>
        <p:spPr bwMode="auto">
          <a:xfrm flipH="1">
            <a:off x="4827086" y="3490492"/>
            <a:ext cx="1344251" cy="87298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90000"/>
            </a:schemeClr>
          </a:solidFill>
          <a:ln>
            <a:noFill/>
          </a:ln>
          <a:extLst/>
        </p:spPr>
        <p:txBody>
          <a:bodyPr vert="horz" wrap="square" lIns="95089" tIns="47544" rIns="95089" bIns="47544" numCol="1" anchor="t" anchorCtr="0" compatLnSpc="1">
            <a:prstTxWarp prst="textNoShape">
              <a:avLst/>
            </a:prstTxWarp>
          </a:bodyPr>
          <a:lstStyle/>
          <a:p>
            <a:pPr defTabSz="950791">
              <a:defRPr/>
            </a:pPr>
            <a:endParaRPr lang="en-US" sz="2856" kern="0">
              <a:solidFill>
                <a:srgbClr val="000000"/>
              </a:solidFill>
            </a:endParaRPr>
          </a:p>
        </p:txBody>
      </p:sp>
      <p:pic>
        <p:nvPicPr>
          <p:cNvPr id="72" name="Picture 71"/>
          <p:cNvPicPr>
            <a:picLocks noChangeAspect="1"/>
          </p:cNvPicPr>
          <p:nvPr/>
        </p:nvPicPr>
        <p:blipFill rotWithShape="1">
          <a:blip r:embed="rId4"/>
          <a:srcRect l="11266" b="33156"/>
          <a:stretch/>
        </p:blipFill>
        <p:spPr>
          <a:xfrm>
            <a:off x="3382" y="4050917"/>
            <a:ext cx="4530155" cy="2943111"/>
          </a:xfrm>
          <a:prstGeom prst="rect">
            <a:avLst/>
          </a:prstGeom>
        </p:spPr>
      </p:pic>
      <p:sp>
        <p:nvSpPr>
          <p:cNvPr id="73" name="Rectangle 72"/>
          <p:cNvSpPr/>
          <p:nvPr/>
        </p:nvSpPr>
        <p:spPr>
          <a:xfrm>
            <a:off x="1624157" y="1581669"/>
            <a:ext cx="3069384" cy="1754326"/>
          </a:xfrm>
          <a:prstGeom prst="rect">
            <a:avLst/>
          </a:prstGeom>
        </p:spPr>
        <p:txBody>
          <a:bodyPr wrap="square">
            <a:spAutoFit/>
          </a:bodyPr>
          <a:lstStyle/>
          <a:p>
            <a:pPr>
              <a:lnSpc>
                <a:spcPct val="120000"/>
              </a:lnSpc>
            </a:pPr>
            <a:r>
              <a:rPr lang="en-US" spc="31">
                <a:latin typeface="Segoe UI Light" panose="020B0502040204020203" pitchFamily="34" charset="0"/>
                <a:cs typeface="Segoe UI Light" panose="020B0502040204020203" pitchFamily="34" charset="0"/>
              </a:rPr>
              <a:t>Telemetry is collected at each</a:t>
            </a:r>
            <a:r>
              <a:rPr lang="en-US">
                <a:latin typeface="Segoe UI Light" panose="020B0502040204020203" pitchFamily="34" charset="0"/>
                <a:cs typeface="Segoe UI Light" panose="020B0502040204020203" pitchFamily="34" charset="0"/>
              </a:rPr>
              <a:t> </a:t>
            </a:r>
            <a:r>
              <a:rPr lang="en-US" spc="-31">
                <a:latin typeface="Segoe UI Light" panose="020B0502040204020203" pitchFamily="34" charset="0"/>
                <a:cs typeface="Segoe UI Light" panose="020B0502040204020203" pitchFamily="34" charset="0"/>
              </a:rPr>
              <a:t>tier: </a:t>
            </a:r>
          </a:p>
          <a:p>
            <a:pPr marL="285750" indent="-285750">
              <a:lnSpc>
                <a:spcPct val="120000"/>
              </a:lnSpc>
              <a:buFont typeface="Arial" panose="020B0604020202020204" pitchFamily="34" charset="0"/>
              <a:buChar char="•"/>
            </a:pPr>
            <a:r>
              <a:rPr lang="en-US" spc="-31">
                <a:latin typeface="Segoe UI Light" panose="020B0502040204020203" pitchFamily="34" charset="0"/>
                <a:cs typeface="Segoe UI Light" panose="020B0502040204020203" pitchFamily="34" charset="0"/>
              </a:rPr>
              <a:t>Web server</a:t>
            </a:r>
            <a:r>
              <a:rPr lang="en-US">
                <a:latin typeface="Segoe UI Light" panose="020B0502040204020203" pitchFamily="34" charset="0"/>
                <a:cs typeface="Segoe UI Light" panose="020B0502040204020203" pitchFamily="34" charset="0"/>
              </a:rPr>
              <a:t> </a:t>
            </a:r>
          </a:p>
          <a:p>
            <a:pPr marL="285750" indent="-285750">
              <a:lnSpc>
                <a:spcPct val="120000"/>
              </a:lnSpc>
              <a:buFont typeface="Arial" panose="020B0604020202020204" pitchFamily="34" charset="0"/>
              <a:buChar char="•"/>
            </a:pPr>
            <a:r>
              <a:rPr lang="en-US">
                <a:latin typeface="Segoe UI Light" panose="020B0502040204020203" pitchFamily="34" charset="0"/>
                <a:cs typeface="Segoe UI Light" panose="020B0502040204020203" pitchFamily="34" charset="0"/>
              </a:rPr>
              <a:t>Application</a:t>
            </a:r>
          </a:p>
          <a:p>
            <a:pPr marL="285750" indent="-285750">
              <a:lnSpc>
                <a:spcPct val="120000"/>
              </a:lnSpc>
              <a:buFont typeface="Arial" panose="020B0604020202020204" pitchFamily="34" charset="0"/>
              <a:buChar char="•"/>
            </a:pPr>
            <a:r>
              <a:rPr lang="en-US">
                <a:latin typeface="Segoe UI Light" panose="020B0502040204020203" pitchFamily="34" charset="0"/>
                <a:cs typeface="Segoe UI Light" panose="020B0502040204020203" pitchFamily="34" charset="0"/>
              </a:rPr>
              <a:t>Client / browser</a:t>
            </a:r>
          </a:p>
        </p:txBody>
      </p:sp>
      <p:sp>
        <p:nvSpPr>
          <p:cNvPr id="75" name="Rectangle 74"/>
          <p:cNvSpPr/>
          <p:nvPr/>
        </p:nvSpPr>
        <p:spPr>
          <a:xfrm>
            <a:off x="838723" y="1100149"/>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1</a:t>
            </a:r>
          </a:p>
        </p:txBody>
      </p:sp>
      <p:sp>
        <p:nvSpPr>
          <p:cNvPr id="77" name="Rectangle 76"/>
          <p:cNvSpPr/>
          <p:nvPr/>
        </p:nvSpPr>
        <p:spPr>
          <a:xfrm>
            <a:off x="5841870" y="4529217"/>
            <a:ext cx="3426984" cy="1391086"/>
          </a:xfrm>
          <a:prstGeom prst="rect">
            <a:avLst/>
          </a:prstGeom>
        </p:spPr>
        <p:txBody>
          <a:bodyPr wrap="square">
            <a:spAutoFit/>
          </a:bodyPr>
          <a:lstStyle/>
          <a:p>
            <a:pPr defTabSz="951121">
              <a:lnSpc>
                <a:spcPct val="120000"/>
              </a:lnSpc>
            </a:pPr>
            <a:r>
              <a:rPr lang="en-US">
                <a:solidFill>
                  <a:srgbClr val="FFFFFF"/>
                </a:solidFill>
                <a:latin typeface="Segoe UI Light" panose="020B0502040204020203" pitchFamily="34" charset="0"/>
                <a:cs typeface="Segoe UI Light" panose="020B0502040204020203" pitchFamily="34" charset="0"/>
              </a:rPr>
              <a:t>Telemetry arrives in the Application Insights service in the cloud where it is processed &amp; stored</a:t>
            </a:r>
            <a:endParaRPr lang="en-US">
              <a:solidFill>
                <a:prstClr val="black"/>
              </a:solidFill>
              <a:latin typeface="Segoe UI Light" panose="020B0502040204020203" pitchFamily="34" charset="0"/>
              <a:cs typeface="Segoe UI Light" panose="020B0502040204020203" pitchFamily="34" charset="0"/>
            </a:endParaRPr>
          </a:p>
        </p:txBody>
      </p:sp>
      <p:sp>
        <p:nvSpPr>
          <p:cNvPr id="109" name="Rectangle 108"/>
          <p:cNvSpPr/>
          <p:nvPr/>
        </p:nvSpPr>
        <p:spPr>
          <a:xfrm>
            <a:off x="8634593" y="1152574"/>
            <a:ext cx="3778909" cy="830997"/>
          </a:xfrm>
          <a:prstGeom prst="rect">
            <a:avLst/>
          </a:prstGeom>
        </p:spPr>
        <p:txBody>
          <a:bodyPr wrap="square">
            <a:spAutoFit/>
          </a:bodyPr>
          <a:lstStyle/>
          <a:p>
            <a:r>
              <a:rPr lang="en-US" sz="1600">
                <a:latin typeface="Segoe UI Light" panose="020B0502040204020203" pitchFamily="34" charset="0"/>
                <a:cs typeface="Segoe UI Light" panose="020B0502040204020203" pitchFamily="34" charset="0"/>
              </a:rPr>
              <a:t>Detect &amp; Diagnose problems in Azure Portal; Ask ad-hoc queries in Analytics; Integrate, Extend &amp; Customize</a:t>
            </a:r>
          </a:p>
        </p:txBody>
      </p:sp>
      <p:sp>
        <p:nvSpPr>
          <p:cNvPr id="110" name="Rectangle 109"/>
          <p:cNvSpPr/>
          <p:nvPr/>
        </p:nvSpPr>
        <p:spPr>
          <a:xfrm>
            <a:off x="7470845" y="765218"/>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3</a:t>
            </a:r>
          </a:p>
        </p:txBody>
      </p:sp>
      <p:sp>
        <p:nvSpPr>
          <p:cNvPr id="115" name="Right Arrow 114"/>
          <p:cNvSpPr/>
          <p:nvPr/>
        </p:nvSpPr>
        <p:spPr bwMode="auto">
          <a:xfrm>
            <a:off x="6128806" y="2677638"/>
            <a:ext cx="2205549" cy="1270146"/>
          </a:xfrm>
          <a:prstGeom prst="rightArrow">
            <a:avLst/>
          </a:prstGeom>
          <a:solidFill>
            <a:schemeClr val="bg1">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sp>
        <p:nvSpPr>
          <p:cNvPr id="40" name="Freeform 95"/>
          <p:cNvSpPr>
            <a:spLocks/>
          </p:cNvSpPr>
          <p:nvPr/>
        </p:nvSpPr>
        <p:spPr bwMode="auto">
          <a:xfrm flipH="1">
            <a:off x="4277106" y="2101400"/>
            <a:ext cx="2593538" cy="168429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4EC1EA">
              <a:alpha val="9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089" tIns="47544" rIns="95089" bIns="47544" numCol="1" anchor="ctr" anchorCtr="0" compatLnSpc="1">
            <a:prstTxWarp prst="textNoShape">
              <a:avLst/>
            </a:prstTxWarp>
          </a:bodyPr>
          <a:lstStyle/>
          <a:p>
            <a:pPr algn="ctr" defTabSz="950791">
              <a:defRPr/>
            </a:pPr>
            <a:endParaRPr lang="en-US" sz="2448" kern="0">
              <a:solidFill>
                <a:srgbClr val="692B7B"/>
              </a:solidFill>
            </a:endParaRPr>
          </a:p>
        </p:txBody>
      </p:sp>
      <p:grpSp>
        <p:nvGrpSpPr>
          <p:cNvPr id="51" name="Group 50"/>
          <p:cNvGrpSpPr/>
          <p:nvPr/>
        </p:nvGrpSpPr>
        <p:grpSpPr>
          <a:xfrm>
            <a:off x="8143370" y="4603164"/>
            <a:ext cx="4289723" cy="2390865"/>
            <a:chOff x="7982235" y="4513470"/>
            <a:chExt cx="4206590" cy="2344530"/>
          </a:xfrm>
        </p:grpSpPr>
        <p:sp>
          <p:nvSpPr>
            <p:cNvPr id="52" name="Freeform 6"/>
            <p:cNvSpPr>
              <a:spLocks/>
            </p:cNvSpPr>
            <p:nvPr/>
          </p:nvSpPr>
          <p:spPr bwMode="auto">
            <a:xfrm>
              <a:off x="9044055" y="4513470"/>
              <a:ext cx="2889003" cy="1639233"/>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4" name="Freeform 5"/>
            <p:cNvSpPr>
              <a:spLocks/>
            </p:cNvSpPr>
            <p:nvPr/>
          </p:nvSpPr>
          <p:spPr bwMode="auto">
            <a:xfrm>
              <a:off x="9036305" y="5273020"/>
              <a:ext cx="2859939" cy="995941"/>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5" name="Freeform 7"/>
            <p:cNvSpPr>
              <a:spLocks/>
            </p:cNvSpPr>
            <p:nvPr/>
          </p:nvSpPr>
          <p:spPr bwMode="auto">
            <a:xfrm>
              <a:off x="9049867" y="5703174"/>
              <a:ext cx="2846375" cy="7731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6" name="Freeform 8"/>
            <p:cNvSpPr>
              <a:spLocks/>
            </p:cNvSpPr>
            <p:nvPr/>
          </p:nvSpPr>
          <p:spPr bwMode="auto">
            <a:xfrm>
              <a:off x="7982235" y="6361967"/>
              <a:ext cx="2123640" cy="496033"/>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7" name="Freeform 9"/>
            <p:cNvSpPr>
              <a:spLocks/>
            </p:cNvSpPr>
            <p:nvPr/>
          </p:nvSpPr>
          <p:spPr bwMode="auto">
            <a:xfrm>
              <a:off x="8954924" y="6119764"/>
              <a:ext cx="3233901" cy="738236"/>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8" name="Freeform 10"/>
            <p:cNvSpPr>
              <a:spLocks/>
            </p:cNvSpPr>
            <p:nvPr/>
          </p:nvSpPr>
          <p:spPr bwMode="auto">
            <a:xfrm>
              <a:off x="10138814" y="6119763"/>
              <a:ext cx="1141262" cy="60260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9" name="Freeform 11"/>
            <p:cNvSpPr>
              <a:spLocks/>
            </p:cNvSpPr>
            <p:nvPr/>
          </p:nvSpPr>
          <p:spPr bwMode="auto">
            <a:xfrm>
              <a:off x="10198882" y="5569477"/>
              <a:ext cx="631667" cy="575475"/>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0" name="Freeform 12"/>
            <p:cNvSpPr>
              <a:spLocks/>
            </p:cNvSpPr>
            <p:nvPr/>
          </p:nvSpPr>
          <p:spPr bwMode="auto">
            <a:xfrm>
              <a:off x="10443023" y="5718675"/>
              <a:ext cx="532847" cy="426278"/>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1" name="Freeform 13"/>
            <p:cNvSpPr>
              <a:spLocks/>
            </p:cNvSpPr>
            <p:nvPr/>
          </p:nvSpPr>
          <p:spPr bwMode="auto">
            <a:xfrm>
              <a:off x="9867547" y="5623730"/>
              <a:ext cx="575475" cy="92424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2" name="Freeform 14"/>
            <p:cNvSpPr>
              <a:spLocks/>
            </p:cNvSpPr>
            <p:nvPr/>
          </p:nvSpPr>
          <p:spPr bwMode="auto">
            <a:xfrm>
              <a:off x="10443023" y="5927939"/>
              <a:ext cx="577413" cy="217014"/>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3" name="Freeform 15"/>
            <p:cNvSpPr>
              <a:spLocks/>
            </p:cNvSpPr>
            <p:nvPr/>
          </p:nvSpPr>
          <p:spPr bwMode="auto">
            <a:xfrm>
              <a:off x="10034183" y="6144953"/>
              <a:ext cx="408839" cy="515409"/>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4" name="Freeform 16"/>
            <p:cNvSpPr>
              <a:spLocks/>
            </p:cNvSpPr>
            <p:nvPr/>
          </p:nvSpPr>
          <p:spPr bwMode="auto">
            <a:xfrm>
              <a:off x="10183381" y="6144953"/>
              <a:ext cx="837055" cy="577413"/>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5" name="Freeform 17"/>
            <p:cNvSpPr>
              <a:spLocks/>
            </p:cNvSpPr>
            <p:nvPr/>
          </p:nvSpPr>
          <p:spPr bwMode="auto">
            <a:xfrm>
              <a:off x="10187256" y="6476288"/>
              <a:ext cx="1772929" cy="381712"/>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6" name="Rectangle 18"/>
            <p:cNvSpPr>
              <a:spLocks noChangeArrowheads="1"/>
            </p:cNvSpPr>
            <p:nvPr/>
          </p:nvSpPr>
          <p:spPr bwMode="auto">
            <a:xfrm>
              <a:off x="9125436" y="6412346"/>
              <a:ext cx="147260" cy="4456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7" name="Freeform 19"/>
            <p:cNvSpPr>
              <a:spLocks/>
            </p:cNvSpPr>
            <p:nvPr/>
          </p:nvSpPr>
          <p:spPr bwMode="auto">
            <a:xfrm>
              <a:off x="8592587" y="6484037"/>
              <a:ext cx="147260" cy="373962"/>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8" name="Freeform 20"/>
            <p:cNvSpPr>
              <a:spLocks/>
            </p:cNvSpPr>
            <p:nvPr/>
          </p:nvSpPr>
          <p:spPr bwMode="auto">
            <a:xfrm>
              <a:off x="8770849" y="6125577"/>
              <a:ext cx="145321" cy="732423"/>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9" name="Freeform 21"/>
            <p:cNvSpPr>
              <a:spLocks/>
            </p:cNvSpPr>
            <p:nvPr/>
          </p:nvSpPr>
          <p:spPr bwMode="auto">
            <a:xfrm>
              <a:off x="8947174" y="5800055"/>
              <a:ext cx="149197" cy="105794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0" name="Freeform 22"/>
            <p:cNvSpPr>
              <a:spLocks/>
            </p:cNvSpPr>
            <p:nvPr/>
          </p:nvSpPr>
          <p:spPr bwMode="auto">
            <a:xfrm>
              <a:off x="9303697" y="6137202"/>
              <a:ext cx="147260" cy="720798"/>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1" name="Freeform 23"/>
            <p:cNvSpPr>
              <a:spLocks/>
            </p:cNvSpPr>
            <p:nvPr/>
          </p:nvSpPr>
          <p:spPr bwMode="auto">
            <a:xfrm>
              <a:off x="8236064" y="6499538"/>
              <a:ext cx="149197" cy="358461"/>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6" name="Freeform 24"/>
            <p:cNvSpPr>
              <a:spLocks/>
            </p:cNvSpPr>
            <p:nvPr/>
          </p:nvSpPr>
          <p:spPr bwMode="auto">
            <a:xfrm>
              <a:off x="8416264" y="5910499"/>
              <a:ext cx="145321" cy="947500"/>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grpSp>
      <p:sp>
        <p:nvSpPr>
          <p:cNvPr id="78" name="Rectangle 77"/>
          <p:cNvSpPr/>
          <p:nvPr/>
        </p:nvSpPr>
        <p:spPr>
          <a:xfrm>
            <a:off x="4998156" y="4037984"/>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2</a:t>
            </a:r>
          </a:p>
        </p:txBody>
      </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72718" y="2621246"/>
            <a:ext cx="2216058" cy="1749519"/>
          </a:xfrm>
          <a:prstGeom prst="rect">
            <a:avLst/>
          </a:prstGeom>
        </p:spPr>
      </p:pic>
      <p:grpSp>
        <p:nvGrpSpPr>
          <p:cNvPr id="4" name="Group 3"/>
          <p:cNvGrpSpPr/>
          <p:nvPr/>
        </p:nvGrpSpPr>
        <p:grpSpPr>
          <a:xfrm>
            <a:off x="8664117" y="2080775"/>
            <a:ext cx="3749385" cy="3454087"/>
            <a:chOff x="8270677" y="1780946"/>
            <a:chExt cx="3676201" cy="3386667"/>
          </a:xfrm>
        </p:grpSpPr>
        <p:grpSp>
          <p:nvGrpSpPr>
            <p:cNvPr id="48" name="Group 47"/>
            <p:cNvGrpSpPr/>
            <p:nvPr/>
          </p:nvGrpSpPr>
          <p:grpSpPr>
            <a:xfrm>
              <a:off x="8270677" y="1780946"/>
              <a:ext cx="3676201" cy="2930041"/>
              <a:chOff x="8238220" y="2114321"/>
              <a:chExt cx="3676201" cy="2930041"/>
            </a:xfrm>
          </p:grpSpPr>
          <p:pic>
            <p:nvPicPr>
              <p:cNvPr id="49" name="Picture 48"/>
              <p:cNvPicPr>
                <a:picLocks noChangeAspect="1"/>
              </p:cNvPicPr>
              <p:nvPr/>
            </p:nvPicPr>
            <p:blipFill>
              <a:blip r:embed="rId6"/>
              <a:stretch>
                <a:fillRect/>
              </a:stretch>
            </p:blipFill>
            <p:spPr>
              <a:xfrm>
                <a:off x="10498181" y="2736060"/>
                <a:ext cx="1416240" cy="2308302"/>
              </a:xfrm>
              <a:prstGeom prst="rect">
                <a:avLst/>
              </a:prstGeom>
            </p:spPr>
          </p:pic>
          <p:pic>
            <p:nvPicPr>
              <p:cNvPr id="79" name="Picture 78"/>
              <p:cNvPicPr>
                <a:picLocks noChangeAspect="1"/>
              </p:cNvPicPr>
              <p:nvPr/>
            </p:nvPicPr>
            <p:blipFill>
              <a:blip r:embed="rId7"/>
              <a:stretch>
                <a:fillRect/>
              </a:stretch>
            </p:blipFill>
            <p:spPr>
              <a:xfrm>
                <a:off x="9369661" y="2425191"/>
                <a:ext cx="1406394" cy="2300288"/>
              </a:xfrm>
              <a:prstGeom prst="rect">
                <a:avLst/>
              </a:prstGeom>
            </p:spPr>
          </p:pic>
          <p:pic>
            <p:nvPicPr>
              <p:cNvPr id="80" name="Picture 79"/>
              <p:cNvPicPr>
                <a:picLocks noChangeAspect="1"/>
              </p:cNvPicPr>
              <p:nvPr/>
            </p:nvPicPr>
            <p:blipFill>
              <a:blip r:embed="rId8"/>
              <a:stretch>
                <a:fillRect/>
              </a:stretch>
            </p:blipFill>
            <p:spPr>
              <a:xfrm>
                <a:off x="8238220" y="2114321"/>
                <a:ext cx="1409315" cy="2300288"/>
              </a:xfrm>
              <a:prstGeom prst="rect">
                <a:avLst/>
              </a:prstGeom>
            </p:spPr>
          </p:pic>
        </p:grpSp>
        <p:pic>
          <p:nvPicPr>
            <p:cNvPr id="81" name="Picture 80"/>
            <p:cNvPicPr>
              <a:picLocks noChangeAspect="1"/>
            </p:cNvPicPr>
            <p:nvPr/>
          </p:nvPicPr>
          <p:blipFill>
            <a:blip r:embed="rId9"/>
            <a:stretch>
              <a:fillRect/>
            </a:stretch>
          </p:blipFill>
          <p:spPr>
            <a:xfrm>
              <a:off x="8893249" y="3617985"/>
              <a:ext cx="2369564" cy="1549628"/>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257501907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3: Web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3527119"/>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how the time to value of using Web App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onsider integration points with continuous delivery and various content source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ichness of ecosystem for web content</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ice of</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LI 2.0 driver git push</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rtal configuration, pulling from GitHub</a:t>
            </a:r>
          </a:p>
        </p:txBody>
      </p:sp>
    </p:spTree>
    <p:extLst>
      <p:ext uri="{BB962C8B-B14F-4D97-AF65-F5344CB8AC3E}">
        <p14:creationId xmlns:p14="http://schemas.microsoft.com/office/powerpoint/2010/main" val="27373710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80844E-6 L -0.05285 3.80844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2428357"/>
          </a:xfrm>
        </p:spPr>
        <p:txBody>
          <a:bodyPr/>
          <a:lstStyle/>
          <a:p>
            <a:r>
              <a:rPr lang="en-GB" sz="5400"/>
              <a:t>DevOps, Management &amp; Automation</a:t>
            </a:r>
          </a:p>
        </p:txBody>
      </p:sp>
      <p:pic>
        <p:nvPicPr>
          <p:cNvPr id="11" name="Picture Placeholder 10" descr="A picture containing metalware, thing, gear&#10;&#10;Description generated with very high confidence">
            <a:extLst>
              <a:ext uri="{FF2B5EF4-FFF2-40B4-BE49-F238E27FC236}">
                <a16:creationId xmlns:a16="http://schemas.microsoft.com/office/drawing/2014/main" id="{CFF40ACB-5E32-4103-B958-8AE9F9D11496}"/>
              </a:ext>
            </a:extLst>
          </p:cNvPr>
          <p:cNvPicPr>
            <a:picLocks noGrp="1" noChangeAspect="1"/>
          </p:cNvPicPr>
          <p:nvPr>
            <p:ph type="pic" sz="quarter" idx="10"/>
          </p:nvPr>
        </p:nvPicPr>
        <p:blipFill>
          <a:blip r:embed="rId3"/>
          <a:srcRect l="14488" r="14488"/>
          <a:stretch>
            <a:fillRect/>
          </a:stretch>
        </p:blipFill>
        <p:spPr/>
      </p:pic>
    </p:spTree>
    <p:extLst>
      <p:ext uri="{BB962C8B-B14F-4D97-AF65-F5344CB8AC3E}">
        <p14:creationId xmlns:p14="http://schemas.microsoft.com/office/powerpoint/2010/main" val="11675293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0EF9BD41-D286-49A0-BD09-835205337FD8}"/>
              </a:ext>
            </a:extLst>
          </p:cNvPr>
          <p:cNvSpPr/>
          <p:nvPr/>
        </p:nvSpPr>
        <p:spPr bwMode="auto">
          <a:xfrm>
            <a:off x="-21870" y="0"/>
            <a:ext cx="12447915" cy="1442831"/>
          </a:xfrm>
          <a:prstGeom prst="rect">
            <a:avLst/>
          </a:prstGeom>
          <a:solidFill>
            <a:schemeClr val="accent1">
              <a:alpha val="71000"/>
            </a:schemeClr>
          </a:solidFill>
          <a:ln w="19050" cap="flat" cmpd="sng" algn="ctr">
            <a:noFill/>
            <a:prstDash val="solid"/>
            <a:headEnd type="none"/>
            <a:tailEnd type="none"/>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cs typeface="Segoe UI" pitchFamily="34" charset="0"/>
            </a:endParaRPr>
          </a:p>
        </p:txBody>
      </p:sp>
      <p:sp>
        <p:nvSpPr>
          <p:cNvPr id="5" name="Rectangle 4"/>
          <p:cNvSpPr/>
          <p:nvPr/>
        </p:nvSpPr>
        <p:spPr bwMode="auto">
          <a:xfrm>
            <a:off x="882" y="5595620"/>
            <a:ext cx="12434711" cy="13989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75481" y="361890"/>
            <a:ext cx="12160111" cy="917575"/>
          </a:xfrm>
        </p:spPr>
        <p:txBody>
          <a:bodyPr/>
          <a:lstStyle/>
          <a:p>
            <a:r>
              <a:rPr lang="en-US" sz="4488" spc="-82"/>
              <a:t>Leverage a secure and well-managed infrastructure</a:t>
            </a:r>
          </a:p>
        </p:txBody>
      </p:sp>
      <p:cxnSp>
        <p:nvCxnSpPr>
          <p:cNvPr id="64" name="Straight Connector 63"/>
          <p:cNvCxnSpPr/>
          <p:nvPr/>
        </p:nvCxnSpPr>
        <p:spPr>
          <a:xfrm flipV="1">
            <a:off x="3444628"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6218236"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BAD7C0-ACFB-4E3B-96B7-A97A021BCB72}"/>
              </a:ext>
            </a:extLst>
          </p:cNvPr>
          <p:cNvCxnSpPr/>
          <p:nvPr/>
        </p:nvCxnSpPr>
        <p:spPr>
          <a:xfrm flipV="1">
            <a:off x="8991844" y="1865206"/>
            <a:ext cx="0" cy="195402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1236518" y="3220140"/>
            <a:ext cx="1642616" cy="583477"/>
          </a:xfrm>
          <a:prstGeom prst="rect">
            <a:avLst/>
          </a:prstGeom>
          <a:noFill/>
        </p:spPr>
        <p:txBody>
          <a:bodyPr wrap="none" lIns="274203" tIns="146241" rIns="274203" bIns="146241"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029">
              <a:spcAft>
                <a:spcPts val="0"/>
              </a:spcAft>
              <a:defRPr/>
            </a:pPr>
            <a:r>
              <a:rPr lang="en-US" sz="2040" kern="0">
                <a:solidFill>
                  <a:srgbClr val="0078D7"/>
                </a:solidFill>
                <a:latin typeface="Segoe UI"/>
              </a:rPr>
              <a:t>Compute</a:t>
            </a:r>
            <a:endParaRPr lang="x-none" sz="2040" kern="0">
              <a:solidFill>
                <a:srgbClr val="0078D7"/>
              </a:solidFill>
              <a:latin typeface="Segoe UI"/>
            </a:endParaRPr>
          </a:p>
        </p:txBody>
      </p:sp>
      <p:grpSp>
        <p:nvGrpSpPr>
          <p:cNvPr id="187" name="Group 186"/>
          <p:cNvGrpSpPr/>
          <p:nvPr/>
        </p:nvGrpSpPr>
        <p:grpSpPr>
          <a:xfrm>
            <a:off x="1423852" y="2119061"/>
            <a:ext cx="1267945" cy="931317"/>
            <a:chOff x="4603750" y="-3052763"/>
            <a:chExt cx="3509963" cy="2578101"/>
          </a:xfrm>
          <a:solidFill>
            <a:schemeClr val="tx2"/>
          </a:solidFill>
        </p:grpSpPr>
        <p:sp>
          <p:nvSpPr>
            <p:cNvPr id="188" name="Freeform 97"/>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89" name="Freeform 98"/>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0" name="Freeform 99"/>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1" name="Freeform 100"/>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2" name="Freeform 101"/>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3" name="Freeform 102"/>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4" name="Freeform 103"/>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5" name="Freeform 104"/>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6" name="Freeform 105"/>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7" name="Freeform 106"/>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8" name="Freeform 107"/>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9" name="Freeform 108"/>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0" name="Freeform 109"/>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1" name="Freeform 110"/>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11"/>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3" name="Freeform 112"/>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4" name="Freeform 113"/>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5" name="Freeform 114"/>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6" name="Freeform 115"/>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7" name="Freeform 116"/>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8" name="Freeform 117"/>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9" name="Freeform 118"/>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0" name="Freeform 119"/>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1" name="Freeform 120"/>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2" name="Freeform 121"/>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3" name="Freeform 122"/>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4" name="Freeform 123"/>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5" name="Freeform 124"/>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6" name="Freeform 125"/>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7" name="Freeform 126"/>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8" name="Freeform 127"/>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9" name="Freeform 128"/>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0" name="Freeform 129"/>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1" name="Freeform 130"/>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2" name="Freeform 131"/>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3" name="Freeform 132"/>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4" name="Freeform 133"/>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5" name="Freeform 134"/>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6" name="Freeform 135"/>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7" name="Freeform 136"/>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8" name="Freeform 137"/>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9" name="Freeform 138"/>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0" name="Freeform 139"/>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1" name="Freeform 140"/>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2" name="Freeform 141"/>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3" name="Freeform 142"/>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4" name="Freeform 143"/>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5" name="Freeform 144"/>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6" name="Freeform 145"/>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7" name="Freeform 146"/>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53" name="TextBox 252"/>
          <p:cNvSpPr txBox="1"/>
          <p:nvPr/>
        </p:nvSpPr>
        <p:spPr>
          <a:xfrm>
            <a:off x="796132" y="3902582"/>
            <a:ext cx="2523386" cy="1212949"/>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Virtual machines</a:t>
            </a:r>
          </a:p>
          <a:p>
            <a:pPr algn="ctr" defTabSz="932029">
              <a:defRPr/>
            </a:pPr>
            <a:r>
              <a:rPr lang="en-US" sz="1632">
                <a:solidFill>
                  <a:srgbClr val="505050"/>
                </a:solidFill>
                <a:latin typeface="Segoe UI"/>
              </a:rPr>
              <a:t>Availability sets</a:t>
            </a:r>
          </a:p>
          <a:p>
            <a:pPr algn="ctr" defTabSz="932029">
              <a:defRPr/>
            </a:pPr>
            <a:r>
              <a:rPr lang="en-US" sz="1632">
                <a:solidFill>
                  <a:srgbClr val="505050"/>
                </a:solidFill>
                <a:latin typeface="Segoe UI"/>
              </a:rPr>
              <a:t>VM scale sets</a:t>
            </a:r>
          </a:p>
          <a:p>
            <a:pPr algn="ctr" defTabSz="932029">
              <a:defRPr/>
            </a:pPr>
            <a:r>
              <a:rPr lang="en-US" sz="1632">
                <a:solidFill>
                  <a:srgbClr val="505050"/>
                </a:solidFill>
                <a:latin typeface="Segoe UI"/>
              </a:rPr>
              <a:t>Controlled maintenance</a:t>
            </a:r>
          </a:p>
        </p:txBody>
      </p:sp>
      <p:sp>
        <p:nvSpPr>
          <p:cNvPr id="82" name="TextBox 81"/>
          <p:cNvSpPr txBox="1"/>
          <p:nvPr/>
        </p:nvSpPr>
        <p:spPr>
          <a:xfrm>
            <a:off x="4097593" y="3220140"/>
            <a:ext cx="1467679"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a:solidFill>
                  <a:srgbClr val="0078D7"/>
                </a:solidFill>
                <a:latin typeface="Segoe UI"/>
              </a:rPr>
              <a:t>Storage</a:t>
            </a:r>
          </a:p>
        </p:txBody>
      </p:sp>
      <p:grpSp>
        <p:nvGrpSpPr>
          <p:cNvPr id="252" name="Group 251"/>
          <p:cNvGrpSpPr/>
          <p:nvPr/>
        </p:nvGrpSpPr>
        <p:grpSpPr>
          <a:xfrm>
            <a:off x="4303216" y="2363765"/>
            <a:ext cx="1056434" cy="593368"/>
            <a:chOff x="4441561" y="2682902"/>
            <a:chExt cx="924759" cy="519410"/>
          </a:xfrm>
          <a:solidFill>
            <a:schemeClr val="tx2"/>
          </a:solidFill>
        </p:grpSpPr>
        <p:sp>
          <p:nvSpPr>
            <p:cNvPr id="250" name="Freeform 155"/>
            <p:cNvSpPr>
              <a:spLocks noEditPoints="1"/>
            </p:cNvSpPr>
            <p:nvPr/>
          </p:nvSpPr>
          <p:spPr bwMode="auto">
            <a:xfrm>
              <a:off x="4441561"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1" name="Freeform 155"/>
            <p:cNvSpPr>
              <a:spLocks noEditPoints="1"/>
            </p:cNvSpPr>
            <p:nvPr/>
          </p:nvSpPr>
          <p:spPr bwMode="auto">
            <a:xfrm>
              <a:off x="4938648"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54" name="TextBox 253"/>
          <p:cNvSpPr txBox="1"/>
          <p:nvPr/>
        </p:nvSpPr>
        <p:spPr>
          <a:xfrm>
            <a:off x="3569739" y="3902582"/>
            <a:ext cx="2523386" cy="1212949"/>
          </a:xfrm>
          <a:prstGeom prst="rect">
            <a:avLst/>
          </a:prstGeom>
          <a:noFill/>
        </p:spPr>
        <p:txBody>
          <a:bodyPr wrap="square" lIns="93247" tIns="93247" rIns="93247" bIns="93247" rtlCol="0" anchor="t" anchorCtr="0">
            <a:spAutoFit/>
          </a:bodyPr>
          <a:lstStyle/>
          <a:p>
            <a:pPr algn="ctr" defTabSz="932029">
              <a:defRPr/>
            </a:pPr>
            <a:r>
              <a:rPr lang="en-US" sz="1632" dirty="0">
                <a:solidFill>
                  <a:srgbClr val="505050"/>
                </a:solidFill>
                <a:latin typeface="Segoe UI"/>
              </a:rPr>
              <a:t>Disks </a:t>
            </a:r>
            <a:br>
              <a:rPr lang="en-US" sz="1632" dirty="0">
                <a:solidFill>
                  <a:srgbClr val="505050"/>
                </a:solidFill>
                <a:latin typeface="Segoe UI"/>
              </a:rPr>
            </a:br>
            <a:r>
              <a:rPr lang="en-US" sz="1632" dirty="0">
                <a:solidFill>
                  <a:srgbClr val="505050"/>
                </a:solidFill>
                <a:latin typeface="Segoe UI"/>
              </a:rPr>
              <a:t>Blob storage </a:t>
            </a:r>
            <a:br>
              <a:rPr lang="en-US" sz="1632" dirty="0">
                <a:solidFill>
                  <a:srgbClr val="505050"/>
                </a:solidFill>
                <a:latin typeface="Segoe UI"/>
              </a:rPr>
            </a:br>
            <a:r>
              <a:rPr lang="en-US" sz="1632" dirty="0">
                <a:solidFill>
                  <a:srgbClr val="505050"/>
                </a:solidFill>
                <a:latin typeface="Segoe UI"/>
              </a:rPr>
              <a:t>File sync</a:t>
            </a:r>
          </a:p>
          <a:p>
            <a:pPr algn="ctr" defTabSz="932029">
              <a:defRPr/>
            </a:pPr>
            <a:r>
              <a:rPr lang="en-US" sz="1632" dirty="0">
                <a:solidFill>
                  <a:srgbClr val="505050"/>
                </a:solidFill>
                <a:latin typeface="Segoe UI"/>
              </a:rPr>
              <a:t>Hot and cold</a:t>
            </a:r>
          </a:p>
        </p:txBody>
      </p:sp>
      <p:sp>
        <p:nvSpPr>
          <p:cNvPr id="52" name="TextBox 51"/>
          <p:cNvSpPr txBox="1"/>
          <p:nvPr/>
        </p:nvSpPr>
        <p:spPr>
          <a:xfrm>
            <a:off x="6639861" y="3220140"/>
            <a:ext cx="1930360"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a:solidFill>
                  <a:srgbClr val="0078D7"/>
                </a:solidFill>
                <a:latin typeface="Segoe UI"/>
              </a:rPr>
              <a:t>Networking</a:t>
            </a:r>
            <a:endParaRPr lang="x-none" sz="2040">
              <a:solidFill>
                <a:srgbClr val="0078D7"/>
              </a:solidFill>
              <a:latin typeface="Segoe UI"/>
            </a:endParaRPr>
          </a:p>
        </p:txBody>
      </p:sp>
      <p:grpSp>
        <p:nvGrpSpPr>
          <p:cNvPr id="246" name="Group 245"/>
          <p:cNvGrpSpPr/>
          <p:nvPr/>
        </p:nvGrpSpPr>
        <p:grpSpPr>
          <a:xfrm>
            <a:off x="7239932" y="2305578"/>
            <a:ext cx="730215" cy="707772"/>
            <a:chOff x="6789738" y="-1839913"/>
            <a:chExt cx="1446213" cy="1401763"/>
          </a:xfrm>
          <a:solidFill>
            <a:schemeClr val="tx2"/>
          </a:solidFill>
        </p:grpSpPr>
        <p:sp>
          <p:nvSpPr>
            <p:cNvPr id="244" name="Freeform 150"/>
            <p:cNvSpPr>
              <a:spLocks noEditPoints="1"/>
            </p:cNvSpPr>
            <p:nvPr/>
          </p:nvSpPr>
          <p:spPr bwMode="auto">
            <a:xfrm>
              <a:off x="6789738" y="-1839913"/>
              <a:ext cx="1446213" cy="1401763"/>
            </a:xfrm>
            <a:custGeom>
              <a:avLst/>
              <a:gdLst>
                <a:gd name="T0" fmla="*/ 0 w 339"/>
                <a:gd name="T1" fmla="*/ 0 h 328"/>
                <a:gd name="T2" fmla="*/ 0 w 339"/>
                <a:gd name="T3" fmla="*/ 328 h 328"/>
                <a:gd name="T4" fmla="*/ 339 w 339"/>
                <a:gd name="T5" fmla="*/ 328 h 328"/>
                <a:gd name="T6" fmla="*/ 339 w 339"/>
                <a:gd name="T7" fmla="*/ 0 h 328"/>
                <a:gd name="T8" fmla="*/ 0 w 339"/>
                <a:gd name="T9" fmla="*/ 0 h 328"/>
                <a:gd name="T10" fmla="*/ 99 w 339"/>
                <a:gd name="T11" fmla="*/ 129 h 328"/>
                <a:gd name="T12" fmla="*/ 71 w 339"/>
                <a:gd name="T13" fmla="*/ 102 h 328"/>
                <a:gd name="T14" fmla="*/ 99 w 339"/>
                <a:gd name="T15" fmla="*/ 74 h 328"/>
                <a:gd name="T16" fmla="*/ 125 w 339"/>
                <a:gd name="T17" fmla="*/ 102 h 328"/>
                <a:gd name="T18" fmla="*/ 99 w 339"/>
                <a:gd name="T19" fmla="*/ 129 h 328"/>
                <a:gd name="T20" fmla="*/ 121 w 339"/>
                <a:gd name="T21" fmla="*/ 61 h 328"/>
                <a:gd name="T22" fmla="*/ 99 w 339"/>
                <a:gd name="T23" fmla="*/ 55 h 328"/>
                <a:gd name="T24" fmla="*/ 52 w 339"/>
                <a:gd name="T25" fmla="*/ 102 h 328"/>
                <a:gd name="T26" fmla="*/ 99 w 339"/>
                <a:gd name="T27" fmla="*/ 148 h 328"/>
                <a:gd name="T28" fmla="*/ 143 w 339"/>
                <a:gd name="T29" fmla="*/ 102 h 328"/>
                <a:gd name="T30" fmla="*/ 135 w 339"/>
                <a:gd name="T31" fmla="*/ 74 h 328"/>
                <a:gd name="T32" fmla="*/ 189 w 339"/>
                <a:gd name="T33" fmla="*/ 19 h 328"/>
                <a:gd name="T34" fmla="*/ 320 w 339"/>
                <a:gd name="T35" fmla="*/ 19 h 328"/>
                <a:gd name="T36" fmla="*/ 320 w 339"/>
                <a:gd name="T37" fmla="*/ 298 h 328"/>
                <a:gd name="T38" fmla="*/ 274 w 339"/>
                <a:gd name="T39" fmla="*/ 254 h 328"/>
                <a:gd name="T40" fmla="*/ 281 w 339"/>
                <a:gd name="T41" fmla="*/ 231 h 328"/>
                <a:gd name="T42" fmla="*/ 234 w 339"/>
                <a:gd name="T43" fmla="*/ 184 h 328"/>
                <a:gd name="T44" fmla="*/ 188 w 339"/>
                <a:gd name="T45" fmla="*/ 231 h 328"/>
                <a:gd name="T46" fmla="*/ 234 w 339"/>
                <a:gd name="T47" fmla="*/ 275 h 328"/>
                <a:gd name="T48" fmla="*/ 258 w 339"/>
                <a:gd name="T49" fmla="*/ 267 h 328"/>
                <a:gd name="T50" fmla="*/ 304 w 339"/>
                <a:gd name="T51" fmla="*/ 310 h 328"/>
                <a:gd name="T52" fmla="*/ 19 w 339"/>
                <a:gd name="T53" fmla="*/ 310 h 328"/>
                <a:gd name="T54" fmla="*/ 19 w 339"/>
                <a:gd name="T55" fmla="*/ 19 h 328"/>
                <a:gd name="T56" fmla="*/ 163 w 339"/>
                <a:gd name="T57" fmla="*/ 19 h 328"/>
                <a:gd name="T58" fmla="*/ 121 w 339"/>
                <a:gd name="T59" fmla="*/ 61 h 328"/>
                <a:gd name="T60" fmla="*/ 234 w 339"/>
                <a:gd name="T61" fmla="*/ 256 h 328"/>
                <a:gd name="T62" fmla="*/ 207 w 339"/>
                <a:gd name="T63" fmla="*/ 231 h 328"/>
                <a:gd name="T64" fmla="*/ 234 w 339"/>
                <a:gd name="T65" fmla="*/ 203 h 328"/>
                <a:gd name="T66" fmla="*/ 260 w 339"/>
                <a:gd name="T67" fmla="*/ 231 h 328"/>
                <a:gd name="T68" fmla="*/ 234 w 339"/>
                <a:gd name="T69" fmla="*/ 2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328">
                  <a:moveTo>
                    <a:pt x="0" y="0"/>
                  </a:moveTo>
                  <a:cubicBezTo>
                    <a:pt x="0" y="328"/>
                    <a:pt x="0" y="328"/>
                    <a:pt x="0" y="328"/>
                  </a:cubicBezTo>
                  <a:cubicBezTo>
                    <a:pt x="339" y="328"/>
                    <a:pt x="339" y="328"/>
                    <a:pt x="339" y="328"/>
                  </a:cubicBezTo>
                  <a:cubicBezTo>
                    <a:pt x="339" y="0"/>
                    <a:pt x="339" y="0"/>
                    <a:pt x="339" y="0"/>
                  </a:cubicBezTo>
                  <a:lnTo>
                    <a:pt x="0" y="0"/>
                  </a:lnTo>
                  <a:close/>
                  <a:moveTo>
                    <a:pt x="99" y="129"/>
                  </a:moveTo>
                  <a:cubicBezTo>
                    <a:pt x="83" y="129"/>
                    <a:pt x="71" y="117"/>
                    <a:pt x="71" y="102"/>
                  </a:cubicBezTo>
                  <a:cubicBezTo>
                    <a:pt x="71" y="86"/>
                    <a:pt x="83" y="74"/>
                    <a:pt x="99" y="74"/>
                  </a:cubicBezTo>
                  <a:cubicBezTo>
                    <a:pt x="113" y="74"/>
                    <a:pt x="125" y="87"/>
                    <a:pt x="125" y="102"/>
                  </a:cubicBezTo>
                  <a:cubicBezTo>
                    <a:pt x="125" y="117"/>
                    <a:pt x="113" y="129"/>
                    <a:pt x="99" y="129"/>
                  </a:cubicBezTo>
                  <a:close/>
                  <a:moveTo>
                    <a:pt x="121" y="61"/>
                  </a:moveTo>
                  <a:cubicBezTo>
                    <a:pt x="113" y="57"/>
                    <a:pt x="106" y="55"/>
                    <a:pt x="99" y="55"/>
                  </a:cubicBezTo>
                  <a:cubicBezTo>
                    <a:pt x="73" y="55"/>
                    <a:pt x="52" y="77"/>
                    <a:pt x="52" y="102"/>
                  </a:cubicBezTo>
                  <a:cubicBezTo>
                    <a:pt x="52" y="127"/>
                    <a:pt x="73" y="148"/>
                    <a:pt x="99" y="148"/>
                  </a:cubicBezTo>
                  <a:cubicBezTo>
                    <a:pt x="123" y="148"/>
                    <a:pt x="143" y="127"/>
                    <a:pt x="143" y="102"/>
                  </a:cubicBezTo>
                  <a:cubicBezTo>
                    <a:pt x="143" y="92"/>
                    <a:pt x="141" y="82"/>
                    <a:pt x="135" y="74"/>
                  </a:cubicBezTo>
                  <a:cubicBezTo>
                    <a:pt x="189" y="19"/>
                    <a:pt x="189" y="19"/>
                    <a:pt x="189" y="19"/>
                  </a:cubicBezTo>
                  <a:cubicBezTo>
                    <a:pt x="320" y="19"/>
                    <a:pt x="320" y="19"/>
                    <a:pt x="320" y="19"/>
                  </a:cubicBezTo>
                  <a:cubicBezTo>
                    <a:pt x="320" y="298"/>
                    <a:pt x="320" y="298"/>
                    <a:pt x="320" y="298"/>
                  </a:cubicBezTo>
                  <a:cubicBezTo>
                    <a:pt x="274" y="254"/>
                    <a:pt x="274" y="254"/>
                    <a:pt x="274" y="254"/>
                  </a:cubicBezTo>
                  <a:cubicBezTo>
                    <a:pt x="279" y="248"/>
                    <a:pt x="281" y="240"/>
                    <a:pt x="281" y="231"/>
                  </a:cubicBezTo>
                  <a:cubicBezTo>
                    <a:pt x="281" y="206"/>
                    <a:pt x="260" y="184"/>
                    <a:pt x="234" y="184"/>
                  </a:cubicBezTo>
                  <a:cubicBezTo>
                    <a:pt x="209" y="184"/>
                    <a:pt x="188" y="206"/>
                    <a:pt x="188" y="231"/>
                  </a:cubicBezTo>
                  <a:cubicBezTo>
                    <a:pt x="188" y="255"/>
                    <a:pt x="209" y="275"/>
                    <a:pt x="234" y="275"/>
                  </a:cubicBezTo>
                  <a:cubicBezTo>
                    <a:pt x="243" y="275"/>
                    <a:pt x="252" y="272"/>
                    <a:pt x="258" y="267"/>
                  </a:cubicBezTo>
                  <a:cubicBezTo>
                    <a:pt x="304" y="310"/>
                    <a:pt x="304" y="310"/>
                    <a:pt x="304" y="310"/>
                  </a:cubicBezTo>
                  <a:cubicBezTo>
                    <a:pt x="19" y="310"/>
                    <a:pt x="19" y="310"/>
                    <a:pt x="19" y="310"/>
                  </a:cubicBezTo>
                  <a:cubicBezTo>
                    <a:pt x="19" y="19"/>
                    <a:pt x="19" y="19"/>
                    <a:pt x="19" y="19"/>
                  </a:cubicBezTo>
                  <a:cubicBezTo>
                    <a:pt x="163" y="19"/>
                    <a:pt x="163" y="19"/>
                    <a:pt x="163" y="19"/>
                  </a:cubicBezTo>
                  <a:lnTo>
                    <a:pt x="121" y="61"/>
                  </a:lnTo>
                  <a:close/>
                  <a:moveTo>
                    <a:pt x="234" y="256"/>
                  </a:moveTo>
                  <a:cubicBezTo>
                    <a:pt x="219" y="256"/>
                    <a:pt x="207" y="245"/>
                    <a:pt x="207" y="231"/>
                  </a:cubicBezTo>
                  <a:cubicBezTo>
                    <a:pt x="207" y="215"/>
                    <a:pt x="219" y="203"/>
                    <a:pt x="234" y="203"/>
                  </a:cubicBezTo>
                  <a:cubicBezTo>
                    <a:pt x="249" y="203"/>
                    <a:pt x="260" y="216"/>
                    <a:pt x="260" y="231"/>
                  </a:cubicBezTo>
                  <a:cubicBezTo>
                    <a:pt x="260" y="244"/>
                    <a:pt x="248" y="256"/>
                    <a:pt x="23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5" name="Freeform 151"/>
            <p:cNvSpPr>
              <a:spLocks noEditPoints="1"/>
            </p:cNvSpPr>
            <p:nvPr/>
          </p:nvSpPr>
          <p:spPr bwMode="auto">
            <a:xfrm>
              <a:off x="7010400" y="-1604963"/>
              <a:ext cx="968375" cy="939800"/>
            </a:xfrm>
            <a:custGeom>
              <a:avLst/>
              <a:gdLst>
                <a:gd name="T0" fmla="*/ 47 w 227"/>
                <a:gd name="T1" fmla="*/ 220 h 220"/>
                <a:gd name="T2" fmla="*/ 91 w 227"/>
                <a:gd name="T3" fmla="*/ 176 h 220"/>
                <a:gd name="T4" fmla="*/ 86 w 227"/>
                <a:gd name="T5" fmla="*/ 154 h 220"/>
                <a:gd name="T6" fmla="*/ 157 w 227"/>
                <a:gd name="T7" fmla="*/ 84 h 220"/>
                <a:gd name="T8" fmla="*/ 182 w 227"/>
                <a:gd name="T9" fmla="*/ 93 h 220"/>
                <a:gd name="T10" fmla="*/ 227 w 227"/>
                <a:gd name="T11" fmla="*/ 47 h 220"/>
                <a:gd name="T12" fmla="*/ 182 w 227"/>
                <a:gd name="T13" fmla="*/ 0 h 220"/>
                <a:gd name="T14" fmla="*/ 136 w 227"/>
                <a:gd name="T15" fmla="*/ 47 h 220"/>
                <a:gd name="T16" fmla="*/ 143 w 227"/>
                <a:gd name="T17" fmla="*/ 72 h 220"/>
                <a:gd name="T18" fmla="*/ 75 w 227"/>
                <a:gd name="T19" fmla="*/ 140 h 220"/>
                <a:gd name="T20" fmla="*/ 47 w 227"/>
                <a:gd name="T21" fmla="*/ 129 h 220"/>
                <a:gd name="T22" fmla="*/ 0 w 227"/>
                <a:gd name="T23" fmla="*/ 176 h 220"/>
                <a:gd name="T24" fmla="*/ 47 w 227"/>
                <a:gd name="T25" fmla="*/ 220 h 220"/>
                <a:gd name="T26" fmla="*/ 19 w 227"/>
                <a:gd name="T27" fmla="*/ 176 h 220"/>
                <a:gd name="T28" fmla="*/ 47 w 227"/>
                <a:gd name="T29" fmla="*/ 148 h 220"/>
                <a:gd name="T30" fmla="*/ 73 w 227"/>
                <a:gd name="T31" fmla="*/ 176 h 220"/>
                <a:gd name="T32" fmla="*/ 47 w 227"/>
                <a:gd name="T33" fmla="*/ 201 h 220"/>
                <a:gd name="T34" fmla="*/ 19 w 227"/>
                <a:gd name="T35" fmla="*/ 176 h 220"/>
                <a:gd name="T36" fmla="*/ 155 w 227"/>
                <a:gd name="T37" fmla="*/ 47 h 220"/>
                <a:gd name="T38" fmla="*/ 182 w 227"/>
                <a:gd name="T39" fmla="*/ 19 h 220"/>
                <a:gd name="T40" fmla="*/ 208 w 227"/>
                <a:gd name="T41" fmla="*/ 47 h 220"/>
                <a:gd name="T42" fmla="*/ 182 w 227"/>
                <a:gd name="T43" fmla="*/ 74 h 220"/>
                <a:gd name="T44" fmla="*/ 155 w 227"/>
                <a:gd name="T45" fmla="*/ 4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220">
                  <a:moveTo>
                    <a:pt x="47" y="220"/>
                  </a:moveTo>
                  <a:cubicBezTo>
                    <a:pt x="72" y="220"/>
                    <a:pt x="91" y="201"/>
                    <a:pt x="91" y="176"/>
                  </a:cubicBezTo>
                  <a:cubicBezTo>
                    <a:pt x="91" y="167"/>
                    <a:pt x="90" y="161"/>
                    <a:pt x="86" y="154"/>
                  </a:cubicBezTo>
                  <a:cubicBezTo>
                    <a:pt x="157" y="84"/>
                    <a:pt x="157" y="84"/>
                    <a:pt x="157" y="84"/>
                  </a:cubicBezTo>
                  <a:cubicBezTo>
                    <a:pt x="165" y="90"/>
                    <a:pt x="174" y="93"/>
                    <a:pt x="182" y="93"/>
                  </a:cubicBezTo>
                  <a:cubicBezTo>
                    <a:pt x="207" y="93"/>
                    <a:pt x="227" y="72"/>
                    <a:pt x="227" y="47"/>
                  </a:cubicBezTo>
                  <a:cubicBezTo>
                    <a:pt x="227" y="21"/>
                    <a:pt x="207" y="0"/>
                    <a:pt x="182" y="0"/>
                  </a:cubicBezTo>
                  <a:cubicBezTo>
                    <a:pt x="157" y="0"/>
                    <a:pt x="136" y="22"/>
                    <a:pt x="136" y="47"/>
                  </a:cubicBezTo>
                  <a:cubicBezTo>
                    <a:pt x="136" y="54"/>
                    <a:pt x="138" y="62"/>
                    <a:pt x="143" y="72"/>
                  </a:cubicBezTo>
                  <a:cubicBezTo>
                    <a:pt x="75" y="140"/>
                    <a:pt x="75" y="140"/>
                    <a:pt x="75" y="140"/>
                  </a:cubicBezTo>
                  <a:cubicBezTo>
                    <a:pt x="67" y="133"/>
                    <a:pt x="58" y="129"/>
                    <a:pt x="47" y="129"/>
                  </a:cubicBezTo>
                  <a:cubicBezTo>
                    <a:pt x="21" y="129"/>
                    <a:pt x="0" y="151"/>
                    <a:pt x="0" y="176"/>
                  </a:cubicBezTo>
                  <a:cubicBezTo>
                    <a:pt x="0" y="200"/>
                    <a:pt x="21" y="220"/>
                    <a:pt x="47" y="220"/>
                  </a:cubicBezTo>
                  <a:close/>
                  <a:moveTo>
                    <a:pt x="19" y="176"/>
                  </a:moveTo>
                  <a:cubicBezTo>
                    <a:pt x="19" y="160"/>
                    <a:pt x="31" y="148"/>
                    <a:pt x="47" y="148"/>
                  </a:cubicBezTo>
                  <a:cubicBezTo>
                    <a:pt x="61" y="148"/>
                    <a:pt x="73" y="161"/>
                    <a:pt x="73" y="176"/>
                  </a:cubicBezTo>
                  <a:cubicBezTo>
                    <a:pt x="73" y="189"/>
                    <a:pt x="61" y="201"/>
                    <a:pt x="47" y="201"/>
                  </a:cubicBezTo>
                  <a:cubicBezTo>
                    <a:pt x="31" y="201"/>
                    <a:pt x="19" y="190"/>
                    <a:pt x="19" y="176"/>
                  </a:cubicBezTo>
                  <a:close/>
                  <a:moveTo>
                    <a:pt x="155" y="47"/>
                  </a:moveTo>
                  <a:cubicBezTo>
                    <a:pt x="155" y="31"/>
                    <a:pt x="167" y="19"/>
                    <a:pt x="182" y="19"/>
                  </a:cubicBezTo>
                  <a:cubicBezTo>
                    <a:pt x="197" y="19"/>
                    <a:pt x="208" y="32"/>
                    <a:pt x="208" y="47"/>
                  </a:cubicBezTo>
                  <a:cubicBezTo>
                    <a:pt x="208" y="62"/>
                    <a:pt x="197" y="74"/>
                    <a:pt x="182" y="74"/>
                  </a:cubicBezTo>
                  <a:cubicBezTo>
                    <a:pt x="167" y="74"/>
                    <a:pt x="155" y="62"/>
                    <a:pt x="1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55" name="TextBox 254"/>
          <p:cNvSpPr txBox="1"/>
          <p:nvPr/>
        </p:nvSpPr>
        <p:spPr>
          <a:xfrm>
            <a:off x="6343347" y="3902582"/>
            <a:ext cx="2523386" cy="1212949"/>
          </a:xfrm>
          <a:prstGeom prst="rect">
            <a:avLst/>
          </a:prstGeom>
          <a:noFill/>
        </p:spPr>
        <p:txBody>
          <a:bodyPr wrap="square" lIns="93247" tIns="93247" rIns="93247" bIns="93247" rtlCol="0" anchor="t" anchorCtr="0">
            <a:spAutoFit/>
          </a:bodyPr>
          <a:lstStyle/>
          <a:p>
            <a:pPr algn="ctr" defTabSz="932029">
              <a:defRPr/>
            </a:pPr>
            <a:r>
              <a:rPr lang="en-US" sz="1632">
                <a:solidFill>
                  <a:srgbClr val="505050"/>
                </a:solidFill>
                <a:latin typeface="Segoe UI"/>
              </a:rPr>
              <a:t>Virtual networks</a:t>
            </a:r>
          </a:p>
          <a:p>
            <a:pPr algn="ctr" defTabSz="932029">
              <a:defRPr/>
            </a:pPr>
            <a:r>
              <a:rPr lang="en-US" sz="1632">
                <a:solidFill>
                  <a:srgbClr val="505050"/>
                </a:solidFill>
                <a:latin typeface="Segoe UI"/>
              </a:rPr>
              <a:t>VPN, ExpressRoute</a:t>
            </a:r>
          </a:p>
          <a:p>
            <a:pPr algn="ctr" defTabSz="932029">
              <a:defRPr/>
            </a:pPr>
            <a:r>
              <a:rPr lang="en-US" sz="1632">
                <a:solidFill>
                  <a:srgbClr val="505050"/>
                </a:solidFill>
                <a:latin typeface="Segoe UI"/>
              </a:rPr>
              <a:t>Load Balancer </a:t>
            </a:r>
          </a:p>
          <a:p>
            <a:pPr algn="ctr" defTabSz="932029">
              <a:defRPr/>
            </a:pPr>
            <a:r>
              <a:rPr lang="en-US" sz="1632">
                <a:solidFill>
                  <a:srgbClr val="505050"/>
                </a:solidFill>
                <a:latin typeface="Segoe UI"/>
              </a:rPr>
              <a:t>DNS, Traffic Manager</a:t>
            </a:r>
          </a:p>
        </p:txBody>
      </p:sp>
      <p:sp>
        <p:nvSpPr>
          <p:cNvPr id="37" name="TextBox 36"/>
          <p:cNvSpPr txBox="1"/>
          <p:nvPr/>
        </p:nvSpPr>
        <p:spPr>
          <a:xfrm>
            <a:off x="9317828" y="3239612"/>
            <a:ext cx="2121645" cy="583477"/>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sz="2040">
                <a:solidFill>
                  <a:srgbClr val="0078D7"/>
                </a:solidFill>
                <a:latin typeface="Segoe UI"/>
              </a:rPr>
              <a:t>Management</a:t>
            </a:r>
          </a:p>
        </p:txBody>
      </p:sp>
      <p:grpSp>
        <p:nvGrpSpPr>
          <p:cNvPr id="69" name="Group 68">
            <a:extLst>
              <a:ext uri="{FF2B5EF4-FFF2-40B4-BE49-F238E27FC236}">
                <a16:creationId xmlns:a16="http://schemas.microsoft.com/office/drawing/2014/main" id="{23DC1699-7C2B-41EA-8822-5A6CAD7CD72F}"/>
              </a:ext>
            </a:extLst>
          </p:cNvPr>
          <p:cNvGrpSpPr/>
          <p:nvPr/>
        </p:nvGrpSpPr>
        <p:grpSpPr>
          <a:xfrm>
            <a:off x="9738762" y="2300964"/>
            <a:ext cx="1279774" cy="712386"/>
            <a:chOff x="8435577" y="2153518"/>
            <a:chExt cx="1101583" cy="613193"/>
          </a:xfrm>
          <a:solidFill>
            <a:schemeClr val="tx2"/>
          </a:solidFill>
        </p:grpSpPr>
        <p:sp>
          <p:nvSpPr>
            <p:cNvPr id="70" name="Freeform 11">
              <a:extLst>
                <a:ext uri="{FF2B5EF4-FFF2-40B4-BE49-F238E27FC236}">
                  <a16:creationId xmlns:a16="http://schemas.microsoft.com/office/drawing/2014/main" id="{F8D6666D-1F93-4324-BA49-24A702031FAC}"/>
                </a:ext>
              </a:extLst>
            </p:cNvPr>
            <p:cNvSpPr>
              <a:spLocks noEditPoints="1"/>
            </p:cNvSpPr>
            <p:nvPr/>
          </p:nvSpPr>
          <p:spPr bwMode="auto">
            <a:xfrm>
              <a:off x="8435577" y="2153518"/>
              <a:ext cx="821430" cy="514070"/>
            </a:xfrm>
            <a:custGeom>
              <a:avLst/>
              <a:gdLst>
                <a:gd name="T0" fmla="*/ 302 w 302"/>
                <a:gd name="T1" fmla="*/ 189 h 189"/>
                <a:gd name="T2" fmla="*/ 0 w 302"/>
                <a:gd name="T3" fmla="*/ 189 h 189"/>
                <a:gd name="T4" fmla="*/ 0 w 302"/>
                <a:gd name="T5" fmla="*/ 0 h 189"/>
                <a:gd name="T6" fmla="*/ 302 w 302"/>
                <a:gd name="T7" fmla="*/ 0 h 189"/>
                <a:gd name="T8" fmla="*/ 302 w 302"/>
                <a:gd name="T9" fmla="*/ 189 h 189"/>
                <a:gd name="T10" fmla="*/ 11 w 302"/>
                <a:gd name="T11" fmla="*/ 177 h 189"/>
                <a:gd name="T12" fmla="*/ 291 w 302"/>
                <a:gd name="T13" fmla="*/ 177 h 189"/>
                <a:gd name="T14" fmla="*/ 291 w 302"/>
                <a:gd name="T15" fmla="*/ 11 h 189"/>
                <a:gd name="T16" fmla="*/ 11 w 302"/>
                <a:gd name="T17" fmla="*/ 11 h 189"/>
                <a:gd name="T18" fmla="*/ 11 w 302"/>
                <a:gd name="T19" fmla="*/ 17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89">
                  <a:moveTo>
                    <a:pt x="302" y="189"/>
                  </a:moveTo>
                  <a:lnTo>
                    <a:pt x="0" y="189"/>
                  </a:lnTo>
                  <a:lnTo>
                    <a:pt x="0" y="0"/>
                  </a:lnTo>
                  <a:lnTo>
                    <a:pt x="302" y="0"/>
                  </a:lnTo>
                  <a:lnTo>
                    <a:pt x="302" y="189"/>
                  </a:lnTo>
                  <a:close/>
                  <a:moveTo>
                    <a:pt x="11" y="177"/>
                  </a:moveTo>
                  <a:lnTo>
                    <a:pt x="291" y="177"/>
                  </a:lnTo>
                  <a:lnTo>
                    <a:pt x="291" y="11"/>
                  </a:lnTo>
                  <a:lnTo>
                    <a:pt x="11" y="11"/>
                  </a:lnTo>
                  <a:lnTo>
                    <a:pt x="11"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1" name="Freeform 12">
              <a:extLst>
                <a:ext uri="{FF2B5EF4-FFF2-40B4-BE49-F238E27FC236}">
                  <a16:creationId xmlns:a16="http://schemas.microsoft.com/office/drawing/2014/main" id="{1760BD22-73CB-4B73-BEED-80CED2AB23DC}"/>
                </a:ext>
              </a:extLst>
            </p:cNvPr>
            <p:cNvSpPr>
              <a:spLocks noEditPoints="1"/>
            </p:cNvSpPr>
            <p:nvPr/>
          </p:nvSpPr>
          <p:spPr bwMode="auto">
            <a:xfrm>
              <a:off x="9305963" y="2218796"/>
              <a:ext cx="231197" cy="522231"/>
            </a:xfrm>
            <a:custGeom>
              <a:avLst/>
              <a:gdLst>
                <a:gd name="T0" fmla="*/ 85 w 85"/>
                <a:gd name="T1" fmla="*/ 192 h 192"/>
                <a:gd name="T2" fmla="*/ 0 w 85"/>
                <a:gd name="T3" fmla="*/ 192 h 192"/>
                <a:gd name="T4" fmla="*/ 0 w 85"/>
                <a:gd name="T5" fmla="*/ 0 h 192"/>
                <a:gd name="T6" fmla="*/ 85 w 85"/>
                <a:gd name="T7" fmla="*/ 0 h 192"/>
                <a:gd name="T8" fmla="*/ 85 w 85"/>
                <a:gd name="T9" fmla="*/ 192 h 192"/>
                <a:gd name="T10" fmla="*/ 11 w 85"/>
                <a:gd name="T11" fmla="*/ 180 h 192"/>
                <a:gd name="T12" fmla="*/ 73 w 85"/>
                <a:gd name="T13" fmla="*/ 180 h 192"/>
                <a:gd name="T14" fmla="*/ 73 w 85"/>
                <a:gd name="T15" fmla="*/ 11 h 192"/>
                <a:gd name="T16" fmla="*/ 11 w 85"/>
                <a:gd name="T17" fmla="*/ 11 h 192"/>
                <a:gd name="T18" fmla="*/ 11 w 85"/>
                <a:gd name="T19"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92">
                  <a:moveTo>
                    <a:pt x="85" y="192"/>
                  </a:moveTo>
                  <a:lnTo>
                    <a:pt x="0" y="192"/>
                  </a:lnTo>
                  <a:lnTo>
                    <a:pt x="0" y="0"/>
                  </a:lnTo>
                  <a:lnTo>
                    <a:pt x="85" y="0"/>
                  </a:lnTo>
                  <a:lnTo>
                    <a:pt x="85" y="192"/>
                  </a:lnTo>
                  <a:close/>
                  <a:moveTo>
                    <a:pt x="11" y="180"/>
                  </a:moveTo>
                  <a:lnTo>
                    <a:pt x="73" y="180"/>
                  </a:lnTo>
                  <a:lnTo>
                    <a:pt x="73" y="11"/>
                  </a:lnTo>
                  <a:lnTo>
                    <a:pt x="11" y="11"/>
                  </a:lnTo>
                  <a:lnTo>
                    <a:pt x="1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2" name="Rectangle 13">
              <a:extLst>
                <a:ext uri="{FF2B5EF4-FFF2-40B4-BE49-F238E27FC236}">
                  <a16:creationId xmlns:a16="http://schemas.microsoft.com/office/drawing/2014/main" id="{B50CA4BA-FF6C-45A0-A28E-1F753D0FA52E}"/>
                </a:ext>
              </a:extLst>
            </p:cNvPr>
            <p:cNvSpPr>
              <a:spLocks noChangeArrowheads="1"/>
            </p:cNvSpPr>
            <p:nvPr/>
          </p:nvSpPr>
          <p:spPr bwMode="auto">
            <a:xfrm>
              <a:off x="9382121" y="2294955"/>
              <a:ext cx="81599" cy="32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3" name="Freeform 14">
              <a:extLst>
                <a:ext uri="{FF2B5EF4-FFF2-40B4-BE49-F238E27FC236}">
                  <a16:creationId xmlns:a16="http://schemas.microsoft.com/office/drawing/2014/main" id="{FA53EAAD-54DB-41D6-85A7-CD0606C8CF27}"/>
                </a:ext>
              </a:extLst>
            </p:cNvPr>
            <p:cNvSpPr>
              <a:spLocks noEditPoints="1"/>
            </p:cNvSpPr>
            <p:nvPr/>
          </p:nvSpPr>
          <p:spPr bwMode="auto">
            <a:xfrm>
              <a:off x="8506298" y="2265035"/>
              <a:ext cx="280155" cy="103358"/>
            </a:xfrm>
            <a:custGeom>
              <a:avLst/>
              <a:gdLst>
                <a:gd name="T0" fmla="*/ 103 w 103"/>
                <a:gd name="T1" fmla="*/ 38 h 38"/>
                <a:gd name="T2" fmla="*/ 0 w 103"/>
                <a:gd name="T3" fmla="*/ 38 h 38"/>
                <a:gd name="T4" fmla="*/ 0 w 103"/>
                <a:gd name="T5" fmla="*/ 0 h 38"/>
                <a:gd name="T6" fmla="*/ 103 w 103"/>
                <a:gd name="T7" fmla="*/ 0 h 38"/>
                <a:gd name="T8" fmla="*/ 103 w 103"/>
                <a:gd name="T9" fmla="*/ 38 h 38"/>
                <a:gd name="T10" fmla="*/ 12 w 103"/>
                <a:gd name="T11" fmla="*/ 27 h 38"/>
                <a:gd name="T12" fmla="*/ 92 w 103"/>
                <a:gd name="T13" fmla="*/ 27 h 38"/>
                <a:gd name="T14" fmla="*/ 92 w 103"/>
                <a:gd name="T15" fmla="*/ 11 h 38"/>
                <a:gd name="T16" fmla="*/ 12 w 103"/>
                <a:gd name="T17" fmla="*/ 11 h 38"/>
                <a:gd name="T18" fmla="*/ 12 w 103"/>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38">
                  <a:moveTo>
                    <a:pt x="103" y="38"/>
                  </a:moveTo>
                  <a:lnTo>
                    <a:pt x="0" y="38"/>
                  </a:lnTo>
                  <a:lnTo>
                    <a:pt x="0" y="0"/>
                  </a:lnTo>
                  <a:lnTo>
                    <a:pt x="103" y="0"/>
                  </a:lnTo>
                  <a:lnTo>
                    <a:pt x="103" y="38"/>
                  </a:lnTo>
                  <a:close/>
                  <a:moveTo>
                    <a:pt x="12" y="27"/>
                  </a:moveTo>
                  <a:lnTo>
                    <a:pt x="92" y="27"/>
                  </a:lnTo>
                  <a:lnTo>
                    <a:pt x="92" y="11"/>
                  </a:lnTo>
                  <a:lnTo>
                    <a:pt x="12" y="11"/>
                  </a:ln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4" name="Freeform 15">
              <a:extLst>
                <a:ext uri="{FF2B5EF4-FFF2-40B4-BE49-F238E27FC236}">
                  <a16:creationId xmlns:a16="http://schemas.microsoft.com/office/drawing/2014/main" id="{5F0EA81E-3D3A-4CCD-A058-A21E2645C103}"/>
                </a:ext>
              </a:extLst>
            </p:cNvPr>
            <p:cNvSpPr>
              <a:spLocks noEditPoints="1"/>
            </p:cNvSpPr>
            <p:nvPr/>
          </p:nvSpPr>
          <p:spPr bwMode="auto">
            <a:xfrm>
              <a:off x="8506302" y="2390152"/>
              <a:ext cx="280155" cy="165917"/>
            </a:xfrm>
            <a:custGeom>
              <a:avLst/>
              <a:gdLst>
                <a:gd name="T0" fmla="*/ 103 w 103"/>
                <a:gd name="T1" fmla="*/ 61 h 61"/>
                <a:gd name="T2" fmla="*/ 0 w 103"/>
                <a:gd name="T3" fmla="*/ 61 h 61"/>
                <a:gd name="T4" fmla="*/ 0 w 103"/>
                <a:gd name="T5" fmla="*/ 0 h 61"/>
                <a:gd name="T6" fmla="*/ 103 w 103"/>
                <a:gd name="T7" fmla="*/ 0 h 61"/>
                <a:gd name="T8" fmla="*/ 103 w 103"/>
                <a:gd name="T9" fmla="*/ 61 h 61"/>
                <a:gd name="T10" fmla="*/ 12 w 103"/>
                <a:gd name="T11" fmla="*/ 49 h 61"/>
                <a:gd name="T12" fmla="*/ 92 w 103"/>
                <a:gd name="T13" fmla="*/ 49 h 61"/>
                <a:gd name="T14" fmla="*/ 92 w 103"/>
                <a:gd name="T15" fmla="*/ 11 h 61"/>
                <a:gd name="T16" fmla="*/ 12 w 103"/>
                <a:gd name="T17" fmla="*/ 11 h 61"/>
                <a:gd name="T18" fmla="*/ 12 w 103"/>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61">
                  <a:moveTo>
                    <a:pt x="103" y="61"/>
                  </a:moveTo>
                  <a:lnTo>
                    <a:pt x="0" y="61"/>
                  </a:lnTo>
                  <a:lnTo>
                    <a:pt x="0" y="0"/>
                  </a:lnTo>
                  <a:lnTo>
                    <a:pt x="103" y="0"/>
                  </a:lnTo>
                  <a:lnTo>
                    <a:pt x="103" y="61"/>
                  </a:lnTo>
                  <a:close/>
                  <a:moveTo>
                    <a:pt x="12" y="49"/>
                  </a:moveTo>
                  <a:lnTo>
                    <a:pt x="92" y="49"/>
                  </a:lnTo>
                  <a:lnTo>
                    <a:pt x="92" y="11"/>
                  </a:lnTo>
                  <a:lnTo>
                    <a:pt x="12" y="11"/>
                  </a:lnTo>
                  <a:lnTo>
                    <a:pt x="1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7" name="Freeform 16">
              <a:extLst>
                <a:ext uri="{FF2B5EF4-FFF2-40B4-BE49-F238E27FC236}">
                  <a16:creationId xmlns:a16="http://schemas.microsoft.com/office/drawing/2014/main" id="{1572A7BA-74F7-4808-969E-7382221849CD}"/>
                </a:ext>
              </a:extLst>
            </p:cNvPr>
            <p:cNvSpPr>
              <a:spLocks noEditPoints="1"/>
            </p:cNvSpPr>
            <p:nvPr/>
          </p:nvSpPr>
          <p:spPr bwMode="auto">
            <a:xfrm>
              <a:off x="8813658" y="2265033"/>
              <a:ext cx="163198" cy="103358"/>
            </a:xfrm>
            <a:custGeom>
              <a:avLst/>
              <a:gdLst>
                <a:gd name="T0" fmla="*/ 60 w 60"/>
                <a:gd name="T1" fmla="*/ 38 h 38"/>
                <a:gd name="T2" fmla="*/ 0 w 60"/>
                <a:gd name="T3" fmla="*/ 38 h 38"/>
                <a:gd name="T4" fmla="*/ 0 w 60"/>
                <a:gd name="T5" fmla="*/ 0 h 38"/>
                <a:gd name="T6" fmla="*/ 60 w 60"/>
                <a:gd name="T7" fmla="*/ 0 h 38"/>
                <a:gd name="T8" fmla="*/ 60 w 60"/>
                <a:gd name="T9" fmla="*/ 38 h 38"/>
                <a:gd name="T10" fmla="*/ 11 w 60"/>
                <a:gd name="T11" fmla="*/ 27 h 38"/>
                <a:gd name="T12" fmla="*/ 49 w 60"/>
                <a:gd name="T13" fmla="*/ 27 h 38"/>
                <a:gd name="T14" fmla="*/ 49 w 60"/>
                <a:gd name="T15" fmla="*/ 11 h 38"/>
                <a:gd name="T16" fmla="*/ 11 w 60"/>
                <a:gd name="T17" fmla="*/ 11 h 38"/>
                <a:gd name="T18" fmla="*/ 11 w 60"/>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8">
                  <a:moveTo>
                    <a:pt x="60" y="38"/>
                  </a:moveTo>
                  <a:lnTo>
                    <a:pt x="0" y="38"/>
                  </a:lnTo>
                  <a:lnTo>
                    <a:pt x="0" y="0"/>
                  </a:lnTo>
                  <a:lnTo>
                    <a:pt x="60" y="0"/>
                  </a:lnTo>
                  <a:lnTo>
                    <a:pt x="60" y="38"/>
                  </a:lnTo>
                  <a:close/>
                  <a:moveTo>
                    <a:pt x="11" y="27"/>
                  </a:moveTo>
                  <a:lnTo>
                    <a:pt x="49" y="27"/>
                  </a:lnTo>
                  <a:lnTo>
                    <a:pt x="49"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8" name="Freeform 17">
              <a:extLst>
                <a:ext uri="{FF2B5EF4-FFF2-40B4-BE49-F238E27FC236}">
                  <a16:creationId xmlns:a16="http://schemas.microsoft.com/office/drawing/2014/main" id="{424618D2-AA9F-4D4D-9FC1-39E5D6507074}"/>
                </a:ext>
              </a:extLst>
            </p:cNvPr>
            <p:cNvSpPr>
              <a:spLocks noEditPoints="1"/>
            </p:cNvSpPr>
            <p:nvPr/>
          </p:nvSpPr>
          <p:spPr bwMode="auto">
            <a:xfrm>
              <a:off x="8813658" y="2390151"/>
              <a:ext cx="163198" cy="165917"/>
            </a:xfrm>
            <a:custGeom>
              <a:avLst/>
              <a:gdLst>
                <a:gd name="T0" fmla="*/ 60 w 60"/>
                <a:gd name="T1" fmla="*/ 61 h 61"/>
                <a:gd name="T2" fmla="*/ 0 w 60"/>
                <a:gd name="T3" fmla="*/ 61 h 61"/>
                <a:gd name="T4" fmla="*/ 0 w 60"/>
                <a:gd name="T5" fmla="*/ 0 h 61"/>
                <a:gd name="T6" fmla="*/ 60 w 60"/>
                <a:gd name="T7" fmla="*/ 0 h 61"/>
                <a:gd name="T8" fmla="*/ 60 w 60"/>
                <a:gd name="T9" fmla="*/ 61 h 61"/>
                <a:gd name="T10" fmla="*/ 11 w 60"/>
                <a:gd name="T11" fmla="*/ 49 h 61"/>
                <a:gd name="T12" fmla="*/ 49 w 60"/>
                <a:gd name="T13" fmla="*/ 49 h 61"/>
                <a:gd name="T14" fmla="*/ 49 w 60"/>
                <a:gd name="T15" fmla="*/ 11 h 61"/>
                <a:gd name="T16" fmla="*/ 11 w 60"/>
                <a:gd name="T17" fmla="*/ 11 h 61"/>
                <a:gd name="T18" fmla="*/ 11 w 60"/>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60" y="61"/>
                  </a:moveTo>
                  <a:lnTo>
                    <a:pt x="0" y="61"/>
                  </a:lnTo>
                  <a:lnTo>
                    <a:pt x="0" y="0"/>
                  </a:lnTo>
                  <a:lnTo>
                    <a:pt x="60" y="0"/>
                  </a:lnTo>
                  <a:lnTo>
                    <a:pt x="60" y="61"/>
                  </a:lnTo>
                  <a:close/>
                  <a:moveTo>
                    <a:pt x="11" y="49"/>
                  </a:moveTo>
                  <a:lnTo>
                    <a:pt x="49" y="49"/>
                  </a:lnTo>
                  <a:lnTo>
                    <a:pt x="49"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79" name="Freeform 18">
              <a:extLst>
                <a:ext uri="{FF2B5EF4-FFF2-40B4-BE49-F238E27FC236}">
                  <a16:creationId xmlns:a16="http://schemas.microsoft.com/office/drawing/2014/main" id="{BF0D8EC5-1200-4F77-AFF5-7010B5D2855C}"/>
                </a:ext>
              </a:extLst>
            </p:cNvPr>
            <p:cNvSpPr>
              <a:spLocks noEditPoints="1"/>
            </p:cNvSpPr>
            <p:nvPr/>
          </p:nvSpPr>
          <p:spPr bwMode="auto">
            <a:xfrm>
              <a:off x="9001343" y="2265035"/>
              <a:ext cx="168638" cy="103358"/>
            </a:xfrm>
            <a:custGeom>
              <a:avLst/>
              <a:gdLst>
                <a:gd name="T0" fmla="*/ 62 w 62"/>
                <a:gd name="T1" fmla="*/ 38 h 38"/>
                <a:gd name="T2" fmla="*/ 0 w 62"/>
                <a:gd name="T3" fmla="*/ 38 h 38"/>
                <a:gd name="T4" fmla="*/ 0 w 62"/>
                <a:gd name="T5" fmla="*/ 0 h 38"/>
                <a:gd name="T6" fmla="*/ 62 w 62"/>
                <a:gd name="T7" fmla="*/ 0 h 38"/>
                <a:gd name="T8" fmla="*/ 62 w 62"/>
                <a:gd name="T9" fmla="*/ 38 h 38"/>
                <a:gd name="T10" fmla="*/ 11 w 62"/>
                <a:gd name="T11" fmla="*/ 27 h 38"/>
                <a:gd name="T12" fmla="*/ 50 w 62"/>
                <a:gd name="T13" fmla="*/ 27 h 38"/>
                <a:gd name="T14" fmla="*/ 50 w 62"/>
                <a:gd name="T15" fmla="*/ 11 h 38"/>
                <a:gd name="T16" fmla="*/ 11 w 62"/>
                <a:gd name="T17" fmla="*/ 11 h 38"/>
                <a:gd name="T18" fmla="*/ 11 w 62"/>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8">
                  <a:moveTo>
                    <a:pt x="62" y="38"/>
                  </a:moveTo>
                  <a:lnTo>
                    <a:pt x="0" y="38"/>
                  </a:lnTo>
                  <a:lnTo>
                    <a:pt x="0" y="0"/>
                  </a:lnTo>
                  <a:lnTo>
                    <a:pt x="62" y="0"/>
                  </a:lnTo>
                  <a:lnTo>
                    <a:pt x="62" y="38"/>
                  </a:lnTo>
                  <a:close/>
                  <a:moveTo>
                    <a:pt x="11" y="27"/>
                  </a:moveTo>
                  <a:lnTo>
                    <a:pt x="50" y="27"/>
                  </a:lnTo>
                  <a:lnTo>
                    <a:pt x="50"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80" name="Freeform 19">
              <a:extLst>
                <a:ext uri="{FF2B5EF4-FFF2-40B4-BE49-F238E27FC236}">
                  <a16:creationId xmlns:a16="http://schemas.microsoft.com/office/drawing/2014/main" id="{1C62BDBB-D671-4471-82B0-7ACA84B4F71E}"/>
                </a:ext>
              </a:extLst>
            </p:cNvPr>
            <p:cNvSpPr>
              <a:spLocks noEditPoints="1"/>
            </p:cNvSpPr>
            <p:nvPr/>
          </p:nvSpPr>
          <p:spPr bwMode="auto">
            <a:xfrm>
              <a:off x="9001339" y="2390154"/>
              <a:ext cx="168638" cy="165917"/>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11 w 62"/>
                <a:gd name="T11" fmla="*/ 49 h 61"/>
                <a:gd name="T12" fmla="*/ 50 w 62"/>
                <a:gd name="T13" fmla="*/ 49 h 61"/>
                <a:gd name="T14" fmla="*/ 50 w 62"/>
                <a:gd name="T15" fmla="*/ 11 h 61"/>
                <a:gd name="T16" fmla="*/ 11 w 62"/>
                <a:gd name="T17" fmla="*/ 11 h 61"/>
                <a:gd name="T18" fmla="*/ 11 w 62"/>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62" y="61"/>
                  </a:moveTo>
                  <a:lnTo>
                    <a:pt x="0" y="61"/>
                  </a:lnTo>
                  <a:lnTo>
                    <a:pt x="0" y="0"/>
                  </a:lnTo>
                  <a:lnTo>
                    <a:pt x="62" y="0"/>
                  </a:lnTo>
                  <a:lnTo>
                    <a:pt x="62" y="61"/>
                  </a:lnTo>
                  <a:close/>
                  <a:moveTo>
                    <a:pt x="11" y="49"/>
                  </a:moveTo>
                  <a:lnTo>
                    <a:pt x="50" y="49"/>
                  </a:lnTo>
                  <a:lnTo>
                    <a:pt x="50"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81" name="Rectangle 20">
              <a:extLst>
                <a:ext uri="{FF2B5EF4-FFF2-40B4-BE49-F238E27FC236}">
                  <a16:creationId xmlns:a16="http://schemas.microsoft.com/office/drawing/2014/main" id="{0EBFACAE-778E-4F23-B8F3-CB511291FA4E}"/>
                </a:ext>
              </a:extLst>
            </p:cNvPr>
            <p:cNvSpPr>
              <a:spLocks noChangeArrowheads="1"/>
            </p:cNvSpPr>
            <p:nvPr/>
          </p:nvSpPr>
          <p:spPr bwMode="auto">
            <a:xfrm>
              <a:off x="8770142" y="2676923"/>
              <a:ext cx="32640" cy="734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83" name="Rectangle 21">
              <a:extLst>
                <a:ext uri="{FF2B5EF4-FFF2-40B4-BE49-F238E27FC236}">
                  <a16:creationId xmlns:a16="http://schemas.microsoft.com/office/drawing/2014/main" id="{FF5C7329-ED9B-4E11-85C4-F66DE3C7386C}"/>
                </a:ext>
              </a:extLst>
            </p:cNvPr>
            <p:cNvSpPr>
              <a:spLocks noChangeArrowheads="1"/>
            </p:cNvSpPr>
            <p:nvPr/>
          </p:nvSpPr>
          <p:spPr bwMode="auto">
            <a:xfrm>
              <a:off x="8892541" y="2676912"/>
              <a:ext cx="32640" cy="73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sp>
          <p:nvSpPr>
            <p:cNvPr id="84" name="Rectangle 22">
              <a:extLst>
                <a:ext uri="{FF2B5EF4-FFF2-40B4-BE49-F238E27FC236}">
                  <a16:creationId xmlns:a16="http://schemas.microsoft.com/office/drawing/2014/main" id="{F5B22132-633D-4C80-8CE9-58CB302D4030}"/>
                </a:ext>
              </a:extLst>
            </p:cNvPr>
            <p:cNvSpPr>
              <a:spLocks noChangeArrowheads="1"/>
            </p:cNvSpPr>
            <p:nvPr/>
          </p:nvSpPr>
          <p:spPr bwMode="auto">
            <a:xfrm>
              <a:off x="8661345" y="2734071"/>
              <a:ext cx="367195" cy="32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Light"/>
              </a:endParaRPr>
            </a:p>
          </p:txBody>
        </p:sp>
      </p:grpSp>
      <p:sp>
        <p:nvSpPr>
          <p:cNvPr id="256" name="TextBox 255"/>
          <p:cNvSpPr txBox="1"/>
          <p:nvPr/>
        </p:nvSpPr>
        <p:spPr>
          <a:xfrm>
            <a:off x="9116956" y="3902582"/>
            <a:ext cx="2523386" cy="1212949"/>
          </a:xfrm>
          <a:prstGeom prst="rect">
            <a:avLst/>
          </a:prstGeom>
          <a:noFill/>
        </p:spPr>
        <p:txBody>
          <a:bodyPr wrap="square" lIns="93247" tIns="93247" rIns="93247" bIns="93247" rtlCol="0" anchor="t" anchorCtr="0">
            <a:spAutoFit/>
          </a:bodyPr>
          <a:lstStyle/>
          <a:p>
            <a:pPr algn="ctr" defTabSz="932029">
              <a:defRPr/>
            </a:pPr>
            <a:r>
              <a:rPr lang="en-US" sz="1632" dirty="0">
                <a:solidFill>
                  <a:srgbClr val="505050"/>
                </a:solidFill>
                <a:latin typeface="Segoe UI"/>
              </a:rPr>
              <a:t>Log Analytics </a:t>
            </a:r>
          </a:p>
          <a:p>
            <a:pPr algn="ctr" defTabSz="932029">
              <a:defRPr/>
            </a:pPr>
            <a:r>
              <a:rPr lang="en-US" sz="1632" dirty="0">
                <a:solidFill>
                  <a:srgbClr val="505050"/>
                </a:solidFill>
                <a:latin typeface="Segoe UI"/>
              </a:rPr>
              <a:t>Cloud Shell</a:t>
            </a:r>
          </a:p>
          <a:p>
            <a:pPr algn="ctr" defTabSz="932029">
              <a:defRPr/>
            </a:pPr>
            <a:r>
              <a:rPr lang="en-US" sz="1632" dirty="0">
                <a:solidFill>
                  <a:srgbClr val="505050"/>
                </a:solidFill>
                <a:latin typeface="Segoe UI"/>
              </a:rPr>
              <a:t>Site Recovery</a:t>
            </a:r>
          </a:p>
          <a:p>
            <a:pPr algn="ctr" defTabSz="932029">
              <a:defRPr/>
            </a:pPr>
            <a:r>
              <a:rPr lang="en-US" sz="1632" dirty="0">
                <a:solidFill>
                  <a:srgbClr val="505050"/>
                </a:solidFill>
                <a:latin typeface="Segoe UI"/>
              </a:rPr>
              <a:t>Security Center</a:t>
            </a:r>
          </a:p>
        </p:txBody>
      </p:sp>
      <p:sp>
        <p:nvSpPr>
          <p:cNvPr id="96" name="TextBox 95"/>
          <p:cNvSpPr txBox="1"/>
          <p:nvPr/>
        </p:nvSpPr>
        <p:spPr>
          <a:xfrm>
            <a:off x="4559017" y="5549259"/>
            <a:ext cx="3482774" cy="380451"/>
          </a:xfrm>
          <a:prstGeom prst="rect">
            <a:avLst/>
          </a:prstGeom>
          <a:solidFill>
            <a:schemeClr val="tx2"/>
          </a:solidFill>
          <a:ln w="15875" cap="sq">
            <a:noFill/>
            <a:miter lim="800000"/>
          </a:ln>
        </p:spPr>
        <p:txBody>
          <a:bodyPr wrap="square" lIns="93247" tIns="93247" rIns="93247" bIns="93247" rtlCol="0" anchor="t" anchorCtr="0">
            <a:spAutoFit/>
          </a:bodyPr>
          <a:lstStyle/>
          <a:p>
            <a:pPr algn="ctr" defTabSz="932029">
              <a:defRPr/>
            </a:pPr>
            <a:r>
              <a:rPr lang="en-US" sz="1224" b="1">
                <a:solidFill>
                  <a:srgbClr val="FFFFFF"/>
                </a:solidFill>
                <a:latin typeface="Segoe UI Semibold" panose="020B0702040204020203" pitchFamily="34" charset="0"/>
                <a:cs typeface="Segoe UI Semibold" panose="020B0702040204020203" pitchFamily="34" charset="0"/>
              </a:rPr>
              <a:t>RECENT ANNOUNCEMENTS</a:t>
            </a:r>
          </a:p>
        </p:txBody>
      </p:sp>
      <p:sp>
        <p:nvSpPr>
          <p:cNvPr id="262" name="Rectangle 261"/>
          <p:cNvSpPr/>
          <p:nvPr/>
        </p:nvSpPr>
        <p:spPr bwMode="auto">
          <a:xfrm>
            <a:off x="437099" y="5925916"/>
            <a:ext cx="3454567"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3"/>
              </a:rPr>
              <a:t>Azure Global </a:t>
            </a:r>
            <a:r>
              <a:rPr lang="en-US" sz="2040" kern="0" dirty="0" err="1">
                <a:solidFill>
                  <a:srgbClr val="0078D7"/>
                </a:solidFill>
                <a:latin typeface="Segoe UI"/>
                <a:cs typeface="Segoe UI Semibold" panose="020B0702040204020203" pitchFamily="34" charset="0"/>
                <a:hlinkClick r:id="rId3"/>
              </a:rPr>
              <a:t>VNet</a:t>
            </a:r>
            <a:r>
              <a:rPr lang="en-US" sz="2040" kern="0" dirty="0">
                <a:solidFill>
                  <a:srgbClr val="0078D7"/>
                </a:solidFill>
                <a:latin typeface="Segoe UI"/>
                <a:cs typeface="Segoe UI Semibold" panose="020B0702040204020203" pitchFamily="34" charset="0"/>
                <a:hlinkClick r:id="rId3"/>
              </a:rPr>
              <a:t> Peering</a:t>
            </a:r>
            <a:endParaRPr lang="en-US" sz="2040" kern="0" dirty="0">
              <a:solidFill>
                <a:srgbClr val="0078D7"/>
              </a:solidFill>
              <a:latin typeface="Segoe UI"/>
              <a:cs typeface="Segoe UI Semibold" panose="020B0702040204020203" pitchFamily="34" charset="0"/>
            </a:endParaRPr>
          </a:p>
        </p:txBody>
      </p:sp>
      <p:sp>
        <p:nvSpPr>
          <p:cNvPr id="88" name="Rectangle 87">
            <a:extLst>
              <a:ext uri="{FF2B5EF4-FFF2-40B4-BE49-F238E27FC236}">
                <a16:creationId xmlns:a16="http://schemas.microsoft.com/office/drawing/2014/main" id="{EBDE08F2-F250-4C78-A627-10A9FBABA1F8}"/>
              </a:ext>
            </a:extLst>
          </p:cNvPr>
          <p:cNvSpPr/>
          <p:nvPr/>
        </p:nvSpPr>
        <p:spPr bwMode="auto">
          <a:xfrm>
            <a:off x="4559017"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4"/>
              </a:rPr>
              <a:t>Azure Availability Zones</a:t>
            </a:r>
            <a:endParaRPr lang="en-US" sz="2040" kern="0" dirty="0">
              <a:solidFill>
                <a:srgbClr val="0078D7"/>
              </a:solidFill>
              <a:latin typeface="Segoe UI"/>
              <a:cs typeface="Segoe UI Semibold" panose="020B0702040204020203" pitchFamily="34" charset="0"/>
            </a:endParaRPr>
          </a:p>
        </p:txBody>
      </p:sp>
      <p:sp>
        <p:nvSpPr>
          <p:cNvPr id="89" name="Rectangle 88">
            <a:extLst>
              <a:ext uri="{FF2B5EF4-FFF2-40B4-BE49-F238E27FC236}">
                <a16:creationId xmlns:a16="http://schemas.microsoft.com/office/drawing/2014/main" id="{176867BB-6A15-4F1D-BB42-0B43D1F9F5F3}"/>
              </a:ext>
            </a:extLst>
          </p:cNvPr>
          <p:cNvSpPr/>
          <p:nvPr/>
        </p:nvSpPr>
        <p:spPr bwMode="auto">
          <a:xfrm>
            <a:off x="8709142"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5"/>
              </a:rPr>
              <a:t>Migration to Azure</a:t>
            </a:r>
            <a:endParaRPr lang="en-US" sz="2040" kern="0" dirty="0">
              <a:solidFill>
                <a:srgbClr val="0078D7"/>
              </a:solidFill>
              <a:latin typeface="Segoe UI"/>
              <a:cs typeface="Segoe UI Semibold" panose="020B0702040204020203" pitchFamily="34" charset="0"/>
            </a:endParaRPr>
          </a:p>
        </p:txBody>
      </p:sp>
      <p:cxnSp>
        <p:nvCxnSpPr>
          <p:cNvPr id="90" name="Straight Connector 89"/>
          <p:cNvCxnSpPr/>
          <p:nvPr/>
        </p:nvCxnSpPr>
        <p:spPr>
          <a:xfrm flipV="1">
            <a:off x="4143174"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8293297"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1" name="Group 270"/>
          <p:cNvGrpSpPr/>
          <p:nvPr/>
        </p:nvGrpSpPr>
        <p:grpSpPr>
          <a:xfrm>
            <a:off x="1420920" y="2119061"/>
            <a:ext cx="1267945" cy="931317"/>
            <a:chOff x="4603750" y="-3052763"/>
            <a:chExt cx="3509963" cy="2578101"/>
          </a:xfrm>
          <a:solidFill>
            <a:schemeClr val="tx2"/>
          </a:solidFill>
        </p:grpSpPr>
        <p:sp>
          <p:nvSpPr>
            <p:cNvPr id="272" name="Freeform 97"/>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3" name="Freeform 98"/>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4" name="Freeform 99"/>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5" name="Freeform 100"/>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6" name="Freeform 101"/>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7" name="Freeform 102"/>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8" name="Freeform 103"/>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9" name="Freeform 104"/>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0" name="Freeform 105"/>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1" name="Freeform 106"/>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2" name="Freeform 107"/>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3" name="Freeform 108"/>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4" name="Freeform 109"/>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5" name="Freeform 110"/>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6" name="Freeform 111"/>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7" name="Freeform 112"/>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8" name="Freeform 113"/>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9" name="Freeform 114"/>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0" name="Freeform 115"/>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1" name="Freeform 116"/>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2" name="Freeform 117"/>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3" name="Freeform 118"/>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4" name="Freeform 119"/>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5" name="Freeform 120"/>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6" name="Freeform 121"/>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7" name="Freeform 122"/>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8" name="Freeform 123"/>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9" name="Freeform 124"/>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0" name="Freeform 125"/>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1" name="Freeform 126"/>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2" name="Freeform 127"/>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3" name="Freeform 128"/>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4" name="Freeform 129"/>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Freeform 130"/>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Freeform 131"/>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7" name="Freeform 132"/>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Freeform 133"/>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Freeform 134"/>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Freeform 135"/>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Freeform 136"/>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Freeform 137"/>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Freeform 138"/>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Freeform 139"/>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Freeform 140"/>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Freeform 141"/>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Freeform 142"/>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Freeform 143"/>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Freeform 144"/>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Freeform 145"/>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Freeform 146"/>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322" name="Group 321"/>
          <p:cNvGrpSpPr/>
          <p:nvPr/>
        </p:nvGrpSpPr>
        <p:grpSpPr>
          <a:xfrm>
            <a:off x="4300284" y="2363765"/>
            <a:ext cx="1056434" cy="593368"/>
            <a:chOff x="4441561" y="2682902"/>
            <a:chExt cx="924759" cy="519410"/>
          </a:xfrm>
          <a:solidFill>
            <a:schemeClr val="tx2"/>
          </a:solidFill>
        </p:grpSpPr>
        <p:sp>
          <p:nvSpPr>
            <p:cNvPr id="323" name="Freeform 155"/>
            <p:cNvSpPr>
              <a:spLocks noEditPoints="1"/>
            </p:cNvSpPr>
            <p:nvPr/>
          </p:nvSpPr>
          <p:spPr bwMode="auto">
            <a:xfrm>
              <a:off x="4441561"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4" name="Freeform 155"/>
            <p:cNvSpPr>
              <a:spLocks noEditPoints="1"/>
            </p:cNvSpPr>
            <p:nvPr/>
          </p:nvSpPr>
          <p:spPr bwMode="auto">
            <a:xfrm>
              <a:off x="4938648"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325" name="Group 324"/>
          <p:cNvGrpSpPr/>
          <p:nvPr/>
        </p:nvGrpSpPr>
        <p:grpSpPr>
          <a:xfrm>
            <a:off x="7237000" y="2305578"/>
            <a:ext cx="730215" cy="707772"/>
            <a:chOff x="6789738" y="-1839913"/>
            <a:chExt cx="1446213" cy="1401763"/>
          </a:xfrm>
          <a:solidFill>
            <a:schemeClr val="tx2"/>
          </a:solidFill>
        </p:grpSpPr>
        <p:sp>
          <p:nvSpPr>
            <p:cNvPr id="326" name="Freeform 150"/>
            <p:cNvSpPr>
              <a:spLocks noEditPoints="1"/>
            </p:cNvSpPr>
            <p:nvPr/>
          </p:nvSpPr>
          <p:spPr bwMode="auto">
            <a:xfrm>
              <a:off x="6789738" y="-1839913"/>
              <a:ext cx="1446213" cy="1401763"/>
            </a:xfrm>
            <a:custGeom>
              <a:avLst/>
              <a:gdLst>
                <a:gd name="T0" fmla="*/ 0 w 339"/>
                <a:gd name="T1" fmla="*/ 0 h 328"/>
                <a:gd name="T2" fmla="*/ 0 w 339"/>
                <a:gd name="T3" fmla="*/ 328 h 328"/>
                <a:gd name="T4" fmla="*/ 339 w 339"/>
                <a:gd name="T5" fmla="*/ 328 h 328"/>
                <a:gd name="T6" fmla="*/ 339 w 339"/>
                <a:gd name="T7" fmla="*/ 0 h 328"/>
                <a:gd name="T8" fmla="*/ 0 w 339"/>
                <a:gd name="T9" fmla="*/ 0 h 328"/>
                <a:gd name="T10" fmla="*/ 99 w 339"/>
                <a:gd name="T11" fmla="*/ 129 h 328"/>
                <a:gd name="T12" fmla="*/ 71 w 339"/>
                <a:gd name="T13" fmla="*/ 102 h 328"/>
                <a:gd name="T14" fmla="*/ 99 w 339"/>
                <a:gd name="T15" fmla="*/ 74 h 328"/>
                <a:gd name="T16" fmla="*/ 125 w 339"/>
                <a:gd name="T17" fmla="*/ 102 h 328"/>
                <a:gd name="T18" fmla="*/ 99 w 339"/>
                <a:gd name="T19" fmla="*/ 129 h 328"/>
                <a:gd name="T20" fmla="*/ 121 w 339"/>
                <a:gd name="T21" fmla="*/ 61 h 328"/>
                <a:gd name="T22" fmla="*/ 99 w 339"/>
                <a:gd name="T23" fmla="*/ 55 h 328"/>
                <a:gd name="T24" fmla="*/ 52 w 339"/>
                <a:gd name="T25" fmla="*/ 102 h 328"/>
                <a:gd name="T26" fmla="*/ 99 w 339"/>
                <a:gd name="T27" fmla="*/ 148 h 328"/>
                <a:gd name="T28" fmla="*/ 143 w 339"/>
                <a:gd name="T29" fmla="*/ 102 h 328"/>
                <a:gd name="T30" fmla="*/ 135 w 339"/>
                <a:gd name="T31" fmla="*/ 74 h 328"/>
                <a:gd name="T32" fmla="*/ 189 w 339"/>
                <a:gd name="T33" fmla="*/ 19 h 328"/>
                <a:gd name="T34" fmla="*/ 320 w 339"/>
                <a:gd name="T35" fmla="*/ 19 h 328"/>
                <a:gd name="T36" fmla="*/ 320 w 339"/>
                <a:gd name="T37" fmla="*/ 298 h 328"/>
                <a:gd name="T38" fmla="*/ 274 w 339"/>
                <a:gd name="T39" fmla="*/ 254 h 328"/>
                <a:gd name="T40" fmla="*/ 281 w 339"/>
                <a:gd name="T41" fmla="*/ 231 h 328"/>
                <a:gd name="T42" fmla="*/ 234 w 339"/>
                <a:gd name="T43" fmla="*/ 184 h 328"/>
                <a:gd name="T44" fmla="*/ 188 w 339"/>
                <a:gd name="T45" fmla="*/ 231 h 328"/>
                <a:gd name="T46" fmla="*/ 234 w 339"/>
                <a:gd name="T47" fmla="*/ 275 h 328"/>
                <a:gd name="T48" fmla="*/ 258 w 339"/>
                <a:gd name="T49" fmla="*/ 267 h 328"/>
                <a:gd name="T50" fmla="*/ 304 w 339"/>
                <a:gd name="T51" fmla="*/ 310 h 328"/>
                <a:gd name="T52" fmla="*/ 19 w 339"/>
                <a:gd name="T53" fmla="*/ 310 h 328"/>
                <a:gd name="T54" fmla="*/ 19 w 339"/>
                <a:gd name="T55" fmla="*/ 19 h 328"/>
                <a:gd name="T56" fmla="*/ 163 w 339"/>
                <a:gd name="T57" fmla="*/ 19 h 328"/>
                <a:gd name="T58" fmla="*/ 121 w 339"/>
                <a:gd name="T59" fmla="*/ 61 h 328"/>
                <a:gd name="T60" fmla="*/ 234 w 339"/>
                <a:gd name="T61" fmla="*/ 256 h 328"/>
                <a:gd name="T62" fmla="*/ 207 w 339"/>
                <a:gd name="T63" fmla="*/ 231 h 328"/>
                <a:gd name="T64" fmla="*/ 234 w 339"/>
                <a:gd name="T65" fmla="*/ 203 h 328"/>
                <a:gd name="T66" fmla="*/ 260 w 339"/>
                <a:gd name="T67" fmla="*/ 231 h 328"/>
                <a:gd name="T68" fmla="*/ 234 w 339"/>
                <a:gd name="T69" fmla="*/ 2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328">
                  <a:moveTo>
                    <a:pt x="0" y="0"/>
                  </a:moveTo>
                  <a:cubicBezTo>
                    <a:pt x="0" y="328"/>
                    <a:pt x="0" y="328"/>
                    <a:pt x="0" y="328"/>
                  </a:cubicBezTo>
                  <a:cubicBezTo>
                    <a:pt x="339" y="328"/>
                    <a:pt x="339" y="328"/>
                    <a:pt x="339" y="328"/>
                  </a:cubicBezTo>
                  <a:cubicBezTo>
                    <a:pt x="339" y="0"/>
                    <a:pt x="339" y="0"/>
                    <a:pt x="339" y="0"/>
                  </a:cubicBezTo>
                  <a:lnTo>
                    <a:pt x="0" y="0"/>
                  </a:lnTo>
                  <a:close/>
                  <a:moveTo>
                    <a:pt x="99" y="129"/>
                  </a:moveTo>
                  <a:cubicBezTo>
                    <a:pt x="83" y="129"/>
                    <a:pt x="71" y="117"/>
                    <a:pt x="71" y="102"/>
                  </a:cubicBezTo>
                  <a:cubicBezTo>
                    <a:pt x="71" y="86"/>
                    <a:pt x="83" y="74"/>
                    <a:pt x="99" y="74"/>
                  </a:cubicBezTo>
                  <a:cubicBezTo>
                    <a:pt x="113" y="74"/>
                    <a:pt x="125" y="87"/>
                    <a:pt x="125" y="102"/>
                  </a:cubicBezTo>
                  <a:cubicBezTo>
                    <a:pt x="125" y="117"/>
                    <a:pt x="113" y="129"/>
                    <a:pt x="99" y="129"/>
                  </a:cubicBezTo>
                  <a:close/>
                  <a:moveTo>
                    <a:pt x="121" y="61"/>
                  </a:moveTo>
                  <a:cubicBezTo>
                    <a:pt x="113" y="57"/>
                    <a:pt x="106" y="55"/>
                    <a:pt x="99" y="55"/>
                  </a:cubicBezTo>
                  <a:cubicBezTo>
                    <a:pt x="73" y="55"/>
                    <a:pt x="52" y="77"/>
                    <a:pt x="52" y="102"/>
                  </a:cubicBezTo>
                  <a:cubicBezTo>
                    <a:pt x="52" y="127"/>
                    <a:pt x="73" y="148"/>
                    <a:pt x="99" y="148"/>
                  </a:cubicBezTo>
                  <a:cubicBezTo>
                    <a:pt x="123" y="148"/>
                    <a:pt x="143" y="127"/>
                    <a:pt x="143" y="102"/>
                  </a:cubicBezTo>
                  <a:cubicBezTo>
                    <a:pt x="143" y="92"/>
                    <a:pt x="141" y="82"/>
                    <a:pt x="135" y="74"/>
                  </a:cubicBezTo>
                  <a:cubicBezTo>
                    <a:pt x="189" y="19"/>
                    <a:pt x="189" y="19"/>
                    <a:pt x="189" y="19"/>
                  </a:cubicBezTo>
                  <a:cubicBezTo>
                    <a:pt x="320" y="19"/>
                    <a:pt x="320" y="19"/>
                    <a:pt x="320" y="19"/>
                  </a:cubicBezTo>
                  <a:cubicBezTo>
                    <a:pt x="320" y="298"/>
                    <a:pt x="320" y="298"/>
                    <a:pt x="320" y="298"/>
                  </a:cubicBezTo>
                  <a:cubicBezTo>
                    <a:pt x="274" y="254"/>
                    <a:pt x="274" y="254"/>
                    <a:pt x="274" y="254"/>
                  </a:cubicBezTo>
                  <a:cubicBezTo>
                    <a:pt x="279" y="248"/>
                    <a:pt x="281" y="240"/>
                    <a:pt x="281" y="231"/>
                  </a:cubicBezTo>
                  <a:cubicBezTo>
                    <a:pt x="281" y="206"/>
                    <a:pt x="260" y="184"/>
                    <a:pt x="234" y="184"/>
                  </a:cubicBezTo>
                  <a:cubicBezTo>
                    <a:pt x="209" y="184"/>
                    <a:pt x="188" y="206"/>
                    <a:pt x="188" y="231"/>
                  </a:cubicBezTo>
                  <a:cubicBezTo>
                    <a:pt x="188" y="255"/>
                    <a:pt x="209" y="275"/>
                    <a:pt x="234" y="275"/>
                  </a:cubicBezTo>
                  <a:cubicBezTo>
                    <a:pt x="243" y="275"/>
                    <a:pt x="252" y="272"/>
                    <a:pt x="258" y="267"/>
                  </a:cubicBezTo>
                  <a:cubicBezTo>
                    <a:pt x="304" y="310"/>
                    <a:pt x="304" y="310"/>
                    <a:pt x="304" y="310"/>
                  </a:cubicBezTo>
                  <a:cubicBezTo>
                    <a:pt x="19" y="310"/>
                    <a:pt x="19" y="310"/>
                    <a:pt x="19" y="310"/>
                  </a:cubicBezTo>
                  <a:cubicBezTo>
                    <a:pt x="19" y="19"/>
                    <a:pt x="19" y="19"/>
                    <a:pt x="19" y="19"/>
                  </a:cubicBezTo>
                  <a:cubicBezTo>
                    <a:pt x="163" y="19"/>
                    <a:pt x="163" y="19"/>
                    <a:pt x="163" y="19"/>
                  </a:cubicBezTo>
                  <a:lnTo>
                    <a:pt x="121" y="61"/>
                  </a:lnTo>
                  <a:close/>
                  <a:moveTo>
                    <a:pt x="234" y="256"/>
                  </a:moveTo>
                  <a:cubicBezTo>
                    <a:pt x="219" y="256"/>
                    <a:pt x="207" y="245"/>
                    <a:pt x="207" y="231"/>
                  </a:cubicBezTo>
                  <a:cubicBezTo>
                    <a:pt x="207" y="215"/>
                    <a:pt x="219" y="203"/>
                    <a:pt x="234" y="203"/>
                  </a:cubicBezTo>
                  <a:cubicBezTo>
                    <a:pt x="249" y="203"/>
                    <a:pt x="260" y="216"/>
                    <a:pt x="260" y="231"/>
                  </a:cubicBezTo>
                  <a:cubicBezTo>
                    <a:pt x="260" y="244"/>
                    <a:pt x="248" y="256"/>
                    <a:pt x="23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7" name="Freeform 151"/>
            <p:cNvSpPr>
              <a:spLocks noEditPoints="1"/>
            </p:cNvSpPr>
            <p:nvPr/>
          </p:nvSpPr>
          <p:spPr bwMode="auto">
            <a:xfrm>
              <a:off x="7010400" y="-1604963"/>
              <a:ext cx="968375" cy="939800"/>
            </a:xfrm>
            <a:custGeom>
              <a:avLst/>
              <a:gdLst>
                <a:gd name="T0" fmla="*/ 47 w 227"/>
                <a:gd name="T1" fmla="*/ 220 h 220"/>
                <a:gd name="T2" fmla="*/ 91 w 227"/>
                <a:gd name="T3" fmla="*/ 176 h 220"/>
                <a:gd name="T4" fmla="*/ 86 w 227"/>
                <a:gd name="T5" fmla="*/ 154 h 220"/>
                <a:gd name="T6" fmla="*/ 157 w 227"/>
                <a:gd name="T7" fmla="*/ 84 h 220"/>
                <a:gd name="T8" fmla="*/ 182 w 227"/>
                <a:gd name="T9" fmla="*/ 93 h 220"/>
                <a:gd name="T10" fmla="*/ 227 w 227"/>
                <a:gd name="T11" fmla="*/ 47 h 220"/>
                <a:gd name="T12" fmla="*/ 182 w 227"/>
                <a:gd name="T13" fmla="*/ 0 h 220"/>
                <a:gd name="T14" fmla="*/ 136 w 227"/>
                <a:gd name="T15" fmla="*/ 47 h 220"/>
                <a:gd name="T16" fmla="*/ 143 w 227"/>
                <a:gd name="T17" fmla="*/ 72 h 220"/>
                <a:gd name="T18" fmla="*/ 75 w 227"/>
                <a:gd name="T19" fmla="*/ 140 h 220"/>
                <a:gd name="T20" fmla="*/ 47 w 227"/>
                <a:gd name="T21" fmla="*/ 129 h 220"/>
                <a:gd name="T22" fmla="*/ 0 w 227"/>
                <a:gd name="T23" fmla="*/ 176 h 220"/>
                <a:gd name="T24" fmla="*/ 47 w 227"/>
                <a:gd name="T25" fmla="*/ 220 h 220"/>
                <a:gd name="T26" fmla="*/ 19 w 227"/>
                <a:gd name="T27" fmla="*/ 176 h 220"/>
                <a:gd name="T28" fmla="*/ 47 w 227"/>
                <a:gd name="T29" fmla="*/ 148 h 220"/>
                <a:gd name="T30" fmla="*/ 73 w 227"/>
                <a:gd name="T31" fmla="*/ 176 h 220"/>
                <a:gd name="T32" fmla="*/ 47 w 227"/>
                <a:gd name="T33" fmla="*/ 201 h 220"/>
                <a:gd name="T34" fmla="*/ 19 w 227"/>
                <a:gd name="T35" fmla="*/ 176 h 220"/>
                <a:gd name="T36" fmla="*/ 155 w 227"/>
                <a:gd name="T37" fmla="*/ 47 h 220"/>
                <a:gd name="T38" fmla="*/ 182 w 227"/>
                <a:gd name="T39" fmla="*/ 19 h 220"/>
                <a:gd name="T40" fmla="*/ 208 w 227"/>
                <a:gd name="T41" fmla="*/ 47 h 220"/>
                <a:gd name="T42" fmla="*/ 182 w 227"/>
                <a:gd name="T43" fmla="*/ 74 h 220"/>
                <a:gd name="T44" fmla="*/ 155 w 227"/>
                <a:gd name="T45" fmla="*/ 4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220">
                  <a:moveTo>
                    <a:pt x="47" y="220"/>
                  </a:moveTo>
                  <a:cubicBezTo>
                    <a:pt x="72" y="220"/>
                    <a:pt x="91" y="201"/>
                    <a:pt x="91" y="176"/>
                  </a:cubicBezTo>
                  <a:cubicBezTo>
                    <a:pt x="91" y="167"/>
                    <a:pt x="90" y="161"/>
                    <a:pt x="86" y="154"/>
                  </a:cubicBezTo>
                  <a:cubicBezTo>
                    <a:pt x="157" y="84"/>
                    <a:pt x="157" y="84"/>
                    <a:pt x="157" y="84"/>
                  </a:cubicBezTo>
                  <a:cubicBezTo>
                    <a:pt x="165" y="90"/>
                    <a:pt x="174" y="93"/>
                    <a:pt x="182" y="93"/>
                  </a:cubicBezTo>
                  <a:cubicBezTo>
                    <a:pt x="207" y="93"/>
                    <a:pt x="227" y="72"/>
                    <a:pt x="227" y="47"/>
                  </a:cubicBezTo>
                  <a:cubicBezTo>
                    <a:pt x="227" y="21"/>
                    <a:pt x="207" y="0"/>
                    <a:pt x="182" y="0"/>
                  </a:cubicBezTo>
                  <a:cubicBezTo>
                    <a:pt x="157" y="0"/>
                    <a:pt x="136" y="22"/>
                    <a:pt x="136" y="47"/>
                  </a:cubicBezTo>
                  <a:cubicBezTo>
                    <a:pt x="136" y="54"/>
                    <a:pt x="138" y="62"/>
                    <a:pt x="143" y="72"/>
                  </a:cubicBezTo>
                  <a:cubicBezTo>
                    <a:pt x="75" y="140"/>
                    <a:pt x="75" y="140"/>
                    <a:pt x="75" y="140"/>
                  </a:cubicBezTo>
                  <a:cubicBezTo>
                    <a:pt x="67" y="133"/>
                    <a:pt x="58" y="129"/>
                    <a:pt x="47" y="129"/>
                  </a:cubicBezTo>
                  <a:cubicBezTo>
                    <a:pt x="21" y="129"/>
                    <a:pt x="0" y="151"/>
                    <a:pt x="0" y="176"/>
                  </a:cubicBezTo>
                  <a:cubicBezTo>
                    <a:pt x="0" y="200"/>
                    <a:pt x="21" y="220"/>
                    <a:pt x="47" y="220"/>
                  </a:cubicBezTo>
                  <a:close/>
                  <a:moveTo>
                    <a:pt x="19" y="176"/>
                  </a:moveTo>
                  <a:cubicBezTo>
                    <a:pt x="19" y="160"/>
                    <a:pt x="31" y="148"/>
                    <a:pt x="47" y="148"/>
                  </a:cubicBezTo>
                  <a:cubicBezTo>
                    <a:pt x="61" y="148"/>
                    <a:pt x="73" y="161"/>
                    <a:pt x="73" y="176"/>
                  </a:cubicBezTo>
                  <a:cubicBezTo>
                    <a:pt x="73" y="189"/>
                    <a:pt x="61" y="201"/>
                    <a:pt x="47" y="201"/>
                  </a:cubicBezTo>
                  <a:cubicBezTo>
                    <a:pt x="31" y="201"/>
                    <a:pt x="19" y="190"/>
                    <a:pt x="19" y="176"/>
                  </a:cubicBezTo>
                  <a:close/>
                  <a:moveTo>
                    <a:pt x="155" y="47"/>
                  </a:moveTo>
                  <a:cubicBezTo>
                    <a:pt x="155" y="31"/>
                    <a:pt x="167" y="19"/>
                    <a:pt x="182" y="19"/>
                  </a:cubicBezTo>
                  <a:cubicBezTo>
                    <a:pt x="197" y="19"/>
                    <a:pt x="208" y="32"/>
                    <a:pt x="208" y="47"/>
                  </a:cubicBezTo>
                  <a:cubicBezTo>
                    <a:pt x="208" y="62"/>
                    <a:pt x="197" y="74"/>
                    <a:pt x="182" y="74"/>
                  </a:cubicBezTo>
                  <a:cubicBezTo>
                    <a:pt x="167" y="74"/>
                    <a:pt x="155" y="62"/>
                    <a:pt x="1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cxnSp>
        <p:nvCxnSpPr>
          <p:cNvPr id="328" name="Straight Connector 327">
            <a:extLst>
              <a:ext uri="{FF2B5EF4-FFF2-40B4-BE49-F238E27FC236}">
                <a16:creationId xmlns:a16="http://schemas.microsoft.com/office/drawing/2014/main" id="{A4BAD7C0-ACFB-4E3B-96B7-A97A021BCB72}"/>
              </a:ext>
            </a:extLst>
          </p:cNvPr>
          <p:cNvCxnSpPr/>
          <p:nvPr/>
        </p:nvCxnSpPr>
        <p:spPr>
          <a:xfrm flipH="1" flipV="1">
            <a:off x="9301956" y="3151910"/>
            <a:ext cx="2188842" cy="2384"/>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717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fade">
                                      <p:cBhvr>
                                        <p:cTn id="11" dur="250"/>
                                        <p:tgtEl>
                                          <p:spTgt spid="75"/>
                                        </p:tgtEl>
                                      </p:cBhvr>
                                    </p:animEffect>
                                  </p:childTnLst>
                                </p:cTn>
                              </p:par>
                              <p:par>
                                <p:cTn id="12" presetID="10" presetClass="entr" presetSubtype="0" fill="hold" nodeType="withEffect">
                                  <p:stCondLst>
                                    <p:cond delay="0"/>
                                  </p:stCondLst>
                                  <p:childTnLst>
                                    <p:set>
                                      <p:cBhvr>
                                        <p:cTn id="13" dur="1" fill="hold">
                                          <p:stCondLst>
                                            <p:cond delay="0"/>
                                          </p:stCondLst>
                                        </p:cTn>
                                        <p:tgtEl>
                                          <p:spTgt spid="187"/>
                                        </p:tgtEl>
                                        <p:attrNameLst>
                                          <p:attrName>style.visibility</p:attrName>
                                        </p:attrNameLst>
                                      </p:cBhvr>
                                      <p:to>
                                        <p:strVal val="visible"/>
                                      </p:to>
                                    </p:set>
                                    <p:animEffect transition="in" filter="fade">
                                      <p:cBhvr>
                                        <p:cTn id="14" dur="250"/>
                                        <p:tgtEl>
                                          <p:spTgt spid="18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3"/>
                                        </p:tgtEl>
                                        <p:attrNameLst>
                                          <p:attrName>style.visibility</p:attrName>
                                        </p:attrNameLst>
                                      </p:cBhvr>
                                      <p:to>
                                        <p:strVal val="visible"/>
                                      </p:to>
                                    </p:set>
                                    <p:animEffect transition="in" filter="fade">
                                      <p:cBhvr>
                                        <p:cTn id="17" dur="250"/>
                                        <p:tgtEl>
                                          <p:spTgt spid="25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64"/>
                                        </p:tgtEl>
                                        <p:attrNameLst>
                                          <p:attrName>style.visibility</p:attrName>
                                        </p:attrNameLst>
                                      </p:cBhvr>
                                      <p:to>
                                        <p:strVal val="visible"/>
                                      </p:to>
                                    </p:set>
                                    <p:animEffect transition="in" filter="fade">
                                      <p:cBhvr>
                                        <p:cTn id="21" dur="250"/>
                                        <p:tgtEl>
                                          <p:spTgt spid="64"/>
                                        </p:tgtEl>
                                      </p:cBhvr>
                                    </p:animEffect>
                                  </p:childTnLst>
                                </p:cTn>
                              </p:par>
                            </p:childTnLst>
                          </p:cTn>
                        </p:par>
                        <p:par>
                          <p:cTn id="22" fill="hold">
                            <p:stCondLst>
                              <p:cond delay="1000"/>
                            </p:stCondLst>
                            <p:childTnLst>
                              <p:par>
                                <p:cTn id="23" presetID="10" presetClass="entr" presetSubtype="0" fill="hold" grpId="0" nodeType="afterEffect">
                                  <p:stCondLst>
                                    <p:cond delay="0"/>
                                  </p:stCondLst>
                                  <p:childTnLst>
                                    <p:set>
                                      <p:cBhvr>
                                        <p:cTn id="24" dur="1" fill="hold">
                                          <p:stCondLst>
                                            <p:cond delay="0"/>
                                          </p:stCondLst>
                                        </p:cTn>
                                        <p:tgtEl>
                                          <p:spTgt spid="82"/>
                                        </p:tgtEl>
                                        <p:attrNameLst>
                                          <p:attrName>style.visibility</p:attrName>
                                        </p:attrNameLst>
                                      </p:cBhvr>
                                      <p:to>
                                        <p:strVal val="visible"/>
                                      </p:to>
                                    </p:set>
                                    <p:animEffect transition="in" filter="fade">
                                      <p:cBhvr>
                                        <p:cTn id="25" dur="250"/>
                                        <p:tgtEl>
                                          <p:spTgt spid="82"/>
                                        </p:tgtEl>
                                      </p:cBhvr>
                                    </p:animEffect>
                                  </p:childTnLst>
                                </p:cTn>
                              </p:par>
                              <p:par>
                                <p:cTn id="26" presetID="10" presetClass="entr" presetSubtype="0" fill="hold" nodeType="withEffect">
                                  <p:stCondLst>
                                    <p:cond delay="0"/>
                                  </p:stCondLst>
                                  <p:childTnLst>
                                    <p:set>
                                      <p:cBhvr>
                                        <p:cTn id="27" dur="1" fill="hold">
                                          <p:stCondLst>
                                            <p:cond delay="0"/>
                                          </p:stCondLst>
                                        </p:cTn>
                                        <p:tgtEl>
                                          <p:spTgt spid="252"/>
                                        </p:tgtEl>
                                        <p:attrNameLst>
                                          <p:attrName>style.visibility</p:attrName>
                                        </p:attrNameLst>
                                      </p:cBhvr>
                                      <p:to>
                                        <p:strVal val="visible"/>
                                      </p:to>
                                    </p:set>
                                    <p:animEffect transition="in" filter="fade">
                                      <p:cBhvr>
                                        <p:cTn id="28" dur="250"/>
                                        <p:tgtEl>
                                          <p:spTgt spid="25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4"/>
                                        </p:tgtEl>
                                        <p:attrNameLst>
                                          <p:attrName>style.visibility</p:attrName>
                                        </p:attrNameLst>
                                      </p:cBhvr>
                                      <p:to>
                                        <p:strVal val="visible"/>
                                      </p:to>
                                    </p:set>
                                    <p:animEffect transition="in" filter="fade">
                                      <p:cBhvr>
                                        <p:cTn id="31" dur="250"/>
                                        <p:tgtEl>
                                          <p:spTgt spid="254"/>
                                        </p:tgtEl>
                                      </p:cBhvr>
                                    </p:animEffect>
                                  </p:childTnLst>
                                </p:cTn>
                              </p:par>
                            </p:childTnLst>
                          </p:cTn>
                        </p:par>
                        <p:par>
                          <p:cTn id="32" fill="hold">
                            <p:stCondLst>
                              <p:cond delay="1250"/>
                            </p:stCondLst>
                            <p:childTnLst>
                              <p:par>
                                <p:cTn id="33" presetID="10" presetClass="entr" presetSubtype="0" fill="hold" nodeType="after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250"/>
                                        <p:tgtEl>
                                          <p:spTgt spid="65"/>
                                        </p:tgtEl>
                                      </p:cBhvr>
                                    </p:animEffect>
                                  </p:childTnLst>
                                </p:cTn>
                              </p:par>
                            </p:childTnLst>
                          </p:cTn>
                        </p:par>
                        <p:par>
                          <p:cTn id="36" fill="hold">
                            <p:stCondLst>
                              <p:cond delay="1500"/>
                            </p:stCondLst>
                            <p:childTnLst>
                              <p:par>
                                <p:cTn id="37" presetID="10" presetClass="entr" presetSubtype="0" fill="hold" grpId="0" nodeType="after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250"/>
                                        <p:tgtEl>
                                          <p:spTgt spid="52"/>
                                        </p:tgtEl>
                                      </p:cBhvr>
                                    </p:animEffect>
                                  </p:childTnLst>
                                </p:cTn>
                              </p:par>
                              <p:par>
                                <p:cTn id="40" presetID="10" presetClass="entr" presetSubtype="0" fill="hold" nodeType="withEffect">
                                  <p:stCondLst>
                                    <p:cond delay="0"/>
                                  </p:stCondLst>
                                  <p:childTnLst>
                                    <p:set>
                                      <p:cBhvr>
                                        <p:cTn id="41" dur="1" fill="hold">
                                          <p:stCondLst>
                                            <p:cond delay="0"/>
                                          </p:stCondLst>
                                        </p:cTn>
                                        <p:tgtEl>
                                          <p:spTgt spid="246"/>
                                        </p:tgtEl>
                                        <p:attrNameLst>
                                          <p:attrName>style.visibility</p:attrName>
                                        </p:attrNameLst>
                                      </p:cBhvr>
                                      <p:to>
                                        <p:strVal val="visible"/>
                                      </p:to>
                                    </p:set>
                                    <p:animEffect transition="in" filter="fade">
                                      <p:cBhvr>
                                        <p:cTn id="42" dur="250"/>
                                        <p:tgtEl>
                                          <p:spTgt spid="24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55"/>
                                        </p:tgtEl>
                                        <p:attrNameLst>
                                          <p:attrName>style.visibility</p:attrName>
                                        </p:attrNameLst>
                                      </p:cBhvr>
                                      <p:to>
                                        <p:strVal val="visible"/>
                                      </p:to>
                                    </p:set>
                                    <p:animEffect transition="in" filter="fade">
                                      <p:cBhvr>
                                        <p:cTn id="45" dur="250"/>
                                        <p:tgtEl>
                                          <p:spTgt spid="255"/>
                                        </p:tgtEl>
                                      </p:cBhvr>
                                    </p:animEffect>
                                  </p:childTnLst>
                                </p:cTn>
                              </p:par>
                            </p:childTnLst>
                          </p:cTn>
                        </p:par>
                        <p:par>
                          <p:cTn id="46" fill="hold">
                            <p:stCondLst>
                              <p:cond delay="1750"/>
                            </p:stCondLst>
                            <p:childTnLst>
                              <p:par>
                                <p:cTn id="47" presetID="10" presetClass="entr" presetSubtype="0" fill="hold" nodeType="after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250"/>
                                        <p:tgtEl>
                                          <p:spTgt spid="45"/>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37"/>
                                        </p:tgtEl>
                                        <p:attrNameLst>
                                          <p:attrName>style.visibility</p:attrName>
                                        </p:attrNameLst>
                                      </p:cBhvr>
                                      <p:to>
                                        <p:strVal val="visible"/>
                                      </p:to>
                                    </p:set>
                                    <p:animEffect transition="in" filter="fade">
                                      <p:cBhvr>
                                        <p:cTn id="53" dur="250"/>
                                        <p:tgtEl>
                                          <p:spTgt spid="37"/>
                                        </p:tgtEl>
                                      </p:cBhvr>
                                    </p:animEffect>
                                  </p:childTnLst>
                                </p:cTn>
                              </p:par>
                              <p:par>
                                <p:cTn id="54" presetID="10" presetClass="entr" presetSubtype="0" fill="hold" nodeType="withEffect">
                                  <p:stCondLst>
                                    <p:cond delay="0"/>
                                  </p:stCondLst>
                                  <p:childTnLst>
                                    <p:set>
                                      <p:cBhvr>
                                        <p:cTn id="55" dur="1" fill="hold">
                                          <p:stCondLst>
                                            <p:cond delay="0"/>
                                          </p:stCondLst>
                                        </p:cTn>
                                        <p:tgtEl>
                                          <p:spTgt spid="69"/>
                                        </p:tgtEl>
                                        <p:attrNameLst>
                                          <p:attrName>style.visibility</p:attrName>
                                        </p:attrNameLst>
                                      </p:cBhvr>
                                      <p:to>
                                        <p:strVal val="visible"/>
                                      </p:to>
                                    </p:set>
                                    <p:animEffect transition="in" filter="fade">
                                      <p:cBhvr>
                                        <p:cTn id="56" dur="250"/>
                                        <p:tgtEl>
                                          <p:spTgt spid="6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56"/>
                                        </p:tgtEl>
                                        <p:attrNameLst>
                                          <p:attrName>style.visibility</p:attrName>
                                        </p:attrNameLst>
                                      </p:cBhvr>
                                      <p:to>
                                        <p:strVal val="visible"/>
                                      </p:to>
                                    </p:set>
                                    <p:animEffect transition="in" filter="fade">
                                      <p:cBhvr>
                                        <p:cTn id="59" dur="250"/>
                                        <p:tgtEl>
                                          <p:spTgt spid="256"/>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271"/>
                                        </p:tgtEl>
                                        <p:attrNameLst>
                                          <p:attrName>style.visibility</p:attrName>
                                        </p:attrNameLst>
                                      </p:cBhvr>
                                      <p:to>
                                        <p:strVal val="visible"/>
                                      </p:to>
                                    </p:set>
                                    <p:animEffect transition="in" filter="fade">
                                      <p:cBhvr>
                                        <p:cTn id="64" dur="500"/>
                                        <p:tgtEl>
                                          <p:spTgt spid="271"/>
                                        </p:tgtEl>
                                      </p:cBhvr>
                                    </p:animEffect>
                                  </p:childTnLst>
                                </p:cTn>
                              </p:par>
                              <p:par>
                                <p:cTn id="65" presetID="10" presetClass="entr" presetSubtype="0" fill="hold" nodeType="withEffect">
                                  <p:stCondLst>
                                    <p:cond delay="0"/>
                                  </p:stCondLst>
                                  <p:childTnLst>
                                    <p:set>
                                      <p:cBhvr>
                                        <p:cTn id="66" dur="1" fill="hold">
                                          <p:stCondLst>
                                            <p:cond delay="0"/>
                                          </p:stCondLst>
                                        </p:cTn>
                                        <p:tgtEl>
                                          <p:spTgt spid="322"/>
                                        </p:tgtEl>
                                        <p:attrNameLst>
                                          <p:attrName>style.visibility</p:attrName>
                                        </p:attrNameLst>
                                      </p:cBhvr>
                                      <p:to>
                                        <p:strVal val="visible"/>
                                      </p:to>
                                    </p:set>
                                    <p:animEffect transition="in" filter="fade">
                                      <p:cBhvr>
                                        <p:cTn id="67" dur="500"/>
                                        <p:tgtEl>
                                          <p:spTgt spid="322"/>
                                        </p:tgtEl>
                                      </p:cBhvr>
                                    </p:animEffect>
                                  </p:childTnLst>
                                </p:cTn>
                              </p:par>
                              <p:par>
                                <p:cTn id="68" presetID="10" presetClass="entr" presetSubtype="0" fill="hold" nodeType="withEffect">
                                  <p:stCondLst>
                                    <p:cond delay="0"/>
                                  </p:stCondLst>
                                  <p:childTnLst>
                                    <p:set>
                                      <p:cBhvr>
                                        <p:cTn id="69" dur="1" fill="hold">
                                          <p:stCondLst>
                                            <p:cond delay="0"/>
                                          </p:stCondLst>
                                        </p:cTn>
                                        <p:tgtEl>
                                          <p:spTgt spid="325"/>
                                        </p:tgtEl>
                                        <p:attrNameLst>
                                          <p:attrName>style.visibility</p:attrName>
                                        </p:attrNameLst>
                                      </p:cBhvr>
                                      <p:to>
                                        <p:strVal val="visible"/>
                                      </p:to>
                                    </p:set>
                                    <p:animEffect transition="in" filter="fade">
                                      <p:cBhvr>
                                        <p:cTn id="70" dur="500"/>
                                        <p:tgtEl>
                                          <p:spTgt spid="325"/>
                                        </p:tgtEl>
                                      </p:cBhvr>
                                    </p:animEffect>
                                  </p:childTnLst>
                                </p:cTn>
                              </p:par>
                              <p:par>
                                <p:cTn id="71" presetID="42" presetClass="path" presetSubtype="0" accel="50000" decel="50000" fill="hold" nodeType="withEffect">
                                  <p:stCondLst>
                                    <p:cond delay="0"/>
                                  </p:stCondLst>
                                  <p:childTnLst>
                                    <p:animMotion origin="layout" path="M 2.08333E-6 -2.59259E-6 L 0.2957 0.1132 " pathEditMode="relative" rAng="0" ptsTypes="AA">
                                      <p:cBhvr>
                                        <p:cTn id="72" dur="2000" fill="hold"/>
                                        <p:tgtEl>
                                          <p:spTgt spid="325"/>
                                        </p:tgtEl>
                                        <p:attrNameLst>
                                          <p:attrName>ppt_x</p:attrName>
                                          <p:attrName>ppt_y</p:attrName>
                                        </p:attrNameLst>
                                      </p:cBhvr>
                                      <p:rCtr x="14779" y="5648"/>
                                    </p:animMotion>
                                  </p:childTnLst>
                                </p:cTn>
                              </p:par>
                              <p:par>
                                <p:cTn id="73" presetID="42" presetClass="path" presetSubtype="0" accel="50000" decel="50000" fill="hold" nodeType="withEffect">
                                  <p:stCondLst>
                                    <p:cond delay="0"/>
                                  </p:stCondLst>
                                  <p:childTnLst>
                                    <p:animMotion origin="layout" path="M -0.02031 0.02223 L 0.4599 0.11713 " pathEditMode="relative" rAng="0" ptsTypes="AA">
                                      <p:cBhvr>
                                        <p:cTn id="74" dur="2000" fill="hold"/>
                                        <p:tgtEl>
                                          <p:spTgt spid="322"/>
                                        </p:tgtEl>
                                        <p:attrNameLst>
                                          <p:attrName>ppt_x</p:attrName>
                                          <p:attrName>ppt_y</p:attrName>
                                        </p:attrNameLst>
                                      </p:cBhvr>
                                      <p:rCtr x="24010" y="4745"/>
                                    </p:animMotion>
                                  </p:childTnLst>
                                </p:cTn>
                              </p:par>
                              <p:par>
                                <p:cTn id="75" presetID="42" presetClass="path" presetSubtype="0" accel="50000" decel="50000" fill="hold" nodeType="withEffect">
                                  <p:stCondLst>
                                    <p:cond delay="0"/>
                                  </p:stCondLst>
                                  <p:childTnLst>
                                    <p:animMotion origin="layout" path="M -4.16667E-6 -4.44444E-6 L 0.61211 0.13565 " pathEditMode="relative" rAng="0" ptsTypes="AA">
                                      <p:cBhvr>
                                        <p:cTn id="76" dur="2000" fill="hold"/>
                                        <p:tgtEl>
                                          <p:spTgt spid="271"/>
                                        </p:tgtEl>
                                        <p:attrNameLst>
                                          <p:attrName>ppt_x</p:attrName>
                                          <p:attrName>ppt_y</p:attrName>
                                        </p:attrNameLst>
                                      </p:cBhvr>
                                      <p:rCtr x="30599" y="6782"/>
                                    </p:animMotion>
                                  </p:childTnLst>
                                </p:cTn>
                              </p:par>
                              <p:par>
                                <p:cTn id="77" presetID="6" presetClass="emph" presetSubtype="0" fill="hold" nodeType="withEffect">
                                  <p:stCondLst>
                                    <p:cond delay="0"/>
                                  </p:stCondLst>
                                  <p:childTnLst>
                                    <p:animScale>
                                      <p:cBhvr>
                                        <p:cTn id="78" dur="2000" fill="hold"/>
                                        <p:tgtEl>
                                          <p:spTgt spid="271"/>
                                        </p:tgtEl>
                                      </p:cBhvr>
                                      <p:by x="55000" y="55000"/>
                                    </p:animScale>
                                  </p:childTnLst>
                                </p:cTn>
                              </p:par>
                              <p:par>
                                <p:cTn id="79" presetID="6" presetClass="emph" presetSubtype="0" fill="hold" nodeType="withEffect">
                                  <p:stCondLst>
                                    <p:cond delay="0"/>
                                  </p:stCondLst>
                                  <p:childTnLst>
                                    <p:animScale>
                                      <p:cBhvr>
                                        <p:cTn id="80" dur="2000" fill="hold"/>
                                        <p:tgtEl>
                                          <p:spTgt spid="325"/>
                                        </p:tgtEl>
                                      </p:cBhvr>
                                      <p:by x="55000" y="55000"/>
                                    </p:animScale>
                                  </p:childTnLst>
                                </p:cTn>
                              </p:par>
                              <p:par>
                                <p:cTn id="81" presetID="6" presetClass="emph" presetSubtype="0" fill="hold" nodeType="withEffect">
                                  <p:stCondLst>
                                    <p:cond delay="0"/>
                                  </p:stCondLst>
                                  <p:childTnLst>
                                    <p:animScale>
                                      <p:cBhvr>
                                        <p:cTn id="82" dur="2000" fill="hold"/>
                                        <p:tgtEl>
                                          <p:spTgt spid="322"/>
                                        </p:tgtEl>
                                      </p:cBhvr>
                                      <p:by x="55000" y="55000"/>
                                    </p:animScale>
                                  </p:childTnLst>
                                </p:cTn>
                              </p:par>
                              <p:par>
                                <p:cTn id="83" presetID="42" presetClass="path" presetSubtype="0" accel="50000" decel="50000" fill="hold" grpId="1" nodeType="withEffect">
                                  <p:stCondLst>
                                    <p:cond delay="0"/>
                                  </p:stCondLst>
                                  <p:childTnLst>
                                    <p:animMotion origin="layout" path="M 4.79167E-6 1.85185E-6 L 4.79167E-6 0.09769 " pathEditMode="relative" rAng="0" ptsTypes="AA">
                                      <p:cBhvr>
                                        <p:cTn id="84" dur="2000" fill="hold"/>
                                        <p:tgtEl>
                                          <p:spTgt spid="37"/>
                                        </p:tgtEl>
                                        <p:attrNameLst>
                                          <p:attrName>ppt_x</p:attrName>
                                          <p:attrName>ppt_y</p:attrName>
                                        </p:attrNameLst>
                                      </p:cBhvr>
                                      <p:rCtr x="0" y="4468"/>
                                    </p:animMotion>
                                  </p:childTnLst>
                                </p:cTn>
                              </p:par>
                              <p:par>
                                <p:cTn id="85" presetID="42" presetClass="path" presetSubtype="0" accel="50000" decel="50000" fill="hold" grpId="1" nodeType="withEffect">
                                  <p:stCondLst>
                                    <p:cond delay="0"/>
                                  </p:stCondLst>
                                  <p:childTnLst>
                                    <p:animMotion origin="layout" path="M -4.58333E-6 -4.07407E-6 L -0.00092 0.07175 " pathEditMode="relative" rAng="0" ptsTypes="AA">
                                      <p:cBhvr>
                                        <p:cTn id="86" dur="2000" fill="hold"/>
                                        <p:tgtEl>
                                          <p:spTgt spid="256"/>
                                        </p:tgtEl>
                                        <p:attrNameLst>
                                          <p:attrName>ppt_x</p:attrName>
                                          <p:attrName>ppt_y</p:attrName>
                                        </p:attrNameLst>
                                      </p:cBhvr>
                                      <p:rCtr x="-26" y="3588"/>
                                    </p:animMotion>
                                  </p:childTnLst>
                                </p:cTn>
                              </p:par>
                              <p:par>
                                <p:cTn id="87" presetID="16" presetClass="entr" presetSubtype="37" fill="hold" nodeType="withEffect">
                                  <p:stCondLst>
                                    <p:cond delay="1000"/>
                                  </p:stCondLst>
                                  <p:childTnLst>
                                    <p:set>
                                      <p:cBhvr>
                                        <p:cTn id="88" dur="1" fill="hold">
                                          <p:stCondLst>
                                            <p:cond delay="0"/>
                                          </p:stCondLst>
                                        </p:cTn>
                                        <p:tgtEl>
                                          <p:spTgt spid="328"/>
                                        </p:tgtEl>
                                        <p:attrNameLst>
                                          <p:attrName>style.visibility</p:attrName>
                                        </p:attrNameLst>
                                      </p:cBhvr>
                                      <p:to>
                                        <p:strVal val="visible"/>
                                      </p:to>
                                    </p:set>
                                    <p:animEffect transition="in" filter="barn(outVertical)">
                                      <p:cBhvr>
                                        <p:cTn id="89" dur="500"/>
                                        <p:tgtEl>
                                          <p:spTgt spid="328"/>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5"/>
                                        </p:tgtEl>
                                        <p:attrNameLst>
                                          <p:attrName>style.visibility</p:attrName>
                                        </p:attrNameLst>
                                      </p:cBhvr>
                                      <p:to>
                                        <p:strVal val="visible"/>
                                      </p:to>
                                    </p:set>
                                    <p:animEffect transition="in" filter="fade">
                                      <p:cBhvr>
                                        <p:cTn id="94" dur="500"/>
                                        <p:tgtEl>
                                          <p:spTgt spid="5"/>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96"/>
                                        </p:tgtEl>
                                        <p:attrNameLst>
                                          <p:attrName>style.visibility</p:attrName>
                                        </p:attrNameLst>
                                      </p:cBhvr>
                                      <p:to>
                                        <p:strVal val="visible"/>
                                      </p:to>
                                    </p:set>
                                    <p:animEffect transition="in" filter="fade">
                                      <p:cBhvr>
                                        <p:cTn id="97" dur="500"/>
                                        <p:tgtEl>
                                          <p:spTgt spid="96"/>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62"/>
                                        </p:tgtEl>
                                        <p:attrNameLst>
                                          <p:attrName>style.visibility</p:attrName>
                                        </p:attrNameLst>
                                      </p:cBhvr>
                                      <p:to>
                                        <p:strVal val="visible"/>
                                      </p:to>
                                    </p:set>
                                    <p:animEffect transition="in" filter="fade">
                                      <p:cBhvr>
                                        <p:cTn id="100" dur="500"/>
                                        <p:tgtEl>
                                          <p:spTgt spid="262"/>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88"/>
                                        </p:tgtEl>
                                        <p:attrNameLst>
                                          <p:attrName>style.visibility</p:attrName>
                                        </p:attrNameLst>
                                      </p:cBhvr>
                                      <p:to>
                                        <p:strVal val="visible"/>
                                      </p:to>
                                    </p:set>
                                    <p:animEffect transition="in" filter="fade">
                                      <p:cBhvr>
                                        <p:cTn id="103" dur="500"/>
                                        <p:tgtEl>
                                          <p:spTgt spid="8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89"/>
                                        </p:tgtEl>
                                        <p:attrNameLst>
                                          <p:attrName>style.visibility</p:attrName>
                                        </p:attrNameLst>
                                      </p:cBhvr>
                                      <p:to>
                                        <p:strVal val="visible"/>
                                      </p:to>
                                    </p:set>
                                    <p:animEffect transition="in" filter="fade">
                                      <p:cBhvr>
                                        <p:cTn id="106" dur="500"/>
                                        <p:tgtEl>
                                          <p:spTgt spid="89"/>
                                        </p:tgtEl>
                                      </p:cBhvr>
                                    </p:animEffect>
                                  </p:childTnLst>
                                </p:cTn>
                              </p:par>
                              <p:par>
                                <p:cTn id="107" presetID="10" presetClass="entr" presetSubtype="0" fill="hold" nodeType="withEffect">
                                  <p:stCondLst>
                                    <p:cond delay="0"/>
                                  </p:stCondLst>
                                  <p:childTnLst>
                                    <p:set>
                                      <p:cBhvr>
                                        <p:cTn id="108" dur="1" fill="hold">
                                          <p:stCondLst>
                                            <p:cond delay="0"/>
                                          </p:stCondLst>
                                        </p:cTn>
                                        <p:tgtEl>
                                          <p:spTgt spid="90"/>
                                        </p:tgtEl>
                                        <p:attrNameLst>
                                          <p:attrName>style.visibility</p:attrName>
                                        </p:attrNameLst>
                                      </p:cBhvr>
                                      <p:to>
                                        <p:strVal val="visible"/>
                                      </p:to>
                                    </p:set>
                                    <p:animEffect transition="in" filter="fade">
                                      <p:cBhvr>
                                        <p:cTn id="109" dur="500"/>
                                        <p:tgtEl>
                                          <p:spTgt spid="90"/>
                                        </p:tgtEl>
                                      </p:cBhvr>
                                    </p:animEffect>
                                  </p:childTnLst>
                                </p:cTn>
                              </p:par>
                              <p:par>
                                <p:cTn id="110" presetID="10" presetClass="entr" presetSubtype="0" fill="hold" nodeType="withEffect">
                                  <p:stCondLst>
                                    <p:cond delay="0"/>
                                  </p:stCondLst>
                                  <p:childTnLst>
                                    <p:set>
                                      <p:cBhvr>
                                        <p:cTn id="111" dur="1" fill="hold">
                                          <p:stCondLst>
                                            <p:cond delay="0"/>
                                          </p:stCondLst>
                                        </p:cTn>
                                        <p:tgtEl>
                                          <p:spTgt spid="92"/>
                                        </p:tgtEl>
                                        <p:attrNameLst>
                                          <p:attrName>style.visibility</p:attrName>
                                        </p:attrNameLst>
                                      </p:cBhvr>
                                      <p:to>
                                        <p:strVal val="visible"/>
                                      </p:to>
                                    </p:set>
                                    <p:animEffect transition="in" filter="fade">
                                      <p:cBhvr>
                                        <p:cTn id="11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P spid="75" grpId="0"/>
      <p:bldP spid="253" grpId="0"/>
      <p:bldP spid="82" grpId="0"/>
      <p:bldP spid="254" grpId="0"/>
      <p:bldP spid="52" grpId="0"/>
      <p:bldP spid="255" grpId="0"/>
      <p:bldP spid="37" grpId="0"/>
      <p:bldP spid="37" grpId="1"/>
      <p:bldP spid="256" grpId="0"/>
      <p:bldP spid="256" grpId="1"/>
      <p:bldP spid="96" grpId="0" animBg="1"/>
      <p:bldP spid="262" grpId="0"/>
      <p:bldP spid="88" grpId="0"/>
      <p:bldP spid="89"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3E991838-0292-475E-BE6E-7DC25E750F50}"/>
              </a:ext>
            </a:extLst>
          </p:cNvPr>
          <p:cNvSpPr/>
          <p:nvPr/>
        </p:nvSpPr>
        <p:spPr>
          <a:xfrm>
            <a:off x="10054898" y="2036035"/>
            <a:ext cx="903128"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Monitor</a:t>
            </a:r>
          </a:p>
        </p:txBody>
      </p:sp>
      <p:sp>
        <p:nvSpPr>
          <p:cNvPr id="144" name="Rectangle 143">
            <a:extLst>
              <a:ext uri="{FF2B5EF4-FFF2-40B4-BE49-F238E27FC236}">
                <a16:creationId xmlns:a16="http://schemas.microsoft.com/office/drawing/2014/main" id="{2D1D68FC-A62F-4778-A883-AAE7751C4302}"/>
              </a:ext>
            </a:extLst>
          </p:cNvPr>
          <p:cNvSpPr/>
          <p:nvPr/>
        </p:nvSpPr>
        <p:spPr>
          <a:xfrm>
            <a:off x="8471830" y="2033591"/>
            <a:ext cx="906398"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Operate</a:t>
            </a:r>
          </a:p>
        </p:txBody>
      </p:sp>
      <p:sp>
        <p:nvSpPr>
          <p:cNvPr id="145" name="Rectangle 144">
            <a:extLst>
              <a:ext uri="{FF2B5EF4-FFF2-40B4-BE49-F238E27FC236}">
                <a16:creationId xmlns:a16="http://schemas.microsoft.com/office/drawing/2014/main" id="{B70D6ABA-4203-4617-9F8A-09CE1249F5F3}"/>
              </a:ext>
            </a:extLst>
          </p:cNvPr>
          <p:cNvSpPr/>
          <p:nvPr/>
        </p:nvSpPr>
        <p:spPr>
          <a:xfrm>
            <a:off x="4898293" y="2033591"/>
            <a:ext cx="1392293"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Build and test</a:t>
            </a:r>
          </a:p>
        </p:txBody>
      </p:sp>
      <p:sp>
        <p:nvSpPr>
          <p:cNvPr id="146" name="Rectangle 145">
            <a:extLst>
              <a:ext uri="{FF2B5EF4-FFF2-40B4-BE49-F238E27FC236}">
                <a16:creationId xmlns:a16="http://schemas.microsoft.com/office/drawing/2014/main" id="{D5C899AB-6676-4076-85CF-AF2C1A150D14}"/>
              </a:ext>
            </a:extLst>
          </p:cNvPr>
          <p:cNvSpPr/>
          <p:nvPr/>
        </p:nvSpPr>
        <p:spPr>
          <a:xfrm>
            <a:off x="1294483" y="2033591"/>
            <a:ext cx="1436437"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Plan and track</a:t>
            </a:r>
          </a:p>
        </p:txBody>
      </p:sp>
      <p:sp>
        <p:nvSpPr>
          <p:cNvPr id="147" name="Rectangle 146">
            <a:extLst>
              <a:ext uri="{FF2B5EF4-FFF2-40B4-BE49-F238E27FC236}">
                <a16:creationId xmlns:a16="http://schemas.microsoft.com/office/drawing/2014/main" id="{2A1F2E97-4F18-47D0-93E8-ED3AB15C7B63}"/>
              </a:ext>
            </a:extLst>
          </p:cNvPr>
          <p:cNvSpPr/>
          <p:nvPr/>
        </p:nvSpPr>
        <p:spPr>
          <a:xfrm>
            <a:off x="6966393" y="2033591"/>
            <a:ext cx="818765"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Deploy</a:t>
            </a:r>
          </a:p>
        </p:txBody>
      </p:sp>
      <p:sp>
        <p:nvSpPr>
          <p:cNvPr id="153" name="Rectangle 152">
            <a:extLst>
              <a:ext uri="{FF2B5EF4-FFF2-40B4-BE49-F238E27FC236}">
                <a16:creationId xmlns:a16="http://schemas.microsoft.com/office/drawing/2014/main" id="{ABC5C16C-679E-4BB5-A971-AA28B4D3DF54}"/>
              </a:ext>
            </a:extLst>
          </p:cNvPr>
          <p:cNvSpPr/>
          <p:nvPr/>
        </p:nvSpPr>
        <p:spPr>
          <a:xfrm>
            <a:off x="3307963" y="2036035"/>
            <a:ext cx="921504" cy="345163"/>
          </a:xfrm>
          <a:prstGeom prst="rect">
            <a:avLst/>
          </a:prstGeom>
        </p:spPr>
        <p:txBody>
          <a:bodyPr wrap="none">
            <a:spAutoFit/>
          </a:bodyPr>
          <a:lstStyle/>
          <a:p>
            <a:pPr algn="ctr" defTabSz="913493">
              <a:defRPr/>
            </a:pPr>
            <a:r>
              <a:rPr lang="en-US" sz="1599" spc="-30"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Develop</a:t>
            </a:r>
            <a:endParaRPr lang="en-US" sz="1599" dirty="0">
              <a:gradFill>
                <a:gsLst>
                  <a:gs pos="0">
                    <a:srgbClr val="0078D7"/>
                  </a:gs>
                  <a:gs pos="100000">
                    <a:srgbClr val="0078D7"/>
                  </a:gs>
                </a:gsLst>
                <a:lin ang="16200000" scaled="0"/>
              </a:gradFill>
              <a:latin typeface="Segoe UI" panose="020B0502040204020203" pitchFamily="34" charset="0"/>
              <a:cs typeface="Segoe UI" panose="020B0502040204020203" pitchFamily="34" charset="0"/>
            </a:endParaRPr>
          </a:p>
        </p:txBody>
      </p:sp>
      <p:pic>
        <p:nvPicPr>
          <p:cNvPr id="123" name="Picture 122">
            <a:extLst>
              <a:ext uri="{FF2B5EF4-FFF2-40B4-BE49-F238E27FC236}">
                <a16:creationId xmlns:a16="http://schemas.microsoft.com/office/drawing/2014/main" id="{C005D428-646A-48A5-9B98-0E58B3740F12}"/>
              </a:ext>
            </a:extLst>
          </p:cNvPr>
          <p:cNvPicPr>
            <a:picLocks noChangeAspect="1"/>
          </p:cNvPicPr>
          <p:nvPr/>
        </p:nvPicPr>
        <p:blipFill>
          <a:blip r:embed="rId3"/>
          <a:stretch>
            <a:fillRect/>
          </a:stretch>
        </p:blipFill>
        <p:spPr>
          <a:xfrm>
            <a:off x="1828413" y="4659739"/>
            <a:ext cx="368574" cy="368574"/>
          </a:xfrm>
          <a:prstGeom prst="rect">
            <a:avLst/>
          </a:prstGeom>
        </p:spPr>
      </p:pic>
      <p:pic>
        <p:nvPicPr>
          <p:cNvPr id="124" name="Picture 6" descr="Image result for jenkins">
            <a:extLst>
              <a:ext uri="{FF2B5EF4-FFF2-40B4-BE49-F238E27FC236}">
                <a16:creationId xmlns:a16="http://schemas.microsoft.com/office/drawing/2014/main" id="{BE18A440-1457-43D2-8275-8D2DF8DAA5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85653" y="4557133"/>
            <a:ext cx="414652" cy="573788"/>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4">
            <a:extLst>
              <a:ext uri="{FF2B5EF4-FFF2-40B4-BE49-F238E27FC236}">
                <a16:creationId xmlns:a16="http://schemas.microsoft.com/office/drawing/2014/main" id="{3371CD20-4032-4CF7-BE09-D17A8D008B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58743" y="4634058"/>
            <a:ext cx="419939" cy="419938"/>
          </a:xfrm>
          <a:prstGeom prst="rect">
            <a:avLst/>
          </a:prstGeom>
        </p:spPr>
      </p:pic>
      <p:pic>
        <p:nvPicPr>
          <p:cNvPr id="120" name="Picture 32" descr="Image result for terraform hashicorp">
            <a:extLst>
              <a:ext uri="{FF2B5EF4-FFF2-40B4-BE49-F238E27FC236}">
                <a16:creationId xmlns:a16="http://schemas.microsoft.com/office/drawing/2014/main" id="{1FD0752B-1E42-4B1F-BD48-E0003DFDB5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49777" y="4618030"/>
            <a:ext cx="451994" cy="45199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descr="A picture containing clipart&#10;&#10;Description generated with very high confidence">
            <a:extLst>
              <a:ext uri="{FF2B5EF4-FFF2-40B4-BE49-F238E27FC236}">
                <a16:creationId xmlns:a16="http://schemas.microsoft.com/office/drawing/2014/main" id="{08C6395A-2D7D-4A6D-89E3-5527C88E04C6}"/>
              </a:ext>
            </a:extLst>
          </p:cNvPr>
          <p:cNvPicPr>
            <a:picLocks noChangeAspect="1"/>
          </p:cNvPicPr>
          <p:nvPr/>
        </p:nvPicPr>
        <p:blipFill>
          <a:blip r:embed="rId7"/>
          <a:stretch>
            <a:fillRect/>
          </a:stretch>
        </p:blipFill>
        <p:spPr>
          <a:xfrm>
            <a:off x="8680502" y="4595619"/>
            <a:ext cx="496815" cy="496815"/>
          </a:xfrm>
          <a:prstGeom prst="rect">
            <a:avLst/>
          </a:prstGeom>
        </p:spPr>
      </p:pic>
      <p:cxnSp>
        <p:nvCxnSpPr>
          <p:cNvPr id="121" name="Straight Arrow Connector 120">
            <a:extLst>
              <a:ext uri="{FF2B5EF4-FFF2-40B4-BE49-F238E27FC236}">
                <a16:creationId xmlns:a16="http://schemas.microsoft.com/office/drawing/2014/main" id="{71679A01-E2FC-4EB4-929E-4146AE58A82C}"/>
              </a:ext>
            </a:extLst>
          </p:cNvPr>
          <p:cNvCxnSpPr>
            <a:cxnSpLocks/>
          </p:cNvCxnSpPr>
          <p:nvPr/>
        </p:nvCxnSpPr>
        <p:spPr>
          <a:xfrm flipV="1">
            <a:off x="2670823"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AC4FB374-A532-4FCD-B126-707D0B205F12}"/>
              </a:ext>
            </a:extLst>
          </p:cNvPr>
          <p:cNvCxnSpPr>
            <a:cxnSpLocks/>
          </p:cNvCxnSpPr>
          <p:nvPr/>
        </p:nvCxnSpPr>
        <p:spPr>
          <a:xfrm flipV="1">
            <a:off x="4473459"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CB100B4B-4013-4220-9A4E-D2DD3BB662DE}"/>
              </a:ext>
            </a:extLst>
          </p:cNvPr>
          <p:cNvCxnSpPr>
            <a:cxnSpLocks/>
          </p:cNvCxnSpPr>
          <p:nvPr/>
        </p:nvCxnSpPr>
        <p:spPr>
          <a:xfrm flipV="1">
            <a:off x="6266174"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0D7848B3-BE94-4FAC-A274-1742DD283474}"/>
              </a:ext>
            </a:extLst>
          </p:cNvPr>
          <p:cNvCxnSpPr>
            <a:cxnSpLocks/>
          </p:cNvCxnSpPr>
          <p:nvPr/>
        </p:nvCxnSpPr>
        <p:spPr>
          <a:xfrm flipV="1">
            <a:off x="7933102"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91BF8A22-6EC4-46E5-A8DF-2BF1D2EBB9D4}"/>
              </a:ext>
            </a:extLst>
          </p:cNvPr>
          <p:cNvCxnSpPr>
            <a:cxnSpLocks/>
          </p:cNvCxnSpPr>
          <p:nvPr/>
        </p:nvCxnSpPr>
        <p:spPr>
          <a:xfrm flipV="1">
            <a:off x="9482461"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C00DA3ED-324D-4031-95CC-E8D5990E5A26}"/>
              </a:ext>
            </a:extLst>
          </p:cNvPr>
          <p:cNvCxnSpPr>
            <a:cxnSpLocks/>
          </p:cNvCxnSpPr>
          <p:nvPr/>
        </p:nvCxnSpPr>
        <p:spPr>
          <a:xfrm rot="10800000">
            <a:off x="1354818" y="2616770"/>
            <a:ext cx="9561811" cy="606134"/>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1BE36B55-616C-43AD-9701-8446E51D8106}"/>
              </a:ext>
            </a:extLst>
          </p:cNvPr>
          <p:cNvCxnSpPr>
            <a:cxnSpLocks/>
          </p:cNvCxnSpPr>
          <p:nvPr/>
        </p:nvCxnSpPr>
        <p:spPr>
          <a:xfrm>
            <a:off x="1340375" y="3238670"/>
            <a:ext cx="289252"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B7B923F-1F70-48B2-AE31-051D47EF55CF}"/>
              </a:ext>
            </a:extLst>
          </p:cNvPr>
          <p:cNvCxnSpPr>
            <a:cxnSpLocks/>
          </p:cNvCxnSpPr>
          <p:nvPr/>
        </p:nvCxnSpPr>
        <p:spPr>
          <a:xfrm flipV="1">
            <a:off x="1340374" y="2616770"/>
            <a:ext cx="0" cy="621901"/>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CF4FF3DC-6062-49ED-BF18-DE352DEC0343}"/>
              </a:ext>
            </a:extLst>
          </p:cNvPr>
          <p:cNvCxnSpPr>
            <a:cxnSpLocks/>
          </p:cNvCxnSpPr>
          <p:nvPr/>
        </p:nvCxnSpPr>
        <p:spPr>
          <a:xfrm>
            <a:off x="2670823"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EA9F7B1B-9BE0-4265-8031-078575EB4308}"/>
              </a:ext>
            </a:extLst>
          </p:cNvPr>
          <p:cNvCxnSpPr>
            <a:cxnSpLocks/>
          </p:cNvCxnSpPr>
          <p:nvPr/>
        </p:nvCxnSpPr>
        <p:spPr>
          <a:xfrm>
            <a:off x="4473459"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BDFE01D7-0346-4E6A-9C29-F7BF8F025639}"/>
              </a:ext>
            </a:extLst>
          </p:cNvPr>
          <p:cNvCxnSpPr>
            <a:cxnSpLocks/>
          </p:cNvCxnSpPr>
          <p:nvPr/>
        </p:nvCxnSpPr>
        <p:spPr>
          <a:xfrm>
            <a:off x="6266174"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44B6CD0F-009A-494C-83ED-6DF8E6A7A9FE}"/>
              </a:ext>
            </a:extLst>
          </p:cNvPr>
          <p:cNvCxnSpPr>
            <a:cxnSpLocks/>
          </p:cNvCxnSpPr>
          <p:nvPr/>
        </p:nvCxnSpPr>
        <p:spPr>
          <a:xfrm>
            <a:off x="7933102"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D49BD17C-5DD5-416B-83B4-5C39AD570E8A}"/>
              </a:ext>
            </a:extLst>
          </p:cNvPr>
          <p:cNvCxnSpPr>
            <a:cxnSpLocks/>
          </p:cNvCxnSpPr>
          <p:nvPr/>
        </p:nvCxnSpPr>
        <p:spPr>
          <a:xfrm>
            <a:off x="9482461"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0" name="Connector: Elbow 159">
            <a:extLst>
              <a:ext uri="{FF2B5EF4-FFF2-40B4-BE49-F238E27FC236}">
                <a16:creationId xmlns:a16="http://schemas.microsoft.com/office/drawing/2014/main" id="{AAAF1828-43E4-4041-A642-5D4140F13F07}"/>
              </a:ext>
            </a:extLst>
          </p:cNvPr>
          <p:cNvCxnSpPr>
            <a:cxnSpLocks/>
          </p:cNvCxnSpPr>
          <p:nvPr/>
        </p:nvCxnSpPr>
        <p:spPr>
          <a:xfrm rot="10800000" flipV="1">
            <a:off x="1354818" y="4856250"/>
            <a:ext cx="9561811" cy="606134"/>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FB0D6F72-A645-496E-8AA9-3F055EFAEA73}"/>
              </a:ext>
            </a:extLst>
          </p:cNvPr>
          <p:cNvCxnSpPr>
            <a:cxnSpLocks/>
          </p:cNvCxnSpPr>
          <p:nvPr/>
        </p:nvCxnSpPr>
        <p:spPr>
          <a:xfrm>
            <a:off x="1351553" y="4840484"/>
            <a:ext cx="27807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D119AF6-15F0-48D8-92AC-7025FC686502}"/>
              </a:ext>
            </a:extLst>
          </p:cNvPr>
          <p:cNvCxnSpPr>
            <a:cxnSpLocks/>
          </p:cNvCxnSpPr>
          <p:nvPr/>
        </p:nvCxnSpPr>
        <p:spPr>
          <a:xfrm>
            <a:off x="1340374" y="4840485"/>
            <a:ext cx="0" cy="621901"/>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71F4526A-079E-4646-A904-BDAB0514B349}"/>
              </a:ext>
            </a:extLst>
          </p:cNvPr>
          <p:cNvGrpSpPr/>
          <p:nvPr/>
        </p:nvGrpSpPr>
        <p:grpSpPr>
          <a:xfrm>
            <a:off x="10043242" y="4645817"/>
            <a:ext cx="873389" cy="396418"/>
            <a:chOff x="5661878" y="6248307"/>
            <a:chExt cx="775216" cy="351859"/>
          </a:xfrm>
        </p:grpSpPr>
        <p:pic>
          <p:nvPicPr>
            <p:cNvPr id="4" name="Graphic 3">
              <a:extLst>
                <a:ext uri="{FF2B5EF4-FFF2-40B4-BE49-F238E27FC236}">
                  <a16:creationId xmlns:a16="http://schemas.microsoft.com/office/drawing/2014/main" id="{88787A58-A2D6-4A4D-8646-CD0F5C8148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61878" y="6270261"/>
              <a:ext cx="307947" cy="307947"/>
            </a:xfrm>
            <a:prstGeom prst="rect">
              <a:avLst/>
            </a:prstGeom>
          </p:spPr>
        </p:pic>
        <p:pic>
          <p:nvPicPr>
            <p:cNvPr id="5" name="Graphic 4">
              <a:extLst>
                <a:ext uri="{FF2B5EF4-FFF2-40B4-BE49-F238E27FC236}">
                  <a16:creationId xmlns:a16="http://schemas.microsoft.com/office/drawing/2014/main" id="{22CB02C2-A738-4702-8E53-D7A1DC7BCC5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66377" y="6248307"/>
              <a:ext cx="351859" cy="351859"/>
            </a:xfrm>
            <a:prstGeom prst="rect">
              <a:avLst/>
            </a:prstGeom>
          </p:spPr>
        </p:pic>
        <p:pic>
          <p:nvPicPr>
            <p:cNvPr id="7" name="Graphic 6">
              <a:extLst>
                <a:ext uri="{FF2B5EF4-FFF2-40B4-BE49-F238E27FC236}">
                  <a16:creationId xmlns:a16="http://schemas.microsoft.com/office/drawing/2014/main" id="{1FCE7DB4-0237-474C-A6B7-43C492035AE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85235" y="6248307"/>
              <a:ext cx="351859" cy="351859"/>
            </a:xfrm>
            <a:prstGeom prst="rect">
              <a:avLst/>
            </a:prstGeom>
          </p:spPr>
        </p:pic>
      </p:grpSp>
      <p:cxnSp>
        <p:nvCxnSpPr>
          <p:cNvPr id="168" name="Straight Arrow Connector 167">
            <a:extLst>
              <a:ext uri="{FF2B5EF4-FFF2-40B4-BE49-F238E27FC236}">
                <a16:creationId xmlns:a16="http://schemas.microsoft.com/office/drawing/2014/main" id="{ECBBA78D-C8BF-4322-9040-AA0F300DB6DE}"/>
              </a:ext>
            </a:extLst>
          </p:cNvPr>
          <p:cNvCxnSpPr>
            <a:cxnSpLocks/>
          </p:cNvCxnSpPr>
          <p:nvPr/>
        </p:nvCxnSpPr>
        <p:spPr>
          <a:xfrm>
            <a:off x="5500386" y="3700260"/>
            <a:ext cx="0" cy="77828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0D4E9CDD-C997-42AD-B01A-8AAAEA5D8EA4}"/>
              </a:ext>
            </a:extLst>
          </p:cNvPr>
          <p:cNvCxnSpPr>
            <a:cxnSpLocks/>
          </p:cNvCxnSpPr>
          <p:nvPr/>
        </p:nvCxnSpPr>
        <p:spPr>
          <a:xfrm flipV="1">
            <a:off x="5687205" y="3659918"/>
            <a:ext cx="0" cy="818622"/>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E27B7014-5F08-40E7-A5C1-F653B5E0A614}"/>
              </a:ext>
            </a:extLst>
          </p:cNvPr>
          <p:cNvCxnSpPr>
            <a:cxnSpLocks/>
          </p:cNvCxnSpPr>
          <p:nvPr/>
        </p:nvCxnSpPr>
        <p:spPr>
          <a:xfrm>
            <a:off x="7292488" y="3700260"/>
            <a:ext cx="0" cy="77828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9665CA9D-68D2-4827-8116-BCD4DAFA60E4}"/>
              </a:ext>
            </a:extLst>
          </p:cNvPr>
          <p:cNvCxnSpPr>
            <a:cxnSpLocks/>
          </p:cNvCxnSpPr>
          <p:nvPr/>
        </p:nvCxnSpPr>
        <p:spPr>
          <a:xfrm flipV="1">
            <a:off x="7479307" y="3659918"/>
            <a:ext cx="0" cy="818622"/>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75DEA8B4-70CE-46FA-BD0B-7FB34C212B41}"/>
              </a:ext>
            </a:extLst>
          </p:cNvPr>
          <p:cNvGrpSpPr/>
          <p:nvPr/>
        </p:nvGrpSpPr>
        <p:grpSpPr>
          <a:xfrm>
            <a:off x="1774331" y="2996402"/>
            <a:ext cx="476741" cy="668474"/>
            <a:chOff x="1773700" y="2996332"/>
            <a:chExt cx="476809" cy="668569"/>
          </a:xfrm>
        </p:grpSpPr>
        <p:pic>
          <p:nvPicPr>
            <p:cNvPr id="71" name="Picture 70">
              <a:extLst>
                <a:ext uri="{FF2B5EF4-FFF2-40B4-BE49-F238E27FC236}">
                  <a16:creationId xmlns:a16="http://schemas.microsoft.com/office/drawing/2014/main" id="{5B62F894-27A2-4655-8F1A-9C389CCC0A84}"/>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1790601" y="2996332"/>
              <a:ext cx="443005" cy="412970"/>
            </a:xfrm>
            <a:prstGeom prst="rect">
              <a:avLst/>
            </a:prstGeom>
          </p:spPr>
        </p:pic>
        <p:sp>
          <p:nvSpPr>
            <p:cNvPr id="63" name="Rectangle 62">
              <a:extLst>
                <a:ext uri="{FF2B5EF4-FFF2-40B4-BE49-F238E27FC236}">
                  <a16:creationId xmlns:a16="http://schemas.microsoft.com/office/drawing/2014/main" id="{E05229D1-5139-4E5A-8C88-6A9B4B21354E}"/>
                </a:ext>
              </a:extLst>
            </p:cNvPr>
            <p:cNvSpPr/>
            <p:nvPr/>
          </p:nvSpPr>
          <p:spPr>
            <a:xfrm>
              <a:off x="1773700" y="3406025"/>
              <a:ext cx="476809" cy="258876"/>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VSTS</a:t>
              </a:r>
            </a:p>
          </p:txBody>
        </p:sp>
      </p:grpSp>
      <p:grpSp>
        <p:nvGrpSpPr>
          <p:cNvPr id="15" name="Group 14">
            <a:extLst>
              <a:ext uri="{FF2B5EF4-FFF2-40B4-BE49-F238E27FC236}">
                <a16:creationId xmlns:a16="http://schemas.microsoft.com/office/drawing/2014/main" id="{62FC2C07-FDB7-4D9E-93CD-8E2AEBC69E68}"/>
              </a:ext>
            </a:extLst>
          </p:cNvPr>
          <p:cNvGrpSpPr/>
          <p:nvPr/>
        </p:nvGrpSpPr>
        <p:grpSpPr>
          <a:xfrm>
            <a:off x="3530345" y="2996402"/>
            <a:ext cx="476741" cy="668474"/>
            <a:chOff x="3529961" y="2996332"/>
            <a:chExt cx="476809" cy="668569"/>
          </a:xfrm>
        </p:grpSpPr>
        <p:pic>
          <p:nvPicPr>
            <p:cNvPr id="70" name="Picture 69">
              <a:extLst>
                <a:ext uri="{FF2B5EF4-FFF2-40B4-BE49-F238E27FC236}">
                  <a16:creationId xmlns:a16="http://schemas.microsoft.com/office/drawing/2014/main" id="{040D5AF4-9C81-496C-ADE7-F1720987310B}"/>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3546863" y="2996332"/>
              <a:ext cx="443005" cy="412970"/>
            </a:xfrm>
            <a:prstGeom prst="rect">
              <a:avLst/>
            </a:prstGeom>
          </p:spPr>
        </p:pic>
        <p:sp>
          <p:nvSpPr>
            <p:cNvPr id="64" name="Rectangle 63">
              <a:extLst>
                <a:ext uri="{FF2B5EF4-FFF2-40B4-BE49-F238E27FC236}">
                  <a16:creationId xmlns:a16="http://schemas.microsoft.com/office/drawing/2014/main" id="{F10443FF-A44C-426A-9B78-53C0538ABAC2}"/>
                </a:ext>
              </a:extLst>
            </p:cNvPr>
            <p:cNvSpPr/>
            <p:nvPr/>
          </p:nvSpPr>
          <p:spPr>
            <a:xfrm>
              <a:off x="3529961" y="3406025"/>
              <a:ext cx="476809" cy="258876"/>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VSTS</a:t>
              </a:r>
            </a:p>
          </p:txBody>
        </p:sp>
      </p:grpSp>
      <p:sp>
        <p:nvSpPr>
          <p:cNvPr id="65" name="Rectangle 64">
            <a:extLst>
              <a:ext uri="{FF2B5EF4-FFF2-40B4-BE49-F238E27FC236}">
                <a16:creationId xmlns:a16="http://schemas.microsoft.com/office/drawing/2014/main" id="{83078CAD-54FF-4BA4-B420-D7462A547AE3}"/>
              </a:ext>
            </a:extLst>
          </p:cNvPr>
          <p:cNvSpPr/>
          <p:nvPr/>
        </p:nvSpPr>
        <p:spPr>
          <a:xfrm>
            <a:off x="1756854" y="5095440"/>
            <a:ext cx="501591"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Trello</a:t>
            </a:r>
          </a:p>
        </p:txBody>
      </p:sp>
      <p:sp>
        <p:nvSpPr>
          <p:cNvPr id="68" name="Rectangle 67">
            <a:extLst>
              <a:ext uri="{FF2B5EF4-FFF2-40B4-BE49-F238E27FC236}">
                <a16:creationId xmlns:a16="http://schemas.microsoft.com/office/drawing/2014/main" id="{8D6190C1-8F0F-4FC2-A466-E6477194025F}"/>
              </a:ext>
            </a:extLst>
          </p:cNvPr>
          <p:cNvSpPr/>
          <p:nvPr/>
        </p:nvSpPr>
        <p:spPr>
          <a:xfrm>
            <a:off x="3472141" y="5095440"/>
            <a:ext cx="593148"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GitHub</a:t>
            </a:r>
          </a:p>
        </p:txBody>
      </p:sp>
      <p:sp>
        <p:nvSpPr>
          <p:cNvPr id="69" name="Rectangle 68">
            <a:extLst>
              <a:ext uri="{FF2B5EF4-FFF2-40B4-BE49-F238E27FC236}">
                <a16:creationId xmlns:a16="http://schemas.microsoft.com/office/drawing/2014/main" id="{6B0DE0EC-8836-4F7E-B771-D5C1E9AE4A9E}"/>
              </a:ext>
            </a:extLst>
          </p:cNvPr>
          <p:cNvSpPr/>
          <p:nvPr/>
        </p:nvSpPr>
        <p:spPr>
          <a:xfrm>
            <a:off x="5320429" y="5095440"/>
            <a:ext cx="595764"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Jenkins</a:t>
            </a:r>
          </a:p>
        </p:txBody>
      </p:sp>
      <p:sp>
        <p:nvSpPr>
          <p:cNvPr id="72" name="Rectangle 71">
            <a:extLst>
              <a:ext uri="{FF2B5EF4-FFF2-40B4-BE49-F238E27FC236}">
                <a16:creationId xmlns:a16="http://schemas.microsoft.com/office/drawing/2014/main" id="{D65B2B71-05FB-446C-9B86-D0EA89422BDE}"/>
              </a:ext>
            </a:extLst>
          </p:cNvPr>
          <p:cNvSpPr/>
          <p:nvPr/>
        </p:nvSpPr>
        <p:spPr>
          <a:xfrm>
            <a:off x="7024959" y="5095440"/>
            <a:ext cx="749773"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Terraform</a:t>
            </a:r>
          </a:p>
        </p:txBody>
      </p:sp>
      <p:sp>
        <p:nvSpPr>
          <p:cNvPr id="73" name="Rectangle 72">
            <a:extLst>
              <a:ext uri="{FF2B5EF4-FFF2-40B4-BE49-F238E27FC236}">
                <a16:creationId xmlns:a16="http://schemas.microsoft.com/office/drawing/2014/main" id="{57CF890A-2062-40C2-9FF3-0403599BE569}"/>
              </a:ext>
            </a:extLst>
          </p:cNvPr>
          <p:cNvSpPr/>
          <p:nvPr/>
        </p:nvSpPr>
        <p:spPr>
          <a:xfrm>
            <a:off x="8639840" y="5095440"/>
            <a:ext cx="602302"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nsible</a:t>
            </a:r>
          </a:p>
        </p:txBody>
      </p:sp>
      <p:sp>
        <p:nvSpPr>
          <p:cNvPr id="74" name="Rectangle 73">
            <a:extLst>
              <a:ext uri="{FF2B5EF4-FFF2-40B4-BE49-F238E27FC236}">
                <a16:creationId xmlns:a16="http://schemas.microsoft.com/office/drawing/2014/main" id="{F7641EFB-39FB-4529-BFA5-DE080DF9793E}"/>
              </a:ext>
            </a:extLst>
          </p:cNvPr>
          <p:cNvSpPr/>
          <p:nvPr/>
        </p:nvSpPr>
        <p:spPr>
          <a:xfrm>
            <a:off x="10107474" y="5095440"/>
            <a:ext cx="726884" cy="258839"/>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ELK Stack</a:t>
            </a:r>
          </a:p>
        </p:txBody>
      </p:sp>
      <p:grpSp>
        <p:nvGrpSpPr>
          <p:cNvPr id="19" name="Group 18">
            <a:extLst>
              <a:ext uri="{FF2B5EF4-FFF2-40B4-BE49-F238E27FC236}">
                <a16:creationId xmlns:a16="http://schemas.microsoft.com/office/drawing/2014/main" id="{53E081FA-0217-42BB-83D5-1801E6893A43}"/>
              </a:ext>
            </a:extLst>
          </p:cNvPr>
          <p:cNvGrpSpPr/>
          <p:nvPr/>
        </p:nvGrpSpPr>
        <p:grpSpPr>
          <a:xfrm>
            <a:off x="10092173" y="2973531"/>
            <a:ext cx="828576" cy="856014"/>
            <a:chOff x="10092724" y="2973457"/>
            <a:chExt cx="828694" cy="856136"/>
          </a:xfrm>
        </p:grpSpPr>
        <p:pic>
          <p:nvPicPr>
            <p:cNvPr id="192" name="Picture 4" descr="Image result for app insights logo azure png">
              <a:extLst>
                <a:ext uri="{FF2B5EF4-FFF2-40B4-BE49-F238E27FC236}">
                  <a16:creationId xmlns:a16="http://schemas.microsoft.com/office/drawing/2014/main" id="{C36AD062-1010-4F21-9484-36242607C01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277710" y="2973457"/>
              <a:ext cx="458721" cy="458721"/>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30C1632F-90DB-4C4A-B45E-DA69E2874E9F}"/>
                </a:ext>
              </a:extLst>
            </p:cNvPr>
            <p:cNvSpPr/>
            <p:nvPr/>
          </p:nvSpPr>
          <p:spPr>
            <a:xfrm>
              <a:off x="10092724" y="3406025"/>
              <a:ext cx="828694" cy="423568"/>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pplication</a:t>
              </a:r>
            </a:p>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Insights</a:t>
              </a:r>
            </a:p>
          </p:txBody>
        </p:sp>
      </p:grpSp>
      <p:grpSp>
        <p:nvGrpSpPr>
          <p:cNvPr id="18" name="Group 17">
            <a:extLst>
              <a:ext uri="{FF2B5EF4-FFF2-40B4-BE49-F238E27FC236}">
                <a16:creationId xmlns:a16="http://schemas.microsoft.com/office/drawing/2014/main" id="{3F37AFD8-3302-4706-BC5F-E3D2D96905F5}"/>
              </a:ext>
            </a:extLst>
          </p:cNvPr>
          <p:cNvGrpSpPr/>
          <p:nvPr/>
        </p:nvGrpSpPr>
        <p:grpSpPr>
          <a:xfrm>
            <a:off x="8564856" y="2998454"/>
            <a:ext cx="720344" cy="666421"/>
            <a:chOff x="8565189" y="2998385"/>
            <a:chExt cx="720447" cy="666516"/>
          </a:xfrm>
        </p:grpSpPr>
        <p:pic>
          <p:nvPicPr>
            <p:cNvPr id="193" name="Picture 192">
              <a:extLst>
                <a:ext uri="{FF2B5EF4-FFF2-40B4-BE49-F238E27FC236}">
                  <a16:creationId xmlns:a16="http://schemas.microsoft.com/office/drawing/2014/main" id="{13A7FA8C-9F1E-4024-90C8-863B5E7C2AF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741099" y="2998385"/>
              <a:ext cx="368626" cy="408864"/>
            </a:xfrm>
            <a:prstGeom prst="rect">
              <a:avLst/>
            </a:prstGeom>
          </p:spPr>
        </p:pic>
        <p:sp>
          <p:nvSpPr>
            <p:cNvPr id="76" name="Rectangle 75">
              <a:extLst>
                <a:ext uri="{FF2B5EF4-FFF2-40B4-BE49-F238E27FC236}">
                  <a16:creationId xmlns:a16="http://schemas.microsoft.com/office/drawing/2014/main" id="{89B032E7-8BCA-4A3B-8E74-99E809844083}"/>
                </a:ext>
              </a:extLst>
            </p:cNvPr>
            <p:cNvSpPr/>
            <p:nvPr/>
          </p:nvSpPr>
          <p:spPr>
            <a:xfrm>
              <a:off x="8565189" y="3406025"/>
              <a:ext cx="720447" cy="258876"/>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Key Vault</a:t>
              </a:r>
            </a:p>
          </p:txBody>
        </p:sp>
      </p:grpSp>
      <p:grpSp>
        <p:nvGrpSpPr>
          <p:cNvPr id="16" name="Group 15">
            <a:extLst>
              <a:ext uri="{FF2B5EF4-FFF2-40B4-BE49-F238E27FC236}">
                <a16:creationId xmlns:a16="http://schemas.microsoft.com/office/drawing/2014/main" id="{74F90CFF-8C0F-41E1-97FD-AEBA8B190701}"/>
              </a:ext>
            </a:extLst>
          </p:cNvPr>
          <p:cNvGrpSpPr/>
          <p:nvPr/>
        </p:nvGrpSpPr>
        <p:grpSpPr>
          <a:xfrm>
            <a:off x="5358899" y="2996402"/>
            <a:ext cx="476741" cy="668474"/>
            <a:chOff x="5358774" y="2996332"/>
            <a:chExt cx="476809" cy="668569"/>
          </a:xfrm>
        </p:grpSpPr>
        <p:pic>
          <p:nvPicPr>
            <p:cNvPr id="67" name="Picture 66">
              <a:extLst>
                <a:ext uri="{FF2B5EF4-FFF2-40B4-BE49-F238E27FC236}">
                  <a16:creationId xmlns:a16="http://schemas.microsoft.com/office/drawing/2014/main" id="{5610A875-9642-4C16-B54A-51F04779F3E5}"/>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5372847" y="2996332"/>
              <a:ext cx="443005" cy="412970"/>
            </a:xfrm>
            <a:prstGeom prst="rect">
              <a:avLst/>
            </a:prstGeom>
          </p:spPr>
        </p:pic>
        <p:sp>
          <p:nvSpPr>
            <p:cNvPr id="79" name="Rectangle 78">
              <a:extLst>
                <a:ext uri="{FF2B5EF4-FFF2-40B4-BE49-F238E27FC236}">
                  <a16:creationId xmlns:a16="http://schemas.microsoft.com/office/drawing/2014/main" id="{B076DB3E-ED70-4524-AD33-7982D24FF37D}"/>
                </a:ext>
              </a:extLst>
            </p:cNvPr>
            <p:cNvSpPr/>
            <p:nvPr/>
          </p:nvSpPr>
          <p:spPr>
            <a:xfrm>
              <a:off x="5358774" y="3406025"/>
              <a:ext cx="476809" cy="258876"/>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VSTS</a:t>
              </a:r>
            </a:p>
          </p:txBody>
        </p:sp>
      </p:grpSp>
      <p:grpSp>
        <p:nvGrpSpPr>
          <p:cNvPr id="17" name="Group 16">
            <a:extLst>
              <a:ext uri="{FF2B5EF4-FFF2-40B4-BE49-F238E27FC236}">
                <a16:creationId xmlns:a16="http://schemas.microsoft.com/office/drawing/2014/main" id="{4654A472-0E47-4915-9A8E-9CC01FD80666}"/>
              </a:ext>
            </a:extLst>
          </p:cNvPr>
          <p:cNvGrpSpPr/>
          <p:nvPr/>
        </p:nvGrpSpPr>
        <p:grpSpPr>
          <a:xfrm>
            <a:off x="7154305" y="2996402"/>
            <a:ext cx="479414" cy="668474"/>
            <a:chOff x="7154436" y="2996332"/>
            <a:chExt cx="479481" cy="668569"/>
          </a:xfrm>
        </p:grpSpPr>
        <p:pic>
          <p:nvPicPr>
            <p:cNvPr id="66" name="Picture 65">
              <a:extLst>
                <a:ext uri="{FF2B5EF4-FFF2-40B4-BE49-F238E27FC236}">
                  <a16:creationId xmlns:a16="http://schemas.microsoft.com/office/drawing/2014/main" id="{BCC8CAD9-2834-4DB8-ABCF-E64AC22E88CA}"/>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7154436" y="2996332"/>
              <a:ext cx="443005" cy="412970"/>
            </a:xfrm>
            <a:prstGeom prst="rect">
              <a:avLst/>
            </a:prstGeom>
          </p:spPr>
        </p:pic>
        <p:sp>
          <p:nvSpPr>
            <p:cNvPr id="83" name="Rectangle 82">
              <a:extLst>
                <a:ext uri="{FF2B5EF4-FFF2-40B4-BE49-F238E27FC236}">
                  <a16:creationId xmlns:a16="http://schemas.microsoft.com/office/drawing/2014/main" id="{5D58013E-EB0B-4C51-8B04-03BD2799504A}"/>
                </a:ext>
              </a:extLst>
            </p:cNvPr>
            <p:cNvSpPr/>
            <p:nvPr/>
          </p:nvSpPr>
          <p:spPr>
            <a:xfrm>
              <a:off x="7157108" y="3406025"/>
              <a:ext cx="476809" cy="258876"/>
            </a:xfrm>
            <a:prstGeom prst="rect">
              <a:avLst/>
            </a:prstGeom>
          </p:spPr>
          <p:txBody>
            <a:bodyPr wrap="none">
              <a:spAutoFit/>
            </a:bodyPr>
            <a:lstStyle/>
            <a:p>
              <a:pPr algn="ctr" defTabSz="913493">
                <a:defRPr/>
              </a:pPr>
              <a:r>
                <a:rPr lang="en-US" sz="1049" spc="-30" dirty="0">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VSTS</a:t>
              </a:r>
            </a:p>
          </p:txBody>
        </p:sp>
      </p:grpSp>
      <p:sp>
        <p:nvSpPr>
          <p:cNvPr id="93" name="Title 1">
            <a:extLst>
              <a:ext uri="{FF2B5EF4-FFF2-40B4-BE49-F238E27FC236}">
                <a16:creationId xmlns:a16="http://schemas.microsoft.com/office/drawing/2014/main" id="{E4BC58C0-6CE9-4418-9D23-8E9DCF2B524E}"/>
              </a:ext>
            </a:extLst>
          </p:cNvPr>
          <p:cNvSpPr txBox="1">
            <a:spLocks/>
          </p:cNvSpPr>
          <p:nvPr/>
        </p:nvSpPr>
        <p:spPr>
          <a:xfrm>
            <a:off x="275481" y="295730"/>
            <a:ext cx="8102689" cy="917444"/>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AU" sz="4488" spc="-102" dirty="0">
                <a:gradFill>
                  <a:gsLst>
                    <a:gs pos="1250">
                      <a:srgbClr val="505050"/>
                    </a:gs>
                    <a:gs pos="100000">
                      <a:srgbClr val="505050"/>
                    </a:gs>
                  </a:gsLst>
                  <a:lin ang="5400000" scaled="0"/>
                </a:gradFill>
                <a:latin typeface="Segoe UI Light"/>
              </a:rPr>
              <a:t>Complete DevOps solutions</a:t>
            </a:r>
          </a:p>
        </p:txBody>
      </p:sp>
      <p:sp>
        <p:nvSpPr>
          <p:cNvPr id="94" name="TextBox 93">
            <a:extLst>
              <a:ext uri="{FF2B5EF4-FFF2-40B4-BE49-F238E27FC236}">
                <a16:creationId xmlns:a16="http://schemas.microsoft.com/office/drawing/2014/main" id="{055B759D-82C1-4133-94FA-050025900890}"/>
              </a:ext>
            </a:extLst>
          </p:cNvPr>
          <p:cNvSpPr txBox="1"/>
          <p:nvPr/>
        </p:nvSpPr>
        <p:spPr>
          <a:xfrm>
            <a:off x="275483" y="916532"/>
            <a:ext cx="6518737" cy="860450"/>
          </a:xfrm>
          <a:prstGeom prst="rect">
            <a:avLst/>
          </a:prstGeom>
          <a:noFill/>
        </p:spPr>
        <p:txBody>
          <a:bodyPr wrap="square" lIns="182854" tIns="146283" rIns="182854" bIns="1462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1">
              <a:defRPr/>
            </a:pPr>
            <a:r>
              <a:rPr lang="en-US" dirty="0">
                <a:gradFill>
                  <a:gsLst>
                    <a:gs pos="78761">
                      <a:srgbClr val="0072C6"/>
                    </a:gs>
                    <a:gs pos="0">
                      <a:srgbClr val="0072C6"/>
                    </a:gs>
                  </a:gsLst>
                  <a:lin ang="5400000" scaled="0"/>
                </a:gradFill>
              </a:rPr>
              <a:t>Deliver Faster &amp; More Reliably</a:t>
            </a:r>
          </a:p>
          <a:p>
            <a:pPr defTabSz="950481">
              <a:defRPr/>
            </a:pPr>
            <a:endParaRPr lang="en-US" dirty="0">
              <a:gradFill>
                <a:gsLst>
                  <a:gs pos="78761">
                    <a:srgbClr val="0072C6"/>
                  </a:gs>
                  <a:gs pos="0">
                    <a:srgbClr val="0072C6"/>
                  </a:gs>
                </a:gsLst>
                <a:lin ang="5400000" scaled="0"/>
              </a:gradFill>
            </a:endParaRPr>
          </a:p>
        </p:txBody>
      </p:sp>
    </p:spTree>
    <p:extLst>
      <p:ext uri="{BB962C8B-B14F-4D97-AF65-F5344CB8AC3E}">
        <p14:creationId xmlns:p14="http://schemas.microsoft.com/office/powerpoint/2010/main" val="630675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wipe(left)">
                                      <p:cBhvr>
                                        <p:cTn id="7" dur="200"/>
                                        <p:tgtEl>
                                          <p:spTgt spid="121"/>
                                        </p:tgtEl>
                                      </p:cBhvr>
                                    </p:animEffect>
                                  </p:childTnLst>
                                </p:cTn>
                              </p:par>
                            </p:childTnLst>
                          </p:cTn>
                        </p:par>
                        <p:par>
                          <p:cTn id="8" fill="hold">
                            <p:stCondLst>
                              <p:cond delay="200"/>
                            </p:stCondLst>
                            <p:childTnLst>
                              <p:par>
                                <p:cTn id="9" presetID="22" presetClass="entr" presetSubtype="8" fill="hold" nodeType="afterEffect">
                                  <p:stCondLst>
                                    <p:cond delay="0"/>
                                  </p:stCondLst>
                                  <p:childTnLst>
                                    <p:set>
                                      <p:cBhvr>
                                        <p:cTn id="10" dur="1" fill="hold">
                                          <p:stCondLst>
                                            <p:cond delay="0"/>
                                          </p:stCondLst>
                                        </p:cTn>
                                        <p:tgtEl>
                                          <p:spTgt spid="122"/>
                                        </p:tgtEl>
                                        <p:attrNameLst>
                                          <p:attrName>style.visibility</p:attrName>
                                        </p:attrNameLst>
                                      </p:cBhvr>
                                      <p:to>
                                        <p:strVal val="visible"/>
                                      </p:to>
                                    </p:set>
                                    <p:animEffect transition="in" filter="wipe(left)">
                                      <p:cBhvr>
                                        <p:cTn id="11" dur="200"/>
                                        <p:tgtEl>
                                          <p:spTgt spid="122"/>
                                        </p:tgtEl>
                                      </p:cBhvr>
                                    </p:animEffect>
                                  </p:childTnLst>
                                </p:cTn>
                              </p:par>
                            </p:childTnLst>
                          </p:cTn>
                        </p:par>
                        <p:par>
                          <p:cTn id="12" fill="hold">
                            <p:stCondLst>
                              <p:cond delay="400"/>
                            </p:stCondLst>
                            <p:childTnLst>
                              <p:par>
                                <p:cTn id="13" presetID="22" presetClass="entr" presetSubtype="8" fill="hold" nodeType="afterEffect">
                                  <p:stCondLst>
                                    <p:cond delay="0"/>
                                  </p:stCondLst>
                                  <p:childTnLst>
                                    <p:set>
                                      <p:cBhvr>
                                        <p:cTn id="14" dur="1" fill="hold">
                                          <p:stCondLst>
                                            <p:cond delay="0"/>
                                          </p:stCondLst>
                                        </p:cTn>
                                        <p:tgtEl>
                                          <p:spTgt spid="133"/>
                                        </p:tgtEl>
                                        <p:attrNameLst>
                                          <p:attrName>style.visibility</p:attrName>
                                        </p:attrNameLst>
                                      </p:cBhvr>
                                      <p:to>
                                        <p:strVal val="visible"/>
                                      </p:to>
                                    </p:set>
                                    <p:animEffect transition="in" filter="wipe(left)">
                                      <p:cBhvr>
                                        <p:cTn id="15" dur="200"/>
                                        <p:tgtEl>
                                          <p:spTgt spid="133"/>
                                        </p:tgtEl>
                                      </p:cBhvr>
                                    </p:animEffect>
                                  </p:childTnLst>
                                </p:cTn>
                              </p:par>
                            </p:childTnLst>
                          </p:cTn>
                        </p:par>
                        <p:par>
                          <p:cTn id="16" fill="hold">
                            <p:stCondLst>
                              <p:cond delay="600"/>
                            </p:stCondLst>
                            <p:childTnLst>
                              <p:par>
                                <p:cTn id="17" presetID="22" presetClass="entr" presetSubtype="8" fill="hold" nodeType="afterEffect">
                                  <p:stCondLst>
                                    <p:cond delay="0"/>
                                  </p:stCondLst>
                                  <p:childTnLst>
                                    <p:set>
                                      <p:cBhvr>
                                        <p:cTn id="18" dur="1" fill="hold">
                                          <p:stCondLst>
                                            <p:cond delay="0"/>
                                          </p:stCondLst>
                                        </p:cTn>
                                        <p:tgtEl>
                                          <p:spTgt spid="134"/>
                                        </p:tgtEl>
                                        <p:attrNameLst>
                                          <p:attrName>style.visibility</p:attrName>
                                        </p:attrNameLst>
                                      </p:cBhvr>
                                      <p:to>
                                        <p:strVal val="visible"/>
                                      </p:to>
                                    </p:set>
                                    <p:animEffect transition="in" filter="wipe(left)">
                                      <p:cBhvr>
                                        <p:cTn id="19" dur="200"/>
                                        <p:tgtEl>
                                          <p:spTgt spid="134"/>
                                        </p:tgtEl>
                                      </p:cBhvr>
                                    </p:animEffect>
                                  </p:childTnLst>
                                </p:cTn>
                              </p:par>
                            </p:childTnLst>
                          </p:cTn>
                        </p:par>
                        <p:par>
                          <p:cTn id="20" fill="hold">
                            <p:stCondLst>
                              <p:cond delay="800"/>
                            </p:stCondLst>
                            <p:childTnLst>
                              <p:par>
                                <p:cTn id="21" presetID="22" presetClass="entr" presetSubtype="8" fill="hold" nodeType="afterEffect">
                                  <p:stCondLst>
                                    <p:cond delay="0"/>
                                  </p:stCondLst>
                                  <p:childTnLst>
                                    <p:set>
                                      <p:cBhvr>
                                        <p:cTn id="22" dur="1" fill="hold">
                                          <p:stCondLst>
                                            <p:cond delay="0"/>
                                          </p:stCondLst>
                                        </p:cTn>
                                        <p:tgtEl>
                                          <p:spTgt spid="135"/>
                                        </p:tgtEl>
                                        <p:attrNameLst>
                                          <p:attrName>style.visibility</p:attrName>
                                        </p:attrNameLst>
                                      </p:cBhvr>
                                      <p:to>
                                        <p:strVal val="visible"/>
                                      </p:to>
                                    </p:set>
                                    <p:animEffect transition="in" filter="wipe(left)">
                                      <p:cBhvr>
                                        <p:cTn id="23" dur="200"/>
                                        <p:tgtEl>
                                          <p:spTgt spid="135"/>
                                        </p:tgtEl>
                                      </p:cBhvr>
                                    </p:animEffect>
                                  </p:childTnLst>
                                </p:cTn>
                              </p:par>
                            </p:childTnLst>
                          </p:cTn>
                        </p:par>
                        <p:par>
                          <p:cTn id="24" fill="hold">
                            <p:stCondLst>
                              <p:cond delay="1000"/>
                            </p:stCondLst>
                            <p:childTnLst>
                              <p:par>
                                <p:cTn id="25" presetID="22" presetClass="entr" presetSubtype="2" fill="hold" nodeType="afterEffect">
                                  <p:stCondLst>
                                    <p:cond delay="0"/>
                                  </p:stCondLst>
                                  <p:childTnLst>
                                    <p:set>
                                      <p:cBhvr>
                                        <p:cTn id="26" dur="1" fill="hold">
                                          <p:stCondLst>
                                            <p:cond delay="0"/>
                                          </p:stCondLst>
                                        </p:cTn>
                                        <p:tgtEl>
                                          <p:spTgt spid="136"/>
                                        </p:tgtEl>
                                        <p:attrNameLst>
                                          <p:attrName>style.visibility</p:attrName>
                                        </p:attrNameLst>
                                      </p:cBhvr>
                                      <p:to>
                                        <p:strVal val="visible"/>
                                      </p:to>
                                    </p:set>
                                    <p:animEffect transition="in" filter="wipe(right)">
                                      <p:cBhvr>
                                        <p:cTn id="27" dur="1000"/>
                                        <p:tgtEl>
                                          <p:spTgt spid="136"/>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138"/>
                                        </p:tgtEl>
                                        <p:attrNameLst>
                                          <p:attrName>style.visibility</p:attrName>
                                        </p:attrNameLst>
                                      </p:cBhvr>
                                      <p:to>
                                        <p:strVal val="visible"/>
                                      </p:to>
                                    </p:set>
                                    <p:animEffect transition="in" filter="wipe(up)">
                                      <p:cBhvr>
                                        <p:cTn id="31" dur="200"/>
                                        <p:tgtEl>
                                          <p:spTgt spid="138"/>
                                        </p:tgtEl>
                                      </p:cBhvr>
                                    </p:animEffect>
                                  </p:childTnLst>
                                </p:cTn>
                              </p:par>
                            </p:childTnLst>
                          </p:cTn>
                        </p:par>
                        <p:par>
                          <p:cTn id="32" fill="hold">
                            <p:stCondLst>
                              <p:cond delay="2200"/>
                            </p:stCondLst>
                            <p:childTnLst>
                              <p:par>
                                <p:cTn id="33" presetID="22" presetClass="entr" presetSubtype="8" fill="hold" nodeType="afterEffect">
                                  <p:stCondLst>
                                    <p:cond delay="0"/>
                                  </p:stCondLst>
                                  <p:childTnLst>
                                    <p:set>
                                      <p:cBhvr>
                                        <p:cTn id="34" dur="1" fill="hold">
                                          <p:stCondLst>
                                            <p:cond delay="0"/>
                                          </p:stCondLst>
                                        </p:cTn>
                                        <p:tgtEl>
                                          <p:spTgt spid="137"/>
                                        </p:tgtEl>
                                        <p:attrNameLst>
                                          <p:attrName>style.visibility</p:attrName>
                                        </p:attrNameLst>
                                      </p:cBhvr>
                                      <p:to>
                                        <p:strVal val="visible"/>
                                      </p:to>
                                    </p:set>
                                    <p:animEffect transition="in" filter="wipe(left)">
                                      <p:cBhvr>
                                        <p:cTn id="35" dur="200"/>
                                        <p:tgtEl>
                                          <p:spTgt spid="137"/>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wipe(left)">
                                      <p:cBhvr>
                                        <p:cTn id="40" dur="200"/>
                                        <p:tgtEl>
                                          <p:spTgt spid="155"/>
                                        </p:tgtEl>
                                      </p:cBhvr>
                                    </p:animEffect>
                                  </p:childTnLst>
                                </p:cTn>
                              </p:par>
                            </p:childTnLst>
                          </p:cTn>
                        </p:par>
                        <p:par>
                          <p:cTn id="41" fill="hold">
                            <p:stCondLst>
                              <p:cond delay="200"/>
                            </p:stCondLst>
                            <p:childTnLst>
                              <p:par>
                                <p:cTn id="42" presetID="22" presetClass="entr" presetSubtype="8" fill="hold" nodeType="afterEffect">
                                  <p:stCondLst>
                                    <p:cond delay="0"/>
                                  </p:stCondLst>
                                  <p:childTnLst>
                                    <p:set>
                                      <p:cBhvr>
                                        <p:cTn id="43" dur="1" fill="hold">
                                          <p:stCondLst>
                                            <p:cond delay="0"/>
                                          </p:stCondLst>
                                        </p:cTn>
                                        <p:tgtEl>
                                          <p:spTgt spid="156"/>
                                        </p:tgtEl>
                                        <p:attrNameLst>
                                          <p:attrName>style.visibility</p:attrName>
                                        </p:attrNameLst>
                                      </p:cBhvr>
                                      <p:to>
                                        <p:strVal val="visible"/>
                                      </p:to>
                                    </p:set>
                                    <p:animEffect transition="in" filter="wipe(left)">
                                      <p:cBhvr>
                                        <p:cTn id="44" dur="200"/>
                                        <p:tgtEl>
                                          <p:spTgt spid="156"/>
                                        </p:tgtEl>
                                      </p:cBhvr>
                                    </p:animEffect>
                                  </p:childTnLst>
                                </p:cTn>
                              </p:par>
                            </p:childTnLst>
                          </p:cTn>
                        </p:par>
                        <p:par>
                          <p:cTn id="45" fill="hold">
                            <p:stCondLst>
                              <p:cond delay="400"/>
                            </p:stCondLst>
                            <p:childTnLst>
                              <p:par>
                                <p:cTn id="46" presetID="22" presetClass="entr" presetSubtype="8" fill="hold" nodeType="afterEffect">
                                  <p:stCondLst>
                                    <p:cond delay="0"/>
                                  </p:stCondLst>
                                  <p:childTnLst>
                                    <p:set>
                                      <p:cBhvr>
                                        <p:cTn id="47" dur="1" fill="hold">
                                          <p:stCondLst>
                                            <p:cond delay="0"/>
                                          </p:stCondLst>
                                        </p:cTn>
                                        <p:tgtEl>
                                          <p:spTgt spid="157"/>
                                        </p:tgtEl>
                                        <p:attrNameLst>
                                          <p:attrName>style.visibility</p:attrName>
                                        </p:attrNameLst>
                                      </p:cBhvr>
                                      <p:to>
                                        <p:strVal val="visible"/>
                                      </p:to>
                                    </p:set>
                                    <p:animEffect transition="in" filter="wipe(left)">
                                      <p:cBhvr>
                                        <p:cTn id="48" dur="200"/>
                                        <p:tgtEl>
                                          <p:spTgt spid="157"/>
                                        </p:tgtEl>
                                      </p:cBhvr>
                                    </p:animEffect>
                                  </p:childTnLst>
                                </p:cTn>
                              </p:par>
                            </p:childTnLst>
                          </p:cTn>
                        </p:par>
                        <p:par>
                          <p:cTn id="49" fill="hold">
                            <p:stCondLst>
                              <p:cond delay="600"/>
                            </p:stCondLst>
                            <p:childTnLst>
                              <p:par>
                                <p:cTn id="50" presetID="22" presetClass="entr" presetSubtype="8" fill="hold" nodeType="afterEffect">
                                  <p:stCondLst>
                                    <p:cond delay="0"/>
                                  </p:stCondLst>
                                  <p:childTnLst>
                                    <p:set>
                                      <p:cBhvr>
                                        <p:cTn id="51" dur="1" fill="hold">
                                          <p:stCondLst>
                                            <p:cond delay="0"/>
                                          </p:stCondLst>
                                        </p:cTn>
                                        <p:tgtEl>
                                          <p:spTgt spid="158"/>
                                        </p:tgtEl>
                                        <p:attrNameLst>
                                          <p:attrName>style.visibility</p:attrName>
                                        </p:attrNameLst>
                                      </p:cBhvr>
                                      <p:to>
                                        <p:strVal val="visible"/>
                                      </p:to>
                                    </p:set>
                                    <p:animEffect transition="in" filter="wipe(left)">
                                      <p:cBhvr>
                                        <p:cTn id="52" dur="200"/>
                                        <p:tgtEl>
                                          <p:spTgt spid="158"/>
                                        </p:tgtEl>
                                      </p:cBhvr>
                                    </p:animEffect>
                                  </p:childTnLst>
                                </p:cTn>
                              </p:par>
                            </p:childTnLst>
                          </p:cTn>
                        </p:par>
                        <p:par>
                          <p:cTn id="53" fill="hold">
                            <p:stCondLst>
                              <p:cond delay="800"/>
                            </p:stCondLst>
                            <p:childTnLst>
                              <p:par>
                                <p:cTn id="54" presetID="22" presetClass="entr" presetSubtype="8" fill="hold" nodeType="afterEffect">
                                  <p:stCondLst>
                                    <p:cond delay="0"/>
                                  </p:stCondLst>
                                  <p:childTnLst>
                                    <p:set>
                                      <p:cBhvr>
                                        <p:cTn id="55" dur="1" fill="hold">
                                          <p:stCondLst>
                                            <p:cond delay="0"/>
                                          </p:stCondLst>
                                        </p:cTn>
                                        <p:tgtEl>
                                          <p:spTgt spid="159"/>
                                        </p:tgtEl>
                                        <p:attrNameLst>
                                          <p:attrName>style.visibility</p:attrName>
                                        </p:attrNameLst>
                                      </p:cBhvr>
                                      <p:to>
                                        <p:strVal val="visible"/>
                                      </p:to>
                                    </p:set>
                                    <p:animEffect transition="in" filter="wipe(left)">
                                      <p:cBhvr>
                                        <p:cTn id="56" dur="200"/>
                                        <p:tgtEl>
                                          <p:spTgt spid="159"/>
                                        </p:tgtEl>
                                      </p:cBhvr>
                                    </p:animEffect>
                                  </p:childTnLst>
                                </p:cTn>
                              </p:par>
                            </p:childTnLst>
                          </p:cTn>
                        </p:par>
                        <p:par>
                          <p:cTn id="57" fill="hold">
                            <p:stCondLst>
                              <p:cond delay="1000"/>
                            </p:stCondLst>
                            <p:childTnLst>
                              <p:par>
                                <p:cTn id="58" presetID="22" presetClass="entr" presetSubtype="2" fill="hold" nodeType="afterEffect">
                                  <p:stCondLst>
                                    <p:cond delay="0"/>
                                  </p:stCondLst>
                                  <p:childTnLst>
                                    <p:set>
                                      <p:cBhvr>
                                        <p:cTn id="59" dur="1" fill="hold">
                                          <p:stCondLst>
                                            <p:cond delay="0"/>
                                          </p:stCondLst>
                                        </p:cTn>
                                        <p:tgtEl>
                                          <p:spTgt spid="160"/>
                                        </p:tgtEl>
                                        <p:attrNameLst>
                                          <p:attrName>style.visibility</p:attrName>
                                        </p:attrNameLst>
                                      </p:cBhvr>
                                      <p:to>
                                        <p:strVal val="visible"/>
                                      </p:to>
                                    </p:set>
                                    <p:animEffect transition="in" filter="wipe(right)">
                                      <p:cBhvr>
                                        <p:cTn id="60" dur="200"/>
                                        <p:tgtEl>
                                          <p:spTgt spid="160"/>
                                        </p:tgtEl>
                                      </p:cBhvr>
                                    </p:animEffect>
                                  </p:childTnLst>
                                </p:cTn>
                              </p:par>
                            </p:childTnLst>
                          </p:cTn>
                        </p:par>
                        <p:par>
                          <p:cTn id="61" fill="hold">
                            <p:stCondLst>
                              <p:cond delay="1200"/>
                            </p:stCondLst>
                            <p:childTnLst>
                              <p:par>
                                <p:cTn id="62" presetID="22" presetClass="entr" presetSubtype="4" fill="hold" nodeType="afterEffect">
                                  <p:stCondLst>
                                    <p:cond delay="0"/>
                                  </p:stCondLst>
                                  <p:childTnLst>
                                    <p:set>
                                      <p:cBhvr>
                                        <p:cTn id="63" dur="1" fill="hold">
                                          <p:stCondLst>
                                            <p:cond delay="0"/>
                                          </p:stCondLst>
                                        </p:cTn>
                                        <p:tgtEl>
                                          <p:spTgt spid="162"/>
                                        </p:tgtEl>
                                        <p:attrNameLst>
                                          <p:attrName>style.visibility</p:attrName>
                                        </p:attrNameLst>
                                      </p:cBhvr>
                                      <p:to>
                                        <p:strVal val="visible"/>
                                      </p:to>
                                    </p:set>
                                    <p:animEffect transition="in" filter="wipe(down)">
                                      <p:cBhvr>
                                        <p:cTn id="64" dur="200"/>
                                        <p:tgtEl>
                                          <p:spTgt spid="162"/>
                                        </p:tgtEl>
                                      </p:cBhvr>
                                    </p:animEffect>
                                  </p:childTnLst>
                                </p:cTn>
                              </p:par>
                            </p:childTnLst>
                          </p:cTn>
                        </p:par>
                        <p:par>
                          <p:cTn id="65" fill="hold">
                            <p:stCondLst>
                              <p:cond delay="1400"/>
                            </p:stCondLst>
                            <p:childTnLst>
                              <p:par>
                                <p:cTn id="66" presetID="22" presetClass="entr" presetSubtype="8" fill="hold" nodeType="afterEffect">
                                  <p:stCondLst>
                                    <p:cond delay="0"/>
                                  </p:stCondLst>
                                  <p:childTnLst>
                                    <p:set>
                                      <p:cBhvr>
                                        <p:cTn id="67" dur="1" fill="hold">
                                          <p:stCondLst>
                                            <p:cond delay="0"/>
                                          </p:stCondLst>
                                        </p:cTn>
                                        <p:tgtEl>
                                          <p:spTgt spid="161"/>
                                        </p:tgtEl>
                                        <p:attrNameLst>
                                          <p:attrName>style.visibility</p:attrName>
                                        </p:attrNameLst>
                                      </p:cBhvr>
                                      <p:to>
                                        <p:strVal val="visible"/>
                                      </p:to>
                                    </p:set>
                                    <p:animEffect transition="in" filter="wipe(left)">
                                      <p:cBhvr>
                                        <p:cTn id="68" dur="200"/>
                                        <p:tgtEl>
                                          <p:spTgt spid="161"/>
                                        </p:tgtEl>
                                      </p:cBhvr>
                                    </p:animEffect>
                                  </p:childTnLst>
                                </p:cTn>
                              </p:par>
                            </p:childTnLst>
                          </p:cTn>
                        </p:par>
                        <p:par>
                          <p:cTn id="69" fill="hold">
                            <p:stCondLst>
                              <p:cond delay="1900"/>
                            </p:stCondLst>
                            <p:childTnLst>
                              <p:par>
                                <p:cTn id="70" presetID="10" presetClass="exit" presetSubtype="0" fill="hold" nodeType="afterEffect">
                                  <p:stCondLst>
                                    <p:cond delay="200"/>
                                  </p:stCondLst>
                                  <p:childTnLst>
                                    <p:animEffect transition="out" filter="fade">
                                      <p:cBhvr>
                                        <p:cTn id="71" dur="500"/>
                                        <p:tgtEl>
                                          <p:spTgt spid="121"/>
                                        </p:tgtEl>
                                      </p:cBhvr>
                                    </p:animEffect>
                                    <p:set>
                                      <p:cBhvr>
                                        <p:cTn id="72" dur="1" fill="hold">
                                          <p:stCondLst>
                                            <p:cond delay="499"/>
                                          </p:stCondLst>
                                        </p:cTn>
                                        <p:tgtEl>
                                          <p:spTgt spid="121"/>
                                        </p:tgtEl>
                                        <p:attrNameLst>
                                          <p:attrName>style.visibility</p:attrName>
                                        </p:attrNameLst>
                                      </p:cBhvr>
                                      <p:to>
                                        <p:strVal val="hidden"/>
                                      </p:to>
                                    </p:set>
                                  </p:childTnLst>
                                </p:cTn>
                              </p:par>
                              <p:par>
                                <p:cTn id="73" presetID="10" presetClass="exit" presetSubtype="0" fill="hold" nodeType="withEffect">
                                  <p:stCondLst>
                                    <p:cond delay="200"/>
                                  </p:stCondLst>
                                  <p:childTnLst>
                                    <p:animEffect transition="out" filter="fade">
                                      <p:cBhvr>
                                        <p:cTn id="74" dur="500"/>
                                        <p:tgtEl>
                                          <p:spTgt spid="122"/>
                                        </p:tgtEl>
                                      </p:cBhvr>
                                    </p:animEffect>
                                    <p:set>
                                      <p:cBhvr>
                                        <p:cTn id="75" dur="1" fill="hold">
                                          <p:stCondLst>
                                            <p:cond delay="499"/>
                                          </p:stCondLst>
                                        </p:cTn>
                                        <p:tgtEl>
                                          <p:spTgt spid="122"/>
                                        </p:tgtEl>
                                        <p:attrNameLst>
                                          <p:attrName>style.visibility</p:attrName>
                                        </p:attrNameLst>
                                      </p:cBhvr>
                                      <p:to>
                                        <p:strVal val="hidden"/>
                                      </p:to>
                                    </p:set>
                                  </p:childTnLst>
                                </p:cTn>
                              </p:par>
                              <p:par>
                                <p:cTn id="76" presetID="10" presetClass="exit" presetSubtype="0" fill="hold" nodeType="withEffect">
                                  <p:stCondLst>
                                    <p:cond delay="200"/>
                                  </p:stCondLst>
                                  <p:childTnLst>
                                    <p:animEffect transition="out" filter="fade">
                                      <p:cBhvr>
                                        <p:cTn id="77" dur="500"/>
                                        <p:tgtEl>
                                          <p:spTgt spid="133"/>
                                        </p:tgtEl>
                                      </p:cBhvr>
                                    </p:animEffect>
                                    <p:set>
                                      <p:cBhvr>
                                        <p:cTn id="78" dur="1" fill="hold">
                                          <p:stCondLst>
                                            <p:cond delay="499"/>
                                          </p:stCondLst>
                                        </p:cTn>
                                        <p:tgtEl>
                                          <p:spTgt spid="133"/>
                                        </p:tgtEl>
                                        <p:attrNameLst>
                                          <p:attrName>style.visibility</p:attrName>
                                        </p:attrNameLst>
                                      </p:cBhvr>
                                      <p:to>
                                        <p:strVal val="hidden"/>
                                      </p:to>
                                    </p:set>
                                  </p:childTnLst>
                                </p:cTn>
                              </p:par>
                              <p:par>
                                <p:cTn id="79" presetID="10" presetClass="exit" presetSubtype="0" fill="hold" nodeType="withEffect">
                                  <p:stCondLst>
                                    <p:cond delay="200"/>
                                  </p:stCondLst>
                                  <p:childTnLst>
                                    <p:animEffect transition="out" filter="fade">
                                      <p:cBhvr>
                                        <p:cTn id="80" dur="500"/>
                                        <p:tgtEl>
                                          <p:spTgt spid="134"/>
                                        </p:tgtEl>
                                      </p:cBhvr>
                                    </p:animEffect>
                                    <p:set>
                                      <p:cBhvr>
                                        <p:cTn id="81" dur="1" fill="hold">
                                          <p:stCondLst>
                                            <p:cond delay="499"/>
                                          </p:stCondLst>
                                        </p:cTn>
                                        <p:tgtEl>
                                          <p:spTgt spid="134"/>
                                        </p:tgtEl>
                                        <p:attrNameLst>
                                          <p:attrName>style.visibility</p:attrName>
                                        </p:attrNameLst>
                                      </p:cBhvr>
                                      <p:to>
                                        <p:strVal val="hidden"/>
                                      </p:to>
                                    </p:set>
                                  </p:childTnLst>
                                </p:cTn>
                              </p:par>
                              <p:par>
                                <p:cTn id="82" presetID="10" presetClass="exit" presetSubtype="0" fill="hold" nodeType="withEffect">
                                  <p:stCondLst>
                                    <p:cond delay="200"/>
                                  </p:stCondLst>
                                  <p:childTnLst>
                                    <p:animEffect transition="out" filter="fade">
                                      <p:cBhvr>
                                        <p:cTn id="83" dur="500"/>
                                        <p:tgtEl>
                                          <p:spTgt spid="135"/>
                                        </p:tgtEl>
                                      </p:cBhvr>
                                    </p:animEffect>
                                    <p:set>
                                      <p:cBhvr>
                                        <p:cTn id="84" dur="1" fill="hold">
                                          <p:stCondLst>
                                            <p:cond delay="499"/>
                                          </p:stCondLst>
                                        </p:cTn>
                                        <p:tgtEl>
                                          <p:spTgt spid="135"/>
                                        </p:tgtEl>
                                        <p:attrNameLst>
                                          <p:attrName>style.visibility</p:attrName>
                                        </p:attrNameLst>
                                      </p:cBhvr>
                                      <p:to>
                                        <p:strVal val="hidden"/>
                                      </p:to>
                                    </p:set>
                                  </p:childTnLst>
                                </p:cTn>
                              </p:par>
                              <p:par>
                                <p:cTn id="85" presetID="10" presetClass="exit" presetSubtype="0" fill="hold" nodeType="withEffect">
                                  <p:stCondLst>
                                    <p:cond delay="200"/>
                                  </p:stCondLst>
                                  <p:childTnLst>
                                    <p:animEffect transition="out" filter="fade">
                                      <p:cBhvr>
                                        <p:cTn id="86" dur="500"/>
                                        <p:tgtEl>
                                          <p:spTgt spid="136"/>
                                        </p:tgtEl>
                                      </p:cBhvr>
                                    </p:animEffect>
                                    <p:set>
                                      <p:cBhvr>
                                        <p:cTn id="87" dur="1" fill="hold">
                                          <p:stCondLst>
                                            <p:cond delay="499"/>
                                          </p:stCondLst>
                                        </p:cTn>
                                        <p:tgtEl>
                                          <p:spTgt spid="136"/>
                                        </p:tgtEl>
                                        <p:attrNameLst>
                                          <p:attrName>style.visibility</p:attrName>
                                        </p:attrNameLst>
                                      </p:cBhvr>
                                      <p:to>
                                        <p:strVal val="hidden"/>
                                      </p:to>
                                    </p:set>
                                  </p:childTnLst>
                                </p:cTn>
                              </p:par>
                              <p:par>
                                <p:cTn id="88" presetID="10" presetClass="exit" presetSubtype="0" fill="hold" nodeType="withEffect">
                                  <p:stCondLst>
                                    <p:cond delay="200"/>
                                  </p:stCondLst>
                                  <p:childTnLst>
                                    <p:animEffect transition="out" filter="fade">
                                      <p:cBhvr>
                                        <p:cTn id="89" dur="500"/>
                                        <p:tgtEl>
                                          <p:spTgt spid="138"/>
                                        </p:tgtEl>
                                      </p:cBhvr>
                                    </p:animEffect>
                                    <p:set>
                                      <p:cBhvr>
                                        <p:cTn id="90" dur="1" fill="hold">
                                          <p:stCondLst>
                                            <p:cond delay="499"/>
                                          </p:stCondLst>
                                        </p:cTn>
                                        <p:tgtEl>
                                          <p:spTgt spid="138"/>
                                        </p:tgtEl>
                                        <p:attrNameLst>
                                          <p:attrName>style.visibility</p:attrName>
                                        </p:attrNameLst>
                                      </p:cBhvr>
                                      <p:to>
                                        <p:strVal val="hidden"/>
                                      </p:to>
                                    </p:set>
                                  </p:childTnLst>
                                </p:cTn>
                              </p:par>
                              <p:par>
                                <p:cTn id="91" presetID="10" presetClass="exit" presetSubtype="0" fill="hold" nodeType="withEffect">
                                  <p:stCondLst>
                                    <p:cond delay="200"/>
                                  </p:stCondLst>
                                  <p:childTnLst>
                                    <p:animEffect transition="out" filter="fade">
                                      <p:cBhvr>
                                        <p:cTn id="92" dur="500"/>
                                        <p:tgtEl>
                                          <p:spTgt spid="137"/>
                                        </p:tgtEl>
                                      </p:cBhvr>
                                    </p:animEffect>
                                    <p:set>
                                      <p:cBhvr>
                                        <p:cTn id="93" dur="1" fill="hold">
                                          <p:stCondLst>
                                            <p:cond delay="499"/>
                                          </p:stCondLst>
                                        </p:cTn>
                                        <p:tgtEl>
                                          <p:spTgt spid="137"/>
                                        </p:tgtEl>
                                        <p:attrNameLst>
                                          <p:attrName>style.visibility</p:attrName>
                                        </p:attrNameLst>
                                      </p:cBhvr>
                                      <p:to>
                                        <p:strVal val="hidden"/>
                                      </p:to>
                                    </p:set>
                                  </p:childTnLst>
                                </p:cTn>
                              </p:par>
                              <p:par>
                                <p:cTn id="94" presetID="10" presetClass="exit" presetSubtype="0" fill="hold" nodeType="withEffect">
                                  <p:stCondLst>
                                    <p:cond delay="200"/>
                                  </p:stCondLst>
                                  <p:childTnLst>
                                    <p:animEffect transition="out" filter="fade">
                                      <p:cBhvr>
                                        <p:cTn id="95" dur="500"/>
                                        <p:tgtEl>
                                          <p:spTgt spid="155"/>
                                        </p:tgtEl>
                                      </p:cBhvr>
                                    </p:animEffect>
                                    <p:set>
                                      <p:cBhvr>
                                        <p:cTn id="96" dur="1" fill="hold">
                                          <p:stCondLst>
                                            <p:cond delay="499"/>
                                          </p:stCondLst>
                                        </p:cTn>
                                        <p:tgtEl>
                                          <p:spTgt spid="155"/>
                                        </p:tgtEl>
                                        <p:attrNameLst>
                                          <p:attrName>style.visibility</p:attrName>
                                        </p:attrNameLst>
                                      </p:cBhvr>
                                      <p:to>
                                        <p:strVal val="hidden"/>
                                      </p:to>
                                    </p:set>
                                  </p:childTnLst>
                                </p:cTn>
                              </p:par>
                              <p:par>
                                <p:cTn id="97" presetID="10" presetClass="exit" presetSubtype="0" fill="hold" nodeType="withEffect">
                                  <p:stCondLst>
                                    <p:cond delay="200"/>
                                  </p:stCondLst>
                                  <p:childTnLst>
                                    <p:animEffect transition="out" filter="fade">
                                      <p:cBhvr>
                                        <p:cTn id="98" dur="500"/>
                                        <p:tgtEl>
                                          <p:spTgt spid="156"/>
                                        </p:tgtEl>
                                      </p:cBhvr>
                                    </p:animEffect>
                                    <p:set>
                                      <p:cBhvr>
                                        <p:cTn id="99" dur="1" fill="hold">
                                          <p:stCondLst>
                                            <p:cond delay="499"/>
                                          </p:stCondLst>
                                        </p:cTn>
                                        <p:tgtEl>
                                          <p:spTgt spid="156"/>
                                        </p:tgtEl>
                                        <p:attrNameLst>
                                          <p:attrName>style.visibility</p:attrName>
                                        </p:attrNameLst>
                                      </p:cBhvr>
                                      <p:to>
                                        <p:strVal val="hidden"/>
                                      </p:to>
                                    </p:set>
                                  </p:childTnLst>
                                </p:cTn>
                              </p:par>
                              <p:par>
                                <p:cTn id="100" presetID="10" presetClass="exit" presetSubtype="0" fill="hold" nodeType="withEffect">
                                  <p:stCondLst>
                                    <p:cond delay="200"/>
                                  </p:stCondLst>
                                  <p:childTnLst>
                                    <p:animEffect transition="out" filter="fade">
                                      <p:cBhvr>
                                        <p:cTn id="101" dur="500"/>
                                        <p:tgtEl>
                                          <p:spTgt spid="157"/>
                                        </p:tgtEl>
                                      </p:cBhvr>
                                    </p:animEffect>
                                    <p:set>
                                      <p:cBhvr>
                                        <p:cTn id="102" dur="1" fill="hold">
                                          <p:stCondLst>
                                            <p:cond delay="499"/>
                                          </p:stCondLst>
                                        </p:cTn>
                                        <p:tgtEl>
                                          <p:spTgt spid="157"/>
                                        </p:tgtEl>
                                        <p:attrNameLst>
                                          <p:attrName>style.visibility</p:attrName>
                                        </p:attrNameLst>
                                      </p:cBhvr>
                                      <p:to>
                                        <p:strVal val="hidden"/>
                                      </p:to>
                                    </p:set>
                                  </p:childTnLst>
                                </p:cTn>
                              </p:par>
                              <p:par>
                                <p:cTn id="103" presetID="10" presetClass="exit" presetSubtype="0" fill="hold" nodeType="withEffect">
                                  <p:stCondLst>
                                    <p:cond delay="200"/>
                                  </p:stCondLst>
                                  <p:childTnLst>
                                    <p:animEffect transition="out" filter="fade">
                                      <p:cBhvr>
                                        <p:cTn id="104" dur="500"/>
                                        <p:tgtEl>
                                          <p:spTgt spid="158"/>
                                        </p:tgtEl>
                                      </p:cBhvr>
                                    </p:animEffect>
                                    <p:set>
                                      <p:cBhvr>
                                        <p:cTn id="105" dur="1" fill="hold">
                                          <p:stCondLst>
                                            <p:cond delay="499"/>
                                          </p:stCondLst>
                                        </p:cTn>
                                        <p:tgtEl>
                                          <p:spTgt spid="158"/>
                                        </p:tgtEl>
                                        <p:attrNameLst>
                                          <p:attrName>style.visibility</p:attrName>
                                        </p:attrNameLst>
                                      </p:cBhvr>
                                      <p:to>
                                        <p:strVal val="hidden"/>
                                      </p:to>
                                    </p:set>
                                  </p:childTnLst>
                                </p:cTn>
                              </p:par>
                              <p:par>
                                <p:cTn id="106" presetID="10" presetClass="exit" presetSubtype="0" fill="hold" nodeType="withEffect">
                                  <p:stCondLst>
                                    <p:cond delay="200"/>
                                  </p:stCondLst>
                                  <p:childTnLst>
                                    <p:animEffect transition="out" filter="fade">
                                      <p:cBhvr>
                                        <p:cTn id="107" dur="500"/>
                                        <p:tgtEl>
                                          <p:spTgt spid="159"/>
                                        </p:tgtEl>
                                      </p:cBhvr>
                                    </p:animEffect>
                                    <p:set>
                                      <p:cBhvr>
                                        <p:cTn id="108" dur="1" fill="hold">
                                          <p:stCondLst>
                                            <p:cond delay="499"/>
                                          </p:stCondLst>
                                        </p:cTn>
                                        <p:tgtEl>
                                          <p:spTgt spid="159"/>
                                        </p:tgtEl>
                                        <p:attrNameLst>
                                          <p:attrName>style.visibility</p:attrName>
                                        </p:attrNameLst>
                                      </p:cBhvr>
                                      <p:to>
                                        <p:strVal val="hidden"/>
                                      </p:to>
                                    </p:set>
                                  </p:childTnLst>
                                </p:cTn>
                              </p:par>
                              <p:par>
                                <p:cTn id="109" presetID="10" presetClass="exit" presetSubtype="0" fill="hold" nodeType="withEffect">
                                  <p:stCondLst>
                                    <p:cond delay="200"/>
                                  </p:stCondLst>
                                  <p:childTnLst>
                                    <p:animEffect transition="out" filter="fade">
                                      <p:cBhvr>
                                        <p:cTn id="110" dur="500"/>
                                        <p:tgtEl>
                                          <p:spTgt spid="160"/>
                                        </p:tgtEl>
                                      </p:cBhvr>
                                    </p:animEffect>
                                    <p:set>
                                      <p:cBhvr>
                                        <p:cTn id="111" dur="1" fill="hold">
                                          <p:stCondLst>
                                            <p:cond delay="499"/>
                                          </p:stCondLst>
                                        </p:cTn>
                                        <p:tgtEl>
                                          <p:spTgt spid="160"/>
                                        </p:tgtEl>
                                        <p:attrNameLst>
                                          <p:attrName>style.visibility</p:attrName>
                                        </p:attrNameLst>
                                      </p:cBhvr>
                                      <p:to>
                                        <p:strVal val="hidden"/>
                                      </p:to>
                                    </p:set>
                                  </p:childTnLst>
                                </p:cTn>
                              </p:par>
                              <p:par>
                                <p:cTn id="112" presetID="10" presetClass="exit" presetSubtype="0" fill="hold" nodeType="withEffect">
                                  <p:stCondLst>
                                    <p:cond delay="200"/>
                                  </p:stCondLst>
                                  <p:childTnLst>
                                    <p:animEffect transition="out" filter="fade">
                                      <p:cBhvr>
                                        <p:cTn id="113" dur="500"/>
                                        <p:tgtEl>
                                          <p:spTgt spid="162"/>
                                        </p:tgtEl>
                                      </p:cBhvr>
                                    </p:animEffect>
                                    <p:set>
                                      <p:cBhvr>
                                        <p:cTn id="114" dur="1" fill="hold">
                                          <p:stCondLst>
                                            <p:cond delay="499"/>
                                          </p:stCondLst>
                                        </p:cTn>
                                        <p:tgtEl>
                                          <p:spTgt spid="162"/>
                                        </p:tgtEl>
                                        <p:attrNameLst>
                                          <p:attrName>style.visibility</p:attrName>
                                        </p:attrNameLst>
                                      </p:cBhvr>
                                      <p:to>
                                        <p:strVal val="hidden"/>
                                      </p:to>
                                    </p:set>
                                  </p:childTnLst>
                                </p:cTn>
                              </p:par>
                              <p:par>
                                <p:cTn id="115" presetID="10" presetClass="exit" presetSubtype="0" fill="hold" nodeType="withEffect">
                                  <p:stCondLst>
                                    <p:cond delay="200"/>
                                  </p:stCondLst>
                                  <p:childTnLst>
                                    <p:animEffect transition="out" filter="fade">
                                      <p:cBhvr>
                                        <p:cTn id="116" dur="500"/>
                                        <p:tgtEl>
                                          <p:spTgt spid="161"/>
                                        </p:tgtEl>
                                      </p:cBhvr>
                                    </p:animEffect>
                                    <p:set>
                                      <p:cBhvr>
                                        <p:cTn id="117" dur="1" fill="hold">
                                          <p:stCondLst>
                                            <p:cond delay="499"/>
                                          </p:stCondLst>
                                        </p:cTn>
                                        <p:tgtEl>
                                          <p:spTgt spid="161"/>
                                        </p:tgtEl>
                                        <p:attrNameLst>
                                          <p:attrName>style.visibility</p:attrName>
                                        </p:attrNameLst>
                                      </p:cBhvr>
                                      <p:to>
                                        <p:strVal val="hidden"/>
                                      </p:to>
                                    </p:set>
                                  </p:childTnLst>
                                </p:cTn>
                              </p:par>
                            </p:childTnLst>
                          </p:cTn>
                        </p:par>
                        <p:par>
                          <p:cTn id="118" fill="hold">
                            <p:stCondLst>
                              <p:cond delay="2600"/>
                            </p:stCondLst>
                            <p:childTnLst>
                              <p:par>
                                <p:cTn id="119" presetID="22" presetClass="entr" presetSubtype="8" fill="hold" nodeType="afterEffect">
                                  <p:stCondLst>
                                    <p:cond delay="0"/>
                                  </p:stCondLst>
                                  <p:childTnLst>
                                    <p:set>
                                      <p:cBhvr>
                                        <p:cTn id="120" dur="1" fill="hold">
                                          <p:stCondLst>
                                            <p:cond delay="0"/>
                                          </p:stCondLst>
                                        </p:cTn>
                                        <p:tgtEl>
                                          <p:spTgt spid="121"/>
                                        </p:tgtEl>
                                        <p:attrNameLst>
                                          <p:attrName>style.visibility</p:attrName>
                                        </p:attrNameLst>
                                      </p:cBhvr>
                                      <p:to>
                                        <p:strVal val="visible"/>
                                      </p:to>
                                    </p:set>
                                    <p:animEffect transition="in" filter="wipe(left)">
                                      <p:cBhvr>
                                        <p:cTn id="121" dur="200"/>
                                        <p:tgtEl>
                                          <p:spTgt spid="121"/>
                                        </p:tgtEl>
                                      </p:cBhvr>
                                    </p:animEffect>
                                  </p:childTnLst>
                                </p:cTn>
                              </p:par>
                            </p:childTnLst>
                          </p:cTn>
                        </p:par>
                        <p:par>
                          <p:cTn id="122" fill="hold">
                            <p:stCondLst>
                              <p:cond delay="2800"/>
                            </p:stCondLst>
                            <p:childTnLst>
                              <p:par>
                                <p:cTn id="123" presetID="22" presetClass="entr" presetSubtype="8" fill="hold" nodeType="afterEffect">
                                  <p:stCondLst>
                                    <p:cond delay="0"/>
                                  </p:stCondLst>
                                  <p:childTnLst>
                                    <p:set>
                                      <p:cBhvr>
                                        <p:cTn id="124" dur="1" fill="hold">
                                          <p:stCondLst>
                                            <p:cond delay="0"/>
                                          </p:stCondLst>
                                        </p:cTn>
                                        <p:tgtEl>
                                          <p:spTgt spid="122"/>
                                        </p:tgtEl>
                                        <p:attrNameLst>
                                          <p:attrName>style.visibility</p:attrName>
                                        </p:attrNameLst>
                                      </p:cBhvr>
                                      <p:to>
                                        <p:strVal val="visible"/>
                                      </p:to>
                                    </p:set>
                                    <p:animEffect transition="in" filter="wipe(left)">
                                      <p:cBhvr>
                                        <p:cTn id="125" dur="200"/>
                                        <p:tgtEl>
                                          <p:spTgt spid="122"/>
                                        </p:tgtEl>
                                      </p:cBhvr>
                                    </p:animEffect>
                                  </p:childTnLst>
                                </p:cTn>
                              </p:par>
                            </p:childTnLst>
                          </p:cTn>
                        </p:par>
                        <p:par>
                          <p:cTn id="126" fill="hold">
                            <p:stCondLst>
                              <p:cond delay="3000"/>
                            </p:stCondLst>
                            <p:childTnLst>
                              <p:par>
                                <p:cTn id="127" presetID="22" presetClass="entr" presetSubtype="1" fill="hold" nodeType="afterEffect">
                                  <p:stCondLst>
                                    <p:cond delay="0"/>
                                  </p:stCondLst>
                                  <p:childTnLst>
                                    <p:set>
                                      <p:cBhvr>
                                        <p:cTn id="128" dur="1" fill="hold">
                                          <p:stCondLst>
                                            <p:cond delay="0"/>
                                          </p:stCondLst>
                                        </p:cTn>
                                        <p:tgtEl>
                                          <p:spTgt spid="168"/>
                                        </p:tgtEl>
                                        <p:attrNameLst>
                                          <p:attrName>style.visibility</p:attrName>
                                        </p:attrNameLst>
                                      </p:cBhvr>
                                      <p:to>
                                        <p:strVal val="visible"/>
                                      </p:to>
                                    </p:set>
                                    <p:animEffect transition="in" filter="wipe(up)">
                                      <p:cBhvr>
                                        <p:cTn id="129" dur="200"/>
                                        <p:tgtEl>
                                          <p:spTgt spid="168"/>
                                        </p:tgtEl>
                                      </p:cBhvr>
                                    </p:animEffect>
                                  </p:childTnLst>
                                </p:cTn>
                              </p:par>
                            </p:childTnLst>
                          </p:cTn>
                        </p:par>
                        <p:par>
                          <p:cTn id="130" fill="hold">
                            <p:stCondLst>
                              <p:cond delay="3200"/>
                            </p:stCondLst>
                            <p:childTnLst>
                              <p:par>
                                <p:cTn id="131" presetID="22" presetClass="entr" presetSubtype="4" fill="hold" nodeType="afterEffect">
                                  <p:stCondLst>
                                    <p:cond delay="0"/>
                                  </p:stCondLst>
                                  <p:childTnLst>
                                    <p:set>
                                      <p:cBhvr>
                                        <p:cTn id="132" dur="1" fill="hold">
                                          <p:stCondLst>
                                            <p:cond delay="0"/>
                                          </p:stCondLst>
                                        </p:cTn>
                                        <p:tgtEl>
                                          <p:spTgt spid="169"/>
                                        </p:tgtEl>
                                        <p:attrNameLst>
                                          <p:attrName>style.visibility</p:attrName>
                                        </p:attrNameLst>
                                      </p:cBhvr>
                                      <p:to>
                                        <p:strVal val="visible"/>
                                      </p:to>
                                    </p:set>
                                    <p:animEffect transition="in" filter="wipe(down)">
                                      <p:cBhvr>
                                        <p:cTn id="133" dur="200"/>
                                        <p:tgtEl>
                                          <p:spTgt spid="169"/>
                                        </p:tgtEl>
                                      </p:cBhvr>
                                    </p:animEffect>
                                  </p:childTnLst>
                                </p:cTn>
                              </p:par>
                            </p:childTnLst>
                          </p:cTn>
                        </p:par>
                        <p:par>
                          <p:cTn id="134" fill="hold">
                            <p:stCondLst>
                              <p:cond delay="3400"/>
                            </p:stCondLst>
                            <p:childTnLst>
                              <p:par>
                                <p:cTn id="135" presetID="22" presetClass="entr" presetSubtype="8" fill="hold" nodeType="afterEffect">
                                  <p:stCondLst>
                                    <p:cond delay="0"/>
                                  </p:stCondLst>
                                  <p:childTnLst>
                                    <p:set>
                                      <p:cBhvr>
                                        <p:cTn id="136" dur="1" fill="hold">
                                          <p:stCondLst>
                                            <p:cond delay="0"/>
                                          </p:stCondLst>
                                        </p:cTn>
                                        <p:tgtEl>
                                          <p:spTgt spid="133"/>
                                        </p:tgtEl>
                                        <p:attrNameLst>
                                          <p:attrName>style.visibility</p:attrName>
                                        </p:attrNameLst>
                                      </p:cBhvr>
                                      <p:to>
                                        <p:strVal val="visible"/>
                                      </p:to>
                                    </p:set>
                                    <p:animEffect transition="in" filter="wipe(left)">
                                      <p:cBhvr>
                                        <p:cTn id="137" dur="200"/>
                                        <p:tgtEl>
                                          <p:spTgt spid="133"/>
                                        </p:tgtEl>
                                      </p:cBhvr>
                                    </p:animEffect>
                                  </p:childTnLst>
                                </p:cTn>
                              </p:par>
                            </p:childTnLst>
                          </p:cTn>
                        </p:par>
                        <p:par>
                          <p:cTn id="138" fill="hold">
                            <p:stCondLst>
                              <p:cond delay="3600"/>
                            </p:stCondLst>
                            <p:childTnLst>
                              <p:par>
                                <p:cTn id="139" presetID="22" presetClass="entr" presetSubtype="1" fill="hold" nodeType="afterEffect">
                                  <p:stCondLst>
                                    <p:cond delay="0"/>
                                  </p:stCondLst>
                                  <p:childTnLst>
                                    <p:set>
                                      <p:cBhvr>
                                        <p:cTn id="140" dur="1" fill="hold">
                                          <p:stCondLst>
                                            <p:cond delay="0"/>
                                          </p:stCondLst>
                                        </p:cTn>
                                        <p:tgtEl>
                                          <p:spTgt spid="170"/>
                                        </p:tgtEl>
                                        <p:attrNameLst>
                                          <p:attrName>style.visibility</p:attrName>
                                        </p:attrNameLst>
                                      </p:cBhvr>
                                      <p:to>
                                        <p:strVal val="visible"/>
                                      </p:to>
                                    </p:set>
                                    <p:animEffect transition="in" filter="wipe(up)">
                                      <p:cBhvr>
                                        <p:cTn id="141" dur="200"/>
                                        <p:tgtEl>
                                          <p:spTgt spid="170"/>
                                        </p:tgtEl>
                                      </p:cBhvr>
                                    </p:animEffect>
                                  </p:childTnLst>
                                </p:cTn>
                              </p:par>
                            </p:childTnLst>
                          </p:cTn>
                        </p:par>
                        <p:par>
                          <p:cTn id="142" fill="hold">
                            <p:stCondLst>
                              <p:cond delay="3800"/>
                            </p:stCondLst>
                            <p:childTnLst>
                              <p:par>
                                <p:cTn id="143" presetID="22" presetClass="entr" presetSubtype="4" fill="hold" nodeType="afterEffect">
                                  <p:stCondLst>
                                    <p:cond delay="0"/>
                                  </p:stCondLst>
                                  <p:childTnLst>
                                    <p:set>
                                      <p:cBhvr>
                                        <p:cTn id="144" dur="1" fill="hold">
                                          <p:stCondLst>
                                            <p:cond delay="0"/>
                                          </p:stCondLst>
                                        </p:cTn>
                                        <p:tgtEl>
                                          <p:spTgt spid="171"/>
                                        </p:tgtEl>
                                        <p:attrNameLst>
                                          <p:attrName>style.visibility</p:attrName>
                                        </p:attrNameLst>
                                      </p:cBhvr>
                                      <p:to>
                                        <p:strVal val="visible"/>
                                      </p:to>
                                    </p:set>
                                    <p:animEffect transition="in" filter="wipe(down)">
                                      <p:cBhvr>
                                        <p:cTn id="145" dur="200"/>
                                        <p:tgtEl>
                                          <p:spTgt spid="171"/>
                                        </p:tgtEl>
                                      </p:cBhvr>
                                    </p:animEffect>
                                  </p:childTnLst>
                                </p:cTn>
                              </p:par>
                            </p:childTnLst>
                          </p:cTn>
                        </p:par>
                        <p:par>
                          <p:cTn id="146" fill="hold">
                            <p:stCondLst>
                              <p:cond delay="4000"/>
                            </p:stCondLst>
                            <p:childTnLst>
                              <p:par>
                                <p:cTn id="147" presetID="22" presetClass="entr" presetSubtype="8" fill="hold" nodeType="afterEffect">
                                  <p:stCondLst>
                                    <p:cond delay="0"/>
                                  </p:stCondLst>
                                  <p:childTnLst>
                                    <p:set>
                                      <p:cBhvr>
                                        <p:cTn id="148" dur="1" fill="hold">
                                          <p:stCondLst>
                                            <p:cond delay="0"/>
                                          </p:stCondLst>
                                        </p:cTn>
                                        <p:tgtEl>
                                          <p:spTgt spid="134"/>
                                        </p:tgtEl>
                                        <p:attrNameLst>
                                          <p:attrName>style.visibility</p:attrName>
                                        </p:attrNameLst>
                                      </p:cBhvr>
                                      <p:to>
                                        <p:strVal val="visible"/>
                                      </p:to>
                                    </p:set>
                                    <p:animEffect transition="in" filter="wipe(left)">
                                      <p:cBhvr>
                                        <p:cTn id="149" dur="200"/>
                                        <p:tgtEl>
                                          <p:spTgt spid="134"/>
                                        </p:tgtEl>
                                      </p:cBhvr>
                                    </p:animEffect>
                                  </p:childTnLst>
                                </p:cTn>
                              </p:par>
                            </p:childTnLst>
                          </p:cTn>
                        </p:par>
                        <p:par>
                          <p:cTn id="150" fill="hold">
                            <p:stCondLst>
                              <p:cond delay="4200"/>
                            </p:stCondLst>
                            <p:childTnLst>
                              <p:par>
                                <p:cTn id="151" presetID="22" presetClass="entr" presetSubtype="8" fill="hold" nodeType="afterEffect">
                                  <p:stCondLst>
                                    <p:cond delay="0"/>
                                  </p:stCondLst>
                                  <p:childTnLst>
                                    <p:set>
                                      <p:cBhvr>
                                        <p:cTn id="152" dur="1" fill="hold">
                                          <p:stCondLst>
                                            <p:cond delay="0"/>
                                          </p:stCondLst>
                                        </p:cTn>
                                        <p:tgtEl>
                                          <p:spTgt spid="135"/>
                                        </p:tgtEl>
                                        <p:attrNameLst>
                                          <p:attrName>style.visibility</p:attrName>
                                        </p:attrNameLst>
                                      </p:cBhvr>
                                      <p:to>
                                        <p:strVal val="visible"/>
                                      </p:to>
                                    </p:set>
                                    <p:animEffect transition="in" filter="wipe(left)">
                                      <p:cBhvr>
                                        <p:cTn id="153" dur="200"/>
                                        <p:tgtEl>
                                          <p:spTgt spid="135"/>
                                        </p:tgtEl>
                                      </p:cBhvr>
                                    </p:animEffect>
                                  </p:childTnLst>
                                </p:cTn>
                              </p:par>
                            </p:childTnLst>
                          </p:cTn>
                        </p:par>
                        <p:par>
                          <p:cTn id="154" fill="hold">
                            <p:stCondLst>
                              <p:cond delay="4400"/>
                            </p:stCondLst>
                            <p:childTnLst>
                              <p:par>
                                <p:cTn id="155" presetID="22" presetClass="entr" presetSubtype="2" fill="hold" nodeType="afterEffect">
                                  <p:stCondLst>
                                    <p:cond delay="0"/>
                                  </p:stCondLst>
                                  <p:childTnLst>
                                    <p:set>
                                      <p:cBhvr>
                                        <p:cTn id="156" dur="1" fill="hold">
                                          <p:stCondLst>
                                            <p:cond delay="0"/>
                                          </p:stCondLst>
                                        </p:cTn>
                                        <p:tgtEl>
                                          <p:spTgt spid="136"/>
                                        </p:tgtEl>
                                        <p:attrNameLst>
                                          <p:attrName>style.visibility</p:attrName>
                                        </p:attrNameLst>
                                      </p:cBhvr>
                                      <p:to>
                                        <p:strVal val="visible"/>
                                      </p:to>
                                    </p:set>
                                    <p:animEffect transition="in" filter="wipe(right)">
                                      <p:cBhvr>
                                        <p:cTn id="157" dur="1000"/>
                                        <p:tgtEl>
                                          <p:spTgt spid="136"/>
                                        </p:tgtEl>
                                      </p:cBhvr>
                                    </p:animEffect>
                                  </p:childTnLst>
                                </p:cTn>
                              </p:par>
                            </p:childTnLst>
                          </p:cTn>
                        </p:par>
                        <p:par>
                          <p:cTn id="158" fill="hold">
                            <p:stCondLst>
                              <p:cond delay="5400"/>
                            </p:stCondLst>
                            <p:childTnLst>
                              <p:par>
                                <p:cTn id="159" presetID="22" presetClass="entr" presetSubtype="1" fill="hold" nodeType="afterEffect">
                                  <p:stCondLst>
                                    <p:cond delay="0"/>
                                  </p:stCondLst>
                                  <p:childTnLst>
                                    <p:set>
                                      <p:cBhvr>
                                        <p:cTn id="160" dur="1" fill="hold">
                                          <p:stCondLst>
                                            <p:cond delay="0"/>
                                          </p:stCondLst>
                                        </p:cTn>
                                        <p:tgtEl>
                                          <p:spTgt spid="138"/>
                                        </p:tgtEl>
                                        <p:attrNameLst>
                                          <p:attrName>style.visibility</p:attrName>
                                        </p:attrNameLst>
                                      </p:cBhvr>
                                      <p:to>
                                        <p:strVal val="visible"/>
                                      </p:to>
                                    </p:set>
                                    <p:animEffect transition="in" filter="wipe(up)">
                                      <p:cBhvr>
                                        <p:cTn id="161" dur="200"/>
                                        <p:tgtEl>
                                          <p:spTgt spid="138"/>
                                        </p:tgtEl>
                                      </p:cBhvr>
                                    </p:animEffect>
                                  </p:childTnLst>
                                </p:cTn>
                              </p:par>
                            </p:childTnLst>
                          </p:cTn>
                        </p:par>
                        <p:par>
                          <p:cTn id="162" fill="hold">
                            <p:stCondLst>
                              <p:cond delay="5600"/>
                            </p:stCondLst>
                            <p:childTnLst>
                              <p:par>
                                <p:cTn id="163" presetID="22" presetClass="entr" presetSubtype="8" fill="hold" nodeType="afterEffect">
                                  <p:stCondLst>
                                    <p:cond delay="0"/>
                                  </p:stCondLst>
                                  <p:childTnLst>
                                    <p:set>
                                      <p:cBhvr>
                                        <p:cTn id="164" dur="1" fill="hold">
                                          <p:stCondLst>
                                            <p:cond delay="0"/>
                                          </p:stCondLst>
                                        </p:cTn>
                                        <p:tgtEl>
                                          <p:spTgt spid="137"/>
                                        </p:tgtEl>
                                        <p:attrNameLst>
                                          <p:attrName>style.visibility</p:attrName>
                                        </p:attrNameLst>
                                      </p:cBhvr>
                                      <p:to>
                                        <p:strVal val="visible"/>
                                      </p:to>
                                    </p:set>
                                    <p:animEffect transition="in" filter="wipe(left)">
                                      <p:cBhvr>
                                        <p:cTn id="165" dur="2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DE600819-6D65-434E-8951-79E8872132D6}"/>
              </a:ext>
            </a:extLst>
          </p:cNvPr>
          <p:cNvPicPr>
            <a:picLocks noChangeAspect="1"/>
          </p:cNvPicPr>
          <p:nvPr/>
        </p:nvPicPr>
        <p:blipFill>
          <a:blip r:embed="rId3"/>
          <a:stretch>
            <a:fillRect/>
          </a:stretch>
        </p:blipFill>
        <p:spPr>
          <a:xfrm>
            <a:off x="4660991" y="182562"/>
            <a:ext cx="2595597" cy="2112143"/>
          </a:xfrm>
          <a:prstGeom prst="rect">
            <a:avLst/>
          </a:prstGeom>
        </p:spPr>
      </p:pic>
      <p:sp>
        <p:nvSpPr>
          <p:cNvPr id="124" name="Rectangle 123">
            <a:extLst>
              <a:ext uri="{FF2B5EF4-FFF2-40B4-BE49-F238E27FC236}">
                <a16:creationId xmlns:a16="http://schemas.microsoft.com/office/drawing/2014/main" id="{595379DA-4DDD-4F4D-BFA4-60CD409C4657}"/>
              </a:ext>
            </a:extLst>
          </p:cNvPr>
          <p:cNvSpPr/>
          <p:nvPr/>
        </p:nvSpPr>
        <p:spPr bwMode="auto">
          <a:xfrm>
            <a:off x="4092250" y="6469062"/>
            <a:ext cx="4114800" cy="5254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34" name="Picture 133">
            <a:extLst>
              <a:ext uri="{FF2B5EF4-FFF2-40B4-BE49-F238E27FC236}">
                <a16:creationId xmlns:a16="http://schemas.microsoft.com/office/drawing/2014/main" id="{72CF0689-702E-4412-A8C4-FA0BEDC0BDC8}"/>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2" name="Title 1">
            <a:extLst>
              <a:ext uri="{FF2B5EF4-FFF2-40B4-BE49-F238E27FC236}">
                <a16:creationId xmlns:a16="http://schemas.microsoft.com/office/drawing/2014/main" id="{B492732E-C7A5-4871-8509-5E39C13F516A}"/>
              </a:ext>
            </a:extLst>
          </p:cNvPr>
          <p:cNvSpPr>
            <a:spLocks noGrp="1"/>
          </p:cNvSpPr>
          <p:nvPr>
            <p:ph type="title"/>
          </p:nvPr>
        </p:nvSpPr>
        <p:spPr>
          <a:xfrm>
            <a:off x="121118" y="201022"/>
            <a:ext cx="4681858" cy="917575"/>
          </a:xfrm>
        </p:spPr>
        <p:txBody>
          <a:bodyPr/>
          <a:lstStyle/>
          <a:p>
            <a:r>
              <a:rPr lang="en-US" sz="4400" kern="0" spc="0" dirty="0">
                <a:ln>
                  <a:noFill/>
                </a:ln>
                <a:solidFill>
                  <a:schemeClr val="tx1"/>
                </a:solidFill>
                <a:cs typeface="Segoe UI Light" panose="020B0502040204020203" pitchFamily="34" charset="0"/>
              </a:rPr>
              <a:t>Azure DevOps</a:t>
            </a:r>
            <a:br>
              <a:rPr lang="en-US" sz="4400" kern="0" spc="0" dirty="0">
                <a:ln>
                  <a:noFill/>
                </a:ln>
                <a:solidFill>
                  <a:schemeClr val="tx1"/>
                </a:solidFill>
                <a:cs typeface="Segoe UI Light" panose="020B0502040204020203" pitchFamily="34" charset="0"/>
              </a:rPr>
            </a:br>
            <a:r>
              <a:rPr lang="en-US" sz="4400" kern="0" spc="-100" dirty="0">
                <a:ln>
                  <a:noFill/>
                </a:ln>
                <a:solidFill>
                  <a:schemeClr val="tx1"/>
                </a:solidFill>
                <a:cs typeface="Segoe UI Light" panose="020B0502040204020203" pitchFamily="34" charset="0"/>
              </a:rPr>
              <a:t> </a:t>
            </a:r>
            <a:r>
              <a:rPr lang="en-US" sz="4400" kern="0" spc="-100" dirty="0">
                <a:ln>
                  <a:noFill/>
                </a:ln>
                <a:solidFill>
                  <a:schemeClr val="tx1"/>
                </a:solidFill>
                <a:latin typeface="Segoe UI" panose="020B0502040204020203" pitchFamily="34" charset="0"/>
                <a:sym typeface="Webdings" panose="05030102010509060703" pitchFamily="18" charset="2"/>
              </a:rPr>
              <a:t>♥</a:t>
            </a:r>
            <a:r>
              <a:rPr lang="en-US" sz="4400" kern="0" spc="-100" dirty="0">
                <a:ln>
                  <a:noFill/>
                </a:ln>
                <a:solidFill>
                  <a:schemeClr val="tx1"/>
                </a:solidFill>
                <a:cs typeface="Segoe UI Light" panose="020B0502040204020203" pitchFamily="34" charset="0"/>
                <a:sym typeface="Webdings" panose="05030102010509060703" pitchFamily="18" charset="2"/>
              </a:rPr>
              <a:t> </a:t>
            </a:r>
            <a:r>
              <a:rPr lang="en-US" sz="4400" kern="0" spc="0" dirty="0">
                <a:ln>
                  <a:noFill/>
                </a:ln>
                <a:solidFill>
                  <a:schemeClr val="tx1"/>
                </a:solidFill>
                <a:cs typeface="Segoe UI Light" panose="020B0502040204020203" pitchFamily="34" charset="0"/>
              </a:rPr>
              <a:t>integration</a:t>
            </a:r>
            <a:endParaRPr lang="en-US" sz="4400" dirty="0">
              <a:solidFill>
                <a:schemeClr val="tx1"/>
              </a:solidFill>
            </a:endParaRPr>
          </a:p>
        </p:txBody>
      </p:sp>
      <p:pic>
        <p:nvPicPr>
          <p:cNvPr id="129" name="Picture 128">
            <a:extLst>
              <a:ext uri="{FF2B5EF4-FFF2-40B4-BE49-F238E27FC236}">
                <a16:creationId xmlns:a16="http://schemas.microsoft.com/office/drawing/2014/main" id="{BE508D41-74B6-4381-8CD7-8A15DFE150AA}"/>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27" name="Picture 126">
            <a:extLst>
              <a:ext uri="{FF2B5EF4-FFF2-40B4-BE49-F238E27FC236}">
                <a16:creationId xmlns:a16="http://schemas.microsoft.com/office/drawing/2014/main" id="{6DC9AF68-D42F-4CDD-9EC6-933E602B1B21}"/>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51" name="Group 50">
            <a:extLst>
              <a:ext uri="{FF2B5EF4-FFF2-40B4-BE49-F238E27FC236}">
                <a16:creationId xmlns:a16="http://schemas.microsoft.com/office/drawing/2014/main" id="{101AABB2-FE0B-43B2-97F9-1A6FF722FECB}"/>
              </a:ext>
            </a:extLst>
          </p:cNvPr>
          <p:cNvGrpSpPr/>
          <p:nvPr/>
        </p:nvGrpSpPr>
        <p:grpSpPr>
          <a:xfrm>
            <a:off x="5148197" y="2034540"/>
            <a:ext cx="1580859" cy="1583029"/>
            <a:chOff x="5148197" y="2034540"/>
            <a:chExt cx="1580859" cy="1583029"/>
          </a:xfrm>
        </p:grpSpPr>
        <p:grpSp>
          <p:nvGrpSpPr>
            <p:cNvPr id="7" name="Group 6">
              <a:extLst>
                <a:ext uri="{FF2B5EF4-FFF2-40B4-BE49-F238E27FC236}">
                  <a16:creationId xmlns:a16="http://schemas.microsoft.com/office/drawing/2014/main" id="{92BAE0A2-1A18-45C0-BCC3-8C218E25C158}"/>
                </a:ext>
              </a:extLst>
            </p:cNvPr>
            <p:cNvGrpSpPr/>
            <p:nvPr/>
          </p:nvGrpSpPr>
          <p:grpSpPr>
            <a:xfrm>
              <a:off x="5148197" y="2034540"/>
              <a:ext cx="1580859" cy="1583029"/>
              <a:chOff x="8015890" y="2477276"/>
              <a:chExt cx="1580859" cy="1583029"/>
            </a:xfrm>
          </p:grpSpPr>
          <p:sp>
            <p:nvSpPr>
              <p:cNvPr id="8" name="Oval 7">
                <a:extLst>
                  <a:ext uri="{FF2B5EF4-FFF2-40B4-BE49-F238E27FC236}">
                    <a16:creationId xmlns:a16="http://schemas.microsoft.com/office/drawing/2014/main" id="{E5A5A4CF-2F13-425F-86DB-40C6953CBB8B}"/>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latin typeface="Segoe UI"/>
                    <a:ea typeface="Segoe UI" pitchFamily="34" charset="0"/>
                    <a:cs typeface="Segoe UI" pitchFamily="34" charset="0"/>
                  </a:rPr>
                  <a:t>DevOps</a:t>
                </a:r>
              </a:p>
            </p:txBody>
          </p:sp>
          <p:pic>
            <p:nvPicPr>
              <p:cNvPr id="9" name="Picture 8">
                <a:extLst>
                  <a:ext uri="{FF2B5EF4-FFF2-40B4-BE49-F238E27FC236}">
                    <a16:creationId xmlns:a16="http://schemas.microsoft.com/office/drawing/2014/main" id="{5778C30A-21A3-4F70-8114-06D815E503F9}"/>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23" name="Oval 122">
              <a:extLst>
                <a:ext uri="{FF2B5EF4-FFF2-40B4-BE49-F238E27FC236}">
                  <a16:creationId xmlns:a16="http://schemas.microsoft.com/office/drawing/2014/main" id="{354800A7-FD41-499E-AA25-976467EEA6EB}"/>
                </a:ext>
              </a:extLst>
            </p:cNvPr>
            <p:cNvSpPr/>
            <p:nvPr/>
          </p:nvSpPr>
          <p:spPr bwMode="auto">
            <a:xfrm>
              <a:off x="5519033" y="2406461"/>
              <a:ext cx="839187" cy="839187"/>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50" normalizeH="0" baseline="0" noProof="0">
                  <a:ln>
                    <a:noFill/>
                  </a:ln>
                  <a:solidFill>
                    <a:srgbClr val="E6E6E6">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rPr>
                <a:t>DevOps</a:t>
              </a:r>
            </a:p>
          </p:txBody>
        </p:sp>
      </p:grpSp>
      <p:pic>
        <p:nvPicPr>
          <p:cNvPr id="12" name="Picture 11" descr="A close up of a sign&#10;&#10;Description generated with high confidence">
            <a:extLst>
              <a:ext uri="{FF2B5EF4-FFF2-40B4-BE49-F238E27FC236}">
                <a16:creationId xmlns:a16="http://schemas.microsoft.com/office/drawing/2014/main" id="{B9905F52-10E3-4B55-9CF3-83A957B68B80}"/>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3" name="Picture 12">
            <a:extLst>
              <a:ext uri="{FF2B5EF4-FFF2-40B4-BE49-F238E27FC236}">
                <a16:creationId xmlns:a16="http://schemas.microsoft.com/office/drawing/2014/main" id="{106A7DBA-50A7-412D-84A3-09A5AC0C8693}"/>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1" name="Picture 10">
            <a:extLst>
              <a:ext uri="{FF2B5EF4-FFF2-40B4-BE49-F238E27FC236}">
                <a16:creationId xmlns:a16="http://schemas.microsoft.com/office/drawing/2014/main" id="{894083B0-FCF3-4936-B342-05486999F3E9}"/>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F31A7CC3-FAEA-43D4-9FF1-4105B46A52DE}"/>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4802976" y="3826963"/>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8F61563D-8E2B-4D1E-AB7D-3859F5D36F81}"/>
              </a:ext>
            </a:extLst>
          </p:cNvPr>
          <p:cNvPicPr>
            <a:picLocks noChangeAspect="1"/>
          </p:cNvPicPr>
          <p:nvPr/>
        </p:nvPicPr>
        <p:blipFill>
          <a:blip r:embed="rId13"/>
          <a:stretch>
            <a:fillRect/>
          </a:stretch>
        </p:blipFill>
        <p:spPr>
          <a:xfrm>
            <a:off x="3856037" y="3923885"/>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9605F6AD-C235-472E-943E-A4E5A7946140}"/>
              </a:ext>
            </a:extLst>
          </p:cNvPr>
          <p:cNvPicPr>
            <a:picLocks noChangeAspect="1"/>
          </p:cNvPicPr>
          <p:nvPr/>
        </p:nvPicPr>
        <p:blipFill>
          <a:blip r:embed="rId14"/>
          <a:stretch>
            <a:fillRect/>
          </a:stretch>
        </p:blipFill>
        <p:spPr>
          <a:xfrm>
            <a:off x="2407874" y="3877704"/>
            <a:ext cx="533763" cy="533763"/>
          </a:xfrm>
          <a:prstGeom prst="rect">
            <a:avLst/>
          </a:prstGeom>
        </p:spPr>
      </p:pic>
      <p:pic>
        <p:nvPicPr>
          <p:cNvPr id="23" name="Picture 22">
            <a:extLst>
              <a:ext uri="{FF2B5EF4-FFF2-40B4-BE49-F238E27FC236}">
                <a16:creationId xmlns:a16="http://schemas.microsoft.com/office/drawing/2014/main" id="{83B8CEF3-0086-4383-9641-F6DE7BDDA818}"/>
              </a:ext>
            </a:extLst>
          </p:cNvPr>
          <p:cNvPicPr>
            <a:picLocks noChangeAspect="1"/>
          </p:cNvPicPr>
          <p:nvPr/>
        </p:nvPicPr>
        <p:blipFill>
          <a:blip r:embed="rId10"/>
          <a:stretch>
            <a:fillRect/>
          </a:stretch>
        </p:blipFill>
        <p:spPr>
          <a:xfrm>
            <a:off x="1216152" y="4002927"/>
            <a:ext cx="1093689" cy="256333"/>
          </a:xfrm>
          <a:prstGeom prst="rect">
            <a:avLst/>
          </a:prstGeom>
        </p:spPr>
      </p:pic>
      <p:pic>
        <p:nvPicPr>
          <p:cNvPr id="24" name="Picture 23">
            <a:extLst>
              <a:ext uri="{FF2B5EF4-FFF2-40B4-BE49-F238E27FC236}">
                <a16:creationId xmlns:a16="http://schemas.microsoft.com/office/drawing/2014/main" id="{BEAEA065-8305-4E02-AECD-44B133AFC1AD}"/>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3067810" y="3906115"/>
            <a:ext cx="712027" cy="480619"/>
          </a:xfrm>
          <a:prstGeom prst="rect">
            <a:avLst/>
          </a:prstGeom>
        </p:spPr>
      </p:pic>
      <p:pic>
        <p:nvPicPr>
          <p:cNvPr id="25" name="Picture 24">
            <a:extLst>
              <a:ext uri="{FF2B5EF4-FFF2-40B4-BE49-F238E27FC236}">
                <a16:creationId xmlns:a16="http://schemas.microsoft.com/office/drawing/2014/main" id="{088474A8-0D8C-4C58-9BD4-561D7521AEFB}"/>
              </a:ext>
            </a:extLst>
          </p:cNvPr>
          <p:cNvPicPr>
            <a:picLocks noChangeAspect="1"/>
          </p:cNvPicPr>
          <p:nvPr/>
        </p:nvPicPr>
        <p:blipFill>
          <a:blip r:embed="rId16"/>
          <a:stretch>
            <a:fillRect/>
          </a:stretch>
        </p:blipFill>
        <p:spPr>
          <a:xfrm>
            <a:off x="14668" y="3888220"/>
            <a:ext cx="1174369" cy="48574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DDDECFDE-3DFB-4947-9FBD-E602B3FEC00E}"/>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7652702" y="3843196"/>
            <a:ext cx="851535" cy="670573"/>
          </a:xfrm>
          <a:prstGeom prst="rect">
            <a:avLst/>
          </a:prstGeom>
        </p:spPr>
      </p:pic>
      <p:pic>
        <p:nvPicPr>
          <p:cNvPr id="27" name="Picture 26">
            <a:extLst>
              <a:ext uri="{FF2B5EF4-FFF2-40B4-BE49-F238E27FC236}">
                <a16:creationId xmlns:a16="http://schemas.microsoft.com/office/drawing/2014/main" id="{7EB204B5-AFB4-40E8-B975-78B01BDB5358}"/>
              </a:ext>
            </a:extLst>
          </p:cNvPr>
          <p:cNvPicPr>
            <a:picLocks noChangeAspect="1"/>
          </p:cNvPicPr>
          <p:nvPr/>
        </p:nvPicPr>
        <p:blipFill>
          <a:blip r:embed="rId18"/>
          <a:stretch>
            <a:fillRect/>
          </a:stretch>
        </p:blipFill>
        <p:spPr>
          <a:xfrm>
            <a:off x="4248765" y="4909955"/>
            <a:ext cx="1436072" cy="477494"/>
          </a:xfrm>
          <a:prstGeom prst="rect">
            <a:avLst/>
          </a:prstGeom>
        </p:spPr>
      </p:pic>
      <p:pic>
        <p:nvPicPr>
          <p:cNvPr id="28" name="Picture 27">
            <a:extLst>
              <a:ext uri="{FF2B5EF4-FFF2-40B4-BE49-F238E27FC236}">
                <a16:creationId xmlns:a16="http://schemas.microsoft.com/office/drawing/2014/main" id="{50D707D4-A644-4EE8-BD17-A43EDE1D9C60}"/>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2878881" y="4909955"/>
            <a:ext cx="1341758"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37EFDE2-3A26-4A66-9CBD-86E78BB10B1C}"/>
              </a:ext>
            </a:extLst>
          </p:cNvPr>
          <p:cNvPicPr>
            <a:picLocks noChangeAspect="1"/>
          </p:cNvPicPr>
          <p:nvPr/>
        </p:nvPicPr>
        <p:blipFill>
          <a:blip r:embed="rId20"/>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FB9A93E4-345F-4A8C-A678-D72BD44A6B79}"/>
              </a:ext>
            </a:extLst>
          </p:cNvPr>
          <p:cNvPicPr>
            <a:picLocks noChangeAspect="1"/>
          </p:cNvPicPr>
          <p:nvPr/>
        </p:nvPicPr>
        <p:blipFill rotWithShape="1">
          <a:blip r:embed="rId21"/>
          <a:srcRect l="28897" t="9516" b="15012"/>
          <a:stretch/>
        </p:blipFill>
        <p:spPr>
          <a:xfrm>
            <a:off x="9109597" y="5285183"/>
            <a:ext cx="994840" cy="621158"/>
          </a:xfrm>
          <a:prstGeom prst="rect">
            <a:avLst/>
          </a:prstGeom>
        </p:spPr>
      </p:pic>
      <p:pic>
        <p:nvPicPr>
          <p:cNvPr id="32" name="Picture 31">
            <a:extLst>
              <a:ext uri="{FF2B5EF4-FFF2-40B4-BE49-F238E27FC236}">
                <a16:creationId xmlns:a16="http://schemas.microsoft.com/office/drawing/2014/main" id="{E584C72A-58F4-4608-B50C-C3A5F28CF3F2}"/>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16" name="Picture 15">
            <a:extLst>
              <a:ext uri="{FF2B5EF4-FFF2-40B4-BE49-F238E27FC236}">
                <a16:creationId xmlns:a16="http://schemas.microsoft.com/office/drawing/2014/main" id="{0B10D014-54BC-47A1-8F6A-9C4A4127A8D6}"/>
              </a:ext>
            </a:extLst>
          </p:cNvPr>
          <p:cNvPicPr>
            <a:picLocks noChangeAspect="1"/>
          </p:cNvPicPr>
          <p:nvPr/>
        </p:nvPicPr>
        <p:blipFill>
          <a:blip r:embed="rId23"/>
          <a:stretch>
            <a:fillRect/>
          </a:stretch>
        </p:blipFill>
        <p:spPr>
          <a:xfrm>
            <a:off x="10150049" y="5304678"/>
            <a:ext cx="1249788" cy="554784"/>
          </a:xfrm>
          <a:prstGeom prst="rect">
            <a:avLst/>
          </a:prstGeom>
        </p:spPr>
      </p:pic>
      <p:pic>
        <p:nvPicPr>
          <p:cNvPr id="39" name="Picture 38" descr="A close up of a sign&#10;&#10;Description generated with high confidence">
            <a:extLst>
              <a:ext uri="{FF2B5EF4-FFF2-40B4-BE49-F238E27FC236}">
                <a16:creationId xmlns:a16="http://schemas.microsoft.com/office/drawing/2014/main" id="{E04D586E-A5D0-41F3-B96B-28787FD468A9}"/>
              </a:ext>
            </a:extLst>
          </p:cNvPr>
          <p:cNvPicPr>
            <a:picLocks noChangeAspect="1"/>
          </p:cNvPicPr>
          <p:nvPr/>
        </p:nvPicPr>
        <p:blipFill>
          <a:blip r:embed="rId24"/>
          <a:stretch>
            <a:fillRect/>
          </a:stretch>
        </p:blipFill>
        <p:spPr>
          <a:xfrm>
            <a:off x="8406683" y="3956977"/>
            <a:ext cx="1508443" cy="311745"/>
          </a:xfrm>
          <a:prstGeom prst="rect">
            <a:avLst/>
          </a:prstGeom>
        </p:spPr>
      </p:pic>
      <p:pic>
        <p:nvPicPr>
          <p:cNvPr id="40" name="Picture 39">
            <a:extLst>
              <a:ext uri="{FF2B5EF4-FFF2-40B4-BE49-F238E27FC236}">
                <a16:creationId xmlns:a16="http://schemas.microsoft.com/office/drawing/2014/main" id="{8221FBB1-C529-459F-AE90-E2725DB9CDA1}"/>
              </a:ext>
            </a:extLst>
          </p:cNvPr>
          <p:cNvPicPr>
            <a:picLocks noChangeAspect="1"/>
          </p:cNvPicPr>
          <p:nvPr/>
        </p:nvPicPr>
        <p:blipFill>
          <a:blip r:embed="rId25"/>
          <a:stretch>
            <a:fillRect/>
          </a:stretch>
        </p:blipFill>
        <p:spPr>
          <a:xfrm>
            <a:off x="3849524" y="5871101"/>
            <a:ext cx="1879523" cy="452080"/>
          </a:xfrm>
          <a:prstGeom prst="rect">
            <a:avLst/>
          </a:prstGeom>
        </p:spPr>
      </p:pic>
      <p:pic>
        <p:nvPicPr>
          <p:cNvPr id="41" name="Picture 40" descr="A picture containing clipart&#10;&#10;Description generated with very high confidence">
            <a:extLst>
              <a:ext uri="{FF2B5EF4-FFF2-40B4-BE49-F238E27FC236}">
                <a16:creationId xmlns:a16="http://schemas.microsoft.com/office/drawing/2014/main" id="{B08AC02A-DDE6-49D3-9AF6-04C800A7A0C4}"/>
              </a:ext>
            </a:extLst>
          </p:cNvPr>
          <p:cNvPicPr>
            <a:picLocks noChangeAspect="1"/>
          </p:cNvPicPr>
          <p:nvPr/>
        </p:nvPicPr>
        <p:blipFill>
          <a:blip r:embed="rId26">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42" name="Picture 41">
            <a:extLst>
              <a:ext uri="{FF2B5EF4-FFF2-40B4-BE49-F238E27FC236}">
                <a16:creationId xmlns:a16="http://schemas.microsoft.com/office/drawing/2014/main" id="{8A323F6D-C366-4262-A49F-E3D8677E9C02}"/>
              </a:ext>
            </a:extLst>
          </p:cNvPr>
          <p:cNvPicPr>
            <a:picLocks noChangeAspect="1"/>
          </p:cNvPicPr>
          <p:nvPr/>
        </p:nvPicPr>
        <p:blipFill rotWithShape="1">
          <a:blip r:embed="rId27">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44" name="Picture 43" descr="A picture containing object, clock&#10;&#10;Description generated with high confidence">
            <a:extLst>
              <a:ext uri="{FF2B5EF4-FFF2-40B4-BE49-F238E27FC236}">
                <a16:creationId xmlns:a16="http://schemas.microsoft.com/office/drawing/2014/main" id="{93CE1180-F3E2-438C-817C-7207A0A4850D}"/>
              </a:ext>
            </a:extLst>
          </p:cNvPr>
          <p:cNvPicPr>
            <a:picLocks noChangeAspect="1"/>
          </p:cNvPicPr>
          <p:nvPr/>
        </p:nvPicPr>
        <p:blipFill>
          <a:blip r:embed="rId28"/>
          <a:stretch>
            <a:fillRect/>
          </a:stretch>
        </p:blipFill>
        <p:spPr>
          <a:xfrm>
            <a:off x="9032874" y="2288539"/>
            <a:ext cx="1071563" cy="294323"/>
          </a:xfrm>
          <a:prstGeom prst="rect">
            <a:avLst/>
          </a:prstGeom>
        </p:spPr>
      </p:pic>
      <p:pic>
        <p:nvPicPr>
          <p:cNvPr id="45" name="Picture 44">
            <a:extLst>
              <a:ext uri="{FF2B5EF4-FFF2-40B4-BE49-F238E27FC236}">
                <a16:creationId xmlns:a16="http://schemas.microsoft.com/office/drawing/2014/main" id="{A31B1BAC-BC36-413E-A7A5-F7AC361314BC}"/>
              </a:ext>
            </a:extLst>
          </p:cNvPr>
          <p:cNvPicPr>
            <a:picLocks noChangeAspect="1"/>
          </p:cNvPicPr>
          <p:nvPr/>
        </p:nvPicPr>
        <p:blipFill>
          <a:blip r:embed="rId29"/>
          <a:stretch>
            <a:fillRect/>
          </a:stretch>
        </p:blipFill>
        <p:spPr>
          <a:xfrm>
            <a:off x="10241280" y="3040062"/>
            <a:ext cx="609600" cy="609600"/>
          </a:xfrm>
          <a:prstGeom prst="rect">
            <a:avLst/>
          </a:prstGeom>
        </p:spPr>
      </p:pic>
      <p:pic>
        <p:nvPicPr>
          <p:cNvPr id="46" name="Picture 45">
            <a:extLst>
              <a:ext uri="{FF2B5EF4-FFF2-40B4-BE49-F238E27FC236}">
                <a16:creationId xmlns:a16="http://schemas.microsoft.com/office/drawing/2014/main" id="{730D8EA8-3F54-461F-9890-2FA376A89272}"/>
              </a:ext>
            </a:extLst>
          </p:cNvPr>
          <p:cNvPicPr>
            <a:picLocks noChangeAspect="1"/>
          </p:cNvPicPr>
          <p:nvPr/>
        </p:nvPicPr>
        <p:blipFill rotWithShape="1">
          <a:blip r:embed="rId22">
            <a:clrChange>
              <a:clrFrom>
                <a:srgbClr val="FFFFFF"/>
              </a:clrFrom>
              <a:clrTo>
                <a:srgbClr val="FFFFFF">
                  <a:alpha val="0"/>
                </a:srgbClr>
              </a:clrTo>
            </a:clrChange>
          </a:blip>
          <a:srcRect l="12821" t="7694" r="13781" b="16241"/>
          <a:stretch/>
        </p:blipFill>
        <p:spPr>
          <a:xfrm>
            <a:off x="10923483" y="3060724"/>
            <a:ext cx="1458076" cy="463402"/>
          </a:xfrm>
          <a:prstGeom prst="rect">
            <a:avLst/>
          </a:prstGeom>
        </p:spPr>
      </p:pic>
      <p:pic>
        <p:nvPicPr>
          <p:cNvPr id="47" name="Picture 46" descr="A close up of a sign&#10;&#10;Description generated with very high confidence">
            <a:extLst>
              <a:ext uri="{FF2B5EF4-FFF2-40B4-BE49-F238E27FC236}">
                <a16:creationId xmlns:a16="http://schemas.microsoft.com/office/drawing/2014/main" id="{5B4EDFC7-A690-4F3C-8AA1-4D6F2A598382}"/>
              </a:ext>
            </a:extLst>
          </p:cNvPr>
          <p:cNvPicPr>
            <a:picLocks noChangeAspect="1"/>
          </p:cNvPicPr>
          <p:nvPr/>
        </p:nvPicPr>
        <p:blipFill>
          <a:blip r:embed="rId20"/>
          <a:stretch>
            <a:fillRect/>
          </a:stretch>
        </p:blipFill>
        <p:spPr>
          <a:xfrm>
            <a:off x="10954512" y="3540124"/>
            <a:ext cx="1313688" cy="441960"/>
          </a:xfrm>
          <a:prstGeom prst="rect">
            <a:avLst/>
          </a:prstGeom>
        </p:spPr>
      </p:pic>
      <p:pic>
        <p:nvPicPr>
          <p:cNvPr id="48" name="Picture 47">
            <a:extLst>
              <a:ext uri="{FF2B5EF4-FFF2-40B4-BE49-F238E27FC236}">
                <a16:creationId xmlns:a16="http://schemas.microsoft.com/office/drawing/2014/main" id="{D426E44E-7186-4EC7-9947-9E1242900B0B}"/>
              </a:ext>
            </a:extLst>
          </p:cNvPr>
          <p:cNvPicPr>
            <a:picLocks noChangeAspect="1"/>
          </p:cNvPicPr>
          <p:nvPr/>
        </p:nvPicPr>
        <p:blipFill rotWithShape="1">
          <a:blip r:embed="rId21"/>
          <a:srcRect l="28897" t="9516" b="15012"/>
          <a:stretch/>
        </p:blipFill>
        <p:spPr>
          <a:xfrm>
            <a:off x="10942637" y="1439862"/>
            <a:ext cx="906410" cy="565944"/>
          </a:xfrm>
          <a:prstGeom prst="rect">
            <a:avLst/>
          </a:prstGeom>
        </p:spPr>
      </p:pic>
      <p:pic>
        <p:nvPicPr>
          <p:cNvPr id="4" name="Graphic 3">
            <a:extLst>
              <a:ext uri="{FF2B5EF4-FFF2-40B4-BE49-F238E27FC236}">
                <a16:creationId xmlns:a16="http://schemas.microsoft.com/office/drawing/2014/main" id="{53073A8F-FDD1-4BD3-A3C2-E491BA2FA309}"/>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405460" y="339840"/>
            <a:ext cx="648343" cy="525529"/>
          </a:xfrm>
          <a:prstGeom prst="rect">
            <a:avLst/>
          </a:prstGeom>
        </p:spPr>
      </p:pic>
      <p:pic>
        <p:nvPicPr>
          <p:cNvPr id="6" name="Graphic 5">
            <a:extLst>
              <a:ext uri="{FF2B5EF4-FFF2-40B4-BE49-F238E27FC236}">
                <a16:creationId xmlns:a16="http://schemas.microsoft.com/office/drawing/2014/main" id="{C71F4613-5AF4-48DC-93CD-C3D6108194CD}"/>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0163663" y="3612567"/>
            <a:ext cx="739033" cy="739033"/>
          </a:xfrm>
          <a:prstGeom prst="rect">
            <a:avLst/>
          </a:prstGeom>
        </p:spPr>
      </p:pic>
      <p:pic>
        <p:nvPicPr>
          <p:cNvPr id="49" name="Picture 48">
            <a:extLst>
              <a:ext uri="{FF2B5EF4-FFF2-40B4-BE49-F238E27FC236}">
                <a16:creationId xmlns:a16="http://schemas.microsoft.com/office/drawing/2014/main" id="{827E85F5-94D5-4AD5-922F-3AB656CF8404}"/>
              </a:ext>
            </a:extLst>
          </p:cNvPr>
          <p:cNvPicPr>
            <a:picLocks noChangeAspect="1"/>
          </p:cNvPicPr>
          <p:nvPr/>
        </p:nvPicPr>
        <p:blipFill>
          <a:blip r:embed="rId23"/>
          <a:stretch>
            <a:fillRect/>
          </a:stretch>
        </p:blipFill>
        <p:spPr>
          <a:xfrm>
            <a:off x="10985856" y="2069770"/>
            <a:ext cx="1024826" cy="454923"/>
          </a:xfrm>
          <a:prstGeom prst="rect">
            <a:avLst/>
          </a:prstGeom>
        </p:spPr>
      </p:pic>
      <p:pic>
        <p:nvPicPr>
          <p:cNvPr id="18" name="Picture 17">
            <a:extLst>
              <a:ext uri="{FF2B5EF4-FFF2-40B4-BE49-F238E27FC236}">
                <a16:creationId xmlns:a16="http://schemas.microsoft.com/office/drawing/2014/main" id="{9987817D-2D8A-409E-9C74-597228D74A20}"/>
              </a:ext>
            </a:extLst>
          </p:cNvPr>
          <p:cNvPicPr>
            <a:picLocks noChangeAspect="1"/>
          </p:cNvPicPr>
          <p:nvPr/>
        </p:nvPicPr>
        <p:blipFill>
          <a:blip r:embed="rId34"/>
          <a:stretch>
            <a:fillRect/>
          </a:stretch>
        </p:blipFill>
        <p:spPr>
          <a:xfrm>
            <a:off x="7973568" y="3035808"/>
            <a:ext cx="1032672" cy="362988"/>
          </a:xfrm>
          <a:prstGeom prst="rect">
            <a:avLst/>
          </a:prstGeom>
        </p:spPr>
      </p:pic>
      <p:pic>
        <p:nvPicPr>
          <p:cNvPr id="1026" name="Picture 2" descr="https://dt-cdn.net/wp-content/uploads/2016/12/dynatrace_logo.png">
            <a:extLst>
              <a:ext uri="{FF2B5EF4-FFF2-40B4-BE49-F238E27FC236}">
                <a16:creationId xmlns:a16="http://schemas.microsoft.com/office/drawing/2014/main" id="{1B622895-46E9-4DD2-8400-749CD21B5034}"/>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421750" y="665745"/>
            <a:ext cx="677862" cy="677862"/>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Connector 51">
            <a:extLst>
              <a:ext uri="{FF2B5EF4-FFF2-40B4-BE49-F238E27FC236}">
                <a16:creationId xmlns:a16="http://schemas.microsoft.com/office/drawing/2014/main" id="{E4213B6C-2F50-4BBB-B69C-2B3C01577AD0}"/>
              </a:ext>
            </a:extLst>
          </p:cNvPr>
          <p:cNvCxnSpPr>
            <a:cxnSpLocks/>
          </p:cNvCxnSpPr>
          <p:nvPr/>
        </p:nvCxnSpPr>
        <p:spPr>
          <a:xfrm flipV="1">
            <a:off x="3044952" y="3794760"/>
            <a:ext cx="0" cy="694092"/>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53B561D8-3B41-4E61-B199-3DA768ACB919}"/>
              </a:ext>
            </a:extLst>
          </p:cNvPr>
          <p:cNvPicPr>
            <a:picLocks noChangeAspect="1"/>
          </p:cNvPicPr>
          <p:nvPr/>
        </p:nvPicPr>
        <p:blipFill rotWithShape="1">
          <a:blip r:embed="rId36">
            <a:clrChange>
              <a:clrFrom>
                <a:srgbClr val="FFFFFF"/>
              </a:clrFrom>
              <a:clrTo>
                <a:srgbClr val="FFFFFF">
                  <a:alpha val="0"/>
                </a:srgbClr>
              </a:clrTo>
            </a:clrChange>
          </a:blip>
          <a:srcRect t="29072" b="29279"/>
          <a:stretch/>
        </p:blipFill>
        <p:spPr>
          <a:xfrm>
            <a:off x="8269035" y="367006"/>
            <a:ext cx="1057275" cy="298323"/>
          </a:xfrm>
          <a:prstGeom prst="rect">
            <a:avLst/>
          </a:prstGeom>
        </p:spPr>
      </p:pic>
      <p:pic>
        <p:nvPicPr>
          <p:cNvPr id="59" name="Picture 58">
            <a:extLst>
              <a:ext uri="{FF2B5EF4-FFF2-40B4-BE49-F238E27FC236}">
                <a16:creationId xmlns:a16="http://schemas.microsoft.com/office/drawing/2014/main" id="{0A4539B1-6BBE-4AE1-AF86-4675E69A47AC}"/>
              </a:ext>
            </a:extLst>
          </p:cNvPr>
          <p:cNvPicPr>
            <a:picLocks noChangeAspect="1"/>
          </p:cNvPicPr>
          <p:nvPr/>
        </p:nvPicPr>
        <p:blipFill rotWithShape="1">
          <a:blip r:embed="rId37">
            <a:clrChange>
              <a:clrFrom>
                <a:srgbClr val="FFFFFF"/>
              </a:clrFrom>
              <a:clrTo>
                <a:srgbClr val="FFFFFF">
                  <a:alpha val="0"/>
                </a:srgbClr>
              </a:clrTo>
            </a:clrChange>
          </a:blip>
          <a:srcRect t="32118" b="33546"/>
          <a:stretch/>
        </p:blipFill>
        <p:spPr>
          <a:xfrm>
            <a:off x="7256588" y="980388"/>
            <a:ext cx="1096273" cy="282312"/>
          </a:xfrm>
          <a:prstGeom prst="rect">
            <a:avLst/>
          </a:prstGeom>
        </p:spPr>
      </p:pic>
      <p:pic>
        <p:nvPicPr>
          <p:cNvPr id="60" name="Picture 59">
            <a:extLst>
              <a:ext uri="{FF2B5EF4-FFF2-40B4-BE49-F238E27FC236}">
                <a16:creationId xmlns:a16="http://schemas.microsoft.com/office/drawing/2014/main" id="{8F412E3B-CAC6-4FAE-B6D8-E6083A43C3CA}"/>
              </a:ext>
            </a:extLst>
          </p:cNvPr>
          <p:cNvPicPr>
            <a:picLocks noChangeAspect="1"/>
          </p:cNvPicPr>
          <p:nvPr/>
        </p:nvPicPr>
        <p:blipFill rotWithShape="1">
          <a:blip r:embed="rId38">
            <a:clrChange>
              <a:clrFrom>
                <a:srgbClr val="FFFFFF"/>
              </a:clrFrom>
              <a:clrTo>
                <a:srgbClr val="FFFFFF">
                  <a:alpha val="0"/>
                </a:srgbClr>
              </a:clrTo>
            </a:clrChange>
          </a:blip>
          <a:srcRect t="32609" b="32682"/>
          <a:stretch/>
        </p:blipFill>
        <p:spPr>
          <a:xfrm>
            <a:off x="6242361" y="812210"/>
            <a:ext cx="1014228" cy="352028"/>
          </a:xfrm>
          <a:prstGeom prst="rect">
            <a:avLst/>
          </a:prstGeom>
        </p:spPr>
      </p:pic>
      <p:grpSp>
        <p:nvGrpSpPr>
          <p:cNvPr id="68" name="Group 67">
            <a:extLst>
              <a:ext uri="{FF2B5EF4-FFF2-40B4-BE49-F238E27FC236}">
                <a16:creationId xmlns:a16="http://schemas.microsoft.com/office/drawing/2014/main" id="{0E336914-4591-43A5-85B8-D308D6778FFE}"/>
              </a:ext>
            </a:extLst>
          </p:cNvPr>
          <p:cNvGrpSpPr/>
          <p:nvPr/>
        </p:nvGrpSpPr>
        <p:grpSpPr>
          <a:xfrm>
            <a:off x="5138927" y="2039111"/>
            <a:ext cx="1609344" cy="1609344"/>
            <a:chOff x="5138927" y="2039111"/>
            <a:chExt cx="1609344" cy="1609344"/>
          </a:xfrm>
        </p:grpSpPr>
        <p:sp>
          <p:nvSpPr>
            <p:cNvPr id="69" name="Flowchart: Connector 68">
              <a:extLst>
                <a:ext uri="{FF2B5EF4-FFF2-40B4-BE49-F238E27FC236}">
                  <a16:creationId xmlns:a16="http://schemas.microsoft.com/office/drawing/2014/main" id="{DE0391D7-A17E-4953-B344-E5EA46A054EC}"/>
                </a:ext>
              </a:extLst>
            </p:cNvPr>
            <p:cNvSpPr/>
            <p:nvPr/>
          </p:nvSpPr>
          <p:spPr bwMode="auto">
            <a:xfrm>
              <a:off x="5138927" y="2039111"/>
              <a:ext cx="1609344" cy="1609344"/>
            </a:xfrm>
            <a:prstGeom prst="flowChartConnecto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70" name="Picture 69" descr="Visual Studio Team Services">
              <a:extLst>
                <a:ext uri="{FF2B5EF4-FFF2-40B4-BE49-F238E27FC236}">
                  <a16:creationId xmlns:a16="http://schemas.microsoft.com/office/drawing/2014/main" id="{E6F3FD3A-FF10-4DA0-A0BE-778C14AEBA1D}"/>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5394960" y="2356164"/>
              <a:ext cx="975238" cy="975238"/>
            </a:xfrm>
            <a:prstGeom prst="rect">
              <a:avLst/>
            </a:prstGeom>
          </p:spPr>
        </p:pic>
      </p:grpSp>
    </p:spTree>
    <p:extLst>
      <p:ext uri="{BB962C8B-B14F-4D97-AF65-F5344CB8AC3E}">
        <p14:creationId xmlns:p14="http://schemas.microsoft.com/office/powerpoint/2010/main" val="106785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50"/>
                                        <p:tgtEl>
                                          <p:spTgt spid="12"/>
                                        </p:tgtEl>
                                      </p:cBhvr>
                                    </p:animEffect>
                                  </p:childTnLst>
                                </p:cTn>
                              </p:par>
                            </p:childTnLst>
                          </p:cTn>
                        </p:par>
                        <p:par>
                          <p:cTn id="8" fill="hold">
                            <p:stCondLst>
                              <p:cond delay="15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150"/>
                                        <p:tgtEl>
                                          <p:spTgt spid="13"/>
                                        </p:tgtEl>
                                      </p:cBhvr>
                                    </p:animEffect>
                                  </p:childTnLst>
                                </p:cTn>
                              </p:par>
                            </p:childTnLst>
                          </p:cTn>
                        </p:par>
                        <p:par>
                          <p:cTn id="12" fill="hold">
                            <p:stCondLst>
                              <p:cond delay="3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150"/>
                                        <p:tgtEl>
                                          <p:spTgt spid="11"/>
                                        </p:tgtEl>
                                      </p:cBhvr>
                                    </p:animEffect>
                                  </p:childTnLst>
                                </p:cTn>
                              </p:par>
                            </p:childTnLst>
                          </p:cTn>
                        </p:par>
                        <p:par>
                          <p:cTn id="16" fill="hold">
                            <p:stCondLst>
                              <p:cond delay="45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50"/>
                                        <p:tgtEl>
                                          <p:spTgt spid="20"/>
                                        </p:tgtEl>
                                      </p:cBhvr>
                                    </p:animEffect>
                                  </p:childTnLst>
                                </p:cTn>
                              </p:par>
                            </p:childTnLst>
                          </p:cTn>
                        </p:par>
                        <p:par>
                          <p:cTn id="20" fill="hold">
                            <p:stCondLst>
                              <p:cond delay="6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150"/>
                                        <p:tgtEl>
                                          <p:spTgt spid="21"/>
                                        </p:tgtEl>
                                      </p:cBhvr>
                                    </p:animEffect>
                                  </p:childTnLst>
                                </p:cTn>
                              </p:par>
                            </p:childTnLst>
                          </p:cTn>
                        </p:par>
                        <p:par>
                          <p:cTn id="24" fill="hold">
                            <p:stCondLst>
                              <p:cond delay="75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150"/>
                                        <p:tgtEl>
                                          <p:spTgt spid="22"/>
                                        </p:tgtEl>
                                      </p:cBhvr>
                                    </p:animEffect>
                                  </p:childTnLst>
                                </p:cTn>
                              </p:par>
                            </p:childTnLst>
                          </p:cTn>
                        </p:par>
                        <p:par>
                          <p:cTn id="28" fill="hold">
                            <p:stCondLst>
                              <p:cond delay="900"/>
                            </p:stCondLst>
                            <p:childTnLst>
                              <p:par>
                                <p:cTn id="29" presetID="10" presetClass="entr" presetSubtype="0" fill="hold" nodeType="after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150"/>
                                        <p:tgtEl>
                                          <p:spTgt spid="23"/>
                                        </p:tgtEl>
                                      </p:cBhvr>
                                    </p:animEffect>
                                  </p:childTnLst>
                                </p:cTn>
                              </p:par>
                            </p:childTnLst>
                          </p:cTn>
                        </p:par>
                        <p:par>
                          <p:cTn id="32" fill="hold">
                            <p:stCondLst>
                              <p:cond delay="1050"/>
                            </p:stCondLst>
                            <p:childTnLst>
                              <p:par>
                                <p:cTn id="33" presetID="10" presetClass="entr" presetSubtype="0" fill="hold"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150"/>
                                        <p:tgtEl>
                                          <p:spTgt spid="24"/>
                                        </p:tgtEl>
                                      </p:cBhvr>
                                    </p:animEffect>
                                  </p:childTnLst>
                                </p:cTn>
                              </p:par>
                            </p:childTnLst>
                          </p:cTn>
                        </p:par>
                        <p:par>
                          <p:cTn id="36" fill="hold">
                            <p:stCondLst>
                              <p:cond delay="1200"/>
                            </p:stCondLst>
                            <p:childTnLst>
                              <p:par>
                                <p:cTn id="37" presetID="10" presetClass="entr" presetSubtype="0" fill="hold"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150"/>
                                        <p:tgtEl>
                                          <p:spTgt spid="25"/>
                                        </p:tgtEl>
                                      </p:cBhvr>
                                    </p:animEffect>
                                  </p:childTnLst>
                                </p:cTn>
                              </p:par>
                            </p:childTnLst>
                          </p:cTn>
                        </p:par>
                        <p:par>
                          <p:cTn id="40" fill="hold">
                            <p:stCondLst>
                              <p:cond delay="1350"/>
                            </p:stCondLst>
                            <p:childTnLst>
                              <p:par>
                                <p:cTn id="41" presetID="10" presetClass="entr" presetSubtype="0" fill="hold"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150"/>
                                        <p:tgtEl>
                                          <p:spTgt spid="2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150"/>
                                        <p:tgtEl>
                                          <p:spTgt spid="27"/>
                                        </p:tgtEl>
                                      </p:cBhvr>
                                    </p:animEffect>
                                  </p:childTnLst>
                                </p:cTn>
                              </p:par>
                            </p:childTnLst>
                          </p:cTn>
                        </p:par>
                        <p:par>
                          <p:cTn id="48" fill="hold">
                            <p:stCondLst>
                              <p:cond delay="1650"/>
                            </p:stCondLst>
                            <p:childTnLst>
                              <p:par>
                                <p:cTn id="49" presetID="10" presetClass="entr" presetSubtype="0" fill="hold"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150"/>
                                        <p:tgtEl>
                                          <p:spTgt spid="28"/>
                                        </p:tgtEl>
                                      </p:cBhvr>
                                    </p:animEffect>
                                  </p:childTnLst>
                                </p:cTn>
                              </p:par>
                            </p:childTnLst>
                          </p:cTn>
                        </p:par>
                        <p:par>
                          <p:cTn id="52" fill="hold">
                            <p:stCondLst>
                              <p:cond delay="1800"/>
                            </p:stCondLst>
                            <p:childTnLst>
                              <p:par>
                                <p:cTn id="53" presetID="10" presetClass="entr" presetSubtype="0" fill="hold"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150"/>
                                        <p:tgtEl>
                                          <p:spTgt spid="29"/>
                                        </p:tgtEl>
                                      </p:cBhvr>
                                    </p:animEffect>
                                  </p:childTnLst>
                                </p:cTn>
                              </p:par>
                            </p:childTnLst>
                          </p:cTn>
                        </p:par>
                        <p:par>
                          <p:cTn id="56" fill="hold">
                            <p:stCondLst>
                              <p:cond delay="195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150"/>
                                        <p:tgtEl>
                                          <p:spTgt spid="30"/>
                                        </p:tgtEl>
                                      </p:cBhvr>
                                    </p:animEffect>
                                  </p:childTnLst>
                                </p:cTn>
                              </p:par>
                            </p:childTnLst>
                          </p:cTn>
                        </p:par>
                        <p:par>
                          <p:cTn id="60" fill="hold">
                            <p:stCondLst>
                              <p:cond delay="2100"/>
                            </p:stCondLst>
                            <p:childTnLst>
                              <p:par>
                                <p:cTn id="61" presetID="10" presetClass="entr" presetSubtype="0" fill="hold"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150"/>
                                        <p:tgtEl>
                                          <p:spTgt spid="32"/>
                                        </p:tgtEl>
                                      </p:cBhvr>
                                    </p:animEffect>
                                  </p:childTnLst>
                                </p:cTn>
                              </p:par>
                            </p:childTnLst>
                          </p:cTn>
                        </p:par>
                        <p:par>
                          <p:cTn id="64" fill="hold">
                            <p:stCondLst>
                              <p:cond delay="2250"/>
                            </p:stCondLst>
                            <p:childTnLst>
                              <p:par>
                                <p:cTn id="65" presetID="10" presetClass="entr" presetSubtype="0" fill="hold" nodeType="after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150"/>
                                        <p:tgtEl>
                                          <p:spTgt spid="16"/>
                                        </p:tgtEl>
                                      </p:cBhvr>
                                    </p:animEffect>
                                  </p:childTnLst>
                                </p:cTn>
                              </p:par>
                            </p:childTnLst>
                          </p:cTn>
                        </p:par>
                        <p:par>
                          <p:cTn id="68" fill="hold">
                            <p:stCondLst>
                              <p:cond delay="2400"/>
                            </p:stCondLst>
                            <p:childTnLst>
                              <p:par>
                                <p:cTn id="69" presetID="10" presetClass="entr" presetSubtype="0" fill="hold" nodeType="afterEffect">
                                  <p:stCondLst>
                                    <p:cond delay="0"/>
                                  </p:stCondLst>
                                  <p:childTnLst>
                                    <p:set>
                                      <p:cBhvr>
                                        <p:cTn id="70" dur="1" fill="hold">
                                          <p:stCondLst>
                                            <p:cond delay="0"/>
                                          </p:stCondLst>
                                        </p:cTn>
                                        <p:tgtEl>
                                          <p:spTgt spid="39"/>
                                        </p:tgtEl>
                                        <p:attrNameLst>
                                          <p:attrName>style.visibility</p:attrName>
                                        </p:attrNameLst>
                                      </p:cBhvr>
                                      <p:to>
                                        <p:strVal val="visible"/>
                                      </p:to>
                                    </p:set>
                                    <p:animEffect transition="in" filter="fade">
                                      <p:cBhvr>
                                        <p:cTn id="71" dur="150"/>
                                        <p:tgtEl>
                                          <p:spTgt spid="39"/>
                                        </p:tgtEl>
                                      </p:cBhvr>
                                    </p:animEffect>
                                  </p:childTnLst>
                                </p:cTn>
                              </p:par>
                            </p:childTnLst>
                          </p:cTn>
                        </p:par>
                        <p:par>
                          <p:cTn id="72" fill="hold">
                            <p:stCondLst>
                              <p:cond delay="2550"/>
                            </p:stCondLst>
                            <p:childTnLst>
                              <p:par>
                                <p:cTn id="73" presetID="10" presetClass="entr" presetSubtype="0" fill="hold" nodeType="after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150"/>
                                        <p:tgtEl>
                                          <p:spTgt spid="40"/>
                                        </p:tgtEl>
                                      </p:cBhvr>
                                    </p:animEffect>
                                  </p:childTnLst>
                                </p:cTn>
                              </p:par>
                            </p:childTnLst>
                          </p:cTn>
                        </p:par>
                        <p:par>
                          <p:cTn id="76" fill="hold">
                            <p:stCondLst>
                              <p:cond delay="2700"/>
                            </p:stCondLst>
                            <p:childTnLst>
                              <p:par>
                                <p:cTn id="77" presetID="10" presetClass="entr" presetSubtype="0" fill="hold" nodeType="afterEffect">
                                  <p:stCondLst>
                                    <p:cond delay="0"/>
                                  </p:stCondLst>
                                  <p:childTnLst>
                                    <p:set>
                                      <p:cBhvr>
                                        <p:cTn id="78" dur="1" fill="hold">
                                          <p:stCondLst>
                                            <p:cond delay="0"/>
                                          </p:stCondLst>
                                        </p:cTn>
                                        <p:tgtEl>
                                          <p:spTgt spid="41"/>
                                        </p:tgtEl>
                                        <p:attrNameLst>
                                          <p:attrName>style.visibility</p:attrName>
                                        </p:attrNameLst>
                                      </p:cBhvr>
                                      <p:to>
                                        <p:strVal val="visible"/>
                                      </p:to>
                                    </p:set>
                                    <p:animEffect transition="in" filter="fade">
                                      <p:cBhvr>
                                        <p:cTn id="79" dur="150"/>
                                        <p:tgtEl>
                                          <p:spTgt spid="41"/>
                                        </p:tgtEl>
                                      </p:cBhvr>
                                    </p:animEffect>
                                  </p:childTnLst>
                                </p:cTn>
                              </p:par>
                            </p:childTnLst>
                          </p:cTn>
                        </p:par>
                        <p:par>
                          <p:cTn id="80" fill="hold">
                            <p:stCondLst>
                              <p:cond delay="2850"/>
                            </p:stCondLst>
                            <p:childTnLst>
                              <p:par>
                                <p:cTn id="81" presetID="10" presetClass="entr" presetSubtype="0" fill="hold" nodeType="afterEffect">
                                  <p:stCondLst>
                                    <p:cond delay="0"/>
                                  </p:stCondLst>
                                  <p:childTnLst>
                                    <p:set>
                                      <p:cBhvr>
                                        <p:cTn id="82" dur="1" fill="hold">
                                          <p:stCondLst>
                                            <p:cond delay="0"/>
                                          </p:stCondLst>
                                        </p:cTn>
                                        <p:tgtEl>
                                          <p:spTgt spid="42"/>
                                        </p:tgtEl>
                                        <p:attrNameLst>
                                          <p:attrName>style.visibility</p:attrName>
                                        </p:attrNameLst>
                                      </p:cBhvr>
                                      <p:to>
                                        <p:strVal val="visible"/>
                                      </p:to>
                                    </p:set>
                                    <p:animEffect transition="in" filter="fade">
                                      <p:cBhvr>
                                        <p:cTn id="83" dur="150"/>
                                        <p:tgtEl>
                                          <p:spTgt spid="42"/>
                                        </p:tgtEl>
                                      </p:cBhvr>
                                    </p:animEffect>
                                  </p:childTnLst>
                                </p:cTn>
                              </p:par>
                            </p:childTnLst>
                          </p:cTn>
                        </p:par>
                        <p:par>
                          <p:cTn id="84" fill="hold">
                            <p:stCondLst>
                              <p:cond delay="3000"/>
                            </p:stCondLst>
                            <p:childTnLst>
                              <p:par>
                                <p:cTn id="85" presetID="10" presetClass="entr" presetSubtype="0" fill="hold" nodeType="after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150"/>
                                        <p:tgtEl>
                                          <p:spTgt spid="44"/>
                                        </p:tgtEl>
                                      </p:cBhvr>
                                    </p:animEffect>
                                  </p:childTnLst>
                                </p:cTn>
                              </p:par>
                            </p:childTnLst>
                          </p:cTn>
                        </p:par>
                        <p:par>
                          <p:cTn id="88" fill="hold">
                            <p:stCondLst>
                              <p:cond delay="3150"/>
                            </p:stCondLst>
                            <p:childTnLst>
                              <p:par>
                                <p:cTn id="89" presetID="10" presetClass="entr" presetSubtype="0" fill="hold" nodeType="afterEffect">
                                  <p:stCondLst>
                                    <p:cond delay="0"/>
                                  </p:stCondLst>
                                  <p:childTnLst>
                                    <p:set>
                                      <p:cBhvr>
                                        <p:cTn id="90" dur="1" fill="hold">
                                          <p:stCondLst>
                                            <p:cond delay="0"/>
                                          </p:stCondLst>
                                        </p:cTn>
                                        <p:tgtEl>
                                          <p:spTgt spid="45"/>
                                        </p:tgtEl>
                                        <p:attrNameLst>
                                          <p:attrName>style.visibility</p:attrName>
                                        </p:attrNameLst>
                                      </p:cBhvr>
                                      <p:to>
                                        <p:strVal val="visible"/>
                                      </p:to>
                                    </p:set>
                                    <p:animEffect transition="in" filter="fade">
                                      <p:cBhvr>
                                        <p:cTn id="91" dur="150"/>
                                        <p:tgtEl>
                                          <p:spTgt spid="45"/>
                                        </p:tgtEl>
                                      </p:cBhvr>
                                    </p:animEffect>
                                  </p:childTnLst>
                                </p:cTn>
                              </p:par>
                            </p:childTnLst>
                          </p:cTn>
                        </p:par>
                        <p:par>
                          <p:cTn id="92" fill="hold">
                            <p:stCondLst>
                              <p:cond delay="3300"/>
                            </p:stCondLst>
                            <p:childTnLst>
                              <p:par>
                                <p:cTn id="93" presetID="10" presetClass="entr" presetSubtype="0" fill="hold" nodeType="after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fade">
                                      <p:cBhvr>
                                        <p:cTn id="95" dur="150"/>
                                        <p:tgtEl>
                                          <p:spTgt spid="46"/>
                                        </p:tgtEl>
                                      </p:cBhvr>
                                    </p:animEffect>
                                  </p:childTnLst>
                                </p:cTn>
                              </p:par>
                            </p:childTnLst>
                          </p:cTn>
                        </p:par>
                        <p:par>
                          <p:cTn id="96" fill="hold">
                            <p:stCondLst>
                              <p:cond delay="3450"/>
                            </p:stCondLst>
                            <p:childTnLst>
                              <p:par>
                                <p:cTn id="97" presetID="10" presetClass="entr" presetSubtype="0" fill="hold" nodeType="afterEffect">
                                  <p:stCondLst>
                                    <p:cond delay="0"/>
                                  </p:stCondLst>
                                  <p:childTnLst>
                                    <p:set>
                                      <p:cBhvr>
                                        <p:cTn id="98" dur="1" fill="hold">
                                          <p:stCondLst>
                                            <p:cond delay="0"/>
                                          </p:stCondLst>
                                        </p:cTn>
                                        <p:tgtEl>
                                          <p:spTgt spid="47"/>
                                        </p:tgtEl>
                                        <p:attrNameLst>
                                          <p:attrName>style.visibility</p:attrName>
                                        </p:attrNameLst>
                                      </p:cBhvr>
                                      <p:to>
                                        <p:strVal val="visible"/>
                                      </p:to>
                                    </p:set>
                                    <p:animEffect transition="in" filter="fade">
                                      <p:cBhvr>
                                        <p:cTn id="99" dur="150"/>
                                        <p:tgtEl>
                                          <p:spTgt spid="47"/>
                                        </p:tgtEl>
                                      </p:cBhvr>
                                    </p:animEffect>
                                  </p:childTnLst>
                                </p:cTn>
                              </p:par>
                            </p:childTnLst>
                          </p:cTn>
                        </p:par>
                        <p:par>
                          <p:cTn id="100" fill="hold">
                            <p:stCondLst>
                              <p:cond delay="3600"/>
                            </p:stCondLst>
                            <p:childTnLst>
                              <p:par>
                                <p:cTn id="101" presetID="10" presetClass="entr" presetSubtype="0" fill="hold" nodeType="afterEffect">
                                  <p:stCondLst>
                                    <p:cond delay="0"/>
                                  </p:stCondLst>
                                  <p:childTnLst>
                                    <p:set>
                                      <p:cBhvr>
                                        <p:cTn id="102" dur="1" fill="hold">
                                          <p:stCondLst>
                                            <p:cond delay="0"/>
                                          </p:stCondLst>
                                        </p:cTn>
                                        <p:tgtEl>
                                          <p:spTgt spid="4"/>
                                        </p:tgtEl>
                                        <p:attrNameLst>
                                          <p:attrName>style.visibility</p:attrName>
                                        </p:attrNameLst>
                                      </p:cBhvr>
                                      <p:to>
                                        <p:strVal val="visible"/>
                                      </p:to>
                                    </p:set>
                                    <p:animEffect transition="in" filter="fade">
                                      <p:cBhvr>
                                        <p:cTn id="103" dur="150"/>
                                        <p:tgtEl>
                                          <p:spTgt spid="4"/>
                                        </p:tgtEl>
                                      </p:cBhvr>
                                    </p:animEffect>
                                  </p:childTnLst>
                                </p:cTn>
                              </p:par>
                            </p:childTnLst>
                          </p:cTn>
                        </p:par>
                        <p:par>
                          <p:cTn id="104" fill="hold">
                            <p:stCondLst>
                              <p:cond delay="3750"/>
                            </p:stCondLst>
                            <p:childTnLst>
                              <p:par>
                                <p:cTn id="105" presetID="10" presetClass="entr" presetSubtype="0" fill="hold" nodeType="afterEffect">
                                  <p:stCondLst>
                                    <p:cond delay="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150"/>
                                        <p:tgtEl>
                                          <p:spTgt spid="48"/>
                                        </p:tgtEl>
                                      </p:cBhvr>
                                    </p:animEffect>
                                  </p:childTnLst>
                                </p:cTn>
                              </p:par>
                            </p:childTnLst>
                          </p:cTn>
                        </p:par>
                        <p:par>
                          <p:cTn id="108" fill="hold">
                            <p:stCondLst>
                              <p:cond delay="3900"/>
                            </p:stCondLst>
                            <p:childTnLst>
                              <p:par>
                                <p:cTn id="109" presetID="10" presetClass="entr" presetSubtype="0" fill="hold" nodeType="afterEffect">
                                  <p:stCondLst>
                                    <p:cond delay="0"/>
                                  </p:stCondLst>
                                  <p:childTnLst>
                                    <p:set>
                                      <p:cBhvr>
                                        <p:cTn id="110" dur="1" fill="hold">
                                          <p:stCondLst>
                                            <p:cond delay="0"/>
                                          </p:stCondLst>
                                        </p:cTn>
                                        <p:tgtEl>
                                          <p:spTgt spid="6"/>
                                        </p:tgtEl>
                                        <p:attrNameLst>
                                          <p:attrName>style.visibility</p:attrName>
                                        </p:attrNameLst>
                                      </p:cBhvr>
                                      <p:to>
                                        <p:strVal val="visible"/>
                                      </p:to>
                                    </p:set>
                                    <p:animEffect transition="in" filter="fade">
                                      <p:cBhvr>
                                        <p:cTn id="111" dur="150"/>
                                        <p:tgtEl>
                                          <p:spTgt spid="6"/>
                                        </p:tgtEl>
                                      </p:cBhvr>
                                    </p:animEffect>
                                  </p:childTnLst>
                                </p:cTn>
                              </p:par>
                            </p:childTnLst>
                          </p:cTn>
                        </p:par>
                        <p:par>
                          <p:cTn id="112" fill="hold">
                            <p:stCondLst>
                              <p:cond delay="4050"/>
                            </p:stCondLst>
                            <p:childTnLst>
                              <p:par>
                                <p:cTn id="113" presetID="10" presetClass="entr" presetSubtype="0" fill="hold" nodeType="afterEffect">
                                  <p:stCondLst>
                                    <p:cond delay="0"/>
                                  </p:stCondLst>
                                  <p:childTnLst>
                                    <p:set>
                                      <p:cBhvr>
                                        <p:cTn id="114" dur="1" fill="hold">
                                          <p:stCondLst>
                                            <p:cond delay="0"/>
                                          </p:stCondLst>
                                        </p:cTn>
                                        <p:tgtEl>
                                          <p:spTgt spid="49"/>
                                        </p:tgtEl>
                                        <p:attrNameLst>
                                          <p:attrName>style.visibility</p:attrName>
                                        </p:attrNameLst>
                                      </p:cBhvr>
                                      <p:to>
                                        <p:strVal val="visible"/>
                                      </p:to>
                                    </p:set>
                                    <p:animEffect transition="in" filter="fade">
                                      <p:cBhvr>
                                        <p:cTn id="115" dur="150"/>
                                        <p:tgtEl>
                                          <p:spTgt spid="49"/>
                                        </p:tgtEl>
                                      </p:cBhvr>
                                    </p:animEffect>
                                  </p:childTnLst>
                                </p:cTn>
                              </p:par>
                            </p:childTnLst>
                          </p:cTn>
                        </p:par>
                        <p:par>
                          <p:cTn id="116" fill="hold">
                            <p:stCondLst>
                              <p:cond delay="4200"/>
                            </p:stCondLst>
                            <p:childTnLst>
                              <p:par>
                                <p:cTn id="117" presetID="10" presetClass="entr" presetSubtype="0" fill="hold" nodeType="afterEffect">
                                  <p:stCondLst>
                                    <p:cond delay="0"/>
                                  </p:stCondLst>
                                  <p:childTnLst>
                                    <p:set>
                                      <p:cBhvr>
                                        <p:cTn id="118" dur="1" fill="hold">
                                          <p:stCondLst>
                                            <p:cond delay="0"/>
                                          </p:stCondLst>
                                        </p:cTn>
                                        <p:tgtEl>
                                          <p:spTgt spid="18"/>
                                        </p:tgtEl>
                                        <p:attrNameLst>
                                          <p:attrName>style.visibility</p:attrName>
                                        </p:attrNameLst>
                                      </p:cBhvr>
                                      <p:to>
                                        <p:strVal val="visible"/>
                                      </p:to>
                                    </p:set>
                                    <p:animEffect transition="in" filter="fade">
                                      <p:cBhvr>
                                        <p:cTn id="119" dur="150"/>
                                        <p:tgtEl>
                                          <p:spTgt spid="18"/>
                                        </p:tgtEl>
                                      </p:cBhvr>
                                    </p:animEffect>
                                  </p:childTnLst>
                                </p:cTn>
                              </p:par>
                            </p:childTnLst>
                          </p:cTn>
                        </p:par>
                        <p:par>
                          <p:cTn id="120" fill="hold">
                            <p:stCondLst>
                              <p:cond delay="4350"/>
                            </p:stCondLst>
                            <p:childTnLst>
                              <p:par>
                                <p:cTn id="121" presetID="10" presetClass="entr" presetSubtype="0" fill="hold" nodeType="afterEffect">
                                  <p:stCondLst>
                                    <p:cond delay="0"/>
                                  </p:stCondLst>
                                  <p:childTnLst>
                                    <p:set>
                                      <p:cBhvr>
                                        <p:cTn id="122" dur="1" fill="hold">
                                          <p:stCondLst>
                                            <p:cond delay="0"/>
                                          </p:stCondLst>
                                        </p:cTn>
                                        <p:tgtEl>
                                          <p:spTgt spid="1026"/>
                                        </p:tgtEl>
                                        <p:attrNameLst>
                                          <p:attrName>style.visibility</p:attrName>
                                        </p:attrNameLst>
                                      </p:cBhvr>
                                      <p:to>
                                        <p:strVal val="visible"/>
                                      </p:to>
                                    </p:set>
                                    <p:animEffect transition="in" filter="fade">
                                      <p:cBhvr>
                                        <p:cTn id="123" dur="150"/>
                                        <p:tgtEl>
                                          <p:spTgt spid="1026"/>
                                        </p:tgtEl>
                                      </p:cBhvr>
                                    </p:animEffect>
                                  </p:childTnLst>
                                </p:cTn>
                              </p:par>
                            </p:childTnLst>
                          </p:cTn>
                        </p:par>
                        <p:par>
                          <p:cTn id="124" fill="hold">
                            <p:stCondLst>
                              <p:cond delay="4500"/>
                            </p:stCondLst>
                            <p:childTnLst>
                              <p:par>
                                <p:cTn id="125" presetID="10" presetClass="entr" presetSubtype="0" fill="hold" nodeType="afterEffect">
                                  <p:stCondLst>
                                    <p:cond delay="0"/>
                                  </p:stCondLst>
                                  <p:childTnLst>
                                    <p:set>
                                      <p:cBhvr>
                                        <p:cTn id="126" dur="1" fill="hold">
                                          <p:stCondLst>
                                            <p:cond delay="0"/>
                                          </p:stCondLst>
                                        </p:cTn>
                                        <p:tgtEl>
                                          <p:spTgt spid="52"/>
                                        </p:tgtEl>
                                        <p:attrNameLst>
                                          <p:attrName>style.visibility</p:attrName>
                                        </p:attrNameLst>
                                      </p:cBhvr>
                                      <p:to>
                                        <p:strVal val="visible"/>
                                      </p:to>
                                    </p:set>
                                    <p:animEffect transition="in" filter="fade">
                                      <p:cBhvr>
                                        <p:cTn id="127" dur="150"/>
                                        <p:tgtEl>
                                          <p:spTgt spid="52"/>
                                        </p:tgtEl>
                                      </p:cBhvr>
                                    </p:animEffect>
                                  </p:childTnLst>
                                </p:cTn>
                              </p:par>
                            </p:childTnLst>
                          </p:cTn>
                        </p:par>
                        <p:par>
                          <p:cTn id="128" fill="hold">
                            <p:stCondLst>
                              <p:cond delay="4650"/>
                            </p:stCondLst>
                            <p:childTnLst>
                              <p:par>
                                <p:cTn id="129" presetID="10" presetClass="entr" presetSubtype="0" fill="hold" nodeType="afterEffect">
                                  <p:stCondLst>
                                    <p:cond delay="0"/>
                                  </p:stCondLst>
                                  <p:childTnLst>
                                    <p:set>
                                      <p:cBhvr>
                                        <p:cTn id="130" dur="1" fill="hold">
                                          <p:stCondLst>
                                            <p:cond delay="0"/>
                                          </p:stCondLst>
                                        </p:cTn>
                                        <p:tgtEl>
                                          <p:spTgt spid="58"/>
                                        </p:tgtEl>
                                        <p:attrNameLst>
                                          <p:attrName>style.visibility</p:attrName>
                                        </p:attrNameLst>
                                      </p:cBhvr>
                                      <p:to>
                                        <p:strVal val="visible"/>
                                      </p:to>
                                    </p:set>
                                    <p:animEffect transition="in" filter="fade">
                                      <p:cBhvr>
                                        <p:cTn id="131" dur="150"/>
                                        <p:tgtEl>
                                          <p:spTgt spid="58"/>
                                        </p:tgtEl>
                                      </p:cBhvr>
                                    </p:animEffect>
                                  </p:childTnLst>
                                </p:cTn>
                              </p:par>
                            </p:childTnLst>
                          </p:cTn>
                        </p:par>
                        <p:par>
                          <p:cTn id="132" fill="hold">
                            <p:stCondLst>
                              <p:cond delay="4800"/>
                            </p:stCondLst>
                            <p:childTnLst>
                              <p:par>
                                <p:cTn id="133" presetID="10" presetClass="entr" presetSubtype="0" fill="hold" nodeType="afterEffect">
                                  <p:stCondLst>
                                    <p:cond delay="0"/>
                                  </p:stCondLst>
                                  <p:childTnLst>
                                    <p:set>
                                      <p:cBhvr>
                                        <p:cTn id="134" dur="1" fill="hold">
                                          <p:stCondLst>
                                            <p:cond delay="0"/>
                                          </p:stCondLst>
                                        </p:cTn>
                                        <p:tgtEl>
                                          <p:spTgt spid="59"/>
                                        </p:tgtEl>
                                        <p:attrNameLst>
                                          <p:attrName>style.visibility</p:attrName>
                                        </p:attrNameLst>
                                      </p:cBhvr>
                                      <p:to>
                                        <p:strVal val="visible"/>
                                      </p:to>
                                    </p:set>
                                    <p:animEffect transition="in" filter="fade">
                                      <p:cBhvr>
                                        <p:cTn id="135" dur="150"/>
                                        <p:tgtEl>
                                          <p:spTgt spid="59"/>
                                        </p:tgtEl>
                                      </p:cBhvr>
                                    </p:animEffect>
                                  </p:childTnLst>
                                </p:cTn>
                              </p:par>
                            </p:childTnLst>
                          </p:cTn>
                        </p:par>
                        <p:par>
                          <p:cTn id="136" fill="hold">
                            <p:stCondLst>
                              <p:cond delay="4950"/>
                            </p:stCondLst>
                            <p:childTnLst>
                              <p:par>
                                <p:cTn id="137" presetID="10" presetClass="entr" presetSubtype="0" fill="hold" nodeType="afterEffect">
                                  <p:stCondLst>
                                    <p:cond delay="0"/>
                                  </p:stCondLst>
                                  <p:childTnLst>
                                    <p:set>
                                      <p:cBhvr>
                                        <p:cTn id="138" dur="1" fill="hold">
                                          <p:stCondLst>
                                            <p:cond delay="0"/>
                                          </p:stCondLst>
                                        </p:cTn>
                                        <p:tgtEl>
                                          <p:spTgt spid="60"/>
                                        </p:tgtEl>
                                        <p:attrNameLst>
                                          <p:attrName>style.visibility</p:attrName>
                                        </p:attrNameLst>
                                      </p:cBhvr>
                                      <p:to>
                                        <p:strVal val="visible"/>
                                      </p:to>
                                    </p:set>
                                    <p:animEffect transition="in" filter="fade">
                                      <p:cBhvr>
                                        <p:cTn id="139" dur="15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274638" y="304872"/>
            <a:ext cx="11190916" cy="880103"/>
          </a:xfrm>
        </p:spPr>
        <p:txBody>
          <a:bodyPr lIns="182880" tIns="146304" rIns="182880" bIns="146304"/>
          <a:lstStyle/>
          <a:p>
            <a:r>
              <a:rPr lang="en-US" sz="4400" spc="0">
                <a:gradFill>
                  <a:gsLst>
                    <a:gs pos="1250">
                      <a:schemeClr val="tx1"/>
                    </a:gs>
                    <a:gs pos="69000">
                      <a:schemeClr val="tx1"/>
                    </a:gs>
                  </a:gsLst>
                  <a:lin ang="5400000" scaled="0"/>
                </a:gradFill>
              </a:rPr>
              <a:t>Modern cloud management with Azure</a:t>
            </a:r>
          </a:p>
        </p:txBody>
      </p:sp>
      <p:sp>
        <p:nvSpPr>
          <p:cNvPr id="86" name="Freeform 3"/>
          <p:cNvSpPr>
            <a:spLocks/>
          </p:cNvSpPr>
          <p:nvPr/>
        </p:nvSpPr>
        <p:spPr bwMode="auto">
          <a:xfrm rot="18900000">
            <a:off x="4920102" y="1948979"/>
            <a:ext cx="1598153" cy="1285560"/>
          </a:xfrm>
          <a:custGeom>
            <a:avLst/>
            <a:gdLst/>
            <a:ahLst/>
            <a:cxnLst>
              <a:cxn ang="0">
                <a:pos x="1134" y="472"/>
              </a:cxn>
              <a:cxn ang="0">
                <a:pos x="1134" y="472"/>
              </a:cxn>
              <a:cxn ang="0">
                <a:pos x="1078" y="418"/>
              </a:cxn>
              <a:cxn ang="0">
                <a:pos x="1020" y="368"/>
              </a:cxn>
              <a:cxn ang="0">
                <a:pos x="960" y="320"/>
              </a:cxn>
              <a:cxn ang="0">
                <a:pos x="896" y="274"/>
              </a:cxn>
              <a:cxn ang="0">
                <a:pos x="832" y="234"/>
              </a:cxn>
              <a:cxn ang="0">
                <a:pos x="764" y="194"/>
              </a:cxn>
              <a:cxn ang="0">
                <a:pos x="696" y="160"/>
              </a:cxn>
              <a:cxn ang="0">
                <a:pos x="624" y="126"/>
              </a:cxn>
              <a:cxn ang="0">
                <a:pos x="552" y="98"/>
              </a:cxn>
              <a:cxn ang="0">
                <a:pos x="478" y="72"/>
              </a:cxn>
              <a:cxn ang="0">
                <a:pos x="400" y="52"/>
              </a:cxn>
              <a:cxn ang="0">
                <a:pos x="324" y="34"/>
              </a:cxn>
              <a:cxn ang="0">
                <a:pos x="244" y="20"/>
              </a:cxn>
              <a:cxn ang="0">
                <a:pos x="164" y="10"/>
              </a:cxn>
              <a:cxn ang="0">
                <a:pos x="82" y="2"/>
              </a:cxn>
              <a:cxn ang="0">
                <a:pos x="0" y="0"/>
              </a:cxn>
              <a:cxn ang="0">
                <a:pos x="128" y="160"/>
              </a:cxn>
              <a:cxn ang="0">
                <a:pos x="256" y="320"/>
              </a:cxn>
              <a:cxn ang="0">
                <a:pos x="128" y="480"/>
              </a:cxn>
              <a:cxn ang="0">
                <a:pos x="0" y="640"/>
              </a:cxn>
              <a:cxn ang="0">
                <a:pos x="0" y="640"/>
              </a:cxn>
              <a:cxn ang="0">
                <a:pos x="0" y="640"/>
              </a:cxn>
              <a:cxn ang="0">
                <a:pos x="50" y="642"/>
              </a:cxn>
              <a:cxn ang="0">
                <a:pos x="98" y="646"/>
              </a:cxn>
              <a:cxn ang="0">
                <a:pos x="146" y="652"/>
              </a:cxn>
              <a:cxn ang="0">
                <a:pos x="194" y="660"/>
              </a:cxn>
              <a:cxn ang="0">
                <a:pos x="240" y="672"/>
              </a:cxn>
              <a:cxn ang="0">
                <a:pos x="286" y="684"/>
              </a:cxn>
              <a:cxn ang="0">
                <a:pos x="330" y="700"/>
              </a:cxn>
              <a:cxn ang="0">
                <a:pos x="374" y="716"/>
              </a:cxn>
              <a:cxn ang="0">
                <a:pos x="418" y="736"/>
              </a:cxn>
              <a:cxn ang="0">
                <a:pos x="458" y="758"/>
              </a:cxn>
              <a:cxn ang="0">
                <a:pos x="500" y="780"/>
              </a:cxn>
              <a:cxn ang="0">
                <a:pos x="538" y="806"/>
              </a:cxn>
              <a:cxn ang="0">
                <a:pos x="576" y="832"/>
              </a:cxn>
              <a:cxn ang="0">
                <a:pos x="612" y="860"/>
              </a:cxn>
              <a:cxn ang="0">
                <a:pos x="646" y="892"/>
              </a:cxn>
              <a:cxn ang="0">
                <a:pos x="680" y="924"/>
              </a:cxn>
              <a:cxn ang="0">
                <a:pos x="680" y="924"/>
              </a:cxn>
              <a:cxn ang="0">
                <a:pos x="680" y="924"/>
              </a:cxn>
              <a:cxn ang="0">
                <a:pos x="680" y="924"/>
              </a:cxn>
              <a:cxn ang="0">
                <a:pos x="680" y="924"/>
              </a:cxn>
              <a:cxn ang="0">
                <a:pos x="682" y="924"/>
              </a:cxn>
              <a:cxn ang="0">
                <a:pos x="884" y="900"/>
              </a:cxn>
              <a:cxn ang="0">
                <a:pos x="1088" y="878"/>
              </a:cxn>
              <a:cxn ang="0">
                <a:pos x="1110" y="674"/>
              </a:cxn>
              <a:cxn ang="0">
                <a:pos x="1132" y="472"/>
              </a:cxn>
              <a:cxn ang="0">
                <a:pos x="1134" y="472"/>
              </a:cxn>
            </a:cxnLst>
            <a:rect l="0" t="0" r="r" b="b"/>
            <a:pathLst>
              <a:path w="1134" h="924">
                <a:moveTo>
                  <a:pt x="1134" y="472"/>
                </a:moveTo>
                <a:lnTo>
                  <a:pt x="1134" y="472"/>
                </a:lnTo>
                <a:lnTo>
                  <a:pt x="1078" y="418"/>
                </a:lnTo>
                <a:lnTo>
                  <a:pt x="1020" y="368"/>
                </a:lnTo>
                <a:lnTo>
                  <a:pt x="960" y="320"/>
                </a:lnTo>
                <a:lnTo>
                  <a:pt x="896" y="274"/>
                </a:lnTo>
                <a:lnTo>
                  <a:pt x="832" y="234"/>
                </a:lnTo>
                <a:lnTo>
                  <a:pt x="764" y="194"/>
                </a:lnTo>
                <a:lnTo>
                  <a:pt x="696" y="160"/>
                </a:lnTo>
                <a:lnTo>
                  <a:pt x="624" y="126"/>
                </a:lnTo>
                <a:lnTo>
                  <a:pt x="552" y="98"/>
                </a:lnTo>
                <a:lnTo>
                  <a:pt x="478" y="72"/>
                </a:lnTo>
                <a:lnTo>
                  <a:pt x="400" y="52"/>
                </a:lnTo>
                <a:lnTo>
                  <a:pt x="324" y="34"/>
                </a:lnTo>
                <a:lnTo>
                  <a:pt x="244" y="20"/>
                </a:lnTo>
                <a:lnTo>
                  <a:pt x="164" y="10"/>
                </a:lnTo>
                <a:lnTo>
                  <a:pt x="82" y="2"/>
                </a:lnTo>
                <a:lnTo>
                  <a:pt x="0" y="0"/>
                </a:lnTo>
                <a:lnTo>
                  <a:pt x="128" y="160"/>
                </a:lnTo>
                <a:lnTo>
                  <a:pt x="256" y="320"/>
                </a:lnTo>
                <a:lnTo>
                  <a:pt x="128" y="480"/>
                </a:lnTo>
                <a:lnTo>
                  <a:pt x="0" y="640"/>
                </a:lnTo>
                <a:lnTo>
                  <a:pt x="0" y="640"/>
                </a:lnTo>
                <a:lnTo>
                  <a:pt x="0" y="640"/>
                </a:lnTo>
                <a:lnTo>
                  <a:pt x="50" y="642"/>
                </a:lnTo>
                <a:lnTo>
                  <a:pt x="98" y="646"/>
                </a:lnTo>
                <a:lnTo>
                  <a:pt x="146" y="652"/>
                </a:lnTo>
                <a:lnTo>
                  <a:pt x="194" y="660"/>
                </a:lnTo>
                <a:lnTo>
                  <a:pt x="240" y="672"/>
                </a:lnTo>
                <a:lnTo>
                  <a:pt x="286" y="684"/>
                </a:lnTo>
                <a:lnTo>
                  <a:pt x="330" y="700"/>
                </a:lnTo>
                <a:lnTo>
                  <a:pt x="374" y="716"/>
                </a:lnTo>
                <a:lnTo>
                  <a:pt x="418" y="736"/>
                </a:lnTo>
                <a:lnTo>
                  <a:pt x="458" y="758"/>
                </a:lnTo>
                <a:lnTo>
                  <a:pt x="500" y="780"/>
                </a:lnTo>
                <a:lnTo>
                  <a:pt x="538" y="806"/>
                </a:lnTo>
                <a:lnTo>
                  <a:pt x="576" y="832"/>
                </a:lnTo>
                <a:lnTo>
                  <a:pt x="612" y="860"/>
                </a:lnTo>
                <a:lnTo>
                  <a:pt x="646" y="892"/>
                </a:lnTo>
                <a:lnTo>
                  <a:pt x="680" y="924"/>
                </a:lnTo>
                <a:lnTo>
                  <a:pt x="680" y="924"/>
                </a:lnTo>
                <a:lnTo>
                  <a:pt x="680" y="924"/>
                </a:lnTo>
                <a:lnTo>
                  <a:pt x="680" y="924"/>
                </a:lnTo>
                <a:lnTo>
                  <a:pt x="680" y="924"/>
                </a:lnTo>
                <a:lnTo>
                  <a:pt x="682" y="924"/>
                </a:lnTo>
                <a:lnTo>
                  <a:pt x="884" y="900"/>
                </a:lnTo>
                <a:lnTo>
                  <a:pt x="1088" y="878"/>
                </a:lnTo>
                <a:lnTo>
                  <a:pt x="1110" y="674"/>
                </a:lnTo>
                <a:lnTo>
                  <a:pt x="1132" y="472"/>
                </a:lnTo>
                <a:lnTo>
                  <a:pt x="1134" y="472"/>
                </a:lnTo>
                <a:close/>
              </a:path>
            </a:pathLst>
          </a:custGeom>
          <a:solidFill>
            <a:schemeClr val="tx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7" name="Freeform 4"/>
          <p:cNvSpPr>
            <a:spLocks/>
          </p:cNvSpPr>
          <p:nvPr/>
        </p:nvSpPr>
        <p:spPr bwMode="auto">
          <a:xfrm rot="18900000">
            <a:off x="3740619" y="2948907"/>
            <a:ext cx="1956116" cy="1282777"/>
          </a:xfrm>
          <a:custGeom>
            <a:avLst/>
            <a:gdLst/>
            <a:ahLst/>
            <a:cxnLst>
              <a:cxn ang="0">
                <a:pos x="1134" y="0"/>
              </a:cxn>
              <a:cxn ang="0">
                <a:pos x="1134" y="0"/>
              </a:cxn>
              <a:cxn ang="0">
                <a:pos x="1056" y="2"/>
              </a:cxn>
              <a:cxn ang="0">
                <a:pos x="980" y="8"/>
              </a:cxn>
              <a:cxn ang="0">
                <a:pos x="904" y="16"/>
              </a:cxn>
              <a:cxn ang="0">
                <a:pos x="828" y="30"/>
              </a:cxn>
              <a:cxn ang="0">
                <a:pos x="752" y="46"/>
              </a:cxn>
              <a:cxn ang="0">
                <a:pos x="676" y="66"/>
              </a:cxn>
              <a:cxn ang="0">
                <a:pos x="602" y="90"/>
              </a:cxn>
              <a:cxn ang="0">
                <a:pos x="530" y="118"/>
              </a:cxn>
              <a:cxn ang="0">
                <a:pos x="458" y="148"/>
              </a:cxn>
              <a:cxn ang="0">
                <a:pos x="388" y="184"/>
              </a:cxn>
              <a:cxn ang="0">
                <a:pos x="318" y="222"/>
              </a:cxn>
              <a:cxn ang="0">
                <a:pos x="250" y="264"/>
              </a:cxn>
              <a:cxn ang="0">
                <a:pos x="186" y="310"/>
              </a:cxn>
              <a:cxn ang="0">
                <a:pos x="122" y="360"/>
              </a:cxn>
              <a:cxn ang="0">
                <a:pos x="60" y="412"/>
              </a:cxn>
              <a:cxn ang="0">
                <a:pos x="0" y="470"/>
              </a:cxn>
              <a:cxn ang="0">
                <a:pos x="202" y="492"/>
              </a:cxn>
              <a:cxn ang="0">
                <a:pos x="406" y="514"/>
              </a:cxn>
              <a:cxn ang="0">
                <a:pos x="428" y="718"/>
              </a:cxn>
              <a:cxn ang="0">
                <a:pos x="452" y="922"/>
              </a:cxn>
              <a:cxn ang="0">
                <a:pos x="452" y="922"/>
              </a:cxn>
              <a:cxn ang="0">
                <a:pos x="452" y="922"/>
              </a:cxn>
              <a:cxn ang="0">
                <a:pos x="488" y="888"/>
              </a:cxn>
              <a:cxn ang="0">
                <a:pos x="524" y="856"/>
              </a:cxn>
              <a:cxn ang="0">
                <a:pos x="564" y="826"/>
              </a:cxn>
              <a:cxn ang="0">
                <a:pos x="602" y="798"/>
              </a:cxn>
              <a:cxn ang="0">
                <a:pos x="644" y="774"/>
              </a:cxn>
              <a:cxn ang="0">
                <a:pos x="684" y="750"/>
              </a:cxn>
              <a:cxn ang="0">
                <a:pos x="728" y="730"/>
              </a:cxn>
              <a:cxn ang="0">
                <a:pos x="770" y="710"/>
              </a:cxn>
              <a:cxn ang="0">
                <a:pos x="814" y="694"/>
              </a:cxn>
              <a:cxn ang="0">
                <a:pos x="858" y="680"/>
              </a:cxn>
              <a:cxn ang="0">
                <a:pos x="904" y="668"/>
              </a:cxn>
              <a:cxn ang="0">
                <a:pos x="948" y="658"/>
              </a:cxn>
              <a:cxn ang="0">
                <a:pos x="994" y="650"/>
              </a:cxn>
              <a:cxn ang="0">
                <a:pos x="1040" y="646"/>
              </a:cxn>
              <a:cxn ang="0">
                <a:pos x="1086" y="642"/>
              </a:cxn>
              <a:cxn ang="0">
                <a:pos x="1132" y="640"/>
              </a:cxn>
              <a:cxn ang="0">
                <a:pos x="1132" y="642"/>
              </a:cxn>
              <a:cxn ang="0">
                <a:pos x="1132" y="640"/>
              </a:cxn>
              <a:cxn ang="0">
                <a:pos x="1132" y="640"/>
              </a:cxn>
              <a:cxn ang="0">
                <a:pos x="1134" y="640"/>
              </a:cxn>
              <a:cxn ang="0">
                <a:pos x="1134" y="640"/>
              </a:cxn>
              <a:cxn ang="0">
                <a:pos x="1260" y="482"/>
              </a:cxn>
              <a:cxn ang="0">
                <a:pos x="1388" y="322"/>
              </a:cxn>
              <a:cxn ang="0">
                <a:pos x="1260" y="162"/>
              </a:cxn>
              <a:cxn ang="0">
                <a:pos x="1134" y="2"/>
              </a:cxn>
              <a:cxn ang="0">
                <a:pos x="1134" y="0"/>
              </a:cxn>
            </a:cxnLst>
            <a:rect l="0" t="0" r="r" b="b"/>
            <a:pathLst>
              <a:path w="1388" h="922">
                <a:moveTo>
                  <a:pt x="1134" y="0"/>
                </a:moveTo>
                <a:lnTo>
                  <a:pt x="1134" y="0"/>
                </a:lnTo>
                <a:lnTo>
                  <a:pt x="1056" y="2"/>
                </a:lnTo>
                <a:lnTo>
                  <a:pt x="980" y="8"/>
                </a:lnTo>
                <a:lnTo>
                  <a:pt x="904" y="16"/>
                </a:lnTo>
                <a:lnTo>
                  <a:pt x="828" y="30"/>
                </a:lnTo>
                <a:lnTo>
                  <a:pt x="752" y="46"/>
                </a:lnTo>
                <a:lnTo>
                  <a:pt x="676" y="66"/>
                </a:lnTo>
                <a:lnTo>
                  <a:pt x="602" y="90"/>
                </a:lnTo>
                <a:lnTo>
                  <a:pt x="530" y="118"/>
                </a:lnTo>
                <a:lnTo>
                  <a:pt x="458" y="148"/>
                </a:lnTo>
                <a:lnTo>
                  <a:pt x="388" y="184"/>
                </a:lnTo>
                <a:lnTo>
                  <a:pt x="318" y="222"/>
                </a:lnTo>
                <a:lnTo>
                  <a:pt x="250" y="264"/>
                </a:lnTo>
                <a:lnTo>
                  <a:pt x="186" y="310"/>
                </a:lnTo>
                <a:lnTo>
                  <a:pt x="122" y="360"/>
                </a:lnTo>
                <a:lnTo>
                  <a:pt x="60" y="412"/>
                </a:lnTo>
                <a:lnTo>
                  <a:pt x="0" y="470"/>
                </a:lnTo>
                <a:lnTo>
                  <a:pt x="202" y="492"/>
                </a:lnTo>
                <a:lnTo>
                  <a:pt x="406" y="514"/>
                </a:lnTo>
                <a:lnTo>
                  <a:pt x="428" y="718"/>
                </a:lnTo>
                <a:lnTo>
                  <a:pt x="452" y="922"/>
                </a:lnTo>
                <a:lnTo>
                  <a:pt x="452" y="922"/>
                </a:lnTo>
                <a:lnTo>
                  <a:pt x="452" y="922"/>
                </a:lnTo>
                <a:lnTo>
                  <a:pt x="488" y="888"/>
                </a:lnTo>
                <a:lnTo>
                  <a:pt x="524" y="856"/>
                </a:lnTo>
                <a:lnTo>
                  <a:pt x="564" y="826"/>
                </a:lnTo>
                <a:lnTo>
                  <a:pt x="602" y="798"/>
                </a:lnTo>
                <a:lnTo>
                  <a:pt x="644" y="774"/>
                </a:lnTo>
                <a:lnTo>
                  <a:pt x="684" y="750"/>
                </a:lnTo>
                <a:lnTo>
                  <a:pt x="728" y="730"/>
                </a:lnTo>
                <a:lnTo>
                  <a:pt x="770" y="710"/>
                </a:lnTo>
                <a:lnTo>
                  <a:pt x="814" y="694"/>
                </a:lnTo>
                <a:lnTo>
                  <a:pt x="858" y="680"/>
                </a:lnTo>
                <a:lnTo>
                  <a:pt x="904" y="668"/>
                </a:lnTo>
                <a:lnTo>
                  <a:pt x="948" y="658"/>
                </a:lnTo>
                <a:lnTo>
                  <a:pt x="994" y="650"/>
                </a:lnTo>
                <a:lnTo>
                  <a:pt x="1040" y="646"/>
                </a:lnTo>
                <a:lnTo>
                  <a:pt x="1086" y="642"/>
                </a:lnTo>
                <a:lnTo>
                  <a:pt x="1132" y="640"/>
                </a:lnTo>
                <a:lnTo>
                  <a:pt x="1132" y="642"/>
                </a:lnTo>
                <a:lnTo>
                  <a:pt x="1132" y="640"/>
                </a:lnTo>
                <a:lnTo>
                  <a:pt x="1132" y="640"/>
                </a:lnTo>
                <a:lnTo>
                  <a:pt x="1134" y="640"/>
                </a:lnTo>
                <a:lnTo>
                  <a:pt x="1134" y="640"/>
                </a:lnTo>
                <a:lnTo>
                  <a:pt x="1260" y="482"/>
                </a:lnTo>
                <a:lnTo>
                  <a:pt x="1388" y="322"/>
                </a:lnTo>
                <a:lnTo>
                  <a:pt x="1260" y="162"/>
                </a:lnTo>
                <a:lnTo>
                  <a:pt x="1134" y="2"/>
                </a:lnTo>
                <a:lnTo>
                  <a:pt x="1134" y="0"/>
                </a:lnTo>
                <a:close/>
              </a:path>
            </a:pathLst>
          </a:custGeom>
          <a:solidFill>
            <a:schemeClr val="accent2">
              <a:lumMod val="5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8" name="Freeform 5"/>
          <p:cNvSpPr>
            <a:spLocks/>
          </p:cNvSpPr>
          <p:nvPr/>
        </p:nvSpPr>
        <p:spPr bwMode="auto">
          <a:xfrm rot="18900000">
            <a:off x="7322419" y="2907235"/>
            <a:ext cx="1302198" cy="1577733"/>
          </a:xfrm>
          <a:custGeom>
            <a:avLst/>
            <a:gdLst/>
            <a:ahLst/>
            <a:cxnLst>
              <a:cxn ang="0">
                <a:pos x="454" y="1134"/>
              </a:cxn>
              <a:cxn ang="0">
                <a:pos x="454" y="1134"/>
              </a:cxn>
              <a:cxn ang="0">
                <a:pos x="506" y="1078"/>
              </a:cxn>
              <a:cxn ang="0">
                <a:pos x="556" y="1020"/>
              </a:cxn>
              <a:cxn ang="0">
                <a:pos x="604" y="960"/>
              </a:cxn>
              <a:cxn ang="0">
                <a:pos x="650" y="896"/>
              </a:cxn>
              <a:cxn ang="0">
                <a:pos x="690" y="832"/>
              </a:cxn>
              <a:cxn ang="0">
                <a:pos x="730" y="764"/>
              </a:cxn>
              <a:cxn ang="0">
                <a:pos x="764" y="696"/>
              </a:cxn>
              <a:cxn ang="0">
                <a:pos x="798" y="624"/>
              </a:cxn>
              <a:cxn ang="0">
                <a:pos x="826" y="552"/>
              </a:cxn>
              <a:cxn ang="0">
                <a:pos x="852" y="478"/>
              </a:cxn>
              <a:cxn ang="0">
                <a:pos x="872" y="402"/>
              </a:cxn>
              <a:cxn ang="0">
                <a:pos x="890" y="324"/>
              </a:cxn>
              <a:cxn ang="0">
                <a:pos x="904" y="244"/>
              </a:cxn>
              <a:cxn ang="0">
                <a:pos x="914" y="164"/>
              </a:cxn>
              <a:cxn ang="0">
                <a:pos x="922" y="82"/>
              </a:cxn>
              <a:cxn ang="0">
                <a:pos x="924" y="0"/>
              </a:cxn>
              <a:cxn ang="0">
                <a:pos x="764" y="128"/>
              </a:cxn>
              <a:cxn ang="0">
                <a:pos x="604" y="256"/>
              </a:cxn>
              <a:cxn ang="0">
                <a:pos x="444" y="128"/>
              </a:cxn>
              <a:cxn ang="0">
                <a:pos x="284" y="0"/>
              </a:cxn>
              <a:cxn ang="0">
                <a:pos x="284" y="0"/>
              </a:cxn>
              <a:cxn ang="0">
                <a:pos x="284" y="0"/>
              </a:cxn>
              <a:cxn ang="0">
                <a:pos x="282" y="50"/>
              </a:cxn>
              <a:cxn ang="0">
                <a:pos x="278" y="98"/>
              </a:cxn>
              <a:cxn ang="0">
                <a:pos x="272" y="146"/>
              </a:cxn>
              <a:cxn ang="0">
                <a:pos x="264" y="194"/>
              </a:cxn>
              <a:cxn ang="0">
                <a:pos x="252" y="240"/>
              </a:cxn>
              <a:cxn ang="0">
                <a:pos x="240" y="286"/>
              </a:cxn>
              <a:cxn ang="0">
                <a:pos x="224" y="332"/>
              </a:cxn>
              <a:cxn ang="0">
                <a:pos x="208" y="374"/>
              </a:cxn>
              <a:cxn ang="0">
                <a:pos x="188" y="418"/>
              </a:cxn>
              <a:cxn ang="0">
                <a:pos x="166" y="458"/>
              </a:cxn>
              <a:cxn ang="0">
                <a:pos x="144" y="500"/>
              </a:cxn>
              <a:cxn ang="0">
                <a:pos x="118" y="538"/>
              </a:cxn>
              <a:cxn ang="0">
                <a:pos x="92" y="576"/>
              </a:cxn>
              <a:cxn ang="0">
                <a:pos x="64" y="612"/>
              </a:cxn>
              <a:cxn ang="0">
                <a:pos x="32" y="646"/>
              </a:cxn>
              <a:cxn ang="0">
                <a:pos x="0" y="680"/>
              </a:cxn>
              <a:cxn ang="0">
                <a:pos x="0" y="680"/>
              </a:cxn>
              <a:cxn ang="0">
                <a:pos x="0" y="680"/>
              </a:cxn>
              <a:cxn ang="0">
                <a:pos x="0" y="680"/>
              </a:cxn>
              <a:cxn ang="0">
                <a:pos x="0" y="680"/>
              </a:cxn>
              <a:cxn ang="0">
                <a:pos x="0" y="682"/>
              </a:cxn>
              <a:cxn ang="0">
                <a:pos x="24" y="884"/>
              </a:cxn>
              <a:cxn ang="0">
                <a:pos x="46" y="1088"/>
              </a:cxn>
              <a:cxn ang="0">
                <a:pos x="250" y="1110"/>
              </a:cxn>
              <a:cxn ang="0">
                <a:pos x="452" y="1132"/>
              </a:cxn>
              <a:cxn ang="0">
                <a:pos x="454" y="1134"/>
              </a:cxn>
            </a:cxnLst>
            <a:rect l="0" t="0" r="r" b="b"/>
            <a:pathLst>
              <a:path w="924" h="1134">
                <a:moveTo>
                  <a:pt x="454" y="1134"/>
                </a:moveTo>
                <a:lnTo>
                  <a:pt x="454" y="1134"/>
                </a:lnTo>
                <a:lnTo>
                  <a:pt x="506" y="1078"/>
                </a:lnTo>
                <a:lnTo>
                  <a:pt x="556" y="1020"/>
                </a:lnTo>
                <a:lnTo>
                  <a:pt x="604" y="960"/>
                </a:lnTo>
                <a:lnTo>
                  <a:pt x="650" y="896"/>
                </a:lnTo>
                <a:lnTo>
                  <a:pt x="690" y="832"/>
                </a:lnTo>
                <a:lnTo>
                  <a:pt x="730" y="764"/>
                </a:lnTo>
                <a:lnTo>
                  <a:pt x="764" y="696"/>
                </a:lnTo>
                <a:lnTo>
                  <a:pt x="798" y="624"/>
                </a:lnTo>
                <a:lnTo>
                  <a:pt x="826" y="552"/>
                </a:lnTo>
                <a:lnTo>
                  <a:pt x="852" y="478"/>
                </a:lnTo>
                <a:lnTo>
                  <a:pt x="872" y="402"/>
                </a:lnTo>
                <a:lnTo>
                  <a:pt x="890" y="324"/>
                </a:lnTo>
                <a:lnTo>
                  <a:pt x="904" y="244"/>
                </a:lnTo>
                <a:lnTo>
                  <a:pt x="914" y="164"/>
                </a:lnTo>
                <a:lnTo>
                  <a:pt x="922" y="82"/>
                </a:lnTo>
                <a:lnTo>
                  <a:pt x="924" y="0"/>
                </a:lnTo>
                <a:lnTo>
                  <a:pt x="764" y="128"/>
                </a:lnTo>
                <a:lnTo>
                  <a:pt x="604" y="256"/>
                </a:lnTo>
                <a:lnTo>
                  <a:pt x="444" y="128"/>
                </a:lnTo>
                <a:lnTo>
                  <a:pt x="284" y="0"/>
                </a:lnTo>
                <a:lnTo>
                  <a:pt x="284" y="0"/>
                </a:lnTo>
                <a:lnTo>
                  <a:pt x="284" y="0"/>
                </a:lnTo>
                <a:lnTo>
                  <a:pt x="282" y="50"/>
                </a:lnTo>
                <a:lnTo>
                  <a:pt x="278" y="98"/>
                </a:lnTo>
                <a:lnTo>
                  <a:pt x="272" y="146"/>
                </a:lnTo>
                <a:lnTo>
                  <a:pt x="264" y="194"/>
                </a:lnTo>
                <a:lnTo>
                  <a:pt x="252" y="240"/>
                </a:lnTo>
                <a:lnTo>
                  <a:pt x="240" y="286"/>
                </a:lnTo>
                <a:lnTo>
                  <a:pt x="224" y="332"/>
                </a:lnTo>
                <a:lnTo>
                  <a:pt x="208" y="374"/>
                </a:lnTo>
                <a:lnTo>
                  <a:pt x="188" y="418"/>
                </a:lnTo>
                <a:lnTo>
                  <a:pt x="166" y="458"/>
                </a:lnTo>
                <a:lnTo>
                  <a:pt x="144" y="500"/>
                </a:lnTo>
                <a:lnTo>
                  <a:pt x="118" y="538"/>
                </a:lnTo>
                <a:lnTo>
                  <a:pt x="92" y="576"/>
                </a:lnTo>
                <a:lnTo>
                  <a:pt x="64" y="612"/>
                </a:lnTo>
                <a:lnTo>
                  <a:pt x="32" y="646"/>
                </a:lnTo>
                <a:lnTo>
                  <a:pt x="0" y="680"/>
                </a:lnTo>
                <a:lnTo>
                  <a:pt x="0" y="680"/>
                </a:lnTo>
                <a:lnTo>
                  <a:pt x="0" y="680"/>
                </a:lnTo>
                <a:lnTo>
                  <a:pt x="0" y="680"/>
                </a:lnTo>
                <a:lnTo>
                  <a:pt x="0" y="680"/>
                </a:lnTo>
                <a:lnTo>
                  <a:pt x="0" y="682"/>
                </a:lnTo>
                <a:lnTo>
                  <a:pt x="24" y="884"/>
                </a:lnTo>
                <a:lnTo>
                  <a:pt x="46" y="1088"/>
                </a:lnTo>
                <a:lnTo>
                  <a:pt x="250" y="1110"/>
                </a:lnTo>
                <a:lnTo>
                  <a:pt x="452" y="1132"/>
                </a:lnTo>
                <a:lnTo>
                  <a:pt x="454" y="1134"/>
                </a:lnTo>
                <a:close/>
              </a:path>
            </a:pathLst>
          </a:custGeom>
          <a:solidFill>
            <a:schemeClr val="accent1">
              <a:lumMod val="60000"/>
              <a:lumOff val="4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9" name="Freeform 6"/>
          <p:cNvSpPr>
            <a:spLocks/>
          </p:cNvSpPr>
          <p:nvPr/>
        </p:nvSpPr>
        <p:spPr bwMode="auto">
          <a:xfrm rot="18900000">
            <a:off x="4885518" y="4776574"/>
            <a:ext cx="1299378" cy="2046796"/>
          </a:xfrm>
          <a:custGeom>
            <a:avLst/>
            <a:gdLst>
              <a:gd name="connsiteX0" fmla="*/ 0 w 10000"/>
              <a:gd name="connsiteY0" fmla="*/ 1830 h 10000"/>
              <a:gd name="connsiteX1" fmla="*/ 0 w 10000"/>
              <a:gd name="connsiteY1" fmla="*/ 1830 h 10000"/>
              <a:gd name="connsiteX2" fmla="*/ 22 w 10000"/>
              <a:gd name="connsiteY2" fmla="*/ 2392 h 10000"/>
              <a:gd name="connsiteX3" fmla="*/ 65 w 10000"/>
              <a:gd name="connsiteY3" fmla="*/ 2939 h 10000"/>
              <a:gd name="connsiteX4" fmla="*/ 174 w 10000"/>
              <a:gd name="connsiteY4" fmla="*/ 3487 h 10000"/>
              <a:gd name="connsiteX5" fmla="*/ 304 w 10000"/>
              <a:gd name="connsiteY5" fmla="*/ 4035 h 10000"/>
              <a:gd name="connsiteX6" fmla="*/ 477 w 10000"/>
              <a:gd name="connsiteY6" fmla="*/ 4582 h 10000"/>
              <a:gd name="connsiteX7" fmla="*/ 716 w 10000"/>
              <a:gd name="connsiteY7" fmla="*/ 5130 h 10000"/>
              <a:gd name="connsiteX8" fmla="*/ 954 w 10000"/>
              <a:gd name="connsiteY8" fmla="*/ 5663 h 10000"/>
              <a:gd name="connsiteX9" fmla="*/ 1258 w 10000"/>
              <a:gd name="connsiteY9" fmla="*/ 6182 h 10000"/>
              <a:gd name="connsiteX10" fmla="*/ 1605 w 10000"/>
              <a:gd name="connsiteY10" fmla="*/ 6700 h 10000"/>
              <a:gd name="connsiteX11" fmla="*/ 1974 w 10000"/>
              <a:gd name="connsiteY11" fmla="*/ 7205 h 10000"/>
              <a:gd name="connsiteX12" fmla="*/ 2386 w 10000"/>
              <a:gd name="connsiteY12" fmla="*/ 7709 h 10000"/>
              <a:gd name="connsiteX13" fmla="*/ 2863 w 10000"/>
              <a:gd name="connsiteY13" fmla="*/ 8199 h 10000"/>
              <a:gd name="connsiteX14" fmla="*/ 3341 w 10000"/>
              <a:gd name="connsiteY14" fmla="*/ 8660 h 10000"/>
              <a:gd name="connsiteX15" fmla="*/ 3883 w 10000"/>
              <a:gd name="connsiteY15" fmla="*/ 9121 h 10000"/>
              <a:gd name="connsiteX16" fmla="*/ 4469 w 10000"/>
              <a:gd name="connsiteY16" fmla="*/ 9568 h 10000"/>
              <a:gd name="connsiteX17" fmla="*/ 5076 w 10000"/>
              <a:gd name="connsiteY17" fmla="*/ 10000 h 10000"/>
              <a:gd name="connsiteX18" fmla="*/ 5336 w 10000"/>
              <a:gd name="connsiteY18" fmla="*/ 8545 h 10000"/>
              <a:gd name="connsiteX19" fmla="*/ 5575 w 10000"/>
              <a:gd name="connsiteY19" fmla="*/ 7075 h 10000"/>
              <a:gd name="connsiteX20" fmla="*/ 7787 w 10000"/>
              <a:gd name="connsiteY20" fmla="*/ 6916 h 10000"/>
              <a:gd name="connsiteX21" fmla="*/ 9978 w 10000"/>
              <a:gd name="connsiteY21" fmla="*/ 6744 h 10000"/>
              <a:gd name="connsiteX22" fmla="*/ 10000 w 10000"/>
              <a:gd name="connsiteY22" fmla="*/ 6744 h 10000"/>
              <a:gd name="connsiteX23" fmla="*/ 10000 w 10000"/>
              <a:gd name="connsiteY23" fmla="*/ 6744 h 10000"/>
              <a:gd name="connsiteX24" fmla="*/ 9610 w 10000"/>
              <a:gd name="connsiteY24" fmla="*/ 6484 h 10000"/>
              <a:gd name="connsiteX25" fmla="*/ 9284 w 10000"/>
              <a:gd name="connsiteY25" fmla="*/ 6225 h 10000"/>
              <a:gd name="connsiteX26" fmla="*/ 8959 w 10000"/>
              <a:gd name="connsiteY26" fmla="*/ 5937 h 10000"/>
              <a:gd name="connsiteX27" fmla="*/ 8655 w 10000"/>
              <a:gd name="connsiteY27" fmla="*/ 5663 h 10000"/>
              <a:gd name="connsiteX28" fmla="*/ 8373 w 10000"/>
              <a:gd name="connsiteY28" fmla="*/ 5360 h 10000"/>
              <a:gd name="connsiteX29" fmla="*/ 8134 w 10000"/>
              <a:gd name="connsiteY29" fmla="*/ 5072 h 10000"/>
              <a:gd name="connsiteX30" fmla="*/ 7896 w 10000"/>
              <a:gd name="connsiteY30" fmla="*/ 4755 h 10000"/>
              <a:gd name="connsiteX31" fmla="*/ 7701 w 10000"/>
              <a:gd name="connsiteY31" fmla="*/ 4452 h 10000"/>
              <a:gd name="connsiteX32" fmla="*/ 7527 w 10000"/>
              <a:gd name="connsiteY32" fmla="*/ 4135 h 10000"/>
              <a:gd name="connsiteX33" fmla="*/ 7375 w 10000"/>
              <a:gd name="connsiteY33" fmla="*/ 3818 h 10000"/>
              <a:gd name="connsiteX34" fmla="*/ 7223 w 10000"/>
              <a:gd name="connsiteY34" fmla="*/ 3487 h 10000"/>
              <a:gd name="connsiteX35" fmla="*/ 7137 w 10000"/>
              <a:gd name="connsiteY35" fmla="*/ 3170 h 10000"/>
              <a:gd name="connsiteX36" fmla="*/ 7050 w 10000"/>
              <a:gd name="connsiteY36" fmla="*/ 2839 h 10000"/>
              <a:gd name="connsiteX37" fmla="*/ 6985 w 10000"/>
              <a:gd name="connsiteY37" fmla="*/ 2507 h 10000"/>
              <a:gd name="connsiteX38" fmla="*/ 6941 w 10000"/>
              <a:gd name="connsiteY38" fmla="*/ 2176 h 10000"/>
              <a:gd name="connsiteX39" fmla="*/ 6941 w 10000"/>
              <a:gd name="connsiteY39" fmla="*/ 1844 h 10000"/>
              <a:gd name="connsiteX40" fmla="*/ 6941 w 10000"/>
              <a:gd name="connsiteY40" fmla="*/ 1844 h 10000"/>
              <a:gd name="connsiteX41" fmla="*/ 6941 w 10000"/>
              <a:gd name="connsiteY41" fmla="*/ 1844 h 10000"/>
              <a:gd name="connsiteX42" fmla="*/ 6941 w 10000"/>
              <a:gd name="connsiteY42" fmla="*/ 1844 h 10000"/>
              <a:gd name="connsiteX43" fmla="*/ 6941 w 10000"/>
              <a:gd name="connsiteY43" fmla="*/ 1830 h 10000"/>
              <a:gd name="connsiteX44" fmla="*/ 6941 w 10000"/>
              <a:gd name="connsiteY44" fmla="*/ 1830 h 10000"/>
              <a:gd name="connsiteX45" fmla="*/ 5206 w 10000"/>
              <a:gd name="connsiteY45" fmla="*/ 922 h 10000"/>
              <a:gd name="connsiteX46" fmla="*/ 3471 w 10000"/>
              <a:gd name="connsiteY46" fmla="*/ 0 h 10000"/>
              <a:gd name="connsiteX47" fmla="*/ 1557 w 10000"/>
              <a:gd name="connsiteY47" fmla="*/ 443 h 10000"/>
              <a:gd name="connsiteX48" fmla="*/ 22 w 10000"/>
              <a:gd name="connsiteY48" fmla="*/ 1830 h 10000"/>
              <a:gd name="connsiteX49" fmla="*/ 0 w 10000"/>
              <a:gd name="connsiteY49" fmla="*/ 1830 h 10000"/>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1521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922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599">
                <a:moveTo>
                  <a:pt x="0" y="2429"/>
                </a:moveTo>
                <a:lnTo>
                  <a:pt x="0" y="2429"/>
                </a:lnTo>
                <a:cubicBezTo>
                  <a:pt x="7" y="2616"/>
                  <a:pt x="15" y="2804"/>
                  <a:pt x="22" y="2991"/>
                </a:cubicBezTo>
                <a:cubicBezTo>
                  <a:pt x="36" y="3173"/>
                  <a:pt x="51" y="3356"/>
                  <a:pt x="65" y="3538"/>
                </a:cubicBezTo>
                <a:cubicBezTo>
                  <a:pt x="101" y="3721"/>
                  <a:pt x="138" y="3903"/>
                  <a:pt x="174" y="4086"/>
                </a:cubicBezTo>
                <a:cubicBezTo>
                  <a:pt x="217" y="4269"/>
                  <a:pt x="261" y="4451"/>
                  <a:pt x="304" y="4634"/>
                </a:cubicBezTo>
                <a:cubicBezTo>
                  <a:pt x="362" y="4816"/>
                  <a:pt x="419" y="4999"/>
                  <a:pt x="477" y="5181"/>
                </a:cubicBezTo>
                <a:lnTo>
                  <a:pt x="716" y="5729"/>
                </a:lnTo>
                <a:cubicBezTo>
                  <a:pt x="795" y="5907"/>
                  <a:pt x="875" y="6084"/>
                  <a:pt x="954" y="6262"/>
                </a:cubicBezTo>
                <a:lnTo>
                  <a:pt x="1258" y="6781"/>
                </a:lnTo>
                <a:lnTo>
                  <a:pt x="1605" y="7299"/>
                </a:lnTo>
                <a:lnTo>
                  <a:pt x="1974" y="7804"/>
                </a:lnTo>
                <a:lnTo>
                  <a:pt x="2386" y="8308"/>
                </a:lnTo>
                <a:lnTo>
                  <a:pt x="2863" y="8798"/>
                </a:lnTo>
                <a:lnTo>
                  <a:pt x="3341" y="9259"/>
                </a:lnTo>
                <a:lnTo>
                  <a:pt x="3883" y="9720"/>
                </a:lnTo>
                <a:lnTo>
                  <a:pt x="4469" y="10167"/>
                </a:lnTo>
                <a:lnTo>
                  <a:pt x="5076" y="10599"/>
                </a:lnTo>
                <a:cubicBezTo>
                  <a:pt x="5163" y="10114"/>
                  <a:pt x="5249" y="9629"/>
                  <a:pt x="5336" y="9144"/>
                </a:cubicBezTo>
                <a:cubicBezTo>
                  <a:pt x="5416" y="8654"/>
                  <a:pt x="5495" y="8164"/>
                  <a:pt x="5575" y="7674"/>
                </a:cubicBezTo>
                <a:lnTo>
                  <a:pt x="7787" y="7515"/>
                </a:lnTo>
                <a:lnTo>
                  <a:pt x="9978" y="7343"/>
                </a:lnTo>
                <a:lnTo>
                  <a:pt x="10000" y="7343"/>
                </a:lnTo>
                <a:lnTo>
                  <a:pt x="10000" y="7343"/>
                </a:lnTo>
                <a:lnTo>
                  <a:pt x="9610" y="7083"/>
                </a:lnTo>
                <a:lnTo>
                  <a:pt x="9284" y="6824"/>
                </a:lnTo>
                <a:lnTo>
                  <a:pt x="8959" y="6536"/>
                </a:lnTo>
                <a:lnTo>
                  <a:pt x="8655" y="6262"/>
                </a:lnTo>
                <a:lnTo>
                  <a:pt x="8373" y="5959"/>
                </a:lnTo>
                <a:lnTo>
                  <a:pt x="8134" y="5671"/>
                </a:lnTo>
                <a:lnTo>
                  <a:pt x="7896" y="5354"/>
                </a:lnTo>
                <a:lnTo>
                  <a:pt x="7701" y="5051"/>
                </a:lnTo>
                <a:lnTo>
                  <a:pt x="7527" y="4734"/>
                </a:lnTo>
                <a:lnTo>
                  <a:pt x="7375" y="4417"/>
                </a:lnTo>
                <a:cubicBezTo>
                  <a:pt x="7324" y="4307"/>
                  <a:pt x="7274" y="4196"/>
                  <a:pt x="7223" y="4086"/>
                </a:cubicBezTo>
                <a:cubicBezTo>
                  <a:pt x="7194" y="3980"/>
                  <a:pt x="7166" y="3875"/>
                  <a:pt x="7137" y="3769"/>
                </a:cubicBezTo>
                <a:cubicBezTo>
                  <a:pt x="7108" y="3659"/>
                  <a:pt x="7079" y="3548"/>
                  <a:pt x="7050" y="3438"/>
                </a:cubicBezTo>
                <a:cubicBezTo>
                  <a:pt x="7028" y="3327"/>
                  <a:pt x="7007" y="3217"/>
                  <a:pt x="6985" y="3106"/>
                </a:cubicBezTo>
                <a:cubicBezTo>
                  <a:pt x="6970" y="2996"/>
                  <a:pt x="6956" y="2885"/>
                  <a:pt x="6941" y="2775"/>
                </a:cubicBezTo>
                <a:lnTo>
                  <a:pt x="6941" y="2443"/>
                </a:lnTo>
                <a:lnTo>
                  <a:pt x="6941" y="2443"/>
                </a:lnTo>
                <a:lnTo>
                  <a:pt x="6941" y="2443"/>
                </a:lnTo>
                <a:lnTo>
                  <a:pt x="6941" y="2443"/>
                </a:lnTo>
                <a:lnTo>
                  <a:pt x="6941" y="2429"/>
                </a:lnTo>
                <a:lnTo>
                  <a:pt x="6941" y="2429"/>
                </a:lnTo>
                <a:lnTo>
                  <a:pt x="5206" y="922"/>
                </a:lnTo>
                <a:lnTo>
                  <a:pt x="3649" y="0"/>
                </a:lnTo>
                <a:lnTo>
                  <a:pt x="1557" y="1042"/>
                </a:lnTo>
                <a:lnTo>
                  <a:pt x="22" y="2429"/>
                </a:lnTo>
                <a:lnTo>
                  <a:pt x="0" y="2429"/>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0" name="Freeform 7"/>
          <p:cNvSpPr>
            <a:spLocks/>
          </p:cNvSpPr>
          <p:nvPr/>
        </p:nvSpPr>
        <p:spPr bwMode="auto">
          <a:xfrm rot="18900000">
            <a:off x="3937112" y="4062699"/>
            <a:ext cx="1299378" cy="1577733"/>
          </a:xfrm>
          <a:custGeom>
            <a:avLst/>
            <a:gdLst/>
            <a:ahLst/>
            <a:cxnLst>
              <a:cxn ang="0">
                <a:pos x="470" y="0"/>
              </a:cxn>
              <a:cxn ang="0">
                <a:pos x="470" y="0"/>
              </a:cxn>
              <a:cxn ang="0">
                <a:pos x="416" y="56"/>
              </a:cxn>
              <a:cxn ang="0">
                <a:pos x="366" y="114"/>
              </a:cxn>
              <a:cxn ang="0">
                <a:pos x="318" y="174"/>
              </a:cxn>
              <a:cxn ang="0">
                <a:pos x="274" y="238"/>
              </a:cxn>
              <a:cxn ang="0">
                <a:pos x="232" y="302"/>
              </a:cxn>
              <a:cxn ang="0">
                <a:pos x="194" y="370"/>
              </a:cxn>
              <a:cxn ang="0">
                <a:pos x="158" y="438"/>
              </a:cxn>
              <a:cxn ang="0">
                <a:pos x="126" y="510"/>
              </a:cxn>
              <a:cxn ang="0">
                <a:pos x="98" y="582"/>
              </a:cxn>
              <a:cxn ang="0">
                <a:pos x="72" y="658"/>
              </a:cxn>
              <a:cxn ang="0">
                <a:pos x="50" y="734"/>
              </a:cxn>
              <a:cxn ang="0">
                <a:pos x="32" y="810"/>
              </a:cxn>
              <a:cxn ang="0">
                <a:pos x="18" y="890"/>
              </a:cxn>
              <a:cxn ang="0">
                <a:pos x="8" y="970"/>
              </a:cxn>
              <a:cxn ang="0">
                <a:pos x="2" y="1052"/>
              </a:cxn>
              <a:cxn ang="0">
                <a:pos x="0" y="1134"/>
              </a:cxn>
              <a:cxn ang="0">
                <a:pos x="160" y="1006"/>
              </a:cxn>
              <a:cxn ang="0">
                <a:pos x="320" y="878"/>
              </a:cxn>
              <a:cxn ang="0">
                <a:pos x="480" y="1006"/>
              </a:cxn>
              <a:cxn ang="0">
                <a:pos x="640" y="1134"/>
              </a:cxn>
              <a:cxn ang="0">
                <a:pos x="640" y="1134"/>
              </a:cxn>
              <a:cxn ang="0">
                <a:pos x="640" y="1134"/>
              </a:cxn>
              <a:cxn ang="0">
                <a:pos x="640" y="1084"/>
              </a:cxn>
              <a:cxn ang="0">
                <a:pos x="644" y="1036"/>
              </a:cxn>
              <a:cxn ang="0">
                <a:pos x="650" y="988"/>
              </a:cxn>
              <a:cxn ang="0">
                <a:pos x="660" y="940"/>
              </a:cxn>
              <a:cxn ang="0">
                <a:pos x="670" y="894"/>
              </a:cxn>
              <a:cxn ang="0">
                <a:pos x="682" y="848"/>
              </a:cxn>
              <a:cxn ang="0">
                <a:pos x="698" y="804"/>
              </a:cxn>
              <a:cxn ang="0">
                <a:pos x="716" y="760"/>
              </a:cxn>
              <a:cxn ang="0">
                <a:pos x="734" y="716"/>
              </a:cxn>
              <a:cxn ang="0">
                <a:pos x="756" y="676"/>
              </a:cxn>
              <a:cxn ang="0">
                <a:pos x="780" y="636"/>
              </a:cxn>
              <a:cxn ang="0">
                <a:pos x="804" y="596"/>
              </a:cxn>
              <a:cxn ang="0">
                <a:pos x="832" y="558"/>
              </a:cxn>
              <a:cxn ang="0">
                <a:pos x="860" y="522"/>
              </a:cxn>
              <a:cxn ang="0">
                <a:pos x="890" y="488"/>
              </a:cxn>
              <a:cxn ang="0">
                <a:pos x="922" y="454"/>
              </a:cxn>
              <a:cxn ang="0">
                <a:pos x="922" y="454"/>
              </a:cxn>
              <a:cxn ang="0">
                <a:pos x="922" y="454"/>
              </a:cxn>
              <a:cxn ang="0">
                <a:pos x="922" y="454"/>
              </a:cxn>
              <a:cxn ang="0">
                <a:pos x="922" y="454"/>
              </a:cxn>
              <a:cxn ang="0">
                <a:pos x="922" y="452"/>
              </a:cxn>
              <a:cxn ang="0">
                <a:pos x="900" y="250"/>
              </a:cxn>
              <a:cxn ang="0">
                <a:pos x="878" y="48"/>
              </a:cxn>
              <a:cxn ang="0">
                <a:pos x="674" y="24"/>
              </a:cxn>
              <a:cxn ang="0">
                <a:pos x="472" y="2"/>
              </a:cxn>
              <a:cxn ang="0">
                <a:pos x="470" y="0"/>
              </a:cxn>
            </a:cxnLst>
            <a:rect l="0" t="0" r="r" b="b"/>
            <a:pathLst>
              <a:path w="922" h="1134">
                <a:moveTo>
                  <a:pt x="470" y="0"/>
                </a:moveTo>
                <a:lnTo>
                  <a:pt x="470" y="0"/>
                </a:lnTo>
                <a:lnTo>
                  <a:pt x="416" y="56"/>
                </a:lnTo>
                <a:lnTo>
                  <a:pt x="366" y="114"/>
                </a:lnTo>
                <a:lnTo>
                  <a:pt x="318" y="174"/>
                </a:lnTo>
                <a:lnTo>
                  <a:pt x="274" y="238"/>
                </a:lnTo>
                <a:lnTo>
                  <a:pt x="232" y="302"/>
                </a:lnTo>
                <a:lnTo>
                  <a:pt x="194" y="370"/>
                </a:lnTo>
                <a:lnTo>
                  <a:pt x="158" y="438"/>
                </a:lnTo>
                <a:lnTo>
                  <a:pt x="126" y="510"/>
                </a:lnTo>
                <a:lnTo>
                  <a:pt x="98" y="582"/>
                </a:lnTo>
                <a:lnTo>
                  <a:pt x="72" y="658"/>
                </a:lnTo>
                <a:lnTo>
                  <a:pt x="50" y="734"/>
                </a:lnTo>
                <a:lnTo>
                  <a:pt x="32" y="810"/>
                </a:lnTo>
                <a:lnTo>
                  <a:pt x="18" y="890"/>
                </a:lnTo>
                <a:lnTo>
                  <a:pt x="8" y="970"/>
                </a:lnTo>
                <a:lnTo>
                  <a:pt x="2" y="1052"/>
                </a:lnTo>
                <a:lnTo>
                  <a:pt x="0" y="1134"/>
                </a:lnTo>
                <a:lnTo>
                  <a:pt x="160" y="1006"/>
                </a:lnTo>
                <a:lnTo>
                  <a:pt x="320" y="878"/>
                </a:lnTo>
                <a:lnTo>
                  <a:pt x="480" y="1006"/>
                </a:lnTo>
                <a:lnTo>
                  <a:pt x="640" y="1134"/>
                </a:lnTo>
                <a:lnTo>
                  <a:pt x="640" y="1134"/>
                </a:lnTo>
                <a:lnTo>
                  <a:pt x="640" y="1134"/>
                </a:lnTo>
                <a:lnTo>
                  <a:pt x="640" y="1084"/>
                </a:lnTo>
                <a:lnTo>
                  <a:pt x="644" y="1036"/>
                </a:lnTo>
                <a:lnTo>
                  <a:pt x="650" y="988"/>
                </a:lnTo>
                <a:lnTo>
                  <a:pt x="660" y="940"/>
                </a:lnTo>
                <a:lnTo>
                  <a:pt x="670" y="894"/>
                </a:lnTo>
                <a:lnTo>
                  <a:pt x="682" y="848"/>
                </a:lnTo>
                <a:lnTo>
                  <a:pt x="698" y="804"/>
                </a:lnTo>
                <a:lnTo>
                  <a:pt x="716" y="760"/>
                </a:lnTo>
                <a:lnTo>
                  <a:pt x="734" y="716"/>
                </a:lnTo>
                <a:lnTo>
                  <a:pt x="756" y="676"/>
                </a:lnTo>
                <a:lnTo>
                  <a:pt x="780" y="636"/>
                </a:lnTo>
                <a:lnTo>
                  <a:pt x="804" y="596"/>
                </a:lnTo>
                <a:lnTo>
                  <a:pt x="832" y="558"/>
                </a:lnTo>
                <a:lnTo>
                  <a:pt x="860" y="522"/>
                </a:lnTo>
                <a:lnTo>
                  <a:pt x="890" y="488"/>
                </a:lnTo>
                <a:lnTo>
                  <a:pt x="922" y="454"/>
                </a:lnTo>
                <a:lnTo>
                  <a:pt x="922" y="454"/>
                </a:lnTo>
                <a:lnTo>
                  <a:pt x="922" y="454"/>
                </a:lnTo>
                <a:lnTo>
                  <a:pt x="922" y="454"/>
                </a:lnTo>
                <a:lnTo>
                  <a:pt x="922" y="454"/>
                </a:lnTo>
                <a:lnTo>
                  <a:pt x="922" y="452"/>
                </a:lnTo>
                <a:lnTo>
                  <a:pt x="900" y="250"/>
                </a:lnTo>
                <a:lnTo>
                  <a:pt x="878" y="48"/>
                </a:lnTo>
                <a:lnTo>
                  <a:pt x="674" y="24"/>
                </a:lnTo>
                <a:lnTo>
                  <a:pt x="472" y="2"/>
                </a:lnTo>
                <a:lnTo>
                  <a:pt x="470" y="0"/>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1" name="Freeform 8"/>
          <p:cNvSpPr>
            <a:spLocks/>
          </p:cNvSpPr>
          <p:nvPr/>
        </p:nvSpPr>
        <p:spPr bwMode="auto">
          <a:xfrm rot="18900000">
            <a:off x="6037800" y="5314847"/>
            <a:ext cx="1598151" cy="1285560"/>
          </a:xfrm>
          <a:custGeom>
            <a:avLst/>
            <a:gdLst>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7743 w 10000"/>
              <a:gd name="connsiteY19" fmla="*/ 653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9450 w 10000"/>
              <a:gd name="connsiteY18" fmla="*/ 790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00">
                <a:moveTo>
                  <a:pt x="0" y="4913"/>
                </a:moveTo>
                <a:lnTo>
                  <a:pt x="0" y="4913"/>
                </a:lnTo>
                <a:lnTo>
                  <a:pt x="494" y="5476"/>
                </a:lnTo>
                <a:lnTo>
                  <a:pt x="1005" y="6017"/>
                </a:lnTo>
                <a:lnTo>
                  <a:pt x="1534" y="6537"/>
                </a:lnTo>
                <a:lnTo>
                  <a:pt x="2081" y="7035"/>
                </a:lnTo>
                <a:lnTo>
                  <a:pt x="2663" y="7489"/>
                </a:lnTo>
                <a:lnTo>
                  <a:pt x="3263" y="7900"/>
                </a:lnTo>
                <a:lnTo>
                  <a:pt x="3862" y="8290"/>
                </a:lnTo>
                <a:lnTo>
                  <a:pt x="4497" y="8636"/>
                </a:lnTo>
                <a:lnTo>
                  <a:pt x="5132" y="8939"/>
                </a:lnTo>
                <a:lnTo>
                  <a:pt x="5785" y="9221"/>
                </a:lnTo>
                <a:lnTo>
                  <a:pt x="6455" y="9459"/>
                </a:lnTo>
                <a:lnTo>
                  <a:pt x="7143" y="9654"/>
                </a:lnTo>
                <a:lnTo>
                  <a:pt x="7848" y="9805"/>
                </a:lnTo>
                <a:lnTo>
                  <a:pt x="8554" y="9913"/>
                </a:lnTo>
                <a:lnTo>
                  <a:pt x="9259" y="9978"/>
                </a:lnTo>
                <a:lnTo>
                  <a:pt x="10000" y="10000"/>
                </a:lnTo>
                <a:lnTo>
                  <a:pt x="9450" y="7908"/>
                </a:lnTo>
                <a:cubicBezTo>
                  <a:pt x="9315" y="7211"/>
                  <a:pt x="8602" y="6874"/>
                  <a:pt x="8467" y="6177"/>
                </a:cubicBezTo>
                <a:lnTo>
                  <a:pt x="9450" y="4805"/>
                </a:lnTo>
                <a:lnTo>
                  <a:pt x="10000" y="3074"/>
                </a:lnTo>
                <a:lnTo>
                  <a:pt x="10000" y="3074"/>
                </a:lnTo>
                <a:lnTo>
                  <a:pt x="10000" y="3074"/>
                </a:lnTo>
                <a:lnTo>
                  <a:pt x="9559" y="3052"/>
                </a:lnTo>
                <a:lnTo>
                  <a:pt x="9136" y="3009"/>
                </a:lnTo>
                <a:lnTo>
                  <a:pt x="8695" y="2944"/>
                </a:lnTo>
                <a:lnTo>
                  <a:pt x="8289" y="2857"/>
                </a:lnTo>
                <a:lnTo>
                  <a:pt x="7866" y="2749"/>
                </a:lnTo>
                <a:lnTo>
                  <a:pt x="7478" y="2597"/>
                </a:lnTo>
                <a:lnTo>
                  <a:pt x="7072" y="2446"/>
                </a:lnTo>
                <a:lnTo>
                  <a:pt x="6684" y="2251"/>
                </a:lnTo>
                <a:lnTo>
                  <a:pt x="6314" y="2035"/>
                </a:lnTo>
                <a:lnTo>
                  <a:pt x="5944" y="1818"/>
                </a:lnTo>
                <a:lnTo>
                  <a:pt x="5591" y="1558"/>
                </a:lnTo>
                <a:lnTo>
                  <a:pt x="5256" y="1299"/>
                </a:lnTo>
                <a:lnTo>
                  <a:pt x="4921" y="996"/>
                </a:lnTo>
                <a:lnTo>
                  <a:pt x="4603" y="693"/>
                </a:lnTo>
                <a:lnTo>
                  <a:pt x="4286" y="368"/>
                </a:lnTo>
                <a:lnTo>
                  <a:pt x="4004" y="22"/>
                </a:lnTo>
                <a:lnTo>
                  <a:pt x="4004" y="0"/>
                </a:lnTo>
                <a:cubicBezTo>
                  <a:pt x="3998" y="7"/>
                  <a:pt x="3992" y="15"/>
                  <a:pt x="3986" y="22"/>
                </a:cubicBezTo>
                <a:lnTo>
                  <a:pt x="3986" y="22"/>
                </a:lnTo>
                <a:lnTo>
                  <a:pt x="3986" y="0"/>
                </a:lnTo>
                <a:lnTo>
                  <a:pt x="3986" y="22"/>
                </a:lnTo>
                <a:lnTo>
                  <a:pt x="2205" y="260"/>
                </a:lnTo>
                <a:lnTo>
                  <a:pt x="406" y="498"/>
                </a:lnTo>
                <a:cubicBezTo>
                  <a:pt x="341" y="1234"/>
                  <a:pt x="277" y="1970"/>
                  <a:pt x="212" y="2706"/>
                </a:cubicBezTo>
                <a:cubicBezTo>
                  <a:pt x="147" y="3435"/>
                  <a:pt x="83" y="4163"/>
                  <a:pt x="18" y="4892"/>
                </a:cubicBezTo>
                <a:lnTo>
                  <a:pt x="0" y="4913"/>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2" name="Freeform 9"/>
          <p:cNvSpPr>
            <a:spLocks/>
          </p:cNvSpPr>
          <p:nvPr/>
        </p:nvSpPr>
        <p:spPr bwMode="auto">
          <a:xfrm rot="18900000">
            <a:off x="6335451" y="1736460"/>
            <a:ext cx="1299378" cy="1938545"/>
          </a:xfrm>
          <a:custGeom>
            <a:avLst/>
            <a:gdLst>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25 w 10000"/>
              <a:gd name="connsiteY19" fmla="*/ 2959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372 w 10000"/>
              <a:gd name="connsiteY19" fmla="*/ 2924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24">
                <a:moveTo>
                  <a:pt x="10000" y="8182"/>
                </a:moveTo>
                <a:lnTo>
                  <a:pt x="10000" y="8182"/>
                </a:lnTo>
                <a:cubicBezTo>
                  <a:pt x="9993" y="8000"/>
                  <a:pt x="9985" y="7818"/>
                  <a:pt x="9978" y="7636"/>
                </a:cubicBezTo>
                <a:cubicBezTo>
                  <a:pt x="9956" y="7454"/>
                  <a:pt x="9935" y="7271"/>
                  <a:pt x="9913" y="7089"/>
                </a:cubicBezTo>
                <a:lnTo>
                  <a:pt x="9826" y="6528"/>
                </a:lnTo>
                <a:cubicBezTo>
                  <a:pt x="9776" y="6346"/>
                  <a:pt x="9725" y="6163"/>
                  <a:pt x="9675" y="5981"/>
                </a:cubicBezTo>
                <a:lnTo>
                  <a:pt x="9501" y="5448"/>
                </a:lnTo>
                <a:cubicBezTo>
                  <a:pt x="9429" y="5266"/>
                  <a:pt x="9356" y="5084"/>
                  <a:pt x="9284" y="4902"/>
                </a:cubicBezTo>
                <a:lnTo>
                  <a:pt x="9024" y="4369"/>
                </a:lnTo>
                <a:lnTo>
                  <a:pt x="8720" y="3851"/>
                </a:lnTo>
                <a:lnTo>
                  <a:pt x="8395" y="3333"/>
                </a:lnTo>
                <a:lnTo>
                  <a:pt x="8004" y="2830"/>
                </a:lnTo>
                <a:lnTo>
                  <a:pt x="7592" y="2326"/>
                </a:lnTo>
                <a:lnTo>
                  <a:pt x="7137" y="1837"/>
                </a:lnTo>
                <a:lnTo>
                  <a:pt x="6638" y="1362"/>
                </a:lnTo>
                <a:lnTo>
                  <a:pt x="6095" y="902"/>
                </a:lnTo>
                <a:lnTo>
                  <a:pt x="5531" y="456"/>
                </a:lnTo>
                <a:lnTo>
                  <a:pt x="4867" y="0"/>
                </a:lnTo>
                <a:cubicBezTo>
                  <a:pt x="4799" y="497"/>
                  <a:pt x="4714" y="936"/>
                  <a:pt x="4646" y="1433"/>
                </a:cubicBezTo>
                <a:cubicBezTo>
                  <a:pt x="4566" y="1922"/>
                  <a:pt x="4452" y="2435"/>
                  <a:pt x="4372" y="2924"/>
                </a:cubicBezTo>
                <a:lnTo>
                  <a:pt x="2213" y="3118"/>
                </a:lnTo>
                <a:lnTo>
                  <a:pt x="0" y="3276"/>
                </a:lnTo>
                <a:lnTo>
                  <a:pt x="0" y="3290"/>
                </a:lnTo>
                <a:lnTo>
                  <a:pt x="0" y="3290"/>
                </a:lnTo>
                <a:lnTo>
                  <a:pt x="369" y="3549"/>
                </a:lnTo>
                <a:lnTo>
                  <a:pt x="716" y="3808"/>
                </a:lnTo>
                <a:lnTo>
                  <a:pt x="1041" y="4082"/>
                </a:lnTo>
                <a:lnTo>
                  <a:pt x="1345" y="4369"/>
                </a:lnTo>
                <a:lnTo>
                  <a:pt x="1605" y="4657"/>
                </a:lnTo>
                <a:lnTo>
                  <a:pt x="1866" y="4959"/>
                </a:lnTo>
                <a:lnTo>
                  <a:pt x="2082" y="5261"/>
                </a:lnTo>
                <a:cubicBezTo>
                  <a:pt x="2154" y="5367"/>
                  <a:pt x="2227" y="5472"/>
                  <a:pt x="2299" y="5578"/>
                </a:cubicBezTo>
                <a:lnTo>
                  <a:pt x="2473" y="5895"/>
                </a:lnTo>
                <a:cubicBezTo>
                  <a:pt x="2524" y="6000"/>
                  <a:pt x="2574" y="6106"/>
                  <a:pt x="2625" y="6211"/>
                </a:cubicBezTo>
                <a:cubicBezTo>
                  <a:pt x="2668" y="6317"/>
                  <a:pt x="2712" y="6422"/>
                  <a:pt x="2755" y="6528"/>
                </a:cubicBezTo>
                <a:lnTo>
                  <a:pt x="2863" y="6859"/>
                </a:lnTo>
                <a:lnTo>
                  <a:pt x="2950" y="7189"/>
                </a:lnTo>
                <a:cubicBezTo>
                  <a:pt x="2964" y="7299"/>
                  <a:pt x="2979" y="7410"/>
                  <a:pt x="2993" y="7520"/>
                </a:cubicBezTo>
                <a:cubicBezTo>
                  <a:pt x="3008" y="7630"/>
                  <a:pt x="3022" y="7741"/>
                  <a:pt x="3037" y="7851"/>
                </a:cubicBezTo>
                <a:cubicBezTo>
                  <a:pt x="3044" y="7961"/>
                  <a:pt x="3052" y="8072"/>
                  <a:pt x="3059" y="8182"/>
                </a:cubicBezTo>
                <a:lnTo>
                  <a:pt x="3037" y="8182"/>
                </a:lnTo>
                <a:lnTo>
                  <a:pt x="3059" y="8182"/>
                </a:lnTo>
                <a:lnTo>
                  <a:pt x="3059" y="8182"/>
                </a:lnTo>
                <a:lnTo>
                  <a:pt x="3059" y="8182"/>
                </a:lnTo>
                <a:lnTo>
                  <a:pt x="3059" y="8182"/>
                </a:lnTo>
                <a:lnTo>
                  <a:pt x="4772" y="9103"/>
                </a:lnTo>
                <a:lnTo>
                  <a:pt x="6508" y="10024"/>
                </a:lnTo>
                <a:lnTo>
                  <a:pt x="8243" y="9103"/>
                </a:lnTo>
                <a:lnTo>
                  <a:pt x="9978" y="8182"/>
                </a:lnTo>
                <a:lnTo>
                  <a:pt x="10000" y="8182"/>
                </a:lnTo>
                <a:close/>
              </a:path>
            </a:pathLst>
          </a:custGeom>
          <a:solidFill>
            <a:schemeClr val="tx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3" name="Freeform 10"/>
          <p:cNvSpPr>
            <a:spLocks/>
          </p:cNvSpPr>
          <p:nvPr/>
        </p:nvSpPr>
        <p:spPr bwMode="auto">
          <a:xfrm rot="18900000">
            <a:off x="6859358" y="4319651"/>
            <a:ext cx="1958936" cy="1282777"/>
          </a:xfrm>
          <a:custGeom>
            <a:avLst/>
            <a:gdLst/>
            <a:ahLst/>
            <a:cxnLst>
              <a:cxn ang="0">
                <a:pos x="256" y="922"/>
              </a:cxn>
              <a:cxn ang="0">
                <a:pos x="256" y="922"/>
              </a:cxn>
              <a:cxn ang="0">
                <a:pos x="332" y="920"/>
              </a:cxn>
              <a:cxn ang="0">
                <a:pos x="408" y="914"/>
              </a:cxn>
              <a:cxn ang="0">
                <a:pos x="486" y="906"/>
              </a:cxn>
              <a:cxn ang="0">
                <a:pos x="562" y="892"/>
              </a:cxn>
              <a:cxn ang="0">
                <a:pos x="636" y="876"/>
              </a:cxn>
              <a:cxn ang="0">
                <a:pos x="712" y="856"/>
              </a:cxn>
              <a:cxn ang="0">
                <a:pos x="786" y="832"/>
              </a:cxn>
              <a:cxn ang="0">
                <a:pos x="858" y="804"/>
              </a:cxn>
              <a:cxn ang="0">
                <a:pos x="930" y="774"/>
              </a:cxn>
              <a:cxn ang="0">
                <a:pos x="1000" y="738"/>
              </a:cxn>
              <a:cxn ang="0">
                <a:pos x="1070" y="700"/>
              </a:cxn>
              <a:cxn ang="0">
                <a:pos x="1138" y="658"/>
              </a:cxn>
              <a:cxn ang="0">
                <a:pos x="1204" y="612"/>
              </a:cxn>
              <a:cxn ang="0">
                <a:pos x="1268" y="562"/>
              </a:cxn>
              <a:cxn ang="0">
                <a:pos x="1330" y="510"/>
              </a:cxn>
              <a:cxn ang="0">
                <a:pos x="1390" y="452"/>
              </a:cxn>
              <a:cxn ang="0">
                <a:pos x="1186" y="430"/>
              </a:cxn>
              <a:cxn ang="0">
                <a:pos x="982" y="408"/>
              </a:cxn>
              <a:cxn ang="0">
                <a:pos x="960" y="204"/>
              </a:cxn>
              <a:cxn ang="0">
                <a:pos x="938" y="0"/>
              </a:cxn>
              <a:cxn ang="0">
                <a:pos x="936" y="0"/>
              </a:cxn>
              <a:cxn ang="0">
                <a:pos x="936" y="0"/>
              </a:cxn>
              <a:cxn ang="0">
                <a:pos x="900" y="34"/>
              </a:cxn>
              <a:cxn ang="0">
                <a:pos x="864" y="66"/>
              </a:cxn>
              <a:cxn ang="0">
                <a:pos x="826" y="96"/>
              </a:cxn>
              <a:cxn ang="0">
                <a:pos x="786" y="124"/>
              </a:cxn>
              <a:cxn ang="0">
                <a:pos x="746" y="148"/>
              </a:cxn>
              <a:cxn ang="0">
                <a:pos x="704" y="172"/>
              </a:cxn>
              <a:cxn ang="0">
                <a:pos x="662" y="192"/>
              </a:cxn>
              <a:cxn ang="0">
                <a:pos x="618" y="212"/>
              </a:cxn>
              <a:cxn ang="0">
                <a:pos x="574" y="228"/>
              </a:cxn>
              <a:cxn ang="0">
                <a:pos x="530" y="242"/>
              </a:cxn>
              <a:cxn ang="0">
                <a:pos x="486" y="254"/>
              </a:cxn>
              <a:cxn ang="0">
                <a:pos x="440" y="264"/>
              </a:cxn>
              <a:cxn ang="0">
                <a:pos x="394" y="272"/>
              </a:cxn>
              <a:cxn ang="0">
                <a:pos x="348" y="278"/>
              </a:cxn>
              <a:cxn ang="0">
                <a:pos x="302" y="280"/>
              </a:cxn>
              <a:cxn ang="0">
                <a:pos x="256" y="282"/>
              </a:cxn>
              <a:cxn ang="0">
                <a:pos x="256" y="282"/>
              </a:cxn>
              <a:cxn ang="0">
                <a:pos x="256" y="282"/>
              </a:cxn>
              <a:cxn ang="0">
                <a:pos x="256" y="282"/>
              </a:cxn>
              <a:cxn ang="0">
                <a:pos x="256" y="282"/>
              </a:cxn>
              <a:cxn ang="0">
                <a:pos x="256" y="282"/>
              </a:cxn>
              <a:cxn ang="0">
                <a:pos x="128" y="440"/>
              </a:cxn>
              <a:cxn ang="0">
                <a:pos x="0" y="600"/>
              </a:cxn>
              <a:cxn ang="0">
                <a:pos x="128" y="760"/>
              </a:cxn>
              <a:cxn ang="0">
                <a:pos x="256" y="920"/>
              </a:cxn>
              <a:cxn ang="0">
                <a:pos x="256" y="922"/>
              </a:cxn>
            </a:cxnLst>
            <a:rect l="0" t="0" r="r" b="b"/>
            <a:pathLst>
              <a:path w="1390" h="922">
                <a:moveTo>
                  <a:pt x="256" y="922"/>
                </a:moveTo>
                <a:lnTo>
                  <a:pt x="256" y="922"/>
                </a:lnTo>
                <a:lnTo>
                  <a:pt x="332" y="920"/>
                </a:lnTo>
                <a:lnTo>
                  <a:pt x="408" y="914"/>
                </a:lnTo>
                <a:lnTo>
                  <a:pt x="486" y="906"/>
                </a:lnTo>
                <a:lnTo>
                  <a:pt x="562" y="892"/>
                </a:lnTo>
                <a:lnTo>
                  <a:pt x="636" y="876"/>
                </a:lnTo>
                <a:lnTo>
                  <a:pt x="712" y="856"/>
                </a:lnTo>
                <a:lnTo>
                  <a:pt x="786" y="832"/>
                </a:lnTo>
                <a:lnTo>
                  <a:pt x="858" y="804"/>
                </a:lnTo>
                <a:lnTo>
                  <a:pt x="930" y="774"/>
                </a:lnTo>
                <a:lnTo>
                  <a:pt x="1000" y="738"/>
                </a:lnTo>
                <a:lnTo>
                  <a:pt x="1070" y="700"/>
                </a:lnTo>
                <a:lnTo>
                  <a:pt x="1138" y="658"/>
                </a:lnTo>
                <a:lnTo>
                  <a:pt x="1204" y="612"/>
                </a:lnTo>
                <a:lnTo>
                  <a:pt x="1268" y="562"/>
                </a:lnTo>
                <a:lnTo>
                  <a:pt x="1330" y="510"/>
                </a:lnTo>
                <a:lnTo>
                  <a:pt x="1390" y="452"/>
                </a:lnTo>
                <a:lnTo>
                  <a:pt x="1186" y="430"/>
                </a:lnTo>
                <a:lnTo>
                  <a:pt x="982" y="408"/>
                </a:lnTo>
                <a:lnTo>
                  <a:pt x="960" y="204"/>
                </a:lnTo>
                <a:lnTo>
                  <a:pt x="938" y="0"/>
                </a:lnTo>
                <a:lnTo>
                  <a:pt x="936" y="0"/>
                </a:lnTo>
                <a:lnTo>
                  <a:pt x="936" y="0"/>
                </a:lnTo>
                <a:lnTo>
                  <a:pt x="900" y="34"/>
                </a:lnTo>
                <a:lnTo>
                  <a:pt x="864" y="66"/>
                </a:lnTo>
                <a:lnTo>
                  <a:pt x="826" y="96"/>
                </a:lnTo>
                <a:lnTo>
                  <a:pt x="786" y="124"/>
                </a:lnTo>
                <a:lnTo>
                  <a:pt x="746" y="148"/>
                </a:lnTo>
                <a:lnTo>
                  <a:pt x="704" y="172"/>
                </a:lnTo>
                <a:lnTo>
                  <a:pt x="662" y="192"/>
                </a:lnTo>
                <a:lnTo>
                  <a:pt x="618" y="212"/>
                </a:lnTo>
                <a:lnTo>
                  <a:pt x="574" y="228"/>
                </a:lnTo>
                <a:lnTo>
                  <a:pt x="530" y="242"/>
                </a:lnTo>
                <a:lnTo>
                  <a:pt x="486" y="254"/>
                </a:lnTo>
                <a:lnTo>
                  <a:pt x="440" y="264"/>
                </a:lnTo>
                <a:lnTo>
                  <a:pt x="394" y="272"/>
                </a:lnTo>
                <a:lnTo>
                  <a:pt x="348" y="278"/>
                </a:lnTo>
                <a:lnTo>
                  <a:pt x="302" y="280"/>
                </a:lnTo>
                <a:lnTo>
                  <a:pt x="256" y="282"/>
                </a:lnTo>
                <a:lnTo>
                  <a:pt x="256" y="282"/>
                </a:lnTo>
                <a:lnTo>
                  <a:pt x="256" y="282"/>
                </a:lnTo>
                <a:lnTo>
                  <a:pt x="256" y="282"/>
                </a:lnTo>
                <a:lnTo>
                  <a:pt x="256" y="282"/>
                </a:lnTo>
                <a:lnTo>
                  <a:pt x="256" y="282"/>
                </a:lnTo>
                <a:lnTo>
                  <a:pt x="128" y="440"/>
                </a:lnTo>
                <a:lnTo>
                  <a:pt x="0" y="600"/>
                </a:lnTo>
                <a:lnTo>
                  <a:pt x="128" y="760"/>
                </a:lnTo>
                <a:lnTo>
                  <a:pt x="256" y="920"/>
                </a:lnTo>
                <a:lnTo>
                  <a:pt x="256" y="922"/>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0" name="TextBox 79"/>
          <p:cNvSpPr txBox="1"/>
          <p:nvPr/>
        </p:nvSpPr>
        <p:spPr>
          <a:xfrm rot="4616507">
            <a:off x="6914659" y="3737147"/>
            <a:ext cx="1804435" cy="372313"/>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MONITOR</a:t>
            </a:r>
          </a:p>
        </p:txBody>
      </p:sp>
      <p:sp>
        <p:nvSpPr>
          <p:cNvPr id="81" name="TextBox 80"/>
          <p:cNvSpPr txBox="1"/>
          <p:nvPr/>
        </p:nvSpPr>
        <p:spPr>
          <a:xfrm rot="3169266">
            <a:off x="4173967" y="5106382"/>
            <a:ext cx="1569867" cy="372312"/>
          </a:xfrm>
          <a:prstGeom prst="rect">
            <a:avLst/>
          </a:prstGeom>
          <a:noFill/>
        </p:spPr>
        <p:txBody>
          <a:bodyPr wrap="square" rtlCol="0">
            <a:prstTxWarp prst="textArchDown">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SECURE</a:t>
            </a:r>
          </a:p>
        </p:txBody>
      </p:sp>
      <p:sp>
        <p:nvSpPr>
          <p:cNvPr id="82" name="TextBox 81"/>
          <p:cNvSpPr txBox="1"/>
          <p:nvPr/>
        </p:nvSpPr>
        <p:spPr>
          <a:xfrm rot="19153604">
            <a:off x="6462950" y="5392513"/>
            <a:ext cx="1639136" cy="372314"/>
          </a:xfrm>
          <a:prstGeom prst="rect">
            <a:avLst/>
          </a:prstGeom>
          <a:noFill/>
        </p:spPr>
        <p:txBody>
          <a:bodyPr wrap="square" rtlCol="0">
            <a:prstTxWarp prst="textArchDown">
              <a:avLst>
                <a:gd name="adj" fmla="val 2062271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PROTECT</a:t>
            </a:r>
          </a:p>
        </p:txBody>
      </p:sp>
      <p:sp>
        <p:nvSpPr>
          <p:cNvPr id="83" name="TextBox 82"/>
          <p:cNvSpPr txBox="1"/>
          <p:nvPr/>
        </p:nvSpPr>
        <p:spPr>
          <a:xfrm rot="18160028">
            <a:off x="4124232" y="3283209"/>
            <a:ext cx="1628467" cy="372312"/>
          </a:xfrm>
          <a:prstGeom prst="rect">
            <a:avLst/>
          </a:prstGeom>
          <a:noFill/>
        </p:spPr>
        <p:txBody>
          <a:bodyPr wrap="square" rtlCol="0">
            <a:prstTxWarp prst="textArchUp">
              <a:avLst>
                <a:gd name="adj" fmla="val 973106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GOVERN</a:t>
            </a:r>
          </a:p>
        </p:txBody>
      </p:sp>
      <p:sp>
        <p:nvSpPr>
          <p:cNvPr id="84" name="TextBox 83"/>
          <p:cNvSpPr txBox="1"/>
          <p:nvPr/>
        </p:nvSpPr>
        <p:spPr>
          <a:xfrm rot="20450695">
            <a:off x="5229208" y="2570776"/>
            <a:ext cx="1341332" cy="406662"/>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BUILD</a:t>
            </a:r>
          </a:p>
        </p:txBody>
      </p:sp>
      <p:sp>
        <p:nvSpPr>
          <p:cNvPr id="85" name="TextBox 84"/>
          <p:cNvSpPr txBox="1"/>
          <p:nvPr/>
        </p:nvSpPr>
        <p:spPr>
          <a:xfrm rot="1872841">
            <a:off x="6230211" y="2716486"/>
            <a:ext cx="1691266" cy="459917"/>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CONFIG</a:t>
            </a:r>
          </a:p>
        </p:txBody>
      </p:sp>
      <p:cxnSp>
        <p:nvCxnSpPr>
          <p:cNvPr id="119" name="Straight Connector 118"/>
          <p:cNvCxnSpPr/>
          <p:nvPr/>
        </p:nvCxnSpPr>
        <p:spPr>
          <a:xfrm>
            <a:off x="425855" y="1287462"/>
            <a:ext cx="11584765" cy="0"/>
          </a:xfrm>
          <a:prstGeom prst="line">
            <a:avLst/>
          </a:prstGeom>
          <a:ln w="28575">
            <a:solidFill>
              <a:schemeClr val="tx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5548219" y="3734387"/>
            <a:ext cx="1458827" cy="985741"/>
          </a:xfrm>
          <a:prstGeom prst="rect">
            <a:avLst/>
          </a:prstGeom>
        </p:spPr>
      </p:pic>
      <p:grpSp>
        <p:nvGrpSpPr>
          <p:cNvPr id="24" name="Group 23"/>
          <p:cNvGrpSpPr/>
          <p:nvPr/>
        </p:nvGrpSpPr>
        <p:grpSpPr>
          <a:xfrm>
            <a:off x="8713625" y="5529040"/>
            <a:ext cx="2795159" cy="1280590"/>
            <a:chOff x="8682339" y="5016132"/>
            <a:chExt cx="2795159" cy="1280590"/>
          </a:xfrm>
          <a:noFill/>
        </p:grpSpPr>
        <p:pic>
          <p:nvPicPr>
            <p:cNvPr id="9" name="Picture 8"/>
            <p:cNvPicPr>
              <a:picLocks noChangeAspect="1"/>
            </p:cNvPicPr>
            <p:nvPr/>
          </p:nvPicPr>
          <p:blipFill>
            <a:blip r:embed="rId4"/>
            <a:stretch>
              <a:fillRect/>
            </a:stretch>
          </p:blipFill>
          <p:spPr>
            <a:xfrm>
              <a:off x="10867471" y="5686695"/>
              <a:ext cx="610027" cy="610027"/>
            </a:xfrm>
            <a:prstGeom prst="rect">
              <a:avLst/>
            </a:prstGeom>
            <a:grpFill/>
          </p:spPr>
        </p:pic>
        <p:pic>
          <p:nvPicPr>
            <p:cNvPr id="13" name="Picture 12"/>
            <p:cNvPicPr>
              <a:picLocks noChangeAspect="1"/>
            </p:cNvPicPr>
            <p:nvPr/>
          </p:nvPicPr>
          <p:blipFill>
            <a:blip r:embed="rId5"/>
            <a:stretch>
              <a:fillRect/>
            </a:stretch>
          </p:blipFill>
          <p:spPr>
            <a:xfrm>
              <a:off x="10867471" y="5016132"/>
              <a:ext cx="610027" cy="610027"/>
            </a:xfrm>
            <a:prstGeom prst="rect">
              <a:avLst/>
            </a:prstGeom>
            <a:grpFill/>
          </p:spPr>
        </p:pic>
        <p:sp>
          <p:nvSpPr>
            <p:cNvPr id="131" name="TextBox 130"/>
            <p:cNvSpPr txBox="1"/>
            <p:nvPr/>
          </p:nvSpPr>
          <p:spPr>
            <a:xfrm>
              <a:off x="8682339" y="5079989"/>
              <a:ext cx="2553874" cy="1173120"/>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Protect</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Backup</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Site Recovery</a:t>
              </a:r>
            </a:p>
          </p:txBody>
        </p:sp>
      </p:grpSp>
      <p:grpSp>
        <p:nvGrpSpPr>
          <p:cNvPr id="21" name="Group 20"/>
          <p:cNvGrpSpPr/>
          <p:nvPr/>
        </p:nvGrpSpPr>
        <p:grpSpPr>
          <a:xfrm>
            <a:off x="8732972" y="3425254"/>
            <a:ext cx="2833456" cy="1298896"/>
            <a:chOff x="8732466" y="3071900"/>
            <a:chExt cx="2833456" cy="1298896"/>
          </a:xfrm>
          <a:noFill/>
        </p:grpSpPr>
        <p:pic>
          <p:nvPicPr>
            <p:cNvPr id="17" name="Picture 16"/>
            <p:cNvPicPr>
              <a:picLocks noChangeAspect="1"/>
            </p:cNvPicPr>
            <p:nvPr/>
          </p:nvPicPr>
          <p:blipFill>
            <a:blip r:embed="rId6"/>
            <a:stretch>
              <a:fillRect/>
            </a:stretch>
          </p:blipFill>
          <p:spPr>
            <a:xfrm>
              <a:off x="10903383" y="3071900"/>
              <a:ext cx="662539" cy="662539"/>
            </a:xfrm>
            <a:prstGeom prst="rect">
              <a:avLst/>
            </a:prstGeom>
            <a:grpFill/>
          </p:spPr>
        </p:pic>
        <p:pic>
          <p:nvPicPr>
            <p:cNvPr id="18" name="Picture 17"/>
            <p:cNvPicPr>
              <a:picLocks noChangeAspect="1"/>
            </p:cNvPicPr>
            <p:nvPr/>
          </p:nvPicPr>
          <p:blipFill>
            <a:blip r:embed="rId7"/>
            <a:stretch>
              <a:fillRect/>
            </a:stretch>
          </p:blipFill>
          <p:spPr>
            <a:xfrm>
              <a:off x="10975614" y="3822962"/>
              <a:ext cx="547834" cy="547834"/>
            </a:xfrm>
            <a:prstGeom prst="rect">
              <a:avLst/>
            </a:prstGeom>
            <a:grpFill/>
          </p:spPr>
        </p:pic>
        <p:sp>
          <p:nvSpPr>
            <p:cNvPr id="157" name="TextBox 156"/>
            <p:cNvSpPr txBox="1"/>
            <p:nvPr/>
          </p:nvSpPr>
          <p:spPr>
            <a:xfrm>
              <a:off x="8732466" y="3107682"/>
              <a:ext cx="2174399" cy="1227897"/>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Monitor</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pp Insight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OMS Log Analytic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Monitoring</a:t>
              </a:r>
            </a:p>
          </p:txBody>
        </p:sp>
      </p:grpSp>
      <p:grpSp>
        <p:nvGrpSpPr>
          <p:cNvPr id="16" name="Group 15"/>
          <p:cNvGrpSpPr/>
          <p:nvPr/>
        </p:nvGrpSpPr>
        <p:grpSpPr>
          <a:xfrm>
            <a:off x="1014045" y="1455060"/>
            <a:ext cx="3524992" cy="1311076"/>
            <a:chOff x="1317269" y="1409030"/>
            <a:chExt cx="3524992" cy="1311076"/>
          </a:xfrm>
        </p:grpSpPr>
        <p:pic>
          <p:nvPicPr>
            <p:cNvPr id="2" name="Picture 1"/>
            <p:cNvPicPr>
              <a:picLocks noChangeAspect="1"/>
            </p:cNvPicPr>
            <p:nvPr/>
          </p:nvPicPr>
          <p:blipFill>
            <a:blip r:embed="rId8"/>
            <a:stretch>
              <a:fillRect/>
            </a:stretch>
          </p:blipFill>
          <p:spPr>
            <a:xfrm>
              <a:off x="1343608" y="1409030"/>
              <a:ext cx="551233" cy="551233"/>
            </a:xfrm>
            <a:prstGeom prst="rect">
              <a:avLst/>
            </a:prstGeom>
            <a:noFill/>
          </p:spPr>
        </p:pic>
        <p:pic>
          <p:nvPicPr>
            <p:cNvPr id="5" name="Picture 4"/>
            <p:cNvPicPr>
              <a:picLocks noChangeAspect="1"/>
            </p:cNvPicPr>
            <p:nvPr/>
          </p:nvPicPr>
          <p:blipFill>
            <a:blip r:embed="rId9"/>
            <a:stretch>
              <a:fillRect/>
            </a:stretch>
          </p:blipFill>
          <p:spPr>
            <a:xfrm>
              <a:off x="1317269" y="2092295"/>
              <a:ext cx="569669" cy="569669"/>
            </a:xfrm>
            <a:prstGeom prst="rect">
              <a:avLst/>
            </a:prstGeom>
            <a:noFill/>
          </p:spPr>
        </p:pic>
        <p:sp>
          <p:nvSpPr>
            <p:cNvPr id="8" name="TextBox 7"/>
            <p:cNvSpPr txBox="1"/>
            <p:nvPr/>
          </p:nvSpPr>
          <p:spPr>
            <a:xfrm>
              <a:off x="2062518" y="1449131"/>
              <a:ext cx="2779743" cy="1270975"/>
            </a:xfrm>
            <a:prstGeom prst="rect">
              <a:avLst/>
            </a:prstGeom>
            <a:noFill/>
          </p:spPr>
          <p:txBody>
            <a:bodyPr wrap="square" lIns="36000" tIns="0" rIns="0" bIns="0" rtlCol="0" anchor="ctr">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Build &amp; DevOp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Visual Studio Team Servic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RM Templat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t>
              </a:r>
              <a:r>
                <a:rPr kumimoji="0" lang="en-GB" sz="1600" b="0" i="0" u="none" strike="noStrike" kern="1200" cap="none" spc="0" normalizeH="0" baseline="0" noProof="0" err="1">
                  <a:ln>
                    <a:noFill/>
                  </a:ln>
                  <a:solidFill>
                    <a:srgbClr val="F8F8F8">
                      <a:lumMod val="25000"/>
                    </a:srgbClr>
                  </a:solidFill>
                  <a:effectLst/>
                  <a:uLnTx/>
                  <a:uFillTx/>
                  <a:latin typeface="Segoe UI"/>
                  <a:ea typeface="+mn-ea"/>
                  <a:cs typeface="+mn-cs"/>
                </a:rPr>
                <a:t>DevTest</a:t>
              </a: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 Labs</a:t>
              </a:r>
            </a:p>
          </p:txBody>
        </p:sp>
      </p:grpSp>
      <p:grpSp>
        <p:nvGrpSpPr>
          <p:cNvPr id="25" name="Group 24"/>
          <p:cNvGrpSpPr/>
          <p:nvPr/>
        </p:nvGrpSpPr>
        <p:grpSpPr>
          <a:xfrm>
            <a:off x="991686" y="5441478"/>
            <a:ext cx="3384256" cy="1407824"/>
            <a:chOff x="1294910" y="5545822"/>
            <a:chExt cx="3384256" cy="1407824"/>
          </a:xfrm>
          <a:noFill/>
        </p:grpSpPr>
        <p:pic>
          <p:nvPicPr>
            <p:cNvPr id="15" name="Picture 14"/>
            <p:cNvPicPr>
              <a:picLocks noChangeAspect="1"/>
            </p:cNvPicPr>
            <p:nvPr/>
          </p:nvPicPr>
          <p:blipFill>
            <a:blip r:embed="rId10"/>
            <a:stretch>
              <a:fillRect/>
            </a:stretch>
          </p:blipFill>
          <p:spPr>
            <a:xfrm>
              <a:off x="1294910" y="6305018"/>
              <a:ext cx="648628" cy="648628"/>
            </a:xfrm>
            <a:prstGeom prst="rect">
              <a:avLst/>
            </a:prstGeom>
            <a:grpFill/>
          </p:spPr>
        </p:pic>
        <p:sp>
          <p:nvSpPr>
            <p:cNvPr id="130" name="TextBox 129"/>
            <p:cNvSpPr txBox="1"/>
            <p:nvPr/>
          </p:nvSpPr>
          <p:spPr>
            <a:xfrm>
              <a:off x="2057060" y="5606170"/>
              <a:ext cx="2622106" cy="1244564"/>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Secu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i="0" u="none" strike="noStrike" kern="1200" cap="none" spc="0" normalizeH="0" baseline="0" noProof="0">
                  <a:ln>
                    <a:noFill/>
                  </a:ln>
                  <a:solidFill>
                    <a:srgbClr val="F8F8F8">
                      <a:lumMod val="25000"/>
                    </a:srgbClr>
                  </a:solidFill>
                  <a:effectLst/>
                  <a:uLnTx/>
                  <a:uFillTx/>
                  <a:latin typeface="Segoe UI"/>
                  <a:ea typeface="+mn-ea"/>
                  <a:cs typeface="+mn-cs"/>
                </a:rPr>
                <a:t>Azure Security Cent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Key-vault</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Network Security Groups</a:t>
              </a:r>
            </a:p>
          </p:txBody>
        </p:sp>
        <p:pic>
          <p:nvPicPr>
            <p:cNvPr id="19" name="Picture 18"/>
            <p:cNvPicPr>
              <a:picLocks noChangeAspect="1"/>
            </p:cNvPicPr>
            <p:nvPr/>
          </p:nvPicPr>
          <p:blipFill>
            <a:blip r:embed="rId11"/>
            <a:stretch>
              <a:fillRect/>
            </a:stretch>
          </p:blipFill>
          <p:spPr>
            <a:xfrm>
              <a:off x="1310498" y="5545822"/>
              <a:ext cx="617453" cy="617453"/>
            </a:xfrm>
            <a:prstGeom prst="rect">
              <a:avLst/>
            </a:prstGeom>
            <a:grpFill/>
          </p:spPr>
        </p:pic>
      </p:grpSp>
      <p:grpSp>
        <p:nvGrpSpPr>
          <p:cNvPr id="26" name="Group 25"/>
          <p:cNvGrpSpPr/>
          <p:nvPr/>
        </p:nvGrpSpPr>
        <p:grpSpPr>
          <a:xfrm>
            <a:off x="998050" y="3497262"/>
            <a:ext cx="2959410" cy="1339974"/>
            <a:chOff x="1301274" y="3641278"/>
            <a:chExt cx="2959410" cy="1339974"/>
          </a:xfrm>
        </p:grpSpPr>
        <p:sp>
          <p:nvSpPr>
            <p:cNvPr id="138" name="TextBox 137"/>
            <p:cNvSpPr txBox="1"/>
            <p:nvPr/>
          </p:nvSpPr>
          <p:spPr>
            <a:xfrm>
              <a:off x="2057060" y="3702873"/>
              <a:ext cx="2203624" cy="1199588"/>
            </a:xfrm>
            <a:prstGeom prst="rect">
              <a:avLst/>
            </a:prstGeom>
            <a:no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Govern</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Billing Hub</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Resource Polici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dvisor</a:t>
              </a:r>
            </a:p>
          </p:txBody>
        </p:sp>
        <p:pic>
          <p:nvPicPr>
            <p:cNvPr id="4" name="Picture 3"/>
            <p:cNvPicPr>
              <a:picLocks noChangeAspect="1"/>
            </p:cNvPicPr>
            <p:nvPr/>
          </p:nvPicPr>
          <p:blipFill>
            <a:blip r:embed="rId12"/>
            <a:stretch>
              <a:fillRect/>
            </a:stretch>
          </p:blipFill>
          <p:spPr>
            <a:xfrm>
              <a:off x="1312022" y="4345742"/>
              <a:ext cx="614405" cy="635510"/>
            </a:xfrm>
            <a:prstGeom prst="rect">
              <a:avLst/>
            </a:prstGeom>
          </p:spPr>
        </p:pic>
        <p:pic>
          <p:nvPicPr>
            <p:cNvPr id="6" name="Picture 5"/>
            <p:cNvPicPr>
              <a:picLocks noChangeAspect="1"/>
            </p:cNvPicPr>
            <p:nvPr/>
          </p:nvPicPr>
          <p:blipFill>
            <a:blip r:embed="rId13"/>
            <a:stretch>
              <a:fillRect/>
            </a:stretch>
          </p:blipFill>
          <p:spPr>
            <a:xfrm>
              <a:off x="1301274" y="3641278"/>
              <a:ext cx="635900" cy="635900"/>
            </a:xfrm>
            <a:prstGeom prst="rect">
              <a:avLst/>
            </a:prstGeom>
          </p:spPr>
        </p:pic>
      </p:grpSp>
      <p:grpSp>
        <p:nvGrpSpPr>
          <p:cNvPr id="20" name="Group 19"/>
          <p:cNvGrpSpPr/>
          <p:nvPr/>
        </p:nvGrpSpPr>
        <p:grpSpPr>
          <a:xfrm>
            <a:off x="8651573" y="1381549"/>
            <a:ext cx="2849326" cy="1274982"/>
            <a:chOff x="8674607" y="1482047"/>
            <a:chExt cx="2849326" cy="1274982"/>
          </a:xfrm>
          <a:noFill/>
        </p:grpSpPr>
        <p:sp>
          <p:nvSpPr>
            <p:cNvPr id="158" name="TextBox 157"/>
            <p:cNvSpPr txBox="1"/>
            <p:nvPr/>
          </p:nvSpPr>
          <p:spPr>
            <a:xfrm>
              <a:off x="8674607" y="1548888"/>
              <a:ext cx="2813472" cy="1208141"/>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Configu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utomation</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Desired State Config</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RM Templates</a:t>
              </a:r>
            </a:p>
          </p:txBody>
        </p:sp>
        <p:pic>
          <p:nvPicPr>
            <p:cNvPr id="11" name="Picture 10"/>
            <p:cNvPicPr>
              <a:picLocks noChangeAspect="1"/>
            </p:cNvPicPr>
            <p:nvPr/>
          </p:nvPicPr>
          <p:blipFill>
            <a:blip r:embed="rId14"/>
            <a:stretch>
              <a:fillRect/>
            </a:stretch>
          </p:blipFill>
          <p:spPr>
            <a:xfrm>
              <a:off x="10999154" y="2184492"/>
              <a:ext cx="506852" cy="506852"/>
            </a:xfrm>
            <a:prstGeom prst="rect">
              <a:avLst/>
            </a:prstGeom>
            <a:grpFill/>
          </p:spPr>
        </p:pic>
        <p:pic>
          <p:nvPicPr>
            <p:cNvPr id="12" name="Picture 11"/>
            <p:cNvPicPr>
              <a:picLocks noChangeAspect="1"/>
            </p:cNvPicPr>
            <p:nvPr/>
          </p:nvPicPr>
          <p:blipFill>
            <a:blip r:embed="rId15"/>
            <a:stretch>
              <a:fillRect/>
            </a:stretch>
          </p:blipFill>
          <p:spPr>
            <a:xfrm>
              <a:off x="10945374" y="1482047"/>
              <a:ext cx="578559" cy="578559"/>
            </a:xfrm>
            <a:prstGeom prst="rect">
              <a:avLst/>
            </a:prstGeom>
            <a:grpFill/>
          </p:spPr>
        </p:pic>
      </p:grpSp>
    </p:spTree>
    <p:extLst>
      <p:ext uri="{BB962C8B-B14F-4D97-AF65-F5344CB8AC3E}">
        <p14:creationId xmlns:p14="http://schemas.microsoft.com/office/powerpoint/2010/main" val="402379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494785" y="1337022"/>
            <a:ext cx="11449272" cy="410445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478999"/>
            <a:ext cx="4176544" cy="3816429"/>
          </a:xfrm>
        </p:spPr>
        <p:txBody>
          <a:bodyPr/>
          <a:lstStyle/>
          <a:p>
            <a:pPr marL="0" indent="0">
              <a:spcAft>
                <a:spcPts val="1800"/>
              </a:spcAft>
              <a:buNone/>
            </a:pPr>
            <a:r>
              <a:rPr lang="en-GB" sz="2000" b="1" dirty="0">
                <a:latin typeface="+mn-lt"/>
                <a:cs typeface="Segoe UI Light" panose="020B0502040204020203" pitchFamily="34" charset="0"/>
              </a:rPr>
              <a:t>Service Bus</a:t>
            </a:r>
            <a:br>
              <a:rPr lang="en-GB" sz="2000" b="1" dirty="0">
                <a:latin typeface="+mn-lt"/>
                <a:cs typeface="Segoe UI Light" panose="020B0502040204020203" pitchFamily="34" charset="0"/>
              </a:rPr>
            </a:br>
            <a:r>
              <a:rPr lang="en-GB" sz="2000" dirty="0">
                <a:cs typeface="Segoe UI Light" panose="020B0502040204020203" pitchFamily="34" charset="0"/>
              </a:rPr>
              <a:t>Decouple your architecture with reliable message queues and topics</a:t>
            </a:r>
            <a:br>
              <a:rPr lang="en-GB" sz="2000" dirty="0">
                <a:cs typeface="Segoe UI Light" panose="020B0502040204020203" pitchFamily="34" charset="0"/>
              </a:rPr>
            </a:br>
            <a:endParaRPr lang="en-GB" sz="2000" dirty="0">
              <a:cs typeface="Segoe UI Light" panose="020B0502040204020203" pitchFamily="34" charset="0"/>
            </a:endParaRPr>
          </a:p>
          <a:p>
            <a:pPr marL="0" indent="0">
              <a:spcAft>
                <a:spcPts val="1800"/>
              </a:spcAft>
              <a:buNone/>
            </a:pPr>
            <a:r>
              <a:rPr lang="en-GB" sz="2000" b="1" dirty="0">
                <a:solidFill>
                  <a:schemeClr val="tx1"/>
                </a:solidFill>
                <a:latin typeface="+mn-lt"/>
                <a:cs typeface="Segoe UI Light" panose="020B0502040204020203" pitchFamily="34" charset="0"/>
              </a:rPr>
              <a:t>Azure Storage Queue</a:t>
            </a:r>
            <a:br>
              <a:rPr lang="en-GB" sz="2000" b="1" dirty="0">
                <a:solidFill>
                  <a:schemeClr val="tx1"/>
                </a:solidFill>
                <a:latin typeface="+mn-lt"/>
                <a:cs typeface="Segoe UI Light" panose="020B0502040204020203" pitchFamily="34" charset="0"/>
              </a:rPr>
            </a:br>
            <a:r>
              <a:rPr lang="en-GB" sz="2000" dirty="0">
                <a:solidFill>
                  <a:schemeClr val="tx1"/>
                </a:solidFill>
                <a:cs typeface="Segoe UI Light" panose="020B0502040204020203" pitchFamily="34" charset="0"/>
              </a:rPr>
              <a:t>Lightweight REST based message queuing service</a:t>
            </a:r>
            <a:br>
              <a:rPr lang="en-GB" sz="2000" dirty="0">
                <a:solidFill>
                  <a:schemeClr val="tx1"/>
                </a:solidFill>
                <a:cs typeface="Segoe UI Light" panose="020B0502040204020203" pitchFamily="34" charset="0"/>
              </a:rPr>
            </a:br>
            <a:endParaRPr lang="en-GB" sz="2000" dirty="0">
              <a:solidFill>
                <a:schemeClr val="tx1"/>
              </a:solidFill>
              <a:cs typeface="Segoe UI Light" panose="020B0502040204020203" pitchFamily="34" charset="0"/>
            </a:endParaRPr>
          </a:p>
          <a:p>
            <a:pPr marL="0" indent="0">
              <a:spcAft>
                <a:spcPts val="1800"/>
              </a:spcAft>
              <a:buNone/>
            </a:pPr>
            <a:r>
              <a:rPr lang="en-GB" sz="2000" b="1" dirty="0">
                <a:solidFill>
                  <a:schemeClr val="tx1"/>
                </a:solidFill>
                <a:latin typeface="+mn-lt"/>
                <a:cs typeface="Segoe UI Light" panose="020B0502040204020203" pitchFamily="34" charset="0"/>
              </a:rPr>
              <a:t>Event Hub</a:t>
            </a:r>
            <a:br>
              <a:rPr lang="en-GB" sz="2000" b="1" dirty="0">
                <a:solidFill>
                  <a:schemeClr val="tx1"/>
                </a:solidFill>
                <a:latin typeface="+mn-lt"/>
                <a:cs typeface="Segoe UI Light" panose="020B0502040204020203" pitchFamily="34" charset="0"/>
              </a:rPr>
            </a:br>
            <a:r>
              <a:rPr lang="en-GB" sz="2000" dirty="0">
                <a:solidFill>
                  <a:schemeClr val="tx1"/>
                </a:solidFill>
                <a:cs typeface="Segoe UI Light" panose="020B0502040204020203" pitchFamily="34" charset="0"/>
              </a:rPr>
              <a:t>Hyperscale telemetry ingestion with real time &amp; batch processing</a:t>
            </a:r>
            <a:endParaRPr lang="en-GB" sz="2000" dirty="0">
              <a:solidFill>
                <a:schemeClr val="tx1"/>
              </a:solidFill>
              <a:latin typeface="+mn-lt"/>
              <a:cs typeface="Segoe UI Light" panose="020B0502040204020203" pitchFamily="34" charset="0"/>
            </a:endParaRPr>
          </a:p>
        </p:txBody>
      </p:sp>
      <p:sp>
        <p:nvSpPr>
          <p:cNvPr id="3" name="Title 2"/>
          <p:cNvSpPr>
            <a:spLocks noGrp="1"/>
          </p:cNvSpPr>
          <p:nvPr>
            <p:ph type="title"/>
          </p:nvPr>
        </p:nvSpPr>
        <p:spPr/>
        <p:txBody>
          <a:bodyPr/>
          <a:lstStyle/>
          <a:p>
            <a:r>
              <a:rPr lang="en-GB" dirty="0"/>
              <a:t>Azure Messaging Services</a:t>
            </a:r>
          </a:p>
        </p:txBody>
      </p:sp>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478999"/>
            <a:ext cx="4736805" cy="4065728"/>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dirty="0" err="1">
                <a:solidFill>
                  <a:schemeClr val="tx1"/>
                </a:solidFill>
              </a:rPr>
              <a:t>IoT</a:t>
            </a:r>
            <a:r>
              <a:rPr lang="en-GB" dirty="0">
                <a:solidFill>
                  <a:schemeClr val="tx1"/>
                </a:solidFill>
              </a:rPr>
              <a:t> Hub</a:t>
            </a:r>
            <a:br>
              <a:rPr lang="en-GB" dirty="0">
                <a:solidFill>
                  <a:schemeClr val="tx1"/>
                </a:solidFill>
                <a:latin typeface="+mj-lt"/>
              </a:rPr>
            </a:br>
            <a:r>
              <a:rPr lang="en-GB" b="0" dirty="0">
                <a:solidFill>
                  <a:schemeClr val="tx1"/>
                </a:solidFill>
                <a:latin typeface="+mj-lt"/>
              </a:rPr>
              <a:t>Secure message ingestion and management for billions of devices</a:t>
            </a:r>
            <a:br>
              <a:rPr lang="en-GB" b="0" dirty="0">
                <a:solidFill>
                  <a:schemeClr val="tx1"/>
                </a:solidFill>
                <a:latin typeface="+mj-lt"/>
              </a:rPr>
            </a:br>
            <a:endParaRPr lang="en-GB" b="0" dirty="0">
              <a:solidFill>
                <a:schemeClr val="tx1"/>
              </a:solidFill>
              <a:latin typeface="+mj-lt"/>
            </a:endParaRPr>
          </a:p>
          <a:p>
            <a:r>
              <a:rPr lang="en-US" dirty="0"/>
              <a:t>Relay</a:t>
            </a:r>
            <a:br>
              <a:rPr lang="en-US" dirty="0"/>
            </a:br>
            <a:r>
              <a:rPr lang="en-GB" b="0" dirty="0">
                <a:solidFill>
                  <a:srgbClr val="FFFFFF"/>
                </a:solidFill>
                <a:latin typeface="Segoe UI Light"/>
                <a:cs typeface="+mn-cs"/>
              </a:rPr>
              <a:t>Hybrid connection to on-premises &amp; expose services through a message relay</a:t>
            </a:r>
            <a:br>
              <a:rPr lang="en-US" sz="1800" b="0" dirty="0">
                <a:solidFill>
                  <a:srgbClr val="FFFFFF"/>
                </a:solidFill>
                <a:latin typeface="+mj-lt"/>
                <a:cs typeface="+mn-cs"/>
              </a:rPr>
            </a:br>
            <a:endParaRPr lang="en-US" sz="1800" b="0" dirty="0">
              <a:solidFill>
                <a:srgbClr val="FFFFFF"/>
              </a:solidFill>
              <a:latin typeface="+mj-lt"/>
              <a:cs typeface="+mn-cs"/>
            </a:endParaRPr>
          </a:p>
          <a:p>
            <a:r>
              <a:rPr lang="en-US" dirty="0"/>
              <a:t>Event Grid</a:t>
            </a:r>
            <a:br>
              <a:rPr lang="en-US" dirty="0"/>
            </a:br>
            <a:r>
              <a:rPr lang="en-GB" b="0" dirty="0">
                <a:latin typeface="+mj-lt"/>
              </a:rPr>
              <a:t>Intelligent event routing service for uniform event consumption using a publish-subscribe model</a:t>
            </a:r>
            <a:endParaRPr lang="en-GB" b="0" dirty="0">
              <a:solidFill>
                <a:schemeClr val="tx1"/>
              </a:solidFill>
              <a:latin typeface="+mj-lt"/>
            </a:endParaRPr>
          </a:p>
        </p:txBody>
      </p:sp>
      <p:pic>
        <p:nvPicPr>
          <p:cNvPr id="20" name="Graphic 19">
            <a:extLst>
              <a:ext uri="{FF2B5EF4-FFF2-40B4-BE49-F238E27FC236}">
                <a16:creationId xmlns:a16="http://schemas.microsoft.com/office/drawing/2014/main" id="{9A5E811C-F6AB-4D4F-8007-711CE58938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3361" y="1625054"/>
            <a:ext cx="660038" cy="660038"/>
          </a:xfrm>
          <a:prstGeom prst="rect">
            <a:avLst/>
          </a:prstGeom>
        </p:spPr>
      </p:pic>
      <p:pic>
        <p:nvPicPr>
          <p:cNvPr id="25" name="Graphic 24">
            <a:extLst>
              <a:ext uri="{FF2B5EF4-FFF2-40B4-BE49-F238E27FC236}">
                <a16:creationId xmlns:a16="http://schemas.microsoft.com/office/drawing/2014/main" id="{B4D516DF-F627-48EA-8935-D29DD2B424B1}"/>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6504" t="33872" r="37828" b="27920"/>
          <a:stretch/>
        </p:blipFill>
        <p:spPr>
          <a:xfrm>
            <a:off x="745629" y="2993206"/>
            <a:ext cx="747770" cy="864096"/>
          </a:xfrm>
          <a:prstGeom prst="rect">
            <a:avLst/>
          </a:prstGeom>
        </p:spPr>
      </p:pic>
      <p:pic>
        <p:nvPicPr>
          <p:cNvPr id="29" name="Graphic 28">
            <a:extLst>
              <a:ext uri="{FF2B5EF4-FFF2-40B4-BE49-F238E27FC236}">
                <a16:creationId xmlns:a16="http://schemas.microsoft.com/office/drawing/2014/main" id="{F1BC82CB-D8E5-4D02-B182-1D811D8792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7097" y="4361358"/>
            <a:ext cx="720000" cy="720000"/>
          </a:xfrm>
          <a:prstGeom prst="rect">
            <a:avLst/>
          </a:prstGeom>
        </p:spPr>
      </p:pic>
      <p:pic>
        <p:nvPicPr>
          <p:cNvPr id="31" name="Graphic 30">
            <a:extLst>
              <a:ext uri="{FF2B5EF4-FFF2-40B4-BE49-F238E27FC236}">
                <a16:creationId xmlns:a16="http://schemas.microsoft.com/office/drawing/2014/main" id="{AA5A5C77-DBC5-41A1-9632-59DD9F545B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19888" y="2993206"/>
            <a:ext cx="720000" cy="720000"/>
          </a:xfrm>
          <a:prstGeom prst="rect">
            <a:avLst/>
          </a:prstGeom>
        </p:spPr>
      </p:pic>
      <p:pic>
        <p:nvPicPr>
          <p:cNvPr id="32" name="Picture 31">
            <a:extLst>
              <a:ext uri="{FF2B5EF4-FFF2-40B4-BE49-F238E27FC236}">
                <a16:creationId xmlns:a16="http://schemas.microsoft.com/office/drawing/2014/main" id="{0FECC12D-A10D-43A8-89E8-6EEB4EAC24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46309" y="1625134"/>
            <a:ext cx="720000" cy="720000"/>
          </a:xfrm>
          <a:prstGeom prst="rect">
            <a:avLst/>
          </a:prstGeom>
        </p:spPr>
      </p:pic>
      <p:sp>
        <p:nvSpPr>
          <p:cNvPr id="37" name="Rectangle 36">
            <a:extLst>
              <a:ext uri="{FF2B5EF4-FFF2-40B4-BE49-F238E27FC236}">
                <a16:creationId xmlns:a16="http://schemas.microsoft.com/office/drawing/2014/main" id="{E6A6F71B-934C-499C-8A4C-8334A6694E77}"/>
              </a:ext>
            </a:extLst>
          </p:cNvPr>
          <p:cNvSpPr/>
          <p:nvPr/>
        </p:nvSpPr>
        <p:spPr>
          <a:xfrm>
            <a:off x="2896023" y="5673796"/>
            <a:ext cx="6303713" cy="954107"/>
          </a:xfrm>
          <a:prstGeom prst="rect">
            <a:avLst/>
          </a:prstGeom>
        </p:spPr>
        <p:txBody>
          <a:bodyPr wrap="none">
            <a:spAutoFit/>
          </a:bodyPr>
          <a:lstStyle/>
          <a:p>
            <a:pPr algn="ctr"/>
            <a:r>
              <a:rPr lang="en-GB" sz="2800" dirty="0"/>
              <a:t>Decouple your application architecture</a:t>
            </a:r>
          </a:p>
          <a:p>
            <a:pPr algn="ctr"/>
            <a:r>
              <a:rPr lang="en-GB" sz="2800" b="1" dirty="0"/>
              <a:t>aka.ms/azure-patterns</a:t>
            </a:r>
          </a:p>
        </p:txBody>
      </p:sp>
      <p:pic>
        <p:nvPicPr>
          <p:cNvPr id="5" name="Picture 4" descr="A close up of a sign&#10;&#10;Description generated with very high confidence">
            <a:extLst>
              <a:ext uri="{FF2B5EF4-FFF2-40B4-BE49-F238E27FC236}">
                <a16:creationId xmlns:a16="http://schemas.microsoft.com/office/drawing/2014/main" id="{CDA0F59B-2679-487A-AFF6-D9B3F7DC6E02}"/>
              </a:ext>
            </a:extLst>
          </p:cNvPr>
          <p:cNvPicPr>
            <a:picLocks noChangeAspect="1"/>
          </p:cNvPicPr>
          <p:nvPr/>
        </p:nvPicPr>
        <p:blipFill>
          <a:blip r:embed="rId13"/>
          <a:stretch>
            <a:fillRect/>
          </a:stretch>
        </p:blipFill>
        <p:spPr>
          <a:xfrm>
            <a:off x="5786269" y="4361318"/>
            <a:ext cx="1371582" cy="720080"/>
          </a:xfrm>
          <a:prstGeom prst="rect">
            <a:avLst/>
          </a:prstGeom>
        </p:spPr>
      </p:pic>
    </p:spTree>
    <p:extLst>
      <p:ext uri="{BB962C8B-B14F-4D97-AF65-F5344CB8AC3E}">
        <p14:creationId xmlns:p14="http://schemas.microsoft.com/office/powerpoint/2010/main" val="1222007718"/>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83" y="497"/>
            <a:ext cx="5627337" cy="6993533"/>
          </a:xfrm>
          <a:prstGeom prst="rect">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GB" sz="3199">
                <a:gradFill>
                  <a:gsLst>
                    <a:gs pos="0">
                      <a:srgbClr val="FFFFFF"/>
                    </a:gs>
                    <a:gs pos="100000">
                      <a:srgbClr val="FFFFFF"/>
                    </a:gs>
                  </a:gsLst>
                  <a:lin ang="5400000" scaled="0"/>
                </a:gradFill>
                <a:ea typeface="Segoe UI" pitchFamily="34" charset="0"/>
                <a:cs typeface="Segoe UI" pitchFamily="34" charset="0"/>
              </a:rPr>
              <a:t>Logic App</a:t>
            </a:r>
            <a:br>
              <a:rPr lang="en-GB" sz="3199">
                <a:gradFill>
                  <a:gsLst>
                    <a:gs pos="0">
                      <a:srgbClr val="FFFFFF"/>
                    </a:gs>
                    <a:gs pos="100000">
                      <a:srgbClr val="FFFFFF"/>
                    </a:gs>
                  </a:gsLst>
                  <a:lin ang="5400000" scaled="0"/>
                </a:gradFill>
                <a:ea typeface="Segoe UI" pitchFamily="34" charset="0"/>
                <a:cs typeface="Segoe UI" pitchFamily="34" charset="0"/>
              </a:rPr>
            </a:br>
            <a:r>
              <a:rPr lang="en-GB" sz="3199">
                <a:gradFill>
                  <a:gsLst>
                    <a:gs pos="0">
                      <a:srgbClr val="FFFFFF"/>
                    </a:gs>
                    <a:gs pos="100000">
                      <a:srgbClr val="FFFFFF"/>
                    </a:gs>
                  </a:gsLst>
                  <a:lin ang="5400000" scaled="0"/>
                </a:gradFill>
                <a:ea typeface="Segoe UI" pitchFamily="34" charset="0"/>
                <a:cs typeface="Segoe UI" pitchFamily="34" charset="0"/>
              </a:rPr>
              <a:t>API Connector Library</a:t>
            </a: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r>
              <a:rPr lang="en-GB" sz="3199">
                <a:gradFill>
                  <a:gsLst>
                    <a:gs pos="0">
                      <a:srgbClr val="FFFFFF"/>
                    </a:gs>
                    <a:gs pos="100000">
                      <a:srgbClr val="FFFFFF"/>
                    </a:gs>
                  </a:gsLst>
                  <a:lin ang="5400000" scaled="0"/>
                </a:gradFill>
                <a:ea typeface="Segoe UI" pitchFamily="34" charset="0"/>
                <a:cs typeface="Segoe UI" pitchFamily="34" charset="0"/>
              </a:rPr>
              <a:t>Growing list…</a:t>
            </a:r>
          </a:p>
        </p:txBody>
      </p:sp>
      <p:pic>
        <p:nvPicPr>
          <p:cNvPr id="10" name="Picture 9"/>
          <p:cNvPicPr>
            <a:picLocks noChangeAspect="1"/>
          </p:cNvPicPr>
          <p:nvPr/>
        </p:nvPicPr>
        <p:blipFill>
          <a:blip r:embed="rId3"/>
          <a:stretch>
            <a:fillRect/>
          </a:stretch>
        </p:blipFill>
        <p:spPr>
          <a:xfrm>
            <a:off x="80851" y="1482839"/>
            <a:ext cx="5467400" cy="4487337"/>
          </a:xfrm>
          <a:prstGeom prst="rect">
            <a:avLst/>
          </a:prstGeom>
        </p:spPr>
      </p:pic>
      <p:pic>
        <p:nvPicPr>
          <p:cNvPr id="15" name="Picture 14"/>
          <p:cNvPicPr>
            <a:picLocks noChangeAspect="1"/>
          </p:cNvPicPr>
          <p:nvPr/>
        </p:nvPicPr>
        <p:blipFill>
          <a:blip r:embed="rId4"/>
          <a:stretch>
            <a:fillRect/>
          </a:stretch>
        </p:blipFill>
        <p:spPr>
          <a:xfrm>
            <a:off x="4598224" y="318077"/>
            <a:ext cx="744763" cy="743929"/>
          </a:xfrm>
          <a:prstGeom prst="rect">
            <a:avLst/>
          </a:prstGeom>
        </p:spPr>
      </p:pic>
      <p:grpSp>
        <p:nvGrpSpPr>
          <p:cNvPr id="11" name="Group 10"/>
          <p:cNvGrpSpPr/>
          <p:nvPr/>
        </p:nvGrpSpPr>
        <p:grpSpPr>
          <a:xfrm>
            <a:off x="426871" y="2582131"/>
            <a:ext cx="4751854" cy="2393380"/>
            <a:chOff x="591149" y="2582001"/>
            <a:chExt cx="4752528" cy="2393720"/>
          </a:xfrm>
          <a:effectLst>
            <a:outerShdw blurRad="152400" sx="102000" sy="102000" algn="ctr" rotWithShape="0">
              <a:prstClr val="black">
                <a:alpha val="40000"/>
              </a:prstClr>
            </a:outerShdw>
          </a:effectLst>
        </p:grpSpPr>
        <p:sp>
          <p:nvSpPr>
            <p:cNvPr id="13" name="Rectangle 12"/>
            <p:cNvSpPr/>
            <p:nvPr/>
          </p:nvSpPr>
          <p:spPr bwMode="auto">
            <a:xfrm>
              <a:off x="591149" y="2582001"/>
              <a:ext cx="4752528" cy="239372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Native discovery &amp; integration of your own APIs</a:t>
              </a:r>
            </a:p>
            <a:p>
              <a:pPr algn="ctr" defTabSz="932293"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6480" y="3500306"/>
              <a:ext cx="720000" cy="720000"/>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9788" y="3500306"/>
              <a:ext cx="720000" cy="720000"/>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43095" y="3500306"/>
              <a:ext cx="720000" cy="720000"/>
            </a:xfrm>
            <a:prstGeom prst="rect">
              <a:avLst/>
            </a:prstGeom>
          </p:spPr>
        </p:pic>
        <p:sp>
          <p:nvSpPr>
            <p:cNvPr id="18" name="TextBox 17"/>
            <p:cNvSpPr txBox="1"/>
            <p:nvPr/>
          </p:nvSpPr>
          <p:spPr>
            <a:xfrm>
              <a:off x="821020" y="4117485"/>
              <a:ext cx="1252312"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a:t>
              </a:r>
            </a:p>
            <a:p>
              <a:pPr algn="ctr">
                <a:lnSpc>
                  <a:spcPct val="90000"/>
                </a:lnSpc>
                <a:spcAft>
                  <a:spcPts val="600"/>
                </a:spcAft>
              </a:pPr>
              <a:r>
                <a:rPr lang="en-GB" sz="1599">
                  <a:solidFill>
                    <a:schemeClr val="bg1">
                      <a:lumMod val="85000"/>
                    </a:schemeClr>
                  </a:solidFill>
                </a:rPr>
                <a:t>Functions</a:t>
              </a:r>
            </a:p>
          </p:txBody>
        </p:sp>
        <p:sp>
          <p:nvSpPr>
            <p:cNvPr id="19" name="TextBox 18"/>
            <p:cNvSpPr txBox="1"/>
            <p:nvPr/>
          </p:nvSpPr>
          <p:spPr>
            <a:xfrm>
              <a:off x="2290188" y="4117485"/>
              <a:ext cx="1262646"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 API</a:t>
              </a:r>
            </a:p>
            <a:p>
              <a:pPr algn="ctr">
                <a:lnSpc>
                  <a:spcPct val="90000"/>
                </a:lnSpc>
                <a:spcAft>
                  <a:spcPts val="600"/>
                </a:spcAft>
              </a:pPr>
              <a:r>
                <a:rPr lang="en-GB" sz="1599">
                  <a:solidFill>
                    <a:schemeClr val="bg1">
                      <a:lumMod val="85000"/>
                    </a:schemeClr>
                  </a:solidFill>
                </a:rPr>
                <a:t>Apps</a:t>
              </a:r>
            </a:p>
          </p:txBody>
        </p:sp>
        <p:sp>
          <p:nvSpPr>
            <p:cNvPr id="20" name="TextBox 19"/>
            <p:cNvSpPr txBox="1"/>
            <p:nvPr/>
          </p:nvSpPr>
          <p:spPr>
            <a:xfrm>
              <a:off x="3765609" y="4117485"/>
              <a:ext cx="1296461"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a:t>
              </a:r>
            </a:p>
            <a:p>
              <a:pPr algn="ctr">
                <a:lnSpc>
                  <a:spcPct val="90000"/>
                </a:lnSpc>
                <a:spcAft>
                  <a:spcPts val="600"/>
                </a:spcAft>
              </a:pPr>
              <a:r>
                <a:rPr lang="en-GB" sz="1599">
                  <a:solidFill>
                    <a:schemeClr val="bg1">
                      <a:lumMod val="85000"/>
                    </a:schemeClr>
                  </a:solidFill>
                </a:rPr>
                <a:t>API </a:t>
              </a:r>
              <a:r>
                <a:rPr lang="en-GB" sz="1599" err="1">
                  <a:solidFill>
                    <a:schemeClr val="bg1">
                      <a:lumMod val="85000"/>
                    </a:schemeClr>
                  </a:solidFill>
                </a:rPr>
                <a:t>Mgmt</a:t>
              </a:r>
              <a:endParaRPr lang="en-GB" sz="1599">
                <a:solidFill>
                  <a:schemeClr val="bg1">
                    <a:lumMod val="85000"/>
                  </a:schemeClr>
                </a:solidFill>
              </a:endParaRPr>
            </a:p>
          </p:txBody>
        </p:sp>
      </p:grpSp>
      <p:pic>
        <p:nvPicPr>
          <p:cNvPr id="8" name="Picture 7"/>
          <p:cNvPicPr>
            <a:picLocks noChangeAspect="1"/>
          </p:cNvPicPr>
          <p:nvPr/>
        </p:nvPicPr>
        <p:blipFill>
          <a:blip r:embed="rId8"/>
          <a:stretch>
            <a:fillRect/>
          </a:stretch>
        </p:blipFill>
        <p:spPr>
          <a:xfrm>
            <a:off x="5657134" y="45622"/>
            <a:ext cx="6719331" cy="6912261"/>
          </a:xfrm>
          <a:prstGeom prst="rect">
            <a:avLst/>
          </a:prstGeom>
        </p:spPr>
      </p:pic>
    </p:spTree>
    <p:extLst>
      <p:ext uri="{BB962C8B-B14F-4D97-AF65-F5344CB8AC3E}">
        <p14:creationId xmlns:p14="http://schemas.microsoft.com/office/powerpoint/2010/main" val="20474460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p:cNvGraphicFramePr>
            <a:graphicFrameLocks noChangeAspect="1"/>
          </p:cNvGraphicFramePr>
          <p:nvPr>
            <p:extLst/>
          </p:nvPr>
        </p:nvGraphicFramePr>
        <p:xfrm>
          <a:off x="809124" y="3692227"/>
          <a:ext cx="4235659" cy="2844396"/>
        </p:xfrm>
        <a:graphic>
          <a:graphicData uri="http://schemas.openxmlformats.org/presentationml/2006/ole">
            <mc:AlternateContent xmlns:mc="http://schemas.openxmlformats.org/markup-compatibility/2006">
              <mc:Choice xmlns:v="urn:schemas-microsoft-com:vml" Requires="v">
                <p:oleObj spid="_x0000_s270392" name="Image" r:id="rId4" imgW="18196560" imgH="12126960" progId="Photoshop.Image.16">
                  <p:embed/>
                </p:oleObj>
              </mc:Choice>
              <mc:Fallback>
                <p:oleObj name="Image" r:id="rId4" imgW="18196560" imgH="12126960" progId="Photoshop.Image.16">
                  <p:embed/>
                  <p:pic>
                    <p:nvPicPr>
                      <p:cNvPr id="9" name="Object 8"/>
                      <p:cNvPicPr/>
                      <p:nvPr/>
                    </p:nvPicPr>
                    <p:blipFill>
                      <a:blip r:embed="rId5"/>
                      <a:stretch>
                        <a:fillRect/>
                      </a:stretch>
                    </p:blipFill>
                    <p:spPr>
                      <a:xfrm>
                        <a:off x="809124" y="3692227"/>
                        <a:ext cx="4235659" cy="2844396"/>
                      </a:xfrm>
                      <a:prstGeom prst="rect">
                        <a:avLst/>
                      </a:prstGeom>
                    </p:spPr>
                  </p:pic>
                </p:oleObj>
              </mc:Fallback>
            </mc:AlternateContent>
          </a:graphicData>
        </a:graphic>
      </p:graphicFrame>
      <p:sp>
        <p:nvSpPr>
          <p:cNvPr id="7" name="Title 4"/>
          <p:cNvSpPr txBox="1">
            <a:spLocks/>
          </p:cNvSpPr>
          <p:nvPr/>
        </p:nvSpPr>
        <p:spPr>
          <a:xfrm>
            <a:off x="6470803" y="911446"/>
            <a:ext cx="6673324" cy="1541934"/>
          </a:xfrm>
          <a:prstGeom prst="rect">
            <a:avLst/>
          </a:prstGeom>
          <a:noFill/>
        </p:spPr>
        <p:txBody>
          <a:bodyPr vert="horz" wrap="square" lIns="146283" tIns="91427" rIns="146283" bIns="91427" rtlCol="0"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defRPr/>
            </a:pPr>
            <a:r>
              <a:rPr sz="4400" b="1">
                <a:solidFill>
                  <a:srgbClr val="FFFFFF"/>
                </a:solidFill>
                <a:latin typeface="Segoe UI Semibold" panose="020B0702040204020203" pitchFamily="34" charset="0"/>
                <a:cs typeface="Segoe UI Semibold" panose="020B0702040204020203" pitchFamily="34" charset="0"/>
              </a:rPr>
              <a:t> </a:t>
            </a:r>
            <a:br>
              <a:rPr sz="5400" b="1">
                <a:solidFill>
                  <a:srgbClr val="FFFFFF"/>
                </a:solidFill>
                <a:latin typeface="Segoe UI Semibold" panose="020B0702040204020203" pitchFamily="34" charset="0"/>
                <a:cs typeface="Segoe UI Semibold" panose="020B0702040204020203" pitchFamily="34" charset="0"/>
              </a:rPr>
            </a:br>
            <a:r>
              <a:rPr sz="5400" b="1" spc="0">
                <a:solidFill>
                  <a:srgbClr val="FFFFFF"/>
                </a:solidFill>
                <a:cs typeface="Segoe UI Light" panose="020B0502040204020203" pitchFamily="34" charset="0"/>
              </a:rPr>
              <a:t>Azure Functions</a:t>
            </a:r>
          </a:p>
        </p:txBody>
      </p:sp>
      <p:sp>
        <p:nvSpPr>
          <p:cNvPr id="14" name="Text Placeholder 5"/>
          <p:cNvSpPr txBox="1">
            <a:spLocks/>
          </p:cNvSpPr>
          <p:nvPr/>
        </p:nvSpPr>
        <p:spPr>
          <a:xfrm>
            <a:off x="5886834" y="3202480"/>
            <a:ext cx="6526807" cy="3280856"/>
          </a:xfrm>
          <a:prstGeom prst="rect">
            <a:avLst/>
          </a:prstGeom>
          <a:noFill/>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199"/>
              </a:spcAft>
              <a:defRPr/>
            </a:pPr>
            <a:r>
              <a:rPr lang="en-US" sz="2400" err="1">
                <a:solidFill>
                  <a:srgbClr val="FFFFFF"/>
                </a:solidFill>
              </a:rPr>
              <a:t>Serverless</a:t>
            </a:r>
            <a:r>
              <a:rPr lang="en-US" sz="2400">
                <a:solidFill>
                  <a:srgbClr val="FFFFFF"/>
                </a:solidFill>
              </a:rPr>
              <a:t> compute </a:t>
            </a:r>
          </a:p>
          <a:p>
            <a:pPr>
              <a:lnSpc>
                <a:spcPct val="100000"/>
              </a:lnSpc>
              <a:spcAft>
                <a:spcPts val="1199"/>
              </a:spcAft>
              <a:defRPr/>
            </a:pPr>
            <a:r>
              <a:rPr lang="en-US" sz="2400">
                <a:solidFill>
                  <a:srgbClr val="FFFFFF"/>
                </a:solidFill>
              </a:rPr>
              <a:t>  aka - </a:t>
            </a:r>
            <a:r>
              <a:rPr lang="en-GB" sz="2400">
                <a:solidFill>
                  <a:srgbClr val="FFFFFF"/>
                </a:solidFill>
              </a:rPr>
              <a:t>Function as a Service (</a:t>
            </a:r>
            <a:r>
              <a:rPr lang="en-GB" sz="2400" err="1">
                <a:solidFill>
                  <a:srgbClr val="FFFFFF"/>
                </a:solidFill>
              </a:rPr>
              <a:t>FaaS</a:t>
            </a:r>
            <a:r>
              <a:rPr lang="en-GB" sz="2400">
                <a:solidFill>
                  <a:srgbClr val="FFFFFF"/>
                </a:solidFill>
              </a:rPr>
              <a:t>)</a:t>
            </a:r>
            <a:endParaRPr lang="en-US" sz="2400">
              <a:solidFill>
                <a:srgbClr val="FFFFFF"/>
              </a:solidFill>
            </a:endParaRPr>
          </a:p>
          <a:p>
            <a:pPr>
              <a:lnSpc>
                <a:spcPct val="100000"/>
              </a:lnSpc>
              <a:spcAft>
                <a:spcPts val="1199"/>
              </a:spcAft>
              <a:defRPr/>
            </a:pPr>
            <a:r>
              <a:rPr lang="en-US" sz="2400">
                <a:solidFill>
                  <a:srgbClr val="FFFFFF"/>
                </a:solidFill>
              </a:rPr>
              <a:t>Trigger on events &amp; external services / feeds</a:t>
            </a:r>
          </a:p>
          <a:p>
            <a:pPr>
              <a:lnSpc>
                <a:spcPct val="100000"/>
              </a:lnSpc>
              <a:spcAft>
                <a:spcPts val="1199"/>
              </a:spcAft>
              <a:defRPr/>
            </a:pPr>
            <a:r>
              <a:rPr lang="en-US" sz="2400">
                <a:solidFill>
                  <a:srgbClr val="FFFFFF"/>
                </a:solidFill>
              </a:rPr>
              <a:t>Pay only per execution</a:t>
            </a:r>
          </a:p>
          <a:p>
            <a:pPr>
              <a:lnSpc>
                <a:spcPct val="100000"/>
              </a:lnSpc>
              <a:spcAft>
                <a:spcPts val="1199"/>
              </a:spcAft>
              <a:defRPr/>
            </a:pPr>
            <a:r>
              <a:rPr lang="en-GB" sz="2400">
                <a:solidFill>
                  <a:srgbClr val="FFFFFF"/>
                </a:solidFill>
              </a:rPr>
              <a:t>Choice of languages </a:t>
            </a:r>
          </a:p>
          <a:p>
            <a:pPr>
              <a:lnSpc>
                <a:spcPct val="100000"/>
              </a:lnSpc>
              <a:spcAft>
                <a:spcPts val="1199"/>
              </a:spcAft>
              <a:defRPr/>
            </a:pPr>
            <a:r>
              <a:rPr lang="en-US" sz="2400">
                <a:solidFill>
                  <a:srgbClr val="FFFFFF"/>
                </a:solidFill>
              </a:rPr>
              <a:t>Open source runtime runs anywhere </a:t>
            </a: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4705" y="3323422"/>
            <a:ext cx="5004499" cy="6993533"/>
          </a:xfrm>
          <a:prstGeom prst="rect">
            <a:avLst/>
          </a:prstGeom>
          <a:effectLst/>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3" y="582739"/>
            <a:ext cx="2612301" cy="2820998"/>
          </a:xfrm>
          <a:prstGeom prst="rect">
            <a:avLst/>
          </a:prstGeom>
        </p:spPr>
      </p:pic>
      <p:sp>
        <p:nvSpPr>
          <p:cNvPr id="10" name="Plus 5"/>
          <p:cNvSpPr/>
          <p:nvPr/>
        </p:nvSpPr>
        <p:spPr bwMode="auto">
          <a:xfrm>
            <a:off x="3058105" y="1682413"/>
            <a:ext cx="631360" cy="621648"/>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112305" y="123437"/>
            <a:ext cx="2389457" cy="655646"/>
          </a:xfrm>
          <a:prstGeom prst="rect">
            <a:avLst/>
          </a:prstGeom>
          <a:noFill/>
        </p:spPr>
        <p:txBody>
          <a:bodyPr wrap="square" lIns="186494" tIns="149196" rIns="186494" bIns="149196" rtlCol="0">
            <a:spAutoFit/>
          </a:bodyPr>
          <a:lstStyle/>
          <a:p>
            <a:pPr algn="ctr" defTabSz="914224">
              <a:lnSpc>
                <a:spcPct val="90000"/>
              </a:lnSpc>
              <a:spcAft>
                <a:spcPts val="612"/>
              </a:spcAft>
              <a:defRPr/>
            </a:pPr>
            <a:r>
              <a:rPr lang="en-US" sz="2448" kern="0">
                <a:gradFill>
                  <a:gsLst>
                    <a:gs pos="2917">
                      <a:srgbClr val="FFFFFF"/>
                    </a:gs>
                    <a:gs pos="30000">
                      <a:srgbClr val="FFFFFF"/>
                    </a:gs>
                  </a:gsLst>
                  <a:lin ang="5400000" scaled="0"/>
                </a:gradFill>
                <a:latin typeface="Segoe UI Semilight"/>
                <a:ea typeface=""/>
              </a:rPr>
              <a:t>Code</a:t>
            </a:r>
          </a:p>
        </p:txBody>
      </p:sp>
      <p:sp>
        <p:nvSpPr>
          <p:cNvPr id="12" name="TextBox 11"/>
          <p:cNvSpPr txBox="1"/>
          <p:nvPr/>
        </p:nvSpPr>
        <p:spPr>
          <a:xfrm>
            <a:off x="3930790" y="144553"/>
            <a:ext cx="2389457" cy="655646"/>
          </a:xfrm>
          <a:prstGeom prst="rect">
            <a:avLst/>
          </a:prstGeom>
          <a:noFill/>
        </p:spPr>
        <p:txBody>
          <a:bodyPr wrap="square" lIns="186494" tIns="149196" rIns="186494" bIns="149196" rtlCol="0">
            <a:spAutoFit/>
          </a:bodyPr>
          <a:lstStyle/>
          <a:p>
            <a:pPr algn="ctr" defTabSz="914224">
              <a:lnSpc>
                <a:spcPct val="90000"/>
              </a:lnSpc>
              <a:spcAft>
                <a:spcPts val="612"/>
              </a:spcAft>
              <a:defRPr/>
            </a:pPr>
            <a:r>
              <a:rPr lang="en-US" sz="2448" kern="0">
                <a:gradFill>
                  <a:gsLst>
                    <a:gs pos="2917">
                      <a:srgbClr val="FFFFFF"/>
                    </a:gs>
                    <a:gs pos="30000">
                      <a:srgbClr val="FFFFFF"/>
                    </a:gs>
                  </a:gsLst>
                  <a:lin ang="5400000" scaled="0"/>
                </a:gradFill>
                <a:latin typeface="Segoe UI Semilight"/>
                <a:ea typeface=""/>
              </a:rPr>
              <a:t>Events + data</a:t>
            </a: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80235" y="681949"/>
            <a:ext cx="2690568" cy="2690568"/>
          </a:xfrm>
          <a:prstGeom prst="rect">
            <a:avLst/>
          </a:prstGeom>
        </p:spPr>
      </p:pic>
      <p:pic>
        <p:nvPicPr>
          <p:cNvPr id="15" name="Picture 6"/>
          <p:cNvPicPr>
            <a:picLocks noChangeAspect="1"/>
          </p:cNvPicPr>
          <p:nvPr/>
        </p:nvPicPr>
        <p:blipFill>
          <a:blip r:embed="rId9"/>
          <a:stretch>
            <a:fillRect/>
          </a:stretch>
        </p:blipFill>
        <p:spPr>
          <a:xfrm>
            <a:off x="1623633" y="640767"/>
            <a:ext cx="2833342" cy="2833342"/>
          </a:xfrm>
          <a:prstGeom prst="rect">
            <a:avLst/>
          </a:prstGeom>
        </p:spPr>
      </p:pic>
      <p:pic>
        <p:nvPicPr>
          <p:cNvPr id="2" name="Picture 1">
            <a:extLst>
              <a:ext uri="{FF2B5EF4-FFF2-40B4-BE49-F238E27FC236}">
                <a16:creationId xmlns:a16="http://schemas.microsoft.com/office/drawing/2014/main" id="{D595D23E-0BDC-4387-8BD0-9DC84EEAC45A}"/>
              </a:ext>
            </a:extLst>
          </p:cNvPr>
          <p:cNvPicPr>
            <a:picLocks noChangeAspect="1"/>
          </p:cNvPicPr>
          <p:nvPr/>
        </p:nvPicPr>
        <p:blipFill>
          <a:blip r:embed="rId10"/>
          <a:stretch>
            <a:fillRect/>
          </a:stretch>
        </p:blipFill>
        <p:spPr>
          <a:xfrm>
            <a:off x="745628" y="3661008"/>
            <a:ext cx="4248473" cy="2822328"/>
          </a:xfrm>
          <a:prstGeom prst="rect">
            <a:avLst/>
          </a:prstGeom>
        </p:spPr>
      </p:pic>
    </p:spTree>
    <p:extLst>
      <p:ext uri="{BB962C8B-B14F-4D97-AF65-F5344CB8AC3E}">
        <p14:creationId xmlns:p14="http://schemas.microsoft.com/office/powerpoint/2010/main" val="102050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2" presetClass="entr" presetSubtype="2"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1+#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1+#ppt_w/2"/>
                                          </p:val>
                                        </p:tav>
                                        <p:tav tm="100000">
                                          <p:val>
                                            <p:strVal val="#ppt_x"/>
                                          </p:val>
                                        </p:tav>
                                      </p:tavLst>
                                    </p:anim>
                                    <p:anim calcmode="lin" valueType="num">
                                      <p:cBhvr additive="base">
                                        <p:cTn id="24" dur="500" fill="hold"/>
                                        <p:tgtEl>
                                          <p:spTgt spid="12"/>
                                        </p:tgtEl>
                                        <p:attrNameLst>
                                          <p:attrName>ppt_y</p:attrName>
                                        </p:attrNameLst>
                                      </p:cBhvr>
                                      <p:tavLst>
                                        <p:tav tm="0">
                                          <p:val>
                                            <p:strVal val="#ppt_y"/>
                                          </p:val>
                                        </p:tav>
                                        <p:tav tm="100000">
                                          <p:val>
                                            <p:strVal val="#ppt_y"/>
                                          </p:val>
                                        </p:tav>
                                      </p:tavLst>
                                    </p:anim>
                                  </p:childTnLst>
                                </p:cTn>
                              </p:par>
                            </p:childTnLst>
                          </p:cTn>
                        </p:par>
                        <p:par>
                          <p:cTn id="25" fill="hold">
                            <p:stCondLst>
                              <p:cond delay="1000"/>
                            </p:stCondLst>
                            <p:childTnLst>
                              <p:par>
                                <p:cTn id="26" presetID="1" presetClass="exit" presetSubtype="0" fill="hold" grpId="1" nodeType="afterEffect">
                                  <p:stCondLst>
                                    <p:cond delay="0"/>
                                  </p:stCondLst>
                                  <p:childTnLst>
                                    <p:set>
                                      <p:cBhvr>
                                        <p:cTn id="27" dur="1" fill="hold">
                                          <p:stCondLst>
                                            <p:cond delay="0"/>
                                          </p:stCondLst>
                                        </p:cTn>
                                        <p:tgtEl>
                                          <p:spTgt spid="10"/>
                                        </p:tgtEl>
                                        <p:attrNameLst>
                                          <p:attrName>style.visibility</p:attrName>
                                        </p:attrNameLst>
                                      </p:cBhvr>
                                      <p:to>
                                        <p:strVal val="hidden"/>
                                      </p:to>
                                    </p:set>
                                  </p:childTnLst>
                                </p:cTn>
                              </p:par>
                              <p:par>
                                <p:cTn id="28" presetID="1" presetClass="exit" presetSubtype="0" fill="hold" grpId="1" nodeType="withEffect">
                                  <p:stCondLst>
                                    <p:cond delay="0"/>
                                  </p:stCondLst>
                                  <p:childTnLst>
                                    <p:set>
                                      <p:cBhvr>
                                        <p:cTn id="29" dur="1" fill="hold">
                                          <p:stCondLst>
                                            <p:cond delay="0"/>
                                          </p:stCondLst>
                                        </p:cTn>
                                        <p:tgtEl>
                                          <p:spTgt spid="11"/>
                                        </p:tgtEl>
                                        <p:attrNameLst>
                                          <p:attrName>style.visibility</p:attrName>
                                        </p:attrNameLst>
                                      </p:cBhvr>
                                      <p:to>
                                        <p:strVal val="hidden"/>
                                      </p:to>
                                    </p:set>
                                  </p:childTnLst>
                                </p:cTn>
                              </p:par>
                              <p:par>
                                <p:cTn id="30" presetID="1" presetClass="exit" presetSubtype="0" fill="hold" grpId="1" nodeType="withEffect">
                                  <p:stCondLst>
                                    <p:cond delay="0"/>
                                  </p:stCondLst>
                                  <p:childTnLst>
                                    <p:set>
                                      <p:cBhvr>
                                        <p:cTn id="31" dur="1" fill="hold">
                                          <p:stCondLst>
                                            <p:cond delay="0"/>
                                          </p:stCondLst>
                                        </p:cTn>
                                        <p:tgtEl>
                                          <p:spTgt spid="12"/>
                                        </p:tgtEl>
                                        <p:attrNameLst>
                                          <p:attrName>style.visibility</p:attrName>
                                        </p:attrNameLst>
                                      </p:cBhvr>
                                      <p:to>
                                        <p:strVal val="hidden"/>
                                      </p:to>
                                    </p:set>
                                  </p:childTnLst>
                                </p:cTn>
                              </p:par>
                              <p:par>
                                <p:cTn id="32" presetID="42" presetClass="path" presetSubtype="0" accel="50000" decel="50000" fill="hold" nodeType="withEffect">
                                  <p:stCondLst>
                                    <p:cond delay="0"/>
                                  </p:stCondLst>
                                  <p:childTnLst>
                                    <p:animMotion origin="layout" path="M -4.88895E-6 1.14389E-6 L 0.14182 -0.00091 " pathEditMode="relative" rAng="0" ptsTypes="AA">
                                      <p:cBhvr>
                                        <p:cTn id="33" dur="2000" fill="hold"/>
                                        <p:tgtEl>
                                          <p:spTgt spid="6"/>
                                        </p:tgtEl>
                                        <p:attrNameLst>
                                          <p:attrName>ppt_x</p:attrName>
                                          <p:attrName>ppt_y</p:attrName>
                                        </p:attrNameLst>
                                      </p:cBhvr>
                                      <p:rCtr x="7085" y="-45"/>
                                    </p:animMotion>
                                  </p:childTnLst>
                                </p:cTn>
                              </p:par>
                              <p:par>
                                <p:cTn id="34" presetID="42" presetClass="path" presetSubtype="0" accel="50000" decel="50000" fill="hold" nodeType="withEffect">
                                  <p:stCondLst>
                                    <p:cond delay="0"/>
                                  </p:stCondLst>
                                  <p:childTnLst>
                                    <p:animMotion origin="layout" path="M -3.82946E-8 4.91602E-6 L -0.16007 -0.00091 " pathEditMode="relative" rAng="0" ptsTypes="AA">
                                      <p:cBhvr>
                                        <p:cTn id="35" dur="2000" fill="hold"/>
                                        <p:tgtEl>
                                          <p:spTgt spid="13"/>
                                        </p:tgtEl>
                                        <p:attrNameLst>
                                          <p:attrName>ppt_x</p:attrName>
                                          <p:attrName>ppt_y</p:attrName>
                                        </p:attrNameLst>
                                      </p:cBhvr>
                                      <p:rCtr x="-8004" y="-45"/>
                                    </p:animMotion>
                                  </p:childTnLst>
                                </p:cTn>
                              </p:par>
                            </p:childTnLst>
                          </p:cTn>
                        </p:par>
                        <p:par>
                          <p:cTn id="36" fill="hold">
                            <p:stCondLst>
                              <p:cond delay="3000"/>
                            </p:stCondLst>
                            <p:childTnLst>
                              <p:par>
                                <p:cTn id="37" presetID="10" presetClass="exit" presetSubtype="0" fill="hold" nodeType="afterEffect">
                                  <p:stCondLst>
                                    <p:cond delay="0"/>
                                  </p:stCondLst>
                                  <p:childTnLst>
                                    <p:animEffect transition="out" filter="fade">
                                      <p:cBhvr>
                                        <p:cTn id="38" dur="500"/>
                                        <p:tgtEl>
                                          <p:spTgt spid="6"/>
                                        </p:tgtEl>
                                      </p:cBhvr>
                                    </p:animEffect>
                                    <p:set>
                                      <p:cBhvr>
                                        <p:cTn id="39" dur="1" fill="hold">
                                          <p:stCondLst>
                                            <p:cond delay="499"/>
                                          </p:stCondLst>
                                        </p:cTn>
                                        <p:tgtEl>
                                          <p:spTgt spid="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par>
                                <p:cTn id="43" presetID="10" presetClass="entr" presetSubtype="0" fill="hold" nodeType="with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p:bldP spid="11" grpId="1"/>
      <p:bldP spid="12" grpId="0"/>
      <p:bldP spid="12" grpId="1"/>
    </p:bld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4a: Logic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6" y="1552605"/>
            <a:ext cx="8493797" cy="3804118"/>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xample HTTP endpoint feedback service</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imilar to 5* feedback systems in mobile phone games</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est the request and receive a response</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f feedback is bad, send an email</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endParaRPr lang="en-US" sz="2400" u="sng"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u="sng"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op</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before the last Cosmos DB section!</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2562069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1.17567E-6 L -0.05285 1.17567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a:t>Data, Analytics &amp; </a:t>
            </a:r>
            <a:r>
              <a:rPr lang="en-GB" sz="5400" err="1"/>
              <a:t>IoT</a:t>
            </a:r>
            <a:r>
              <a:rPr lang="en-GB" sz="5400"/>
              <a:t> Services</a:t>
            </a:r>
          </a:p>
        </p:txBody>
      </p:sp>
      <p:pic>
        <p:nvPicPr>
          <p:cNvPr id="7" name="Picture Placeholder 6" descr="A person smiling for the picture&#10;&#10;Description generated with high confidence">
            <a:extLst>
              <a:ext uri="{FF2B5EF4-FFF2-40B4-BE49-F238E27FC236}">
                <a16:creationId xmlns:a16="http://schemas.microsoft.com/office/drawing/2014/main" id="{4D67ADC1-D988-4725-85C6-F1A8E51FF932}"/>
              </a:ext>
            </a:extLst>
          </p:cNvPr>
          <p:cNvPicPr>
            <a:picLocks noGrp="1" noChangeAspect="1"/>
          </p:cNvPicPr>
          <p:nvPr>
            <p:ph type="pic" sz="quarter" idx="10"/>
          </p:nvPr>
        </p:nvPicPr>
        <p:blipFill>
          <a:blip r:embed="rId3"/>
          <a:srcRect l="5551" r="5551"/>
          <a:stretch>
            <a:fillRect/>
          </a:stretch>
        </p:blipFill>
        <p:spPr/>
      </p:pic>
    </p:spTree>
    <p:extLst>
      <p:ext uri="{BB962C8B-B14F-4D97-AF65-F5344CB8AC3E}">
        <p14:creationId xmlns:p14="http://schemas.microsoft.com/office/powerpoint/2010/main" val="3891659785"/>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a:t>Azure SQL Database</a:t>
            </a:r>
          </a:p>
        </p:txBody>
      </p:sp>
      <p:sp>
        <p:nvSpPr>
          <p:cNvPr id="7" name="Text Placeholder 6"/>
          <p:cNvSpPr>
            <a:spLocks noGrp="1"/>
          </p:cNvSpPr>
          <p:nvPr>
            <p:ph type="body" sz="quarter" idx="4294967295"/>
          </p:nvPr>
        </p:nvSpPr>
        <p:spPr>
          <a:xfrm>
            <a:off x="3537294" y="2031970"/>
            <a:ext cx="8663469" cy="3692848"/>
          </a:xfrm>
        </p:spPr>
        <p:txBody>
          <a:bodyPr/>
          <a:lstStyle/>
          <a:p>
            <a:pPr marL="0" indent="0">
              <a:lnSpc>
                <a:spcPct val="100000"/>
              </a:lnSpc>
              <a:spcBef>
                <a:spcPts val="1200"/>
              </a:spcBef>
              <a:buNone/>
            </a:pPr>
            <a:r>
              <a:rPr lang="en-US" sz="2400">
                <a:solidFill>
                  <a:srgbClr val="FFFFFF"/>
                </a:solidFill>
              </a:rPr>
              <a:t>Database provisioning on-demand</a:t>
            </a:r>
          </a:p>
          <a:p>
            <a:pPr marL="0" indent="0">
              <a:lnSpc>
                <a:spcPct val="100000"/>
              </a:lnSpc>
              <a:spcBef>
                <a:spcPts val="1200"/>
              </a:spcBef>
              <a:buNone/>
            </a:pPr>
            <a:r>
              <a:rPr lang="en-US" sz="2400">
                <a:solidFill>
                  <a:srgbClr val="FFFFFF"/>
                </a:solidFill>
              </a:rPr>
              <a:t>Scalable and elastic performance for all workloads</a:t>
            </a:r>
          </a:p>
          <a:p>
            <a:pPr marL="0" indent="0">
              <a:lnSpc>
                <a:spcPct val="100000"/>
              </a:lnSpc>
              <a:spcBef>
                <a:spcPts val="1200"/>
              </a:spcBef>
              <a:buNone/>
            </a:pPr>
            <a:r>
              <a:rPr lang="en-US" sz="2400">
                <a:solidFill>
                  <a:srgbClr val="FFFFFF"/>
                </a:solidFill>
              </a:rPr>
              <a:t>99.99% availability, zero maintenance</a:t>
            </a:r>
          </a:p>
          <a:p>
            <a:pPr marL="0" indent="0">
              <a:lnSpc>
                <a:spcPct val="100000"/>
              </a:lnSpc>
              <a:spcBef>
                <a:spcPts val="1200"/>
              </a:spcBef>
              <a:buNone/>
            </a:pPr>
            <a:r>
              <a:rPr lang="en-US" sz="2400">
                <a:solidFill>
                  <a:srgbClr val="FFFFFF"/>
                </a:solidFill>
              </a:rPr>
              <a:t>Intelligent: learns and adapts to optimize performance</a:t>
            </a:r>
          </a:p>
          <a:p>
            <a:pPr marL="0" indent="0">
              <a:lnSpc>
                <a:spcPct val="100000"/>
              </a:lnSpc>
              <a:spcBef>
                <a:spcPts val="1200"/>
              </a:spcBef>
              <a:buNone/>
            </a:pPr>
            <a:r>
              <a:rPr lang="en-US" sz="2400">
                <a:solidFill>
                  <a:srgbClr val="FFFFFF"/>
                </a:solidFill>
              </a:rPr>
              <a:t>Secure and compliant to protect sensitive data</a:t>
            </a:r>
          </a:p>
          <a:p>
            <a:pPr marL="0" indent="0">
              <a:lnSpc>
                <a:spcPct val="100000"/>
              </a:lnSpc>
              <a:spcBef>
                <a:spcPts val="1200"/>
              </a:spcBef>
              <a:buNone/>
            </a:pPr>
            <a:r>
              <a:rPr lang="en-US" sz="2400">
                <a:solidFill>
                  <a:srgbClr val="FFFFFF"/>
                </a:solidFill>
              </a:rPr>
              <a:t>Geo-replication and restore-from-backup for data protection</a:t>
            </a:r>
          </a:p>
          <a:p>
            <a:pPr marL="0" indent="0">
              <a:lnSpc>
                <a:spcPct val="100000"/>
              </a:lnSpc>
              <a:spcBef>
                <a:spcPts val="1200"/>
              </a:spcBef>
              <a:buNone/>
            </a:pPr>
            <a:r>
              <a:rPr lang="en-US" sz="2400">
                <a:solidFill>
                  <a:srgbClr val="FFFFFF"/>
                </a:solidFill>
              </a:rPr>
              <a:t>Compatible with SQL Server 2014, 2016</a:t>
            </a:r>
          </a:p>
        </p:txBody>
      </p:sp>
      <p:sp>
        <p:nvSpPr>
          <p:cNvPr id="9" name="TextBox 8"/>
          <p:cNvSpPr txBox="1"/>
          <p:nvPr/>
        </p:nvSpPr>
        <p:spPr>
          <a:xfrm>
            <a:off x="275079" y="1114513"/>
            <a:ext cx="12160602" cy="683135"/>
          </a:xfrm>
          <a:prstGeom prst="rect">
            <a:avLst/>
          </a:prstGeom>
          <a:noFill/>
        </p:spPr>
        <p:txBody>
          <a:bodyPr wrap="square" lIns="182831" tIns="146264" rIns="182831" bIns="146264" rtlCol="0">
            <a:spAutoFit/>
          </a:bodyPr>
          <a:lstStyle/>
          <a:p>
            <a:pPr defTabSz="932470">
              <a:lnSpc>
                <a:spcPct val="90000"/>
              </a:lnSpc>
              <a:spcAft>
                <a:spcPts val="600"/>
              </a:spcAft>
            </a:pPr>
            <a:r>
              <a:rPr lang="en-US" sz="2800">
                <a:latin typeface="Segoe UI Light" panose="020B0502040204020203" pitchFamily="34" charset="0"/>
                <a:cs typeface="Segoe UI Light" panose="020B0502040204020203" pitchFamily="34" charset="0"/>
              </a:rPr>
              <a:t>Fully managed database-as-a-service that lets you focus on your business</a:t>
            </a:r>
          </a:p>
        </p:txBody>
      </p:sp>
      <p:grpSp>
        <p:nvGrpSpPr>
          <p:cNvPr id="3" name="Group 2"/>
          <p:cNvGrpSpPr/>
          <p:nvPr/>
        </p:nvGrpSpPr>
        <p:grpSpPr>
          <a:xfrm>
            <a:off x="776116" y="2791548"/>
            <a:ext cx="2177726" cy="2177416"/>
            <a:chOff x="832571" y="342012"/>
            <a:chExt cx="2178004" cy="2177694"/>
          </a:xfrm>
        </p:grpSpPr>
        <p:sp>
          <p:nvSpPr>
            <p:cNvPr id="16" name="Rectangle 15"/>
            <p:cNvSpPr/>
            <p:nvPr/>
          </p:nvSpPr>
          <p:spPr bwMode="ltGray">
            <a:xfrm>
              <a:off x="832571" y="342012"/>
              <a:ext cx="2178004" cy="2177694"/>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vert="horz" wrap="square" lIns="89619" tIns="44809" rIns="89619" bIns="44809" numCol="1" rtlCol="0" anchor="t" anchorCtr="0" compatLnSpc="1">
              <a:prstTxWarp prst="textNoShape">
                <a:avLst/>
              </a:prstTxWarp>
            </a:bodyPr>
            <a:lstStyle/>
            <a:p>
              <a:pPr algn="ctr" defTabSz="895832" fontAlgn="base">
                <a:spcBef>
                  <a:spcPct val="0"/>
                </a:spcBef>
                <a:spcAft>
                  <a:spcPct val="0"/>
                </a:spcAft>
              </a:pPr>
              <a:r>
                <a:rPr lang="en-US" sz="2157" kern="0">
                  <a:gradFill>
                    <a:gsLst>
                      <a:gs pos="0">
                        <a:srgbClr val="FFFFFF"/>
                      </a:gs>
                      <a:gs pos="100000">
                        <a:srgbClr val="FFFFFF"/>
                      </a:gs>
                    </a:gsLst>
                    <a:lin ang="5400000" scaled="0"/>
                  </a:gradFill>
                  <a:latin typeface="Segoe UI"/>
                </a:rPr>
                <a:t>Azure</a:t>
              </a:r>
            </a:p>
            <a:p>
              <a:pPr algn="ctr" defTabSz="895832" fontAlgn="base">
                <a:spcBef>
                  <a:spcPct val="0"/>
                </a:spcBef>
                <a:spcAft>
                  <a:spcPct val="0"/>
                </a:spcAft>
              </a:pPr>
              <a:r>
                <a:rPr lang="en-US" sz="2157" kern="0">
                  <a:gradFill>
                    <a:gsLst>
                      <a:gs pos="0">
                        <a:srgbClr val="FFFFFF"/>
                      </a:gs>
                      <a:gs pos="100000">
                        <a:srgbClr val="FFFFFF"/>
                      </a:gs>
                    </a:gsLst>
                    <a:lin ang="5400000" scaled="0"/>
                  </a:gradFill>
                  <a:latin typeface="Segoe UI"/>
                </a:rPr>
                <a:t>SQL Database</a:t>
              </a:r>
            </a:p>
          </p:txBody>
        </p:sp>
        <p:pic>
          <p:nvPicPr>
            <p:cNvPr id="17"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1921572" y="1707155"/>
              <a:ext cx="992453" cy="684393"/>
            </a:xfrm>
            <a:prstGeom prst="rect">
              <a:avLst/>
            </a:prstGeom>
            <a:noFill/>
            <a:extLst>
              <a:ext uri="{909E8E84-426E-40DD-AFC4-6F175D3DCCD1}">
                <a14:hiddenFill xmlns:a14="http://schemas.microsoft.com/office/drawing/2010/main">
                  <a:solidFill>
                    <a:srgbClr val="FFFFFF"/>
                  </a:solidFill>
                </a14:hiddenFill>
              </a:ext>
            </a:extLst>
          </p:spPr>
        </p:pic>
        <p:sp>
          <p:nvSpPr>
            <p:cNvPr id="18" name="Flowchart: Magnetic Disk 10"/>
            <p:cNvSpPr/>
            <p:nvPr/>
          </p:nvSpPr>
          <p:spPr bwMode="auto">
            <a:xfrm>
              <a:off x="1825023" y="1707154"/>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9618" rIns="0" bIns="0" numCol="1" spcCol="0" rtlCol="0" fromWordArt="0" anchor="ctr" anchorCtr="0" forceAA="0" compatLnSpc="1">
              <a:prstTxWarp prst="textNoShape">
                <a:avLst/>
              </a:prstTxWarp>
              <a:noAutofit/>
            </a:bodyPr>
            <a:lstStyle/>
            <a:p>
              <a:pPr algn="ctr" defTabSz="913835" fontAlgn="base">
                <a:spcBef>
                  <a:spcPct val="0"/>
                </a:spcBef>
                <a:spcAft>
                  <a:spcPct val="0"/>
                </a:spcAft>
                <a:defRPr/>
              </a:pPr>
              <a:r>
                <a:rPr lang="en-US" sz="1200" b="1" kern="0">
                  <a:ln>
                    <a:solidFill>
                      <a:srgbClr val="FFFFFF">
                        <a:alpha val="0"/>
                      </a:srgbClr>
                    </a:solidFill>
                  </a:ln>
                  <a:solidFill>
                    <a:srgbClr val="0078D7">
                      <a:lumMod val="75000"/>
                    </a:srgbClr>
                  </a:solidFill>
                  <a:latin typeface="Segoe UI"/>
                  <a:ea typeface="Segoe UI" pitchFamily="34" charset="0"/>
                  <a:cs typeface="Segoe UI" pitchFamily="34" charset="0"/>
                </a:rPr>
                <a:t>SQL</a:t>
              </a:r>
            </a:p>
          </p:txBody>
        </p:sp>
      </p:grpSp>
    </p:spTree>
    <p:extLst>
      <p:ext uri="{BB962C8B-B14F-4D97-AF65-F5344CB8AC3E}">
        <p14:creationId xmlns:p14="http://schemas.microsoft.com/office/powerpoint/2010/main" val="42242325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 name="TextBox 166"/>
          <p:cNvSpPr txBox="1"/>
          <p:nvPr/>
        </p:nvSpPr>
        <p:spPr>
          <a:xfrm>
            <a:off x="5225952" y="2993865"/>
            <a:ext cx="7136918" cy="1948295"/>
          </a:xfrm>
          <a:prstGeom prst="rect">
            <a:avLst/>
          </a:prstGeom>
          <a:noFill/>
        </p:spPr>
        <p:txBody>
          <a:bodyPr wrap="square" rtlCol="0">
            <a:spAutoFit/>
          </a:bodyPr>
          <a:lstStyle/>
          <a:p>
            <a:pPr defTabSz="970048">
              <a:lnSpc>
                <a:spcPct val="90000"/>
              </a:lnSpc>
              <a:spcBef>
                <a:spcPts val="612"/>
              </a:spcBef>
              <a:spcAft>
                <a:spcPts val="1224"/>
              </a:spcAft>
              <a:buSzPct val="90000"/>
              <a:defRPr/>
            </a:pPr>
            <a:r>
              <a:rPr lang="en-US" sz="2448" kern="0">
                <a:latin typeface="Segoe UI" panose="020B0502040204020203" pitchFamily="34" charset="0"/>
                <a:cs typeface="Segoe UI" panose="020B0502040204020203" pitchFamily="34" charset="0"/>
                <a:sym typeface="Wingdings" panose="05000000000000000000" pitchFamily="2" charset="2"/>
              </a:rPr>
              <a:t>Security isolation with Azure VNET &amp; private IPs</a:t>
            </a:r>
          </a:p>
          <a:p>
            <a:pPr defTabSz="970048">
              <a:lnSpc>
                <a:spcPct val="90000"/>
              </a:lnSpc>
              <a:spcBef>
                <a:spcPts val="612"/>
              </a:spcBef>
              <a:spcAft>
                <a:spcPts val="1224"/>
              </a:spcAft>
              <a:buSzPct val="90000"/>
              <a:defRPr/>
            </a:pPr>
            <a:r>
              <a:rPr lang="en-US" sz="2448" kern="0">
                <a:latin typeface="Segoe UI" panose="020B0502040204020203" pitchFamily="34" charset="0"/>
                <a:cs typeface="Segoe UI" panose="020B0502040204020203" pitchFamily="34" charset="0"/>
                <a:sym typeface="Wingdings" panose="05000000000000000000" pitchFamily="2" charset="2"/>
              </a:rPr>
              <a:t>Near 100% surface compatibility to SQL Server </a:t>
            </a:r>
          </a:p>
          <a:p>
            <a:pPr marL="356614" indent="-356614" defTabSz="970048">
              <a:lnSpc>
                <a:spcPct val="90000"/>
              </a:lnSpc>
              <a:spcBef>
                <a:spcPts val="612"/>
              </a:spcBef>
              <a:spcAft>
                <a:spcPts val="1224"/>
              </a:spcAft>
              <a:buSzPct val="90000"/>
              <a:buFont typeface="Arial" panose="020B0604020202020204" pitchFamily="34" charset="0"/>
              <a:buChar char="•"/>
              <a:defRPr/>
            </a:pPr>
            <a:r>
              <a:rPr lang="en-US" sz="2448" kern="0">
                <a:latin typeface="Segoe UI" panose="020B0502040204020203" pitchFamily="34" charset="0"/>
                <a:cs typeface="Segoe UI" panose="020B0502040204020203" pitchFamily="34" charset="0"/>
                <a:sym typeface="Wingdings" panose="05000000000000000000" pitchFamily="2" charset="2"/>
              </a:rPr>
              <a:t>SQL Agent, cross DB queries, R, CLR, Service Broker, …</a:t>
            </a:r>
          </a:p>
        </p:txBody>
      </p:sp>
      <p:sp>
        <p:nvSpPr>
          <p:cNvPr id="57" name="Rectangle 22"/>
          <p:cNvSpPr>
            <a:spLocks noChangeArrowheads="1"/>
          </p:cNvSpPr>
          <p:nvPr/>
        </p:nvSpPr>
        <p:spPr bwMode="auto">
          <a:xfrm>
            <a:off x="315284" y="160448"/>
            <a:ext cx="9821335" cy="69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defTabSz="1243431" fontAlgn="base">
              <a:spcBef>
                <a:spcPct val="0"/>
              </a:spcBef>
              <a:spcAft>
                <a:spcPct val="0"/>
              </a:spcAft>
              <a:defRPr/>
            </a:pPr>
            <a:r>
              <a:rPr lang="en-US" sz="4488" kern="0" spc="-153">
                <a:latin typeface="Segoe UI Semibold" panose="020B0702040204020203" pitchFamily="34" charset="0"/>
                <a:cs typeface="Segoe UI Semibold" panose="020B0702040204020203" pitchFamily="34" charset="0"/>
              </a:rPr>
              <a:t>Azure SQL Database </a:t>
            </a:r>
            <a:r>
              <a:rPr lang="en-US" sz="4488" kern="0" spc="-153">
                <a:solidFill>
                  <a:schemeClr val="tx2"/>
                </a:solidFill>
                <a:latin typeface="Segoe UI Semibold" panose="020B0702040204020203" pitchFamily="34" charset="0"/>
                <a:cs typeface="Segoe UI Semibold" panose="020B0702040204020203" pitchFamily="34" charset="0"/>
              </a:rPr>
              <a:t>Managed Instance </a:t>
            </a:r>
            <a:endParaRPr lang="en-US" sz="3264" kern="0" spc="-153" baseline="30000">
              <a:solidFill>
                <a:schemeClr val="tx2"/>
              </a:solidFill>
              <a:latin typeface="Segoe UI Semibold" panose="020B0702040204020203" pitchFamily="34" charset="0"/>
              <a:cs typeface="Segoe UI Semibold" panose="020B0702040204020203" pitchFamily="34" charset="0"/>
            </a:endParaRPr>
          </a:p>
        </p:txBody>
      </p:sp>
      <p:cxnSp>
        <p:nvCxnSpPr>
          <p:cNvPr id="1387" name="Straight Connector 1386">
            <a:extLst>
              <a:ext uri="{FF2B5EF4-FFF2-40B4-BE49-F238E27FC236}">
                <a16:creationId xmlns:a16="http://schemas.microsoft.com/office/drawing/2014/main" id="{CD679DE2-A0A2-412E-8912-A42D54ED5D97}"/>
              </a:ext>
            </a:extLst>
          </p:cNvPr>
          <p:cNvCxnSpPr/>
          <p:nvPr/>
        </p:nvCxnSpPr>
        <p:spPr>
          <a:xfrm>
            <a:off x="-70077" y="1641575"/>
            <a:ext cx="12432948" cy="0"/>
          </a:xfrm>
          <a:prstGeom prst="line">
            <a:avLst/>
          </a:prstGeom>
          <a:ln>
            <a:solidFill>
              <a:srgbClr val="073A65"/>
            </a:solidFill>
          </a:ln>
        </p:spPr>
        <p:style>
          <a:lnRef idx="1">
            <a:schemeClr val="accent1"/>
          </a:lnRef>
          <a:fillRef idx="0">
            <a:schemeClr val="accent1"/>
          </a:fillRef>
          <a:effectRef idx="0">
            <a:schemeClr val="accent1"/>
          </a:effectRef>
          <a:fontRef idx="minor">
            <a:schemeClr val="tx1"/>
          </a:fontRef>
        </p:style>
      </p:cxnSp>
      <p:sp>
        <p:nvSpPr>
          <p:cNvPr id="26" name="Freeform 266">
            <a:extLst>
              <a:ext uri="{FF2B5EF4-FFF2-40B4-BE49-F238E27FC236}">
                <a16:creationId xmlns:a16="http://schemas.microsoft.com/office/drawing/2014/main" id="{ED13536A-F3CE-42F0-9F9C-54A212AEFE09}"/>
              </a:ext>
            </a:extLst>
          </p:cNvPr>
          <p:cNvSpPr>
            <a:spLocks noChangeAspect="1"/>
          </p:cNvSpPr>
          <p:nvPr/>
        </p:nvSpPr>
        <p:spPr bwMode="black">
          <a:xfrm>
            <a:off x="424405" y="1962130"/>
            <a:ext cx="4654791" cy="295282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93209" tIns="46606" rIns="93209" bIns="46606" numCol="1" anchor="t" anchorCtr="0" compatLnSpc="1">
            <a:prstTxWarp prst="textNoShape">
              <a:avLst/>
            </a:prstTxWarp>
          </a:bodyPr>
          <a:lstStyle/>
          <a:p>
            <a:pPr defTabSz="950973">
              <a:defRPr/>
            </a:pPr>
            <a:endParaRPr lang="en-US" sz="1835" kern="0">
              <a:latin typeface="Segoe UI"/>
            </a:endParaRPr>
          </a:p>
        </p:txBody>
      </p:sp>
      <p:cxnSp>
        <p:nvCxnSpPr>
          <p:cNvPr id="27" name="Straight Arrow Connector 26">
            <a:extLst>
              <a:ext uri="{FF2B5EF4-FFF2-40B4-BE49-F238E27FC236}">
                <a16:creationId xmlns:a16="http://schemas.microsoft.com/office/drawing/2014/main" id="{CBD41F50-011B-47E2-8952-C6DE0235FD38}"/>
              </a:ext>
            </a:extLst>
          </p:cNvPr>
          <p:cNvCxnSpPr>
            <a:cxnSpLocks/>
          </p:cNvCxnSpPr>
          <p:nvPr/>
        </p:nvCxnSpPr>
        <p:spPr>
          <a:xfrm rot="5400000" flipH="1">
            <a:off x="2394827" y="5541987"/>
            <a:ext cx="1254063" cy="0"/>
          </a:xfrm>
          <a:prstGeom prst="straightConnector1">
            <a:avLst/>
          </a:prstGeom>
          <a:ln w="41275">
            <a:solidFill>
              <a:srgbClr val="0078D7"/>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C0B95CA-D6A3-4988-A533-DCB58B537BCD}"/>
              </a:ext>
            </a:extLst>
          </p:cNvPr>
          <p:cNvSpPr/>
          <p:nvPr/>
        </p:nvSpPr>
        <p:spPr bwMode="auto">
          <a:xfrm>
            <a:off x="1879329" y="3156780"/>
            <a:ext cx="2252513" cy="1455741"/>
          </a:xfrm>
          <a:prstGeom prst="rect">
            <a:avLst/>
          </a:prstGeom>
          <a:noFill/>
          <a:ln w="19050" cap="flat" cmpd="sng" algn="ctr">
            <a:solidFill>
              <a:schemeClr val="bg2">
                <a:lumMod val="75000"/>
              </a:schemeClr>
            </a:solidFill>
            <a:prstDash val="sysDash"/>
            <a:miter lim="800000"/>
            <a:headEnd type="none" w="med" len="med"/>
            <a:tailEnd type="none" w="med" len="med"/>
          </a:ln>
          <a:effectLst/>
        </p:spPr>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8" fontAlgn="base">
              <a:lnSpc>
                <a:spcPct val="90000"/>
              </a:lnSpc>
              <a:spcBef>
                <a:spcPct val="0"/>
              </a:spcBef>
              <a:spcAft>
                <a:spcPct val="0"/>
              </a:spcAft>
              <a:defRPr/>
            </a:pPr>
            <a:endParaRPr lang="en-US" sz="2497" kern="0" err="1">
              <a:latin typeface="Segoe UI Semilight"/>
              <a:ea typeface="Segoe UI" pitchFamily="34" charset="0"/>
              <a:cs typeface="Segoe UI" pitchFamily="34" charset="0"/>
            </a:endParaRPr>
          </a:p>
        </p:txBody>
      </p:sp>
      <p:pic>
        <p:nvPicPr>
          <p:cNvPr id="29" name="Picture 28">
            <a:extLst>
              <a:ext uri="{FF2B5EF4-FFF2-40B4-BE49-F238E27FC236}">
                <a16:creationId xmlns:a16="http://schemas.microsoft.com/office/drawing/2014/main" id="{4538BA76-7512-4A00-AA53-1F30B9BC8215}"/>
              </a:ext>
            </a:extLst>
          </p:cNvPr>
          <p:cNvPicPr>
            <a:picLocks noChangeAspect="1"/>
          </p:cNvPicPr>
          <p:nvPr/>
        </p:nvPicPr>
        <p:blipFill>
          <a:blip r:embed="rId3"/>
          <a:stretch>
            <a:fillRect/>
          </a:stretch>
        </p:blipFill>
        <p:spPr>
          <a:xfrm>
            <a:off x="2763604" y="5585054"/>
            <a:ext cx="521215" cy="852898"/>
          </a:xfrm>
          <a:prstGeom prst="rect">
            <a:avLst/>
          </a:prstGeom>
        </p:spPr>
      </p:pic>
      <p:cxnSp>
        <p:nvCxnSpPr>
          <p:cNvPr id="30" name="Straight Connector 29">
            <a:extLst>
              <a:ext uri="{FF2B5EF4-FFF2-40B4-BE49-F238E27FC236}">
                <a16:creationId xmlns:a16="http://schemas.microsoft.com/office/drawing/2014/main" id="{8F7A30FA-A1C9-4A6F-A6AE-120347EF3990}"/>
              </a:ext>
            </a:extLst>
          </p:cNvPr>
          <p:cNvCxnSpPr/>
          <p:nvPr/>
        </p:nvCxnSpPr>
        <p:spPr>
          <a:xfrm>
            <a:off x="1672949" y="6488285"/>
            <a:ext cx="2538679" cy="0"/>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FF3811ED-18FB-4BCD-A687-D66F482C003B}"/>
              </a:ext>
            </a:extLst>
          </p:cNvPr>
          <p:cNvGrpSpPr/>
          <p:nvPr/>
        </p:nvGrpSpPr>
        <p:grpSpPr>
          <a:xfrm>
            <a:off x="1672948" y="2809724"/>
            <a:ext cx="2558999" cy="1898509"/>
            <a:chOff x="1798637" y="1330744"/>
            <a:chExt cx="1905000" cy="1480718"/>
          </a:xfrm>
        </p:grpSpPr>
        <p:sp>
          <p:nvSpPr>
            <p:cNvPr id="33" name="Rectangle 32">
              <a:extLst>
                <a:ext uri="{FF2B5EF4-FFF2-40B4-BE49-F238E27FC236}">
                  <a16:creationId xmlns:a16="http://schemas.microsoft.com/office/drawing/2014/main" id="{6A2E225B-DF9A-4400-9038-79AE7D30CE10}"/>
                </a:ext>
              </a:extLst>
            </p:cNvPr>
            <p:cNvSpPr/>
            <p:nvPr/>
          </p:nvSpPr>
          <p:spPr bwMode="auto">
            <a:xfrm>
              <a:off x="1798637" y="1439862"/>
              <a:ext cx="1905000" cy="1371600"/>
            </a:xfrm>
            <a:prstGeom prst="rect">
              <a:avLst/>
            </a:prstGeom>
            <a:noFill/>
            <a:ln w="158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err="1">
                <a:solidFill>
                  <a:schemeClr val="tx1"/>
                </a:solidFill>
                <a:ea typeface="Segoe UI" pitchFamily="34" charset="0"/>
                <a:cs typeface="Segoe UI" pitchFamily="34" charset="0"/>
              </a:endParaRPr>
            </a:p>
          </p:txBody>
        </p:sp>
        <p:sp>
          <p:nvSpPr>
            <p:cNvPr id="34" name="TextBox 33">
              <a:extLst>
                <a:ext uri="{FF2B5EF4-FFF2-40B4-BE49-F238E27FC236}">
                  <a16:creationId xmlns:a16="http://schemas.microsoft.com/office/drawing/2014/main" id="{4C0644FA-6D6E-4D8E-9112-48E62E9FA525}"/>
                </a:ext>
              </a:extLst>
            </p:cNvPr>
            <p:cNvSpPr txBox="1"/>
            <p:nvPr/>
          </p:nvSpPr>
          <p:spPr>
            <a:xfrm>
              <a:off x="1957788" y="1330744"/>
              <a:ext cx="1429519" cy="369732"/>
            </a:xfrm>
            <a:prstGeom prst="rect">
              <a:avLst/>
            </a:prstGeom>
            <a:noFill/>
          </p:spPr>
          <p:txBody>
            <a:bodyPr wrap="square" lIns="186494" tIns="149195" rIns="186494" bIns="149195" rtlCol="0">
              <a:spAutoFit/>
            </a:bodyPr>
            <a:lstStyle/>
            <a:p>
              <a:pPr defTabSz="932417">
                <a:lnSpc>
                  <a:spcPct val="90000"/>
                </a:lnSpc>
                <a:spcAft>
                  <a:spcPts val="612"/>
                </a:spcAft>
              </a:pPr>
              <a:r>
                <a:rPr lang="en-US" sz="1223" kern="0"/>
                <a:t>VNET</a:t>
              </a:r>
            </a:p>
          </p:txBody>
        </p:sp>
      </p:grpSp>
      <p:pic>
        <p:nvPicPr>
          <p:cNvPr id="35" name="Picture 34">
            <a:extLst>
              <a:ext uri="{FF2B5EF4-FFF2-40B4-BE49-F238E27FC236}">
                <a16:creationId xmlns:a16="http://schemas.microsoft.com/office/drawing/2014/main" id="{45133D6E-6127-4E78-AB03-FFA64D47F1C1}"/>
              </a:ext>
            </a:extLst>
          </p:cNvPr>
          <p:cNvPicPr>
            <a:picLocks noChangeAspect="1"/>
          </p:cNvPicPr>
          <p:nvPr/>
        </p:nvPicPr>
        <p:blipFill>
          <a:blip r:embed="rId3"/>
          <a:stretch>
            <a:fillRect/>
          </a:stretch>
        </p:blipFill>
        <p:spPr>
          <a:xfrm>
            <a:off x="3430824" y="5600681"/>
            <a:ext cx="511665" cy="837271"/>
          </a:xfrm>
          <a:prstGeom prst="rect">
            <a:avLst/>
          </a:prstGeom>
        </p:spPr>
      </p:pic>
      <p:pic>
        <p:nvPicPr>
          <p:cNvPr id="36" name="Picture 35">
            <a:extLst>
              <a:ext uri="{FF2B5EF4-FFF2-40B4-BE49-F238E27FC236}">
                <a16:creationId xmlns:a16="http://schemas.microsoft.com/office/drawing/2014/main" id="{78D1659A-B90B-418F-A231-B72087F92A91}"/>
              </a:ext>
            </a:extLst>
          </p:cNvPr>
          <p:cNvPicPr>
            <a:picLocks noChangeAspect="1"/>
          </p:cNvPicPr>
          <p:nvPr/>
        </p:nvPicPr>
        <p:blipFill>
          <a:blip r:embed="rId3"/>
          <a:stretch>
            <a:fillRect/>
          </a:stretch>
        </p:blipFill>
        <p:spPr>
          <a:xfrm>
            <a:off x="2149103" y="5585054"/>
            <a:ext cx="521216" cy="852898"/>
          </a:xfrm>
          <a:prstGeom prst="rect">
            <a:avLst/>
          </a:prstGeom>
        </p:spPr>
      </p:pic>
      <p:pic>
        <p:nvPicPr>
          <p:cNvPr id="37" name="Picture 36">
            <a:extLst>
              <a:ext uri="{FF2B5EF4-FFF2-40B4-BE49-F238E27FC236}">
                <a16:creationId xmlns:a16="http://schemas.microsoft.com/office/drawing/2014/main" id="{75FE47BA-EF43-46C0-8C56-B572532861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9103" y="3401649"/>
            <a:ext cx="705068" cy="739730"/>
          </a:xfrm>
          <a:prstGeom prst="rect">
            <a:avLst/>
          </a:prstGeom>
        </p:spPr>
      </p:pic>
      <p:pic>
        <p:nvPicPr>
          <p:cNvPr id="38" name="Picture 37">
            <a:extLst>
              <a:ext uri="{FF2B5EF4-FFF2-40B4-BE49-F238E27FC236}">
                <a16:creationId xmlns:a16="http://schemas.microsoft.com/office/drawing/2014/main" id="{B654858D-0E1E-4CBE-81E9-68628B5658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9597" y="3400125"/>
            <a:ext cx="705068" cy="739730"/>
          </a:xfrm>
          <a:prstGeom prst="rect">
            <a:avLst/>
          </a:prstGeom>
        </p:spPr>
      </p:pic>
      <p:sp>
        <p:nvSpPr>
          <p:cNvPr id="39" name="TextBox 38">
            <a:extLst>
              <a:ext uri="{FF2B5EF4-FFF2-40B4-BE49-F238E27FC236}">
                <a16:creationId xmlns:a16="http://schemas.microsoft.com/office/drawing/2014/main" id="{BDC89FA7-A469-4B01-BBFA-5FEE220CF8DA}"/>
              </a:ext>
            </a:extLst>
          </p:cNvPr>
          <p:cNvSpPr txBox="1"/>
          <p:nvPr/>
        </p:nvSpPr>
        <p:spPr>
          <a:xfrm>
            <a:off x="2025201" y="4137541"/>
            <a:ext cx="2238177" cy="542449"/>
          </a:xfrm>
          <a:prstGeom prst="rect">
            <a:avLst/>
          </a:prstGeom>
          <a:noFill/>
        </p:spPr>
        <p:txBody>
          <a:bodyPr wrap="none" lIns="190234" tIns="152188" rIns="190234" bIns="152188" rtlCol="0">
            <a:spAutoFit/>
          </a:bodyPr>
          <a:lstStyle/>
          <a:p>
            <a:pPr>
              <a:lnSpc>
                <a:spcPct val="90000"/>
              </a:lnSpc>
              <a:spcAft>
                <a:spcPts val="624"/>
              </a:spcAft>
            </a:pPr>
            <a:r>
              <a:rPr lang="en-US" sz="1664"/>
              <a:t>Managed Instances</a:t>
            </a:r>
          </a:p>
        </p:txBody>
      </p:sp>
      <p:sp>
        <p:nvSpPr>
          <p:cNvPr id="41" name="TextBox 40">
            <a:extLst>
              <a:ext uri="{FF2B5EF4-FFF2-40B4-BE49-F238E27FC236}">
                <a16:creationId xmlns:a16="http://schemas.microsoft.com/office/drawing/2014/main" id="{011BE99D-58D6-408A-99D8-251B484ACFE7}"/>
              </a:ext>
            </a:extLst>
          </p:cNvPr>
          <p:cNvSpPr txBox="1"/>
          <p:nvPr/>
        </p:nvSpPr>
        <p:spPr>
          <a:xfrm>
            <a:off x="239629" y="890687"/>
            <a:ext cx="9892863" cy="531812"/>
          </a:xfrm>
          <a:prstGeom prst="rect">
            <a:avLst/>
          </a:prstGeom>
          <a:noFill/>
        </p:spPr>
        <p:txBody>
          <a:bodyPr wrap="square" rtlCol="0">
            <a:spAutoFit/>
          </a:bodyPr>
          <a:lstStyle/>
          <a:p>
            <a:pPr defTabSz="1243431">
              <a:defRPr/>
            </a:pPr>
            <a:r>
              <a:rPr lang="en-US" sz="2856">
                <a:latin typeface="Segoe UI" panose="020B0502040204020203" pitchFamily="34" charset="0"/>
                <a:cs typeface="Segoe UI" panose="020B0502040204020203" pitchFamily="34" charset="0"/>
              </a:rPr>
              <a:t>Migrate a fleet into PaaS without application re-architecture</a:t>
            </a:r>
            <a:endParaRPr lang="en-US" sz="2652" kern="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58368193"/>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par>
                          <p:cTn id="11" fill="hold">
                            <p:stCondLst>
                              <p:cond delay="500"/>
                            </p:stCondLst>
                            <p:childTnLst>
                              <p:par>
                                <p:cTn id="12" presetID="64" presetClass="path" presetSubtype="0" accel="50000" decel="50000" fill="hold" nodeType="afterEffect">
                                  <p:stCondLst>
                                    <p:cond delay="0"/>
                                  </p:stCondLst>
                                  <p:childTnLst>
                                    <p:animMotion origin="layout" path="M 2.77556E-17 7.40741E-7 L 0.00664 -0.31782 " pathEditMode="relative" rAng="0" ptsTypes="AA">
                                      <p:cBhvr>
                                        <p:cTn id="13" dur="2000" fill="hold"/>
                                        <p:tgtEl>
                                          <p:spTgt spid="36"/>
                                        </p:tgtEl>
                                        <p:attrNameLst>
                                          <p:attrName>ppt_x</p:attrName>
                                          <p:attrName>ppt_y</p:attrName>
                                        </p:attrNameLst>
                                      </p:cBhvr>
                                      <p:rCtr x="326" y="-15903"/>
                                    </p:animMotion>
                                  </p:childTnLst>
                                </p:cTn>
                              </p:par>
                            </p:childTnLst>
                          </p:cTn>
                        </p:par>
                        <p:par>
                          <p:cTn id="14" fill="hold">
                            <p:stCondLst>
                              <p:cond delay="2500"/>
                            </p:stCondLst>
                            <p:childTnLst>
                              <p:par>
                                <p:cTn id="15" presetID="64" presetClass="path" presetSubtype="0" accel="50000" decel="50000" fill="hold" nodeType="afterEffect">
                                  <p:stCondLst>
                                    <p:cond delay="0"/>
                                  </p:stCondLst>
                                  <p:childTnLst>
                                    <p:animMotion origin="layout" path="M 1.04167E-6 7.40741E-7 L 0.00286 -0.31782 " pathEditMode="relative" rAng="0" ptsTypes="AA">
                                      <p:cBhvr>
                                        <p:cTn id="16" dur="2000" fill="hold"/>
                                        <p:tgtEl>
                                          <p:spTgt spid="29"/>
                                        </p:tgtEl>
                                        <p:attrNameLst>
                                          <p:attrName>ppt_x</p:attrName>
                                          <p:attrName>ppt_y</p:attrName>
                                        </p:attrNameLst>
                                      </p:cBhvr>
                                      <p:rCtr x="143" y="-15903"/>
                                    </p:animMotion>
                                  </p:childTnLst>
                                </p:cTn>
                              </p:par>
                            </p:childTnLst>
                          </p:cTn>
                        </p:par>
                        <p:par>
                          <p:cTn id="17" fill="hold">
                            <p:stCondLst>
                              <p:cond delay="4500"/>
                            </p:stCondLst>
                            <p:childTnLst>
                              <p:par>
                                <p:cTn id="18" presetID="64" presetClass="path" presetSubtype="0" accel="50000" decel="50000" fill="hold" nodeType="afterEffect">
                                  <p:stCondLst>
                                    <p:cond delay="0"/>
                                  </p:stCondLst>
                                  <p:childTnLst>
                                    <p:animMotion origin="layout" path="M -4.16667E-6 3.33333E-6 L -0.00403 -0.31898 " pathEditMode="relative" rAng="0" ptsTypes="AA">
                                      <p:cBhvr>
                                        <p:cTn id="19" dur="2000" fill="hold"/>
                                        <p:tgtEl>
                                          <p:spTgt spid="35"/>
                                        </p:tgtEl>
                                        <p:attrNameLst>
                                          <p:attrName>ppt_x</p:attrName>
                                          <p:attrName>ppt_y</p:attrName>
                                        </p:attrNameLst>
                                      </p:cBhvr>
                                      <p:rCtr x="-208" y="-15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882" y="5595620"/>
            <a:ext cx="12434711" cy="13989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4488" dirty="0"/>
              <a:t>DevOps framework</a:t>
            </a:r>
            <a:endParaRPr lang="en-US" sz="4488" spc="-82" dirty="0"/>
          </a:p>
        </p:txBody>
      </p:sp>
      <p:sp>
        <p:nvSpPr>
          <p:cNvPr id="96" name="TextBox 95"/>
          <p:cNvSpPr txBox="1"/>
          <p:nvPr/>
        </p:nvSpPr>
        <p:spPr>
          <a:xfrm>
            <a:off x="4559017" y="5549259"/>
            <a:ext cx="3482774" cy="380451"/>
          </a:xfrm>
          <a:prstGeom prst="rect">
            <a:avLst/>
          </a:prstGeom>
          <a:solidFill>
            <a:schemeClr val="tx2"/>
          </a:solidFill>
          <a:ln w="15875" cap="sq">
            <a:noFill/>
            <a:miter lim="800000"/>
          </a:ln>
        </p:spPr>
        <p:txBody>
          <a:bodyPr wrap="square" lIns="93247" tIns="93247" rIns="93247" bIns="93247" rtlCol="0" anchor="t" anchorCtr="0">
            <a:spAutoFit/>
          </a:bodyPr>
          <a:lstStyle/>
          <a:p>
            <a:pPr algn="ctr" defTabSz="932029">
              <a:defRPr/>
            </a:pPr>
            <a:r>
              <a:rPr lang="en-US" sz="1224" b="1">
                <a:solidFill>
                  <a:srgbClr val="FFFFFF"/>
                </a:solidFill>
                <a:latin typeface="Segoe UI Semibold" panose="020B0702040204020203" pitchFamily="34" charset="0"/>
                <a:cs typeface="Segoe UI Semibold" panose="020B0702040204020203" pitchFamily="34" charset="0"/>
              </a:rPr>
              <a:t>RECENT ANNOUNCEMENTS</a:t>
            </a:r>
          </a:p>
        </p:txBody>
      </p:sp>
      <p:sp>
        <p:nvSpPr>
          <p:cNvPr id="262" name="Rectangle 261"/>
          <p:cNvSpPr/>
          <p:nvPr/>
        </p:nvSpPr>
        <p:spPr bwMode="auto">
          <a:xfrm>
            <a:off x="408894"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3"/>
              </a:rPr>
              <a:t>Azure Lab Services</a:t>
            </a:r>
            <a:endParaRPr lang="en-US" sz="2040" kern="0" dirty="0">
              <a:solidFill>
                <a:srgbClr val="0078D7"/>
              </a:solidFill>
              <a:latin typeface="Segoe UI"/>
              <a:cs typeface="Segoe UI Semibold" panose="020B0702040204020203" pitchFamily="34" charset="0"/>
            </a:endParaRPr>
          </a:p>
        </p:txBody>
      </p:sp>
      <p:sp>
        <p:nvSpPr>
          <p:cNvPr id="88" name="Rectangle 87">
            <a:extLst>
              <a:ext uri="{FF2B5EF4-FFF2-40B4-BE49-F238E27FC236}">
                <a16:creationId xmlns:a16="http://schemas.microsoft.com/office/drawing/2014/main" id="{EBDE08F2-F250-4C78-A627-10A9FBABA1F8}"/>
              </a:ext>
            </a:extLst>
          </p:cNvPr>
          <p:cNvSpPr/>
          <p:nvPr/>
        </p:nvSpPr>
        <p:spPr bwMode="auto">
          <a:xfrm>
            <a:off x="4559017"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4"/>
              </a:rPr>
              <a:t>Running Jenkins on Azure</a:t>
            </a:r>
            <a:endParaRPr lang="en-US" sz="2040" kern="0" dirty="0">
              <a:solidFill>
                <a:srgbClr val="0078D7"/>
              </a:solidFill>
              <a:latin typeface="Segoe UI"/>
              <a:cs typeface="Segoe UI Semibold" panose="020B0702040204020203" pitchFamily="34" charset="0"/>
            </a:endParaRPr>
          </a:p>
        </p:txBody>
      </p:sp>
      <p:sp>
        <p:nvSpPr>
          <p:cNvPr id="89" name="Rectangle 88">
            <a:extLst>
              <a:ext uri="{FF2B5EF4-FFF2-40B4-BE49-F238E27FC236}">
                <a16:creationId xmlns:a16="http://schemas.microsoft.com/office/drawing/2014/main" id="{176867BB-6A15-4F1D-BB42-0B43D1F9F5F3}"/>
              </a:ext>
            </a:extLst>
          </p:cNvPr>
          <p:cNvSpPr/>
          <p:nvPr/>
        </p:nvSpPr>
        <p:spPr bwMode="auto">
          <a:xfrm>
            <a:off x="8709142" y="5925916"/>
            <a:ext cx="3318438" cy="816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kern="0" dirty="0">
                <a:solidFill>
                  <a:srgbClr val="0078D7"/>
                </a:solidFill>
                <a:latin typeface="Segoe UI"/>
                <a:cs typeface="Segoe UI Semibold" panose="020B0702040204020203" pitchFamily="34" charset="0"/>
                <a:hlinkClick r:id="rId5"/>
              </a:rPr>
              <a:t>Visual Studio App Center - App Center and GitHub integration</a:t>
            </a:r>
            <a:endParaRPr lang="en-US" sz="2040" kern="0">
              <a:solidFill>
                <a:srgbClr val="0078D7"/>
              </a:solidFill>
              <a:latin typeface="Segoe UI"/>
              <a:cs typeface="Segoe UI Semibold" panose="020B0702040204020203" pitchFamily="34" charset="0"/>
            </a:endParaRPr>
          </a:p>
        </p:txBody>
      </p:sp>
      <p:cxnSp>
        <p:nvCxnSpPr>
          <p:cNvPr id="90" name="Straight Connector 89"/>
          <p:cNvCxnSpPr/>
          <p:nvPr/>
        </p:nvCxnSpPr>
        <p:spPr>
          <a:xfrm flipV="1">
            <a:off x="4143174"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8293297" y="6095229"/>
            <a:ext cx="0" cy="551689"/>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2177934" y="1573439"/>
            <a:ext cx="3187054" cy="583819"/>
          </a:xfrm>
          <a:prstGeom prst="rect">
            <a:avLst/>
          </a:prstGeom>
          <a:noFill/>
        </p:spPr>
        <p:txBody>
          <a:bodyPr wrap="square" lIns="186494" tIns="149196" rIns="186494" bIns="149196" rtlCol="0">
            <a:spAutoFit/>
          </a:bodyPr>
          <a:lstStyle/>
          <a:p>
            <a:pPr defTabSz="914049">
              <a:lnSpc>
                <a:spcPct val="90000"/>
              </a:lnSpc>
              <a:spcAft>
                <a:spcPct val="0"/>
              </a:spcAft>
              <a:defRPr/>
            </a:pPr>
            <a:r>
              <a:rPr lang="en-US" sz="2040" b="1" dirty="0">
                <a:ln w="3175">
                  <a:noFill/>
                </a:ln>
                <a:solidFill>
                  <a:srgbClr val="0078D7"/>
                </a:solidFill>
                <a:latin typeface="Segoe UI"/>
                <a:cs typeface="Segoe UI Semilight" panose="020B0402040204020203" pitchFamily="34" charset="0"/>
              </a:rPr>
              <a:t>Mobile DevOps</a:t>
            </a:r>
          </a:p>
        </p:txBody>
      </p:sp>
      <p:sp>
        <p:nvSpPr>
          <p:cNvPr id="151" name="TextBox 150"/>
          <p:cNvSpPr txBox="1"/>
          <p:nvPr/>
        </p:nvSpPr>
        <p:spPr>
          <a:xfrm>
            <a:off x="7975147" y="1573439"/>
            <a:ext cx="4799261" cy="583819"/>
          </a:xfrm>
          <a:prstGeom prst="rect">
            <a:avLst/>
          </a:prstGeom>
          <a:noFill/>
        </p:spPr>
        <p:txBody>
          <a:bodyPr wrap="square" lIns="186494" tIns="149196" rIns="186494" bIns="149196" rtlCol="0">
            <a:spAutoFit/>
          </a:bodyPr>
          <a:lstStyle/>
          <a:p>
            <a:pPr defTabSz="914049">
              <a:lnSpc>
                <a:spcPct val="90000"/>
              </a:lnSpc>
              <a:spcAft>
                <a:spcPct val="0"/>
              </a:spcAft>
              <a:defRPr/>
            </a:pPr>
            <a:r>
              <a:rPr lang="en-US" sz="2040" b="1">
                <a:ln w="3175">
                  <a:noFill/>
                </a:ln>
                <a:solidFill>
                  <a:srgbClr val="0078D7"/>
                </a:solidFill>
                <a:latin typeface="Segoe UI"/>
                <a:cs typeface="Segoe UI Semilight" panose="020B0402040204020203" pitchFamily="34" charset="0"/>
              </a:rPr>
              <a:t>Mobile back-end services</a:t>
            </a:r>
          </a:p>
        </p:txBody>
      </p:sp>
      <p:cxnSp>
        <p:nvCxnSpPr>
          <p:cNvPr id="152" name="Straight Connector 151"/>
          <p:cNvCxnSpPr/>
          <p:nvPr/>
        </p:nvCxnSpPr>
        <p:spPr>
          <a:xfrm>
            <a:off x="481756" y="2129002"/>
            <a:ext cx="6548501"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7427795" y="2129002"/>
            <a:ext cx="4564373"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4" name="TextBox 153"/>
          <p:cNvSpPr txBox="1"/>
          <p:nvPr/>
        </p:nvSpPr>
        <p:spPr>
          <a:xfrm>
            <a:off x="327886" y="3001047"/>
            <a:ext cx="1328322" cy="700633"/>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Code repository</a:t>
            </a:r>
          </a:p>
        </p:txBody>
      </p:sp>
      <p:grpSp>
        <p:nvGrpSpPr>
          <p:cNvPr id="156" name="Group 155"/>
          <p:cNvGrpSpPr/>
          <p:nvPr/>
        </p:nvGrpSpPr>
        <p:grpSpPr>
          <a:xfrm>
            <a:off x="672814" y="2285937"/>
            <a:ext cx="672151" cy="596998"/>
            <a:chOff x="5986463" y="-1649412"/>
            <a:chExt cx="1519238" cy="1349374"/>
          </a:xfrm>
          <a:solidFill>
            <a:schemeClr val="tx2"/>
          </a:solidFill>
        </p:grpSpPr>
        <p:sp>
          <p:nvSpPr>
            <p:cNvPr id="157" name="Freeform 13"/>
            <p:cNvSpPr>
              <a:spLocks noEditPoints="1"/>
            </p:cNvSpPr>
            <p:nvPr/>
          </p:nvSpPr>
          <p:spPr bwMode="auto">
            <a:xfrm>
              <a:off x="5986463" y="-1649412"/>
              <a:ext cx="712788" cy="1349374"/>
            </a:xfrm>
            <a:custGeom>
              <a:avLst/>
              <a:gdLst>
                <a:gd name="T0" fmla="*/ 0 w 449"/>
                <a:gd name="T1" fmla="*/ 850 h 850"/>
                <a:gd name="T2" fmla="*/ 449 w 449"/>
                <a:gd name="T3" fmla="*/ 850 h 850"/>
                <a:gd name="T4" fmla="*/ 449 w 449"/>
                <a:gd name="T5" fmla="*/ 0 h 850"/>
                <a:gd name="T6" fmla="*/ 0 w 449"/>
                <a:gd name="T7" fmla="*/ 0 h 850"/>
                <a:gd name="T8" fmla="*/ 0 w 449"/>
                <a:gd name="T9" fmla="*/ 850 h 850"/>
                <a:gd name="T10" fmla="*/ 48 w 449"/>
                <a:gd name="T11" fmla="*/ 49 h 850"/>
                <a:gd name="T12" fmla="*/ 401 w 449"/>
                <a:gd name="T13" fmla="*/ 49 h 850"/>
                <a:gd name="T14" fmla="*/ 401 w 449"/>
                <a:gd name="T15" fmla="*/ 156 h 850"/>
                <a:gd name="T16" fmla="*/ 102 w 449"/>
                <a:gd name="T17" fmla="*/ 156 h 850"/>
                <a:gd name="T18" fmla="*/ 102 w 449"/>
                <a:gd name="T19" fmla="*/ 205 h 850"/>
                <a:gd name="T20" fmla="*/ 401 w 449"/>
                <a:gd name="T21" fmla="*/ 205 h 850"/>
                <a:gd name="T22" fmla="*/ 401 w 449"/>
                <a:gd name="T23" fmla="*/ 299 h 850"/>
                <a:gd name="T24" fmla="*/ 102 w 449"/>
                <a:gd name="T25" fmla="*/ 299 h 850"/>
                <a:gd name="T26" fmla="*/ 102 w 449"/>
                <a:gd name="T27" fmla="*/ 347 h 850"/>
                <a:gd name="T28" fmla="*/ 401 w 449"/>
                <a:gd name="T29" fmla="*/ 347 h 850"/>
                <a:gd name="T30" fmla="*/ 401 w 449"/>
                <a:gd name="T31" fmla="*/ 444 h 850"/>
                <a:gd name="T32" fmla="*/ 102 w 449"/>
                <a:gd name="T33" fmla="*/ 444 h 850"/>
                <a:gd name="T34" fmla="*/ 102 w 449"/>
                <a:gd name="T35" fmla="*/ 493 h 850"/>
                <a:gd name="T36" fmla="*/ 401 w 449"/>
                <a:gd name="T37" fmla="*/ 493 h 850"/>
                <a:gd name="T38" fmla="*/ 401 w 449"/>
                <a:gd name="T39" fmla="*/ 587 h 850"/>
                <a:gd name="T40" fmla="*/ 102 w 449"/>
                <a:gd name="T41" fmla="*/ 587 h 850"/>
                <a:gd name="T42" fmla="*/ 102 w 449"/>
                <a:gd name="T43" fmla="*/ 635 h 850"/>
                <a:gd name="T44" fmla="*/ 401 w 449"/>
                <a:gd name="T45" fmla="*/ 635 h 850"/>
                <a:gd name="T46" fmla="*/ 401 w 449"/>
                <a:gd name="T47" fmla="*/ 802 h 850"/>
                <a:gd name="T48" fmla="*/ 48 w 449"/>
                <a:gd name="T49" fmla="*/ 802 h 850"/>
                <a:gd name="T50" fmla="*/ 48 w 449"/>
                <a:gd name="T51" fmla="*/ 49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9" h="850">
                  <a:moveTo>
                    <a:pt x="0" y="850"/>
                  </a:moveTo>
                  <a:lnTo>
                    <a:pt x="449" y="850"/>
                  </a:lnTo>
                  <a:lnTo>
                    <a:pt x="449" y="0"/>
                  </a:lnTo>
                  <a:lnTo>
                    <a:pt x="0" y="0"/>
                  </a:lnTo>
                  <a:lnTo>
                    <a:pt x="0" y="850"/>
                  </a:lnTo>
                  <a:close/>
                  <a:moveTo>
                    <a:pt x="48" y="49"/>
                  </a:moveTo>
                  <a:lnTo>
                    <a:pt x="401" y="49"/>
                  </a:lnTo>
                  <a:lnTo>
                    <a:pt x="401" y="156"/>
                  </a:lnTo>
                  <a:lnTo>
                    <a:pt x="102" y="156"/>
                  </a:lnTo>
                  <a:lnTo>
                    <a:pt x="102" y="205"/>
                  </a:lnTo>
                  <a:lnTo>
                    <a:pt x="401" y="205"/>
                  </a:lnTo>
                  <a:lnTo>
                    <a:pt x="401" y="299"/>
                  </a:lnTo>
                  <a:lnTo>
                    <a:pt x="102" y="299"/>
                  </a:lnTo>
                  <a:lnTo>
                    <a:pt x="102" y="347"/>
                  </a:lnTo>
                  <a:lnTo>
                    <a:pt x="401" y="347"/>
                  </a:lnTo>
                  <a:lnTo>
                    <a:pt x="401" y="444"/>
                  </a:lnTo>
                  <a:lnTo>
                    <a:pt x="102" y="444"/>
                  </a:lnTo>
                  <a:lnTo>
                    <a:pt x="102" y="493"/>
                  </a:lnTo>
                  <a:lnTo>
                    <a:pt x="401" y="493"/>
                  </a:lnTo>
                  <a:lnTo>
                    <a:pt x="401" y="587"/>
                  </a:lnTo>
                  <a:lnTo>
                    <a:pt x="102" y="587"/>
                  </a:lnTo>
                  <a:lnTo>
                    <a:pt x="102" y="635"/>
                  </a:lnTo>
                  <a:lnTo>
                    <a:pt x="401" y="635"/>
                  </a:lnTo>
                  <a:lnTo>
                    <a:pt x="401" y="802"/>
                  </a:lnTo>
                  <a:lnTo>
                    <a:pt x="48" y="802"/>
                  </a:lnTo>
                  <a:lnTo>
                    <a:pt x="4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58" name="Rectangle 14"/>
            <p:cNvSpPr>
              <a:spLocks noChangeArrowheads="1"/>
            </p:cNvSpPr>
            <p:nvPr/>
          </p:nvSpPr>
          <p:spPr bwMode="auto">
            <a:xfrm>
              <a:off x="6507163" y="-1516063"/>
              <a:ext cx="60325" cy="58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59" name="Rectangle 15"/>
            <p:cNvSpPr>
              <a:spLocks noChangeArrowheads="1"/>
            </p:cNvSpPr>
            <p:nvPr/>
          </p:nvSpPr>
          <p:spPr bwMode="auto">
            <a:xfrm>
              <a:off x="6507163" y="-1277938"/>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0" name="Rectangle 16"/>
            <p:cNvSpPr>
              <a:spLocks noChangeArrowheads="1"/>
            </p:cNvSpPr>
            <p:nvPr/>
          </p:nvSpPr>
          <p:spPr bwMode="auto">
            <a:xfrm>
              <a:off x="6507163" y="-1050925"/>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1" name="Rectangle 17"/>
            <p:cNvSpPr>
              <a:spLocks noChangeArrowheads="1"/>
            </p:cNvSpPr>
            <p:nvPr/>
          </p:nvSpPr>
          <p:spPr bwMode="auto">
            <a:xfrm>
              <a:off x="6507163" y="-825500"/>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2" name="Freeform 18"/>
            <p:cNvSpPr>
              <a:spLocks noEditPoints="1"/>
            </p:cNvSpPr>
            <p:nvPr/>
          </p:nvSpPr>
          <p:spPr bwMode="auto">
            <a:xfrm>
              <a:off x="6792913" y="-1649412"/>
              <a:ext cx="712788" cy="1349374"/>
            </a:xfrm>
            <a:custGeom>
              <a:avLst/>
              <a:gdLst>
                <a:gd name="T0" fmla="*/ 0 w 449"/>
                <a:gd name="T1" fmla="*/ 0 h 850"/>
                <a:gd name="T2" fmla="*/ 0 w 449"/>
                <a:gd name="T3" fmla="*/ 850 h 850"/>
                <a:gd name="T4" fmla="*/ 449 w 449"/>
                <a:gd name="T5" fmla="*/ 850 h 850"/>
                <a:gd name="T6" fmla="*/ 449 w 449"/>
                <a:gd name="T7" fmla="*/ 0 h 850"/>
                <a:gd name="T8" fmla="*/ 0 w 449"/>
                <a:gd name="T9" fmla="*/ 0 h 850"/>
                <a:gd name="T10" fmla="*/ 49 w 449"/>
                <a:gd name="T11" fmla="*/ 802 h 850"/>
                <a:gd name="T12" fmla="*/ 49 w 449"/>
                <a:gd name="T13" fmla="*/ 49 h 850"/>
                <a:gd name="T14" fmla="*/ 401 w 449"/>
                <a:gd name="T15" fmla="*/ 49 h 850"/>
                <a:gd name="T16" fmla="*/ 401 w 449"/>
                <a:gd name="T17" fmla="*/ 156 h 850"/>
                <a:gd name="T18" fmla="*/ 102 w 449"/>
                <a:gd name="T19" fmla="*/ 156 h 850"/>
                <a:gd name="T20" fmla="*/ 102 w 449"/>
                <a:gd name="T21" fmla="*/ 205 h 850"/>
                <a:gd name="T22" fmla="*/ 401 w 449"/>
                <a:gd name="T23" fmla="*/ 205 h 850"/>
                <a:gd name="T24" fmla="*/ 401 w 449"/>
                <a:gd name="T25" fmla="*/ 299 h 850"/>
                <a:gd name="T26" fmla="*/ 102 w 449"/>
                <a:gd name="T27" fmla="*/ 299 h 850"/>
                <a:gd name="T28" fmla="*/ 102 w 449"/>
                <a:gd name="T29" fmla="*/ 347 h 850"/>
                <a:gd name="T30" fmla="*/ 401 w 449"/>
                <a:gd name="T31" fmla="*/ 347 h 850"/>
                <a:gd name="T32" fmla="*/ 401 w 449"/>
                <a:gd name="T33" fmla="*/ 444 h 850"/>
                <a:gd name="T34" fmla="*/ 102 w 449"/>
                <a:gd name="T35" fmla="*/ 444 h 850"/>
                <a:gd name="T36" fmla="*/ 102 w 449"/>
                <a:gd name="T37" fmla="*/ 493 h 850"/>
                <a:gd name="T38" fmla="*/ 401 w 449"/>
                <a:gd name="T39" fmla="*/ 493 h 850"/>
                <a:gd name="T40" fmla="*/ 401 w 449"/>
                <a:gd name="T41" fmla="*/ 587 h 850"/>
                <a:gd name="T42" fmla="*/ 102 w 449"/>
                <a:gd name="T43" fmla="*/ 587 h 850"/>
                <a:gd name="T44" fmla="*/ 102 w 449"/>
                <a:gd name="T45" fmla="*/ 635 h 850"/>
                <a:gd name="T46" fmla="*/ 401 w 449"/>
                <a:gd name="T47" fmla="*/ 635 h 850"/>
                <a:gd name="T48" fmla="*/ 401 w 449"/>
                <a:gd name="T49" fmla="*/ 802 h 850"/>
                <a:gd name="T50" fmla="*/ 49 w 449"/>
                <a:gd name="T51" fmla="*/ 80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9" h="850">
                  <a:moveTo>
                    <a:pt x="0" y="0"/>
                  </a:moveTo>
                  <a:lnTo>
                    <a:pt x="0" y="850"/>
                  </a:lnTo>
                  <a:lnTo>
                    <a:pt x="449" y="850"/>
                  </a:lnTo>
                  <a:lnTo>
                    <a:pt x="449" y="0"/>
                  </a:lnTo>
                  <a:lnTo>
                    <a:pt x="0" y="0"/>
                  </a:lnTo>
                  <a:close/>
                  <a:moveTo>
                    <a:pt x="49" y="802"/>
                  </a:moveTo>
                  <a:lnTo>
                    <a:pt x="49" y="49"/>
                  </a:lnTo>
                  <a:lnTo>
                    <a:pt x="401" y="49"/>
                  </a:lnTo>
                  <a:lnTo>
                    <a:pt x="401" y="156"/>
                  </a:lnTo>
                  <a:lnTo>
                    <a:pt x="102" y="156"/>
                  </a:lnTo>
                  <a:lnTo>
                    <a:pt x="102" y="205"/>
                  </a:lnTo>
                  <a:lnTo>
                    <a:pt x="401" y="205"/>
                  </a:lnTo>
                  <a:lnTo>
                    <a:pt x="401" y="299"/>
                  </a:lnTo>
                  <a:lnTo>
                    <a:pt x="102" y="299"/>
                  </a:lnTo>
                  <a:lnTo>
                    <a:pt x="102" y="347"/>
                  </a:lnTo>
                  <a:lnTo>
                    <a:pt x="401" y="347"/>
                  </a:lnTo>
                  <a:lnTo>
                    <a:pt x="401" y="444"/>
                  </a:lnTo>
                  <a:lnTo>
                    <a:pt x="102" y="444"/>
                  </a:lnTo>
                  <a:lnTo>
                    <a:pt x="102" y="493"/>
                  </a:lnTo>
                  <a:lnTo>
                    <a:pt x="401" y="493"/>
                  </a:lnTo>
                  <a:lnTo>
                    <a:pt x="401" y="587"/>
                  </a:lnTo>
                  <a:lnTo>
                    <a:pt x="102" y="587"/>
                  </a:lnTo>
                  <a:lnTo>
                    <a:pt x="102" y="635"/>
                  </a:lnTo>
                  <a:lnTo>
                    <a:pt x="401" y="635"/>
                  </a:lnTo>
                  <a:lnTo>
                    <a:pt x="401" y="802"/>
                  </a:lnTo>
                  <a:lnTo>
                    <a:pt x="49" y="8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3" name="Rectangle 19"/>
            <p:cNvSpPr>
              <a:spLocks noChangeArrowheads="1"/>
            </p:cNvSpPr>
            <p:nvPr/>
          </p:nvSpPr>
          <p:spPr bwMode="auto">
            <a:xfrm>
              <a:off x="7318376" y="-1516063"/>
              <a:ext cx="60325" cy="58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4" name="Rectangle 20"/>
            <p:cNvSpPr>
              <a:spLocks noChangeArrowheads="1"/>
            </p:cNvSpPr>
            <p:nvPr/>
          </p:nvSpPr>
          <p:spPr bwMode="auto">
            <a:xfrm>
              <a:off x="7318376" y="-1277938"/>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5" name="Rectangle 21"/>
            <p:cNvSpPr>
              <a:spLocks noChangeArrowheads="1"/>
            </p:cNvSpPr>
            <p:nvPr/>
          </p:nvSpPr>
          <p:spPr bwMode="auto">
            <a:xfrm>
              <a:off x="7318376" y="-1050925"/>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6" name="Rectangle 22"/>
            <p:cNvSpPr>
              <a:spLocks noChangeArrowheads="1"/>
            </p:cNvSpPr>
            <p:nvPr/>
          </p:nvSpPr>
          <p:spPr bwMode="auto">
            <a:xfrm>
              <a:off x="7318376" y="-825500"/>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167" name="TextBox 166"/>
          <p:cNvSpPr txBox="1"/>
          <p:nvPr/>
        </p:nvSpPr>
        <p:spPr>
          <a:xfrm>
            <a:off x="1920418" y="3001047"/>
            <a:ext cx="1328322" cy="700633"/>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Build + deploy</a:t>
            </a:r>
          </a:p>
        </p:txBody>
      </p:sp>
      <p:sp>
        <p:nvSpPr>
          <p:cNvPr id="168" name="Freeform 14"/>
          <p:cNvSpPr>
            <a:spLocks noEditPoints="1"/>
          </p:cNvSpPr>
          <p:nvPr/>
        </p:nvSpPr>
        <p:spPr bwMode="auto">
          <a:xfrm>
            <a:off x="2350899" y="2357926"/>
            <a:ext cx="501041" cy="483563"/>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9" name="TextBox 168"/>
          <p:cNvSpPr txBox="1"/>
          <p:nvPr/>
        </p:nvSpPr>
        <p:spPr>
          <a:xfrm>
            <a:off x="3503236" y="3001047"/>
            <a:ext cx="1328322" cy="444475"/>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Test cloud</a:t>
            </a:r>
          </a:p>
        </p:txBody>
      </p:sp>
      <p:grpSp>
        <p:nvGrpSpPr>
          <p:cNvPr id="170" name="Group 169"/>
          <p:cNvGrpSpPr/>
          <p:nvPr/>
        </p:nvGrpSpPr>
        <p:grpSpPr>
          <a:xfrm>
            <a:off x="3681406" y="2442653"/>
            <a:ext cx="979837" cy="440282"/>
            <a:chOff x="3608685" y="3071813"/>
            <a:chExt cx="897119" cy="403113"/>
          </a:xfrm>
          <a:solidFill>
            <a:schemeClr val="tx2"/>
          </a:solidFill>
        </p:grpSpPr>
        <p:grpSp>
          <p:nvGrpSpPr>
            <p:cNvPr id="171" name="Group 170"/>
            <p:cNvGrpSpPr/>
            <p:nvPr/>
          </p:nvGrpSpPr>
          <p:grpSpPr>
            <a:xfrm>
              <a:off x="3608685" y="3071813"/>
              <a:ext cx="408431" cy="403113"/>
              <a:chOff x="5791200" y="3125788"/>
              <a:chExt cx="609600" cy="601663"/>
            </a:xfrm>
            <a:grpFill/>
          </p:grpSpPr>
          <p:sp>
            <p:nvSpPr>
              <p:cNvPr id="177" name="Freeform 5"/>
              <p:cNvSpPr>
                <a:spLocks/>
              </p:cNvSpPr>
              <p:nvPr/>
            </p:nvSpPr>
            <p:spPr bwMode="auto">
              <a:xfrm>
                <a:off x="5791200" y="3125788"/>
                <a:ext cx="609600" cy="601663"/>
              </a:xfrm>
              <a:custGeom>
                <a:avLst/>
                <a:gdLst>
                  <a:gd name="T0" fmla="*/ 129 w 141"/>
                  <a:gd name="T1" fmla="*/ 75 h 139"/>
                  <a:gd name="T2" fmla="*/ 128 w 141"/>
                  <a:gd name="T3" fmla="*/ 77 h 139"/>
                  <a:gd name="T4" fmla="*/ 68 w 141"/>
                  <a:gd name="T5" fmla="*/ 127 h 139"/>
                  <a:gd name="T6" fmla="*/ 13 w 141"/>
                  <a:gd name="T7" fmla="*/ 73 h 139"/>
                  <a:gd name="T8" fmla="*/ 61 w 141"/>
                  <a:gd name="T9" fmla="*/ 12 h 139"/>
                  <a:gd name="T10" fmla="*/ 62 w 141"/>
                  <a:gd name="T11" fmla="*/ 12 h 139"/>
                  <a:gd name="T12" fmla="*/ 62 w 141"/>
                  <a:gd name="T13" fmla="*/ 0 h 139"/>
                  <a:gd name="T14" fmla="*/ 60 w 141"/>
                  <a:gd name="T15" fmla="*/ 0 h 139"/>
                  <a:gd name="T16" fmla="*/ 19 w 141"/>
                  <a:gd name="T17" fmla="*/ 23 h 139"/>
                  <a:gd name="T18" fmla="*/ 1 w 141"/>
                  <a:gd name="T19" fmla="*/ 74 h 139"/>
                  <a:gd name="T20" fmla="*/ 71 w 141"/>
                  <a:gd name="T21" fmla="*/ 139 h 139"/>
                  <a:gd name="T22" fmla="*/ 76 w 141"/>
                  <a:gd name="T23" fmla="*/ 139 h 139"/>
                  <a:gd name="T24" fmla="*/ 140 w 141"/>
                  <a:gd name="T25" fmla="*/ 77 h 139"/>
                  <a:gd name="T26" fmla="*/ 141 w 141"/>
                  <a:gd name="T27" fmla="*/ 75 h 139"/>
                  <a:gd name="T28" fmla="*/ 129 w 141"/>
                  <a:gd name="T29"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139">
                    <a:moveTo>
                      <a:pt x="129" y="75"/>
                    </a:moveTo>
                    <a:cubicBezTo>
                      <a:pt x="128" y="77"/>
                      <a:pt x="128" y="77"/>
                      <a:pt x="128" y="77"/>
                    </a:cubicBezTo>
                    <a:cubicBezTo>
                      <a:pt x="124" y="106"/>
                      <a:pt x="98" y="128"/>
                      <a:pt x="68" y="127"/>
                    </a:cubicBezTo>
                    <a:cubicBezTo>
                      <a:pt x="39" y="125"/>
                      <a:pt x="15" y="102"/>
                      <a:pt x="13" y="73"/>
                    </a:cubicBezTo>
                    <a:cubicBezTo>
                      <a:pt x="11" y="48"/>
                      <a:pt x="30" y="17"/>
                      <a:pt x="61" y="12"/>
                    </a:cubicBezTo>
                    <a:cubicBezTo>
                      <a:pt x="62" y="12"/>
                      <a:pt x="62" y="12"/>
                      <a:pt x="62" y="12"/>
                    </a:cubicBezTo>
                    <a:cubicBezTo>
                      <a:pt x="62" y="0"/>
                      <a:pt x="62" y="0"/>
                      <a:pt x="62" y="0"/>
                    </a:cubicBezTo>
                    <a:cubicBezTo>
                      <a:pt x="60" y="0"/>
                      <a:pt x="60" y="0"/>
                      <a:pt x="60" y="0"/>
                    </a:cubicBezTo>
                    <a:cubicBezTo>
                      <a:pt x="45" y="2"/>
                      <a:pt x="29" y="11"/>
                      <a:pt x="19" y="23"/>
                    </a:cubicBezTo>
                    <a:cubicBezTo>
                      <a:pt x="6" y="37"/>
                      <a:pt x="0" y="55"/>
                      <a:pt x="1" y="74"/>
                    </a:cubicBezTo>
                    <a:cubicBezTo>
                      <a:pt x="3" y="110"/>
                      <a:pt x="34" y="139"/>
                      <a:pt x="71" y="139"/>
                    </a:cubicBezTo>
                    <a:cubicBezTo>
                      <a:pt x="73" y="139"/>
                      <a:pt x="74" y="139"/>
                      <a:pt x="76" y="139"/>
                    </a:cubicBezTo>
                    <a:cubicBezTo>
                      <a:pt x="114" y="136"/>
                      <a:pt x="137" y="105"/>
                      <a:pt x="140" y="77"/>
                    </a:cubicBezTo>
                    <a:cubicBezTo>
                      <a:pt x="141" y="75"/>
                      <a:pt x="141" y="75"/>
                      <a:pt x="141" y="75"/>
                    </a:cubicBezTo>
                    <a:lnTo>
                      <a:pt x="1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8" name="Freeform 6"/>
              <p:cNvSpPr>
                <a:spLocks/>
              </p:cNvSpPr>
              <p:nvPr/>
            </p:nvSpPr>
            <p:spPr bwMode="auto">
              <a:xfrm>
                <a:off x="6059488" y="3316288"/>
                <a:ext cx="146050" cy="147638"/>
              </a:xfrm>
              <a:custGeom>
                <a:avLst/>
                <a:gdLst>
                  <a:gd name="T0" fmla="*/ 10 w 34"/>
                  <a:gd name="T1" fmla="*/ 34 h 34"/>
                  <a:gd name="T2" fmla="*/ 12 w 34"/>
                  <a:gd name="T3" fmla="*/ 34 h 34"/>
                  <a:gd name="T4" fmla="*/ 18 w 34"/>
                  <a:gd name="T5" fmla="*/ 29 h 34"/>
                  <a:gd name="T6" fmla="*/ 26 w 34"/>
                  <a:gd name="T7" fmla="*/ 14 h 34"/>
                  <a:gd name="T8" fmla="*/ 34 w 34"/>
                  <a:gd name="T9" fmla="*/ 0 h 34"/>
                  <a:gd name="T10" fmla="*/ 6 w 34"/>
                  <a:gd name="T11" fmla="*/ 17 h 34"/>
                  <a:gd name="T12" fmla="*/ 4 w 34"/>
                  <a:gd name="T13" fmla="*/ 19 h 34"/>
                  <a:gd name="T14" fmla="*/ 2 w 34"/>
                  <a:gd name="T15" fmla="*/ 29 h 34"/>
                  <a:gd name="T16" fmla="*/ 10 w 3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0" y="34"/>
                    </a:moveTo>
                    <a:cubicBezTo>
                      <a:pt x="10" y="34"/>
                      <a:pt x="11" y="34"/>
                      <a:pt x="12" y="34"/>
                    </a:cubicBezTo>
                    <a:cubicBezTo>
                      <a:pt x="14" y="33"/>
                      <a:pt x="16" y="32"/>
                      <a:pt x="18" y="29"/>
                    </a:cubicBezTo>
                    <a:cubicBezTo>
                      <a:pt x="21" y="24"/>
                      <a:pt x="23" y="19"/>
                      <a:pt x="26" y="14"/>
                    </a:cubicBezTo>
                    <a:cubicBezTo>
                      <a:pt x="34" y="0"/>
                      <a:pt x="34" y="0"/>
                      <a:pt x="34" y="0"/>
                    </a:cubicBezTo>
                    <a:cubicBezTo>
                      <a:pt x="6" y="17"/>
                      <a:pt x="6" y="17"/>
                      <a:pt x="6" y="17"/>
                    </a:cubicBezTo>
                    <a:cubicBezTo>
                      <a:pt x="6" y="18"/>
                      <a:pt x="5" y="18"/>
                      <a:pt x="4" y="19"/>
                    </a:cubicBezTo>
                    <a:cubicBezTo>
                      <a:pt x="1" y="21"/>
                      <a:pt x="0" y="26"/>
                      <a:pt x="2" y="29"/>
                    </a:cubicBezTo>
                    <a:cubicBezTo>
                      <a:pt x="3" y="32"/>
                      <a:pt x="7" y="34"/>
                      <a:pt x="1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9" name="Freeform 7"/>
              <p:cNvSpPr>
                <a:spLocks/>
              </p:cNvSpPr>
              <p:nvPr/>
            </p:nvSpPr>
            <p:spPr bwMode="auto">
              <a:xfrm>
                <a:off x="6124575" y="3125788"/>
                <a:ext cx="158750" cy="104775"/>
              </a:xfrm>
              <a:custGeom>
                <a:avLst/>
                <a:gdLst>
                  <a:gd name="T0" fmla="*/ 27 w 37"/>
                  <a:gd name="T1" fmla="*/ 23 h 24"/>
                  <a:gd name="T2" fmla="*/ 28 w 37"/>
                  <a:gd name="T3" fmla="*/ 24 h 24"/>
                  <a:gd name="T4" fmla="*/ 37 w 37"/>
                  <a:gd name="T5" fmla="*/ 15 h 24"/>
                  <a:gd name="T6" fmla="*/ 35 w 37"/>
                  <a:gd name="T7" fmla="*/ 14 h 24"/>
                  <a:gd name="T8" fmla="*/ 2 w 37"/>
                  <a:gd name="T9" fmla="*/ 0 h 24"/>
                  <a:gd name="T10" fmla="*/ 0 w 37"/>
                  <a:gd name="T11" fmla="*/ 0 h 24"/>
                  <a:gd name="T12" fmla="*/ 0 w 37"/>
                  <a:gd name="T13" fmla="*/ 12 h 24"/>
                  <a:gd name="T14" fmla="*/ 1 w 37"/>
                  <a:gd name="T15" fmla="*/ 12 h 24"/>
                  <a:gd name="T16" fmla="*/ 2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27" y="23"/>
                    </a:moveTo>
                    <a:cubicBezTo>
                      <a:pt x="28" y="24"/>
                      <a:pt x="28" y="24"/>
                      <a:pt x="28" y="24"/>
                    </a:cubicBezTo>
                    <a:cubicBezTo>
                      <a:pt x="37" y="15"/>
                      <a:pt x="37" y="15"/>
                      <a:pt x="37" y="15"/>
                    </a:cubicBezTo>
                    <a:cubicBezTo>
                      <a:pt x="35" y="14"/>
                      <a:pt x="35" y="14"/>
                      <a:pt x="35" y="14"/>
                    </a:cubicBezTo>
                    <a:cubicBezTo>
                      <a:pt x="25" y="6"/>
                      <a:pt x="14" y="2"/>
                      <a:pt x="2" y="0"/>
                    </a:cubicBezTo>
                    <a:cubicBezTo>
                      <a:pt x="0" y="0"/>
                      <a:pt x="0" y="0"/>
                      <a:pt x="0" y="0"/>
                    </a:cubicBezTo>
                    <a:cubicBezTo>
                      <a:pt x="0" y="12"/>
                      <a:pt x="0" y="12"/>
                      <a:pt x="0" y="12"/>
                    </a:cubicBezTo>
                    <a:cubicBezTo>
                      <a:pt x="1" y="12"/>
                      <a:pt x="1" y="12"/>
                      <a:pt x="1" y="12"/>
                    </a:cubicBezTo>
                    <a:cubicBezTo>
                      <a:pt x="11" y="14"/>
                      <a:pt x="19" y="17"/>
                      <a:pt x="2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80" name="Freeform 8"/>
              <p:cNvSpPr>
                <a:spLocks/>
              </p:cNvSpPr>
              <p:nvPr/>
            </p:nvSpPr>
            <p:spPr bwMode="auto">
              <a:xfrm>
                <a:off x="6292850" y="3235325"/>
                <a:ext cx="107950" cy="155575"/>
              </a:xfrm>
              <a:custGeom>
                <a:avLst/>
                <a:gdLst>
                  <a:gd name="T0" fmla="*/ 12 w 25"/>
                  <a:gd name="T1" fmla="*/ 35 h 36"/>
                  <a:gd name="T2" fmla="*/ 12 w 25"/>
                  <a:gd name="T3" fmla="*/ 36 h 36"/>
                  <a:gd name="T4" fmla="*/ 25 w 25"/>
                  <a:gd name="T5" fmla="*/ 36 h 36"/>
                  <a:gd name="T6" fmla="*/ 24 w 25"/>
                  <a:gd name="T7" fmla="*/ 34 h 36"/>
                  <a:gd name="T8" fmla="*/ 10 w 25"/>
                  <a:gd name="T9" fmla="*/ 2 h 36"/>
                  <a:gd name="T10" fmla="*/ 9 w 25"/>
                  <a:gd name="T11" fmla="*/ 0 h 36"/>
                  <a:gd name="T12" fmla="*/ 0 w 25"/>
                  <a:gd name="T13" fmla="*/ 9 h 36"/>
                  <a:gd name="T14" fmla="*/ 2 w 25"/>
                  <a:gd name="T15" fmla="*/ 10 h 36"/>
                  <a:gd name="T16" fmla="*/ 12 w 25"/>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12" y="35"/>
                    </a:moveTo>
                    <a:cubicBezTo>
                      <a:pt x="12" y="36"/>
                      <a:pt x="12" y="36"/>
                      <a:pt x="12" y="36"/>
                    </a:cubicBezTo>
                    <a:cubicBezTo>
                      <a:pt x="25" y="36"/>
                      <a:pt x="25" y="36"/>
                      <a:pt x="25" y="36"/>
                    </a:cubicBezTo>
                    <a:cubicBezTo>
                      <a:pt x="24" y="34"/>
                      <a:pt x="24" y="34"/>
                      <a:pt x="24" y="34"/>
                    </a:cubicBezTo>
                    <a:cubicBezTo>
                      <a:pt x="23" y="22"/>
                      <a:pt x="18" y="11"/>
                      <a:pt x="10" y="2"/>
                    </a:cubicBezTo>
                    <a:cubicBezTo>
                      <a:pt x="9" y="0"/>
                      <a:pt x="9" y="0"/>
                      <a:pt x="9" y="0"/>
                    </a:cubicBezTo>
                    <a:cubicBezTo>
                      <a:pt x="0" y="9"/>
                      <a:pt x="0" y="9"/>
                      <a:pt x="0" y="9"/>
                    </a:cubicBezTo>
                    <a:cubicBezTo>
                      <a:pt x="2" y="10"/>
                      <a:pt x="2" y="10"/>
                      <a:pt x="2" y="10"/>
                    </a:cubicBezTo>
                    <a:cubicBezTo>
                      <a:pt x="7" y="17"/>
                      <a:pt x="10" y="25"/>
                      <a:pt x="1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172" name="Group 171"/>
            <p:cNvGrpSpPr/>
            <p:nvPr/>
          </p:nvGrpSpPr>
          <p:grpSpPr>
            <a:xfrm>
              <a:off x="4097373" y="3071813"/>
              <a:ext cx="408431" cy="403113"/>
              <a:chOff x="5791200" y="3125788"/>
              <a:chExt cx="609600" cy="601663"/>
            </a:xfrm>
            <a:grpFill/>
          </p:grpSpPr>
          <p:sp>
            <p:nvSpPr>
              <p:cNvPr id="173" name="Freeform 5"/>
              <p:cNvSpPr>
                <a:spLocks/>
              </p:cNvSpPr>
              <p:nvPr/>
            </p:nvSpPr>
            <p:spPr bwMode="auto">
              <a:xfrm>
                <a:off x="5791200" y="3125788"/>
                <a:ext cx="609600" cy="601663"/>
              </a:xfrm>
              <a:custGeom>
                <a:avLst/>
                <a:gdLst>
                  <a:gd name="T0" fmla="*/ 129 w 141"/>
                  <a:gd name="T1" fmla="*/ 75 h 139"/>
                  <a:gd name="T2" fmla="*/ 128 w 141"/>
                  <a:gd name="T3" fmla="*/ 77 h 139"/>
                  <a:gd name="T4" fmla="*/ 68 w 141"/>
                  <a:gd name="T5" fmla="*/ 127 h 139"/>
                  <a:gd name="T6" fmla="*/ 13 w 141"/>
                  <a:gd name="T7" fmla="*/ 73 h 139"/>
                  <a:gd name="T8" fmla="*/ 61 w 141"/>
                  <a:gd name="T9" fmla="*/ 12 h 139"/>
                  <a:gd name="T10" fmla="*/ 62 w 141"/>
                  <a:gd name="T11" fmla="*/ 12 h 139"/>
                  <a:gd name="T12" fmla="*/ 62 w 141"/>
                  <a:gd name="T13" fmla="*/ 0 h 139"/>
                  <a:gd name="T14" fmla="*/ 60 w 141"/>
                  <a:gd name="T15" fmla="*/ 0 h 139"/>
                  <a:gd name="T16" fmla="*/ 19 w 141"/>
                  <a:gd name="T17" fmla="*/ 23 h 139"/>
                  <a:gd name="T18" fmla="*/ 1 w 141"/>
                  <a:gd name="T19" fmla="*/ 74 h 139"/>
                  <a:gd name="T20" fmla="*/ 71 w 141"/>
                  <a:gd name="T21" fmla="*/ 139 h 139"/>
                  <a:gd name="T22" fmla="*/ 76 w 141"/>
                  <a:gd name="T23" fmla="*/ 139 h 139"/>
                  <a:gd name="T24" fmla="*/ 140 w 141"/>
                  <a:gd name="T25" fmla="*/ 77 h 139"/>
                  <a:gd name="T26" fmla="*/ 141 w 141"/>
                  <a:gd name="T27" fmla="*/ 75 h 139"/>
                  <a:gd name="T28" fmla="*/ 129 w 141"/>
                  <a:gd name="T29"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139">
                    <a:moveTo>
                      <a:pt x="129" y="75"/>
                    </a:moveTo>
                    <a:cubicBezTo>
                      <a:pt x="128" y="77"/>
                      <a:pt x="128" y="77"/>
                      <a:pt x="128" y="77"/>
                    </a:cubicBezTo>
                    <a:cubicBezTo>
                      <a:pt x="124" y="106"/>
                      <a:pt x="98" y="128"/>
                      <a:pt x="68" y="127"/>
                    </a:cubicBezTo>
                    <a:cubicBezTo>
                      <a:pt x="39" y="125"/>
                      <a:pt x="15" y="102"/>
                      <a:pt x="13" y="73"/>
                    </a:cubicBezTo>
                    <a:cubicBezTo>
                      <a:pt x="11" y="48"/>
                      <a:pt x="30" y="17"/>
                      <a:pt x="61" y="12"/>
                    </a:cubicBezTo>
                    <a:cubicBezTo>
                      <a:pt x="62" y="12"/>
                      <a:pt x="62" y="12"/>
                      <a:pt x="62" y="12"/>
                    </a:cubicBezTo>
                    <a:cubicBezTo>
                      <a:pt x="62" y="0"/>
                      <a:pt x="62" y="0"/>
                      <a:pt x="62" y="0"/>
                    </a:cubicBezTo>
                    <a:cubicBezTo>
                      <a:pt x="60" y="0"/>
                      <a:pt x="60" y="0"/>
                      <a:pt x="60" y="0"/>
                    </a:cubicBezTo>
                    <a:cubicBezTo>
                      <a:pt x="45" y="2"/>
                      <a:pt x="29" y="11"/>
                      <a:pt x="19" y="23"/>
                    </a:cubicBezTo>
                    <a:cubicBezTo>
                      <a:pt x="6" y="37"/>
                      <a:pt x="0" y="55"/>
                      <a:pt x="1" y="74"/>
                    </a:cubicBezTo>
                    <a:cubicBezTo>
                      <a:pt x="3" y="110"/>
                      <a:pt x="34" y="139"/>
                      <a:pt x="71" y="139"/>
                    </a:cubicBezTo>
                    <a:cubicBezTo>
                      <a:pt x="73" y="139"/>
                      <a:pt x="74" y="139"/>
                      <a:pt x="76" y="139"/>
                    </a:cubicBezTo>
                    <a:cubicBezTo>
                      <a:pt x="114" y="136"/>
                      <a:pt x="137" y="105"/>
                      <a:pt x="140" y="77"/>
                    </a:cubicBezTo>
                    <a:cubicBezTo>
                      <a:pt x="141" y="75"/>
                      <a:pt x="141" y="75"/>
                      <a:pt x="141" y="75"/>
                    </a:cubicBezTo>
                    <a:lnTo>
                      <a:pt x="1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4" name="Freeform 6"/>
              <p:cNvSpPr>
                <a:spLocks/>
              </p:cNvSpPr>
              <p:nvPr/>
            </p:nvSpPr>
            <p:spPr bwMode="auto">
              <a:xfrm>
                <a:off x="6059488" y="3316288"/>
                <a:ext cx="146050" cy="147638"/>
              </a:xfrm>
              <a:custGeom>
                <a:avLst/>
                <a:gdLst>
                  <a:gd name="T0" fmla="*/ 10 w 34"/>
                  <a:gd name="T1" fmla="*/ 34 h 34"/>
                  <a:gd name="T2" fmla="*/ 12 w 34"/>
                  <a:gd name="T3" fmla="*/ 34 h 34"/>
                  <a:gd name="T4" fmla="*/ 18 w 34"/>
                  <a:gd name="T5" fmla="*/ 29 h 34"/>
                  <a:gd name="T6" fmla="*/ 26 w 34"/>
                  <a:gd name="T7" fmla="*/ 14 h 34"/>
                  <a:gd name="T8" fmla="*/ 34 w 34"/>
                  <a:gd name="T9" fmla="*/ 0 h 34"/>
                  <a:gd name="T10" fmla="*/ 6 w 34"/>
                  <a:gd name="T11" fmla="*/ 17 h 34"/>
                  <a:gd name="T12" fmla="*/ 4 w 34"/>
                  <a:gd name="T13" fmla="*/ 19 h 34"/>
                  <a:gd name="T14" fmla="*/ 2 w 34"/>
                  <a:gd name="T15" fmla="*/ 29 h 34"/>
                  <a:gd name="T16" fmla="*/ 10 w 3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0" y="34"/>
                    </a:moveTo>
                    <a:cubicBezTo>
                      <a:pt x="10" y="34"/>
                      <a:pt x="11" y="34"/>
                      <a:pt x="12" y="34"/>
                    </a:cubicBezTo>
                    <a:cubicBezTo>
                      <a:pt x="14" y="33"/>
                      <a:pt x="16" y="32"/>
                      <a:pt x="18" y="29"/>
                    </a:cubicBezTo>
                    <a:cubicBezTo>
                      <a:pt x="21" y="24"/>
                      <a:pt x="23" y="19"/>
                      <a:pt x="26" y="14"/>
                    </a:cubicBezTo>
                    <a:cubicBezTo>
                      <a:pt x="34" y="0"/>
                      <a:pt x="34" y="0"/>
                      <a:pt x="34" y="0"/>
                    </a:cubicBezTo>
                    <a:cubicBezTo>
                      <a:pt x="6" y="17"/>
                      <a:pt x="6" y="17"/>
                      <a:pt x="6" y="17"/>
                    </a:cubicBezTo>
                    <a:cubicBezTo>
                      <a:pt x="6" y="18"/>
                      <a:pt x="5" y="18"/>
                      <a:pt x="4" y="19"/>
                    </a:cubicBezTo>
                    <a:cubicBezTo>
                      <a:pt x="1" y="21"/>
                      <a:pt x="0" y="26"/>
                      <a:pt x="2" y="29"/>
                    </a:cubicBezTo>
                    <a:cubicBezTo>
                      <a:pt x="3" y="32"/>
                      <a:pt x="7" y="34"/>
                      <a:pt x="1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5" name="Freeform 7"/>
              <p:cNvSpPr>
                <a:spLocks/>
              </p:cNvSpPr>
              <p:nvPr/>
            </p:nvSpPr>
            <p:spPr bwMode="auto">
              <a:xfrm>
                <a:off x="6124575" y="3125788"/>
                <a:ext cx="158750" cy="104775"/>
              </a:xfrm>
              <a:custGeom>
                <a:avLst/>
                <a:gdLst>
                  <a:gd name="T0" fmla="*/ 27 w 37"/>
                  <a:gd name="T1" fmla="*/ 23 h 24"/>
                  <a:gd name="T2" fmla="*/ 28 w 37"/>
                  <a:gd name="T3" fmla="*/ 24 h 24"/>
                  <a:gd name="T4" fmla="*/ 37 w 37"/>
                  <a:gd name="T5" fmla="*/ 15 h 24"/>
                  <a:gd name="T6" fmla="*/ 35 w 37"/>
                  <a:gd name="T7" fmla="*/ 14 h 24"/>
                  <a:gd name="T8" fmla="*/ 2 w 37"/>
                  <a:gd name="T9" fmla="*/ 0 h 24"/>
                  <a:gd name="T10" fmla="*/ 0 w 37"/>
                  <a:gd name="T11" fmla="*/ 0 h 24"/>
                  <a:gd name="T12" fmla="*/ 0 w 37"/>
                  <a:gd name="T13" fmla="*/ 12 h 24"/>
                  <a:gd name="T14" fmla="*/ 1 w 37"/>
                  <a:gd name="T15" fmla="*/ 12 h 24"/>
                  <a:gd name="T16" fmla="*/ 2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27" y="23"/>
                    </a:moveTo>
                    <a:cubicBezTo>
                      <a:pt x="28" y="24"/>
                      <a:pt x="28" y="24"/>
                      <a:pt x="28" y="24"/>
                    </a:cubicBezTo>
                    <a:cubicBezTo>
                      <a:pt x="37" y="15"/>
                      <a:pt x="37" y="15"/>
                      <a:pt x="37" y="15"/>
                    </a:cubicBezTo>
                    <a:cubicBezTo>
                      <a:pt x="35" y="14"/>
                      <a:pt x="35" y="14"/>
                      <a:pt x="35" y="14"/>
                    </a:cubicBezTo>
                    <a:cubicBezTo>
                      <a:pt x="25" y="6"/>
                      <a:pt x="14" y="2"/>
                      <a:pt x="2" y="0"/>
                    </a:cubicBezTo>
                    <a:cubicBezTo>
                      <a:pt x="0" y="0"/>
                      <a:pt x="0" y="0"/>
                      <a:pt x="0" y="0"/>
                    </a:cubicBezTo>
                    <a:cubicBezTo>
                      <a:pt x="0" y="12"/>
                      <a:pt x="0" y="12"/>
                      <a:pt x="0" y="12"/>
                    </a:cubicBezTo>
                    <a:cubicBezTo>
                      <a:pt x="1" y="12"/>
                      <a:pt x="1" y="12"/>
                      <a:pt x="1" y="12"/>
                    </a:cubicBezTo>
                    <a:cubicBezTo>
                      <a:pt x="11" y="14"/>
                      <a:pt x="19" y="17"/>
                      <a:pt x="2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76" name="Freeform 8"/>
              <p:cNvSpPr>
                <a:spLocks/>
              </p:cNvSpPr>
              <p:nvPr/>
            </p:nvSpPr>
            <p:spPr bwMode="auto">
              <a:xfrm>
                <a:off x="6292850" y="3235325"/>
                <a:ext cx="107950" cy="155575"/>
              </a:xfrm>
              <a:custGeom>
                <a:avLst/>
                <a:gdLst>
                  <a:gd name="T0" fmla="*/ 12 w 25"/>
                  <a:gd name="T1" fmla="*/ 35 h 36"/>
                  <a:gd name="T2" fmla="*/ 12 w 25"/>
                  <a:gd name="T3" fmla="*/ 36 h 36"/>
                  <a:gd name="T4" fmla="*/ 25 w 25"/>
                  <a:gd name="T5" fmla="*/ 36 h 36"/>
                  <a:gd name="T6" fmla="*/ 24 w 25"/>
                  <a:gd name="T7" fmla="*/ 34 h 36"/>
                  <a:gd name="T8" fmla="*/ 10 w 25"/>
                  <a:gd name="T9" fmla="*/ 2 h 36"/>
                  <a:gd name="T10" fmla="*/ 9 w 25"/>
                  <a:gd name="T11" fmla="*/ 0 h 36"/>
                  <a:gd name="T12" fmla="*/ 0 w 25"/>
                  <a:gd name="T13" fmla="*/ 9 h 36"/>
                  <a:gd name="T14" fmla="*/ 2 w 25"/>
                  <a:gd name="T15" fmla="*/ 10 h 36"/>
                  <a:gd name="T16" fmla="*/ 12 w 25"/>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12" y="35"/>
                    </a:moveTo>
                    <a:cubicBezTo>
                      <a:pt x="12" y="36"/>
                      <a:pt x="12" y="36"/>
                      <a:pt x="12" y="36"/>
                    </a:cubicBezTo>
                    <a:cubicBezTo>
                      <a:pt x="25" y="36"/>
                      <a:pt x="25" y="36"/>
                      <a:pt x="25" y="36"/>
                    </a:cubicBezTo>
                    <a:cubicBezTo>
                      <a:pt x="24" y="34"/>
                      <a:pt x="24" y="34"/>
                      <a:pt x="24" y="34"/>
                    </a:cubicBezTo>
                    <a:cubicBezTo>
                      <a:pt x="23" y="22"/>
                      <a:pt x="18" y="11"/>
                      <a:pt x="10" y="2"/>
                    </a:cubicBezTo>
                    <a:cubicBezTo>
                      <a:pt x="9" y="0"/>
                      <a:pt x="9" y="0"/>
                      <a:pt x="9" y="0"/>
                    </a:cubicBezTo>
                    <a:cubicBezTo>
                      <a:pt x="0" y="9"/>
                      <a:pt x="0" y="9"/>
                      <a:pt x="0" y="9"/>
                    </a:cubicBezTo>
                    <a:cubicBezTo>
                      <a:pt x="2" y="10"/>
                      <a:pt x="2" y="10"/>
                      <a:pt x="2" y="10"/>
                    </a:cubicBezTo>
                    <a:cubicBezTo>
                      <a:pt x="7" y="17"/>
                      <a:pt x="10" y="25"/>
                      <a:pt x="1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cxnSp>
        <p:nvCxnSpPr>
          <p:cNvPr id="181" name="Straight Connector 180"/>
          <p:cNvCxnSpPr/>
          <p:nvPr/>
        </p:nvCxnSpPr>
        <p:spPr>
          <a:xfrm flipH="1">
            <a:off x="1496274" y="2634243"/>
            <a:ext cx="680682" cy="0"/>
          </a:xfrm>
          <a:prstGeom prst="line">
            <a:avLst/>
          </a:prstGeom>
          <a:ln w="381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flipH="1">
            <a:off x="2989868" y="2634243"/>
            <a:ext cx="573821" cy="0"/>
          </a:xfrm>
          <a:prstGeom prst="line">
            <a:avLst/>
          </a:prstGeom>
          <a:ln w="381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83" name="Group 182"/>
          <p:cNvGrpSpPr/>
          <p:nvPr/>
        </p:nvGrpSpPr>
        <p:grpSpPr>
          <a:xfrm>
            <a:off x="5545176" y="2301442"/>
            <a:ext cx="519000" cy="654724"/>
            <a:chOff x="5181600" y="-1795463"/>
            <a:chExt cx="965200" cy="1217612"/>
          </a:xfrm>
          <a:solidFill>
            <a:schemeClr val="tx2"/>
          </a:solidFill>
        </p:grpSpPr>
        <p:sp>
          <p:nvSpPr>
            <p:cNvPr id="184" name="Freeform 19"/>
            <p:cNvSpPr>
              <a:spLocks noEditPoints="1"/>
            </p:cNvSpPr>
            <p:nvPr/>
          </p:nvSpPr>
          <p:spPr bwMode="auto">
            <a:xfrm>
              <a:off x="5181600" y="-1795463"/>
              <a:ext cx="965200" cy="1217612"/>
            </a:xfrm>
            <a:custGeom>
              <a:avLst/>
              <a:gdLst>
                <a:gd name="T0" fmla="*/ 206 w 225"/>
                <a:gd name="T1" fmla="*/ 267 h 285"/>
                <a:gd name="T2" fmla="*/ 19 w 225"/>
                <a:gd name="T3" fmla="*/ 267 h 285"/>
                <a:gd name="T4" fmla="*/ 19 w 225"/>
                <a:gd name="T5" fmla="*/ 44 h 285"/>
                <a:gd name="T6" fmla="*/ 56 w 225"/>
                <a:gd name="T7" fmla="*/ 44 h 285"/>
                <a:gd name="T8" fmla="*/ 56 w 225"/>
                <a:gd name="T9" fmla="*/ 80 h 285"/>
                <a:gd name="T10" fmla="*/ 168 w 225"/>
                <a:gd name="T11" fmla="*/ 80 h 285"/>
                <a:gd name="T12" fmla="*/ 168 w 225"/>
                <a:gd name="T13" fmla="*/ 44 h 285"/>
                <a:gd name="T14" fmla="*/ 206 w 225"/>
                <a:gd name="T15" fmla="*/ 44 h 285"/>
                <a:gd name="T16" fmla="*/ 206 w 225"/>
                <a:gd name="T17" fmla="*/ 267 h 285"/>
                <a:gd name="T18" fmla="*/ 93 w 225"/>
                <a:gd name="T19" fmla="*/ 44 h 285"/>
                <a:gd name="T20" fmla="*/ 93 w 225"/>
                <a:gd name="T21" fmla="*/ 36 h 285"/>
                <a:gd name="T22" fmla="*/ 112 w 225"/>
                <a:gd name="T23" fmla="*/ 18 h 285"/>
                <a:gd name="T24" fmla="*/ 131 w 225"/>
                <a:gd name="T25" fmla="*/ 36 h 285"/>
                <a:gd name="T26" fmla="*/ 131 w 225"/>
                <a:gd name="T27" fmla="*/ 44 h 285"/>
                <a:gd name="T28" fmla="*/ 150 w 225"/>
                <a:gd name="T29" fmla="*/ 44 h 285"/>
                <a:gd name="T30" fmla="*/ 150 w 225"/>
                <a:gd name="T31" fmla="*/ 62 h 285"/>
                <a:gd name="T32" fmla="*/ 75 w 225"/>
                <a:gd name="T33" fmla="*/ 62 h 285"/>
                <a:gd name="T34" fmla="*/ 75 w 225"/>
                <a:gd name="T35" fmla="*/ 44 h 285"/>
                <a:gd name="T36" fmla="*/ 93 w 225"/>
                <a:gd name="T37" fmla="*/ 44 h 285"/>
                <a:gd name="T38" fmla="*/ 150 w 225"/>
                <a:gd name="T39" fmla="*/ 27 h 285"/>
                <a:gd name="T40" fmla="*/ 112 w 225"/>
                <a:gd name="T41" fmla="*/ 0 h 285"/>
                <a:gd name="T42" fmla="*/ 77 w 225"/>
                <a:gd name="T43" fmla="*/ 27 h 285"/>
                <a:gd name="T44" fmla="*/ 0 w 225"/>
                <a:gd name="T45" fmla="*/ 27 h 285"/>
                <a:gd name="T46" fmla="*/ 0 w 225"/>
                <a:gd name="T47" fmla="*/ 285 h 285"/>
                <a:gd name="T48" fmla="*/ 225 w 225"/>
                <a:gd name="T49" fmla="*/ 285 h 285"/>
                <a:gd name="T50" fmla="*/ 225 w 225"/>
                <a:gd name="T51" fmla="*/ 27 h 285"/>
                <a:gd name="T52" fmla="*/ 150 w 225"/>
                <a:gd name="T53" fmla="*/ 2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5" h="285">
                  <a:moveTo>
                    <a:pt x="206" y="267"/>
                  </a:moveTo>
                  <a:cubicBezTo>
                    <a:pt x="19" y="267"/>
                    <a:pt x="19" y="267"/>
                    <a:pt x="19" y="267"/>
                  </a:cubicBezTo>
                  <a:cubicBezTo>
                    <a:pt x="19" y="44"/>
                    <a:pt x="19" y="44"/>
                    <a:pt x="19" y="44"/>
                  </a:cubicBezTo>
                  <a:cubicBezTo>
                    <a:pt x="56" y="44"/>
                    <a:pt x="56" y="44"/>
                    <a:pt x="56" y="44"/>
                  </a:cubicBezTo>
                  <a:cubicBezTo>
                    <a:pt x="56" y="80"/>
                    <a:pt x="56" y="80"/>
                    <a:pt x="56" y="80"/>
                  </a:cubicBezTo>
                  <a:cubicBezTo>
                    <a:pt x="168" y="80"/>
                    <a:pt x="168" y="80"/>
                    <a:pt x="168" y="80"/>
                  </a:cubicBezTo>
                  <a:cubicBezTo>
                    <a:pt x="168" y="44"/>
                    <a:pt x="168" y="44"/>
                    <a:pt x="168" y="44"/>
                  </a:cubicBezTo>
                  <a:cubicBezTo>
                    <a:pt x="206" y="44"/>
                    <a:pt x="206" y="44"/>
                    <a:pt x="206" y="44"/>
                  </a:cubicBezTo>
                  <a:lnTo>
                    <a:pt x="206" y="267"/>
                  </a:lnTo>
                  <a:close/>
                  <a:moveTo>
                    <a:pt x="93" y="44"/>
                  </a:moveTo>
                  <a:cubicBezTo>
                    <a:pt x="93" y="36"/>
                    <a:pt x="93" y="36"/>
                    <a:pt x="93" y="36"/>
                  </a:cubicBezTo>
                  <a:cubicBezTo>
                    <a:pt x="93" y="27"/>
                    <a:pt x="103" y="18"/>
                    <a:pt x="112" y="18"/>
                  </a:cubicBezTo>
                  <a:cubicBezTo>
                    <a:pt x="124" y="18"/>
                    <a:pt x="131" y="27"/>
                    <a:pt x="131" y="36"/>
                  </a:cubicBezTo>
                  <a:cubicBezTo>
                    <a:pt x="131" y="44"/>
                    <a:pt x="131" y="44"/>
                    <a:pt x="131" y="44"/>
                  </a:cubicBezTo>
                  <a:cubicBezTo>
                    <a:pt x="150" y="44"/>
                    <a:pt x="150" y="44"/>
                    <a:pt x="150" y="44"/>
                  </a:cubicBezTo>
                  <a:cubicBezTo>
                    <a:pt x="150" y="62"/>
                    <a:pt x="150" y="62"/>
                    <a:pt x="150" y="62"/>
                  </a:cubicBezTo>
                  <a:cubicBezTo>
                    <a:pt x="75" y="62"/>
                    <a:pt x="75" y="62"/>
                    <a:pt x="75" y="62"/>
                  </a:cubicBezTo>
                  <a:cubicBezTo>
                    <a:pt x="75" y="44"/>
                    <a:pt x="75" y="44"/>
                    <a:pt x="75" y="44"/>
                  </a:cubicBezTo>
                  <a:lnTo>
                    <a:pt x="93" y="44"/>
                  </a:lnTo>
                  <a:close/>
                  <a:moveTo>
                    <a:pt x="150" y="27"/>
                  </a:moveTo>
                  <a:cubicBezTo>
                    <a:pt x="145" y="11"/>
                    <a:pt x="131" y="0"/>
                    <a:pt x="112" y="0"/>
                  </a:cubicBezTo>
                  <a:cubicBezTo>
                    <a:pt x="96" y="0"/>
                    <a:pt x="82" y="11"/>
                    <a:pt x="77" y="27"/>
                  </a:cubicBezTo>
                  <a:cubicBezTo>
                    <a:pt x="0" y="27"/>
                    <a:pt x="0" y="27"/>
                    <a:pt x="0" y="27"/>
                  </a:cubicBezTo>
                  <a:cubicBezTo>
                    <a:pt x="0" y="285"/>
                    <a:pt x="0" y="285"/>
                    <a:pt x="0" y="285"/>
                  </a:cubicBezTo>
                  <a:cubicBezTo>
                    <a:pt x="225" y="285"/>
                    <a:pt x="225" y="285"/>
                    <a:pt x="225" y="285"/>
                  </a:cubicBezTo>
                  <a:cubicBezTo>
                    <a:pt x="225" y="27"/>
                    <a:pt x="225" y="27"/>
                    <a:pt x="225" y="27"/>
                  </a:cubicBezTo>
                  <a:lnTo>
                    <a:pt x="1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85" name="Freeform 20"/>
            <p:cNvSpPr>
              <a:spLocks/>
            </p:cNvSpPr>
            <p:nvPr/>
          </p:nvSpPr>
          <p:spPr bwMode="auto">
            <a:xfrm>
              <a:off x="5448300" y="-1239838"/>
              <a:ext cx="433388" cy="354012"/>
            </a:xfrm>
            <a:custGeom>
              <a:avLst/>
              <a:gdLst>
                <a:gd name="T0" fmla="*/ 81 w 273"/>
                <a:gd name="T1" fmla="*/ 223 h 223"/>
                <a:gd name="T2" fmla="*/ 0 w 273"/>
                <a:gd name="T3" fmla="*/ 142 h 223"/>
                <a:gd name="T4" fmla="*/ 32 w 273"/>
                <a:gd name="T5" fmla="*/ 107 h 223"/>
                <a:gd name="T6" fmla="*/ 81 w 273"/>
                <a:gd name="T7" fmla="*/ 156 h 223"/>
                <a:gd name="T8" fmla="*/ 237 w 273"/>
                <a:gd name="T9" fmla="*/ 0 h 223"/>
                <a:gd name="T10" fmla="*/ 273 w 273"/>
                <a:gd name="T11" fmla="*/ 35 h 223"/>
                <a:gd name="T12" fmla="*/ 81 w 273"/>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273" h="223">
                  <a:moveTo>
                    <a:pt x="81" y="223"/>
                  </a:moveTo>
                  <a:lnTo>
                    <a:pt x="0" y="142"/>
                  </a:lnTo>
                  <a:lnTo>
                    <a:pt x="32" y="107"/>
                  </a:lnTo>
                  <a:lnTo>
                    <a:pt x="81" y="156"/>
                  </a:lnTo>
                  <a:lnTo>
                    <a:pt x="237" y="0"/>
                  </a:lnTo>
                  <a:lnTo>
                    <a:pt x="273" y="35"/>
                  </a:lnTo>
                  <a:lnTo>
                    <a:pt x="81"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cxnSp>
        <p:nvCxnSpPr>
          <p:cNvPr id="186" name="Straight Connector 185"/>
          <p:cNvCxnSpPr/>
          <p:nvPr/>
        </p:nvCxnSpPr>
        <p:spPr>
          <a:xfrm flipH="1">
            <a:off x="4823188" y="2634243"/>
            <a:ext cx="573821" cy="0"/>
          </a:xfrm>
          <a:prstGeom prst="line">
            <a:avLst/>
          </a:prstGeom>
          <a:ln w="381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8" name="TextBox 237"/>
          <p:cNvSpPr txBox="1"/>
          <p:nvPr/>
        </p:nvSpPr>
        <p:spPr>
          <a:xfrm>
            <a:off x="5140515" y="3001047"/>
            <a:ext cx="1328322" cy="700633"/>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User beta </a:t>
            </a:r>
            <a:br>
              <a:rPr lang="en-US" sz="1632">
                <a:solidFill>
                  <a:srgbClr val="0078D7"/>
                </a:solidFill>
                <a:latin typeface="Segoe UI"/>
              </a:rPr>
            </a:br>
            <a:r>
              <a:rPr lang="en-US" sz="1632">
                <a:solidFill>
                  <a:srgbClr val="0078D7"/>
                </a:solidFill>
                <a:latin typeface="Segoe UI"/>
              </a:rPr>
              <a:t>testing</a:t>
            </a:r>
          </a:p>
        </p:txBody>
      </p:sp>
      <p:cxnSp>
        <p:nvCxnSpPr>
          <p:cNvPr id="239" name="Straight Connector 238"/>
          <p:cNvCxnSpPr/>
          <p:nvPr/>
        </p:nvCxnSpPr>
        <p:spPr>
          <a:xfrm flipH="1">
            <a:off x="6236236" y="2634243"/>
            <a:ext cx="411295" cy="0"/>
          </a:xfrm>
          <a:prstGeom prst="line">
            <a:avLst/>
          </a:prstGeom>
          <a:ln w="381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H="1">
            <a:off x="5684720" y="4410630"/>
            <a:ext cx="962811" cy="0"/>
          </a:xfrm>
          <a:prstGeom prst="line">
            <a:avLst/>
          </a:prstGeom>
          <a:ln w="38100">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6648568" y="2612658"/>
            <a:ext cx="0" cy="1816634"/>
          </a:xfrm>
          <a:prstGeom prst="line">
            <a:avLst/>
          </a:prstGeom>
          <a:ln w="381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2" name="Group 241"/>
          <p:cNvGrpSpPr/>
          <p:nvPr/>
        </p:nvGrpSpPr>
        <p:grpSpPr>
          <a:xfrm>
            <a:off x="4700955" y="4149525"/>
            <a:ext cx="770197" cy="599321"/>
            <a:chOff x="10672442" y="3330324"/>
            <a:chExt cx="578404" cy="450079"/>
          </a:xfrm>
          <a:solidFill>
            <a:schemeClr val="tx2"/>
          </a:solidFill>
        </p:grpSpPr>
        <p:sp>
          <p:nvSpPr>
            <p:cNvPr id="243" name="Freeform 159"/>
            <p:cNvSpPr>
              <a:spLocks noEditPoints="1"/>
            </p:cNvSpPr>
            <p:nvPr/>
          </p:nvSpPr>
          <p:spPr bwMode="auto">
            <a:xfrm>
              <a:off x="10672442" y="3330324"/>
              <a:ext cx="578404" cy="450079"/>
            </a:xfrm>
            <a:custGeom>
              <a:avLst/>
              <a:gdLst>
                <a:gd name="T0" fmla="*/ 51 w 924"/>
                <a:gd name="T1" fmla="*/ 566 h 719"/>
                <a:gd name="T2" fmla="*/ 51 w 924"/>
                <a:gd name="T3" fmla="*/ 51 h 719"/>
                <a:gd name="T4" fmla="*/ 873 w 924"/>
                <a:gd name="T5" fmla="*/ 51 h 719"/>
                <a:gd name="T6" fmla="*/ 873 w 924"/>
                <a:gd name="T7" fmla="*/ 566 h 719"/>
                <a:gd name="T8" fmla="*/ 51 w 924"/>
                <a:gd name="T9" fmla="*/ 566 h 719"/>
                <a:gd name="T10" fmla="*/ 438 w 924"/>
                <a:gd name="T11" fmla="*/ 668 h 719"/>
                <a:gd name="T12" fmla="*/ 309 w 924"/>
                <a:gd name="T13" fmla="*/ 668 h 719"/>
                <a:gd name="T14" fmla="*/ 309 w 924"/>
                <a:gd name="T15" fmla="*/ 719 h 719"/>
                <a:gd name="T16" fmla="*/ 615 w 924"/>
                <a:gd name="T17" fmla="*/ 719 h 719"/>
                <a:gd name="T18" fmla="*/ 615 w 924"/>
                <a:gd name="T19" fmla="*/ 668 h 719"/>
                <a:gd name="T20" fmla="*/ 489 w 924"/>
                <a:gd name="T21" fmla="*/ 668 h 719"/>
                <a:gd name="T22" fmla="*/ 489 w 924"/>
                <a:gd name="T23" fmla="*/ 617 h 719"/>
                <a:gd name="T24" fmla="*/ 924 w 924"/>
                <a:gd name="T25" fmla="*/ 617 h 719"/>
                <a:gd name="T26" fmla="*/ 924 w 924"/>
                <a:gd name="T27" fmla="*/ 0 h 719"/>
                <a:gd name="T28" fmla="*/ 0 w 924"/>
                <a:gd name="T29" fmla="*/ 0 h 719"/>
                <a:gd name="T30" fmla="*/ 0 w 924"/>
                <a:gd name="T31" fmla="*/ 617 h 719"/>
                <a:gd name="T32" fmla="*/ 438 w 924"/>
                <a:gd name="T33" fmla="*/ 617 h 719"/>
                <a:gd name="T34" fmla="*/ 438 w 924"/>
                <a:gd name="T35" fmla="*/ 66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4" h="719">
                  <a:moveTo>
                    <a:pt x="51" y="566"/>
                  </a:moveTo>
                  <a:lnTo>
                    <a:pt x="51" y="51"/>
                  </a:lnTo>
                  <a:lnTo>
                    <a:pt x="873" y="51"/>
                  </a:lnTo>
                  <a:lnTo>
                    <a:pt x="873" y="566"/>
                  </a:lnTo>
                  <a:lnTo>
                    <a:pt x="51" y="566"/>
                  </a:lnTo>
                  <a:close/>
                  <a:moveTo>
                    <a:pt x="438" y="668"/>
                  </a:moveTo>
                  <a:lnTo>
                    <a:pt x="309" y="668"/>
                  </a:lnTo>
                  <a:lnTo>
                    <a:pt x="309" y="719"/>
                  </a:lnTo>
                  <a:lnTo>
                    <a:pt x="615" y="719"/>
                  </a:lnTo>
                  <a:lnTo>
                    <a:pt x="615" y="668"/>
                  </a:lnTo>
                  <a:lnTo>
                    <a:pt x="489" y="668"/>
                  </a:lnTo>
                  <a:lnTo>
                    <a:pt x="489" y="617"/>
                  </a:lnTo>
                  <a:lnTo>
                    <a:pt x="924" y="617"/>
                  </a:lnTo>
                  <a:lnTo>
                    <a:pt x="924" y="0"/>
                  </a:lnTo>
                  <a:lnTo>
                    <a:pt x="0" y="0"/>
                  </a:lnTo>
                  <a:lnTo>
                    <a:pt x="0" y="617"/>
                  </a:lnTo>
                  <a:lnTo>
                    <a:pt x="438" y="617"/>
                  </a:lnTo>
                  <a:lnTo>
                    <a:pt x="438" y="668"/>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47" name="Group 135"/>
            <p:cNvGrpSpPr>
              <a:grpSpLocks noChangeAspect="1"/>
            </p:cNvGrpSpPr>
            <p:nvPr/>
          </p:nvGrpSpPr>
          <p:grpSpPr bwMode="auto">
            <a:xfrm>
              <a:off x="10754758" y="3446687"/>
              <a:ext cx="156438" cy="195820"/>
              <a:chOff x="3828" y="2131"/>
              <a:chExt cx="237" cy="419"/>
            </a:xfrm>
            <a:grpFill/>
          </p:grpSpPr>
          <p:sp>
            <p:nvSpPr>
              <p:cNvPr id="249"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257"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258"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259"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grpSp>
        <p:sp>
          <p:nvSpPr>
            <p:cNvPr id="248" name="Freeform 256"/>
            <p:cNvSpPr>
              <a:spLocks noChangeAspect="1"/>
            </p:cNvSpPr>
            <p:nvPr/>
          </p:nvSpPr>
          <p:spPr bwMode="black">
            <a:xfrm>
              <a:off x="10982693" y="3450990"/>
              <a:ext cx="188425" cy="18847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3" tIns="146226" rIns="182783" bIns="146226" numCol="1" spcCol="0" rtlCol="0" fromWordArt="0" anchor="t" anchorCtr="0" forceAA="0" compatLnSpc="1">
              <a:prstTxWarp prst="textNoShape">
                <a:avLst/>
              </a:prstTxWarp>
              <a:noAutofit/>
            </a:bodyPr>
            <a:lstStyle/>
            <a:p>
              <a:pPr algn="ctr" defTabSz="931928" fontAlgn="base">
                <a:lnSpc>
                  <a:spcPct val="90000"/>
                </a:lnSpc>
                <a:spcBef>
                  <a:spcPct val="0"/>
                </a:spcBef>
                <a:spcAft>
                  <a:spcPct val="0"/>
                </a:spcAft>
                <a:defRPr/>
              </a:pPr>
              <a:endParaRPr lang="en-US" sz="2244" b="1">
                <a:solidFill>
                  <a:srgbClr val="0064B7"/>
                </a:solidFill>
                <a:latin typeface="Segoe UI"/>
                <a:ea typeface="Segoe UI" pitchFamily="34" charset="0"/>
                <a:cs typeface="Segoe UI" pitchFamily="34" charset="0"/>
              </a:endParaRPr>
            </a:p>
          </p:txBody>
        </p:sp>
      </p:grpSp>
      <p:sp>
        <p:nvSpPr>
          <p:cNvPr id="260" name="TextBox 259"/>
          <p:cNvSpPr txBox="1"/>
          <p:nvPr/>
        </p:nvSpPr>
        <p:spPr>
          <a:xfrm>
            <a:off x="4202925" y="4829970"/>
            <a:ext cx="1814344" cy="439474"/>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Monitor/analytics</a:t>
            </a:r>
          </a:p>
        </p:txBody>
      </p:sp>
      <p:cxnSp>
        <p:nvCxnSpPr>
          <p:cNvPr id="261" name="Straight Connector 260"/>
          <p:cNvCxnSpPr/>
          <p:nvPr/>
        </p:nvCxnSpPr>
        <p:spPr>
          <a:xfrm flipH="1">
            <a:off x="1601851" y="4410630"/>
            <a:ext cx="2944848" cy="0"/>
          </a:xfrm>
          <a:prstGeom prst="line">
            <a:avLst/>
          </a:prstGeom>
          <a:ln w="38100">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3" name="Freeform 12"/>
          <p:cNvSpPr>
            <a:spLocks noEditPoints="1"/>
          </p:cNvSpPr>
          <p:nvPr/>
        </p:nvSpPr>
        <p:spPr bwMode="auto">
          <a:xfrm>
            <a:off x="518058" y="4147226"/>
            <a:ext cx="431245" cy="561847"/>
          </a:xfrm>
          <a:custGeom>
            <a:avLst/>
            <a:gdLst>
              <a:gd name="T0" fmla="*/ 82 w 317"/>
              <a:gd name="T1" fmla="*/ 335 h 413"/>
              <a:gd name="T2" fmla="*/ 82 w 317"/>
              <a:gd name="T3" fmla="*/ 27 h 413"/>
              <a:gd name="T4" fmla="*/ 213 w 317"/>
              <a:gd name="T5" fmla="*/ 27 h 413"/>
              <a:gd name="T6" fmla="*/ 213 w 317"/>
              <a:gd name="T7" fmla="*/ 103 h 413"/>
              <a:gd name="T8" fmla="*/ 293 w 317"/>
              <a:gd name="T9" fmla="*/ 103 h 413"/>
              <a:gd name="T10" fmla="*/ 293 w 317"/>
              <a:gd name="T11" fmla="*/ 335 h 413"/>
              <a:gd name="T12" fmla="*/ 82 w 317"/>
              <a:gd name="T13" fmla="*/ 335 h 413"/>
              <a:gd name="T14" fmla="*/ 241 w 317"/>
              <a:gd name="T15" fmla="*/ 386 h 413"/>
              <a:gd name="T16" fmla="*/ 27 w 317"/>
              <a:gd name="T17" fmla="*/ 386 h 413"/>
              <a:gd name="T18" fmla="*/ 27 w 317"/>
              <a:gd name="T19" fmla="*/ 79 h 413"/>
              <a:gd name="T20" fmla="*/ 55 w 317"/>
              <a:gd name="T21" fmla="*/ 79 h 413"/>
              <a:gd name="T22" fmla="*/ 55 w 317"/>
              <a:gd name="T23" fmla="*/ 362 h 413"/>
              <a:gd name="T24" fmla="*/ 241 w 317"/>
              <a:gd name="T25" fmla="*/ 362 h 413"/>
              <a:gd name="T26" fmla="*/ 241 w 317"/>
              <a:gd name="T27" fmla="*/ 386 h 413"/>
              <a:gd name="T28" fmla="*/ 241 w 317"/>
              <a:gd name="T29" fmla="*/ 36 h 413"/>
              <a:gd name="T30" fmla="*/ 282 w 317"/>
              <a:gd name="T31" fmla="*/ 79 h 413"/>
              <a:gd name="T32" fmla="*/ 241 w 317"/>
              <a:gd name="T33" fmla="*/ 79 h 413"/>
              <a:gd name="T34" fmla="*/ 241 w 317"/>
              <a:gd name="T35" fmla="*/ 36 h 413"/>
              <a:gd name="T36" fmla="*/ 317 w 317"/>
              <a:gd name="T37" fmla="*/ 362 h 413"/>
              <a:gd name="T38" fmla="*/ 317 w 317"/>
              <a:gd name="T39" fmla="*/ 79 h 413"/>
              <a:gd name="T40" fmla="*/ 241 w 317"/>
              <a:gd name="T41" fmla="*/ 0 h 413"/>
              <a:gd name="T42" fmla="*/ 55 w 317"/>
              <a:gd name="T43" fmla="*/ 0 h 413"/>
              <a:gd name="T44" fmla="*/ 55 w 317"/>
              <a:gd name="T45" fmla="*/ 52 h 413"/>
              <a:gd name="T46" fmla="*/ 0 w 317"/>
              <a:gd name="T47" fmla="*/ 52 h 413"/>
              <a:gd name="T48" fmla="*/ 0 w 317"/>
              <a:gd name="T49" fmla="*/ 413 h 413"/>
              <a:gd name="T50" fmla="*/ 265 w 317"/>
              <a:gd name="T51" fmla="*/ 413 h 413"/>
              <a:gd name="T52" fmla="*/ 265 w 317"/>
              <a:gd name="T53" fmla="*/ 362 h 413"/>
              <a:gd name="T54" fmla="*/ 317 w 317"/>
              <a:gd name="T55" fmla="*/ 36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7" h="413">
                <a:moveTo>
                  <a:pt x="82" y="335"/>
                </a:moveTo>
                <a:lnTo>
                  <a:pt x="82" y="27"/>
                </a:lnTo>
                <a:lnTo>
                  <a:pt x="213" y="27"/>
                </a:lnTo>
                <a:lnTo>
                  <a:pt x="213" y="103"/>
                </a:lnTo>
                <a:lnTo>
                  <a:pt x="293" y="103"/>
                </a:lnTo>
                <a:lnTo>
                  <a:pt x="293" y="335"/>
                </a:lnTo>
                <a:lnTo>
                  <a:pt x="82" y="335"/>
                </a:lnTo>
                <a:close/>
                <a:moveTo>
                  <a:pt x="241" y="386"/>
                </a:moveTo>
                <a:lnTo>
                  <a:pt x="27" y="386"/>
                </a:lnTo>
                <a:lnTo>
                  <a:pt x="27" y="79"/>
                </a:lnTo>
                <a:lnTo>
                  <a:pt x="55" y="79"/>
                </a:lnTo>
                <a:lnTo>
                  <a:pt x="55" y="362"/>
                </a:lnTo>
                <a:lnTo>
                  <a:pt x="241" y="362"/>
                </a:lnTo>
                <a:lnTo>
                  <a:pt x="241" y="386"/>
                </a:lnTo>
                <a:close/>
                <a:moveTo>
                  <a:pt x="241" y="36"/>
                </a:moveTo>
                <a:lnTo>
                  <a:pt x="282" y="79"/>
                </a:lnTo>
                <a:lnTo>
                  <a:pt x="241" y="79"/>
                </a:lnTo>
                <a:lnTo>
                  <a:pt x="241" y="36"/>
                </a:lnTo>
                <a:close/>
                <a:moveTo>
                  <a:pt x="317" y="362"/>
                </a:moveTo>
                <a:lnTo>
                  <a:pt x="317" y="79"/>
                </a:lnTo>
                <a:lnTo>
                  <a:pt x="241" y="0"/>
                </a:lnTo>
                <a:lnTo>
                  <a:pt x="55" y="0"/>
                </a:lnTo>
                <a:lnTo>
                  <a:pt x="55" y="52"/>
                </a:lnTo>
                <a:lnTo>
                  <a:pt x="0" y="52"/>
                </a:lnTo>
                <a:lnTo>
                  <a:pt x="0" y="413"/>
                </a:lnTo>
                <a:lnTo>
                  <a:pt x="265" y="413"/>
                </a:lnTo>
                <a:lnTo>
                  <a:pt x="265" y="362"/>
                </a:lnTo>
                <a:lnTo>
                  <a:pt x="317" y="362"/>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4" name="TextBox 263"/>
          <p:cNvSpPr txBox="1"/>
          <p:nvPr/>
        </p:nvSpPr>
        <p:spPr>
          <a:xfrm>
            <a:off x="337600" y="4829970"/>
            <a:ext cx="1328322" cy="444475"/>
          </a:xfrm>
          <a:prstGeom prst="rect">
            <a:avLst/>
          </a:prstGeom>
          <a:noFill/>
        </p:spPr>
        <p:txBody>
          <a:bodyPr wrap="square" lIns="93247" tIns="93247" rIns="93247" bIns="93247" rtlCol="0" anchor="t" anchorCtr="0">
            <a:spAutoFit/>
          </a:bodyPr>
          <a:lstStyle/>
          <a:p>
            <a:pPr algn="ctr" defTabSz="932029">
              <a:defRPr/>
            </a:pPr>
            <a:r>
              <a:rPr lang="en-US" sz="1632">
                <a:solidFill>
                  <a:srgbClr val="0078D7"/>
                </a:solidFill>
                <a:latin typeface="Segoe UI"/>
              </a:rPr>
              <a:t>Backlog</a:t>
            </a:r>
          </a:p>
        </p:txBody>
      </p:sp>
      <p:sp>
        <p:nvSpPr>
          <p:cNvPr id="265" name="Freeform 12"/>
          <p:cNvSpPr>
            <a:spLocks noEditPoints="1"/>
          </p:cNvSpPr>
          <p:nvPr/>
        </p:nvSpPr>
        <p:spPr bwMode="auto">
          <a:xfrm>
            <a:off x="1028498" y="4147226"/>
            <a:ext cx="431245" cy="561847"/>
          </a:xfrm>
          <a:custGeom>
            <a:avLst/>
            <a:gdLst>
              <a:gd name="T0" fmla="*/ 82 w 317"/>
              <a:gd name="T1" fmla="*/ 335 h 413"/>
              <a:gd name="T2" fmla="*/ 82 w 317"/>
              <a:gd name="T3" fmla="*/ 27 h 413"/>
              <a:gd name="T4" fmla="*/ 213 w 317"/>
              <a:gd name="T5" fmla="*/ 27 h 413"/>
              <a:gd name="T6" fmla="*/ 213 w 317"/>
              <a:gd name="T7" fmla="*/ 103 h 413"/>
              <a:gd name="T8" fmla="*/ 293 w 317"/>
              <a:gd name="T9" fmla="*/ 103 h 413"/>
              <a:gd name="T10" fmla="*/ 293 w 317"/>
              <a:gd name="T11" fmla="*/ 335 h 413"/>
              <a:gd name="T12" fmla="*/ 82 w 317"/>
              <a:gd name="T13" fmla="*/ 335 h 413"/>
              <a:gd name="T14" fmla="*/ 241 w 317"/>
              <a:gd name="T15" fmla="*/ 386 h 413"/>
              <a:gd name="T16" fmla="*/ 27 w 317"/>
              <a:gd name="T17" fmla="*/ 386 h 413"/>
              <a:gd name="T18" fmla="*/ 27 w 317"/>
              <a:gd name="T19" fmla="*/ 79 h 413"/>
              <a:gd name="T20" fmla="*/ 55 w 317"/>
              <a:gd name="T21" fmla="*/ 79 h 413"/>
              <a:gd name="T22" fmla="*/ 55 w 317"/>
              <a:gd name="T23" fmla="*/ 362 h 413"/>
              <a:gd name="T24" fmla="*/ 241 w 317"/>
              <a:gd name="T25" fmla="*/ 362 h 413"/>
              <a:gd name="T26" fmla="*/ 241 w 317"/>
              <a:gd name="T27" fmla="*/ 386 h 413"/>
              <a:gd name="T28" fmla="*/ 241 w 317"/>
              <a:gd name="T29" fmla="*/ 36 h 413"/>
              <a:gd name="T30" fmla="*/ 282 w 317"/>
              <a:gd name="T31" fmla="*/ 79 h 413"/>
              <a:gd name="T32" fmla="*/ 241 w 317"/>
              <a:gd name="T33" fmla="*/ 79 h 413"/>
              <a:gd name="T34" fmla="*/ 241 w 317"/>
              <a:gd name="T35" fmla="*/ 36 h 413"/>
              <a:gd name="T36" fmla="*/ 317 w 317"/>
              <a:gd name="T37" fmla="*/ 362 h 413"/>
              <a:gd name="T38" fmla="*/ 317 w 317"/>
              <a:gd name="T39" fmla="*/ 79 h 413"/>
              <a:gd name="T40" fmla="*/ 241 w 317"/>
              <a:gd name="T41" fmla="*/ 0 h 413"/>
              <a:gd name="T42" fmla="*/ 55 w 317"/>
              <a:gd name="T43" fmla="*/ 0 h 413"/>
              <a:gd name="T44" fmla="*/ 55 w 317"/>
              <a:gd name="T45" fmla="*/ 52 h 413"/>
              <a:gd name="T46" fmla="*/ 0 w 317"/>
              <a:gd name="T47" fmla="*/ 52 h 413"/>
              <a:gd name="T48" fmla="*/ 0 w 317"/>
              <a:gd name="T49" fmla="*/ 413 h 413"/>
              <a:gd name="T50" fmla="*/ 265 w 317"/>
              <a:gd name="T51" fmla="*/ 413 h 413"/>
              <a:gd name="T52" fmla="*/ 265 w 317"/>
              <a:gd name="T53" fmla="*/ 362 h 413"/>
              <a:gd name="T54" fmla="*/ 317 w 317"/>
              <a:gd name="T55" fmla="*/ 36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7" h="413">
                <a:moveTo>
                  <a:pt x="82" y="335"/>
                </a:moveTo>
                <a:lnTo>
                  <a:pt x="82" y="27"/>
                </a:lnTo>
                <a:lnTo>
                  <a:pt x="213" y="27"/>
                </a:lnTo>
                <a:lnTo>
                  <a:pt x="213" y="103"/>
                </a:lnTo>
                <a:lnTo>
                  <a:pt x="293" y="103"/>
                </a:lnTo>
                <a:lnTo>
                  <a:pt x="293" y="335"/>
                </a:lnTo>
                <a:lnTo>
                  <a:pt x="82" y="335"/>
                </a:lnTo>
                <a:close/>
                <a:moveTo>
                  <a:pt x="241" y="386"/>
                </a:moveTo>
                <a:lnTo>
                  <a:pt x="27" y="386"/>
                </a:lnTo>
                <a:lnTo>
                  <a:pt x="27" y="79"/>
                </a:lnTo>
                <a:lnTo>
                  <a:pt x="55" y="79"/>
                </a:lnTo>
                <a:lnTo>
                  <a:pt x="55" y="362"/>
                </a:lnTo>
                <a:lnTo>
                  <a:pt x="241" y="362"/>
                </a:lnTo>
                <a:lnTo>
                  <a:pt x="241" y="386"/>
                </a:lnTo>
                <a:close/>
                <a:moveTo>
                  <a:pt x="241" y="36"/>
                </a:moveTo>
                <a:lnTo>
                  <a:pt x="282" y="79"/>
                </a:lnTo>
                <a:lnTo>
                  <a:pt x="241" y="79"/>
                </a:lnTo>
                <a:lnTo>
                  <a:pt x="241" y="36"/>
                </a:lnTo>
                <a:close/>
                <a:moveTo>
                  <a:pt x="317" y="362"/>
                </a:moveTo>
                <a:lnTo>
                  <a:pt x="317" y="79"/>
                </a:lnTo>
                <a:lnTo>
                  <a:pt x="241" y="0"/>
                </a:lnTo>
                <a:lnTo>
                  <a:pt x="55" y="0"/>
                </a:lnTo>
                <a:lnTo>
                  <a:pt x="55" y="52"/>
                </a:lnTo>
                <a:lnTo>
                  <a:pt x="0" y="52"/>
                </a:lnTo>
                <a:lnTo>
                  <a:pt x="0" y="413"/>
                </a:lnTo>
                <a:lnTo>
                  <a:pt x="265" y="413"/>
                </a:lnTo>
                <a:lnTo>
                  <a:pt x="265" y="362"/>
                </a:lnTo>
                <a:lnTo>
                  <a:pt x="317" y="362"/>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66" name="Group 265"/>
          <p:cNvGrpSpPr/>
          <p:nvPr/>
        </p:nvGrpSpPr>
        <p:grpSpPr>
          <a:xfrm>
            <a:off x="1205909" y="4347526"/>
            <a:ext cx="139045" cy="162508"/>
            <a:chOff x="5026109" y="4686995"/>
            <a:chExt cx="253964" cy="296819"/>
          </a:xfrm>
          <a:solidFill>
            <a:schemeClr val="tx2"/>
          </a:solidFill>
        </p:grpSpPr>
        <p:sp>
          <p:nvSpPr>
            <p:cNvPr id="267" name="Freeform 47"/>
            <p:cNvSpPr>
              <a:spLocks/>
            </p:cNvSpPr>
            <p:nvPr/>
          </p:nvSpPr>
          <p:spPr bwMode="auto">
            <a:xfrm>
              <a:off x="5026109" y="4755247"/>
              <a:ext cx="253964" cy="228567"/>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sp>
          <p:nvSpPr>
            <p:cNvPr id="268" name="Freeform 48"/>
            <p:cNvSpPr>
              <a:spLocks/>
            </p:cNvSpPr>
            <p:nvPr/>
          </p:nvSpPr>
          <p:spPr bwMode="auto">
            <a:xfrm>
              <a:off x="5159440" y="4686995"/>
              <a:ext cx="61904" cy="68253"/>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grpSp>
      <p:cxnSp>
        <p:nvCxnSpPr>
          <p:cNvPr id="269" name="Straight Connector 268"/>
          <p:cNvCxnSpPr/>
          <p:nvPr/>
        </p:nvCxnSpPr>
        <p:spPr>
          <a:xfrm>
            <a:off x="779797" y="3814567"/>
            <a:ext cx="0" cy="235854"/>
          </a:xfrm>
          <a:prstGeom prst="line">
            <a:avLst/>
          </a:prstGeom>
          <a:ln w="381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p:nvPr/>
        </p:nvCxnSpPr>
        <p:spPr>
          <a:xfrm>
            <a:off x="1222784" y="3814567"/>
            <a:ext cx="0" cy="235854"/>
          </a:xfrm>
          <a:prstGeom prst="line">
            <a:avLst/>
          </a:prstGeom>
          <a:ln w="381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329" name="Group 328"/>
          <p:cNvGrpSpPr/>
          <p:nvPr/>
        </p:nvGrpSpPr>
        <p:grpSpPr>
          <a:xfrm>
            <a:off x="705941" y="4377436"/>
            <a:ext cx="131714" cy="134938"/>
            <a:chOff x="691297" y="4940257"/>
            <a:chExt cx="129143" cy="132304"/>
          </a:xfrm>
          <a:solidFill>
            <a:schemeClr val="tx2"/>
          </a:solidFill>
        </p:grpSpPr>
        <p:sp>
          <p:nvSpPr>
            <p:cNvPr id="330" name="Freeform 49"/>
            <p:cNvSpPr>
              <a:spLocks/>
            </p:cNvSpPr>
            <p:nvPr/>
          </p:nvSpPr>
          <p:spPr bwMode="auto">
            <a:xfrm>
              <a:off x="749322" y="4940257"/>
              <a:ext cx="71118" cy="62521"/>
            </a:xfrm>
            <a:custGeom>
              <a:avLst/>
              <a:gdLst>
                <a:gd name="T0" fmla="*/ 0 w 91"/>
                <a:gd name="T1" fmla="*/ 80 h 80"/>
                <a:gd name="T2" fmla="*/ 91 w 91"/>
                <a:gd name="T3" fmla="*/ 80 h 80"/>
                <a:gd name="T4" fmla="*/ 91 w 91"/>
                <a:gd name="T5" fmla="*/ 0 h 80"/>
                <a:gd name="T6" fmla="*/ 0 w 91"/>
                <a:gd name="T7" fmla="*/ 14 h 80"/>
                <a:gd name="T8" fmla="*/ 0 w 91"/>
                <a:gd name="T9" fmla="*/ 80 h 80"/>
              </a:gdLst>
              <a:ahLst/>
              <a:cxnLst>
                <a:cxn ang="0">
                  <a:pos x="T0" y="T1"/>
                </a:cxn>
                <a:cxn ang="0">
                  <a:pos x="T2" y="T3"/>
                </a:cxn>
                <a:cxn ang="0">
                  <a:pos x="T4" y="T5"/>
                </a:cxn>
                <a:cxn ang="0">
                  <a:pos x="T6" y="T7"/>
                </a:cxn>
                <a:cxn ang="0">
                  <a:pos x="T8" y="T9"/>
                </a:cxn>
              </a:cxnLst>
              <a:rect l="0" t="0" r="r" b="b"/>
              <a:pathLst>
                <a:path w="91" h="80">
                  <a:moveTo>
                    <a:pt x="0" y="80"/>
                  </a:moveTo>
                  <a:lnTo>
                    <a:pt x="91" y="80"/>
                  </a:lnTo>
                  <a:lnTo>
                    <a:pt x="91" y="0"/>
                  </a:lnTo>
                  <a:lnTo>
                    <a:pt x="0" y="14"/>
                  </a:ln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sp>
          <p:nvSpPr>
            <p:cNvPr id="331" name="Freeform 50"/>
            <p:cNvSpPr>
              <a:spLocks/>
            </p:cNvSpPr>
            <p:nvPr/>
          </p:nvSpPr>
          <p:spPr bwMode="auto">
            <a:xfrm>
              <a:off x="691297" y="4951198"/>
              <a:ext cx="54706" cy="51580"/>
            </a:xfrm>
            <a:custGeom>
              <a:avLst/>
              <a:gdLst>
                <a:gd name="T0" fmla="*/ 70 w 70"/>
                <a:gd name="T1" fmla="*/ 66 h 66"/>
                <a:gd name="T2" fmla="*/ 70 w 70"/>
                <a:gd name="T3" fmla="*/ 0 h 66"/>
                <a:gd name="T4" fmla="*/ 0 w 70"/>
                <a:gd name="T5" fmla="*/ 9 h 66"/>
                <a:gd name="T6" fmla="*/ 0 w 70"/>
                <a:gd name="T7" fmla="*/ 66 h 66"/>
                <a:gd name="T8" fmla="*/ 70 w 70"/>
                <a:gd name="T9" fmla="*/ 66 h 66"/>
              </a:gdLst>
              <a:ahLst/>
              <a:cxnLst>
                <a:cxn ang="0">
                  <a:pos x="T0" y="T1"/>
                </a:cxn>
                <a:cxn ang="0">
                  <a:pos x="T2" y="T3"/>
                </a:cxn>
                <a:cxn ang="0">
                  <a:pos x="T4" y="T5"/>
                </a:cxn>
                <a:cxn ang="0">
                  <a:pos x="T6" y="T7"/>
                </a:cxn>
                <a:cxn ang="0">
                  <a:pos x="T8" y="T9"/>
                </a:cxn>
              </a:cxnLst>
              <a:rect l="0" t="0" r="r" b="b"/>
              <a:pathLst>
                <a:path w="70" h="66">
                  <a:moveTo>
                    <a:pt x="70" y="66"/>
                  </a:moveTo>
                  <a:lnTo>
                    <a:pt x="70" y="0"/>
                  </a:lnTo>
                  <a:lnTo>
                    <a:pt x="0" y="9"/>
                  </a:lnTo>
                  <a:lnTo>
                    <a:pt x="0" y="66"/>
                  </a:lnTo>
                  <a:lnTo>
                    <a:pt x="7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sp>
          <p:nvSpPr>
            <p:cNvPr id="332" name="Freeform 51"/>
            <p:cNvSpPr>
              <a:spLocks/>
            </p:cNvSpPr>
            <p:nvPr/>
          </p:nvSpPr>
          <p:spPr bwMode="auto">
            <a:xfrm>
              <a:off x="691297" y="5008477"/>
              <a:ext cx="54706" cy="53143"/>
            </a:xfrm>
            <a:custGeom>
              <a:avLst/>
              <a:gdLst>
                <a:gd name="T0" fmla="*/ 70 w 70"/>
                <a:gd name="T1" fmla="*/ 0 h 68"/>
                <a:gd name="T2" fmla="*/ 0 w 70"/>
                <a:gd name="T3" fmla="*/ 0 h 68"/>
                <a:gd name="T4" fmla="*/ 0 w 70"/>
                <a:gd name="T5" fmla="*/ 59 h 68"/>
                <a:gd name="T6" fmla="*/ 70 w 70"/>
                <a:gd name="T7" fmla="*/ 68 h 68"/>
                <a:gd name="T8" fmla="*/ 70 w 70"/>
                <a:gd name="T9" fmla="*/ 0 h 68"/>
              </a:gdLst>
              <a:ahLst/>
              <a:cxnLst>
                <a:cxn ang="0">
                  <a:pos x="T0" y="T1"/>
                </a:cxn>
                <a:cxn ang="0">
                  <a:pos x="T2" y="T3"/>
                </a:cxn>
                <a:cxn ang="0">
                  <a:pos x="T4" y="T5"/>
                </a:cxn>
                <a:cxn ang="0">
                  <a:pos x="T6" y="T7"/>
                </a:cxn>
                <a:cxn ang="0">
                  <a:pos x="T8" y="T9"/>
                </a:cxn>
              </a:cxnLst>
              <a:rect l="0" t="0" r="r" b="b"/>
              <a:pathLst>
                <a:path w="70" h="68">
                  <a:moveTo>
                    <a:pt x="70" y="0"/>
                  </a:moveTo>
                  <a:lnTo>
                    <a:pt x="0" y="0"/>
                  </a:lnTo>
                  <a:lnTo>
                    <a:pt x="0" y="59"/>
                  </a:lnTo>
                  <a:lnTo>
                    <a:pt x="70" y="68"/>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sp>
          <p:nvSpPr>
            <p:cNvPr id="333" name="Freeform 52"/>
            <p:cNvSpPr>
              <a:spLocks/>
            </p:cNvSpPr>
            <p:nvPr/>
          </p:nvSpPr>
          <p:spPr bwMode="auto">
            <a:xfrm>
              <a:off x="749322" y="5008477"/>
              <a:ext cx="71118" cy="64084"/>
            </a:xfrm>
            <a:custGeom>
              <a:avLst/>
              <a:gdLst>
                <a:gd name="T0" fmla="*/ 0 w 91"/>
                <a:gd name="T1" fmla="*/ 0 h 82"/>
                <a:gd name="T2" fmla="*/ 0 w 91"/>
                <a:gd name="T3" fmla="*/ 68 h 82"/>
                <a:gd name="T4" fmla="*/ 91 w 91"/>
                <a:gd name="T5" fmla="*/ 82 h 82"/>
                <a:gd name="T6" fmla="*/ 91 w 91"/>
                <a:gd name="T7" fmla="*/ 0 h 82"/>
                <a:gd name="T8" fmla="*/ 0 w 91"/>
                <a:gd name="T9" fmla="*/ 0 h 82"/>
              </a:gdLst>
              <a:ahLst/>
              <a:cxnLst>
                <a:cxn ang="0">
                  <a:pos x="T0" y="T1"/>
                </a:cxn>
                <a:cxn ang="0">
                  <a:pos x="T2" y="T3"/>
                </a:cxn>
                <a:cxn ang="0">
                  <a:pos x="T4" y="T5"/>
                </a:cxn>
                <a:cxn ang="0">
                  <a:pos x="T6" y="T7"/>
                </a:cxn>
                <a:cxn ang="0">
                  <a:pos x="T8" y="T9"/>
                </a:cxn>
              </a:cxnLst>
              <a:rect l="0" t="0" r="r" b="b"/>
              <a:pathLst>
                <a:path w="91" h="82">
                  <a:moveTo>
                    <a:pt x="0" y="0"/>
                  </a:moveTo>
                  <a:lnTo>
                    <a:pt x="0" y="68"/>
                  </a:lnTo>
                  <a:lnTo>
                    <a:pt x="91" y="82"/>
                  </a:lnTo>
                  <a:lnTo>
                    <a:pt x="9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defRPr/>
              </a:pPr>
              <a:endParaRPr lang="en-US">
                <a:solidFill>
                  <a:srgbClr val="FFFFFF"/>
                </a:solidFill>
                <a:latin typeface="Segoe UI"/>
              </a:endParaRPr>
            </a:p>
          </p:txBody>
        </p:sp>
      </p:grpSp>
      <p:sp>
        <p:nvSpPr>
          <p:cNvPr id="334" name="Rectangle 333"/>
          <p:cNvSpPr/>
          <p:nvPr/>
        </p:nvSpPr>
        <p:spPr bwMode="auto">
          <a:xfrm>
            <a:off x="7654981" y="2256097"/>
            <a:ext cx="4121271" cy="253669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lgn="ctr" defTabSz="950846" fontAlgn="base">
              <a:spcAft>
                <a:spcPct val="0"/>
              </a:spcAft>
              <a:defRPr/>
            </a:pPr>
            <a:r>
              <a:rPr lang="en-US" sz="2040" b="1">
                <a:ln w="3175">
                  <a:noFill/>
                </a:ln>
                <a:solidFill>
                  <a:srgbClr val="0078D7"/>
                </a:solidFill>
                <a:latin typeface="Segoe UI"/>
                <a:cs typeface="Segoe UI Semilight" panose="020B0402040204020203" pitchFamily="34" charset="0"/>
              </a:rPr>
              <a:t>Cloud and offline data</a:t>
            </a:r>
          </a:p>
          <a:p>
            <a:pPr algn="ctr" defTabSz="950846" fontAlgn="base">
              <a:spcAft>
                <a:spcPct val="0"/>
              </a:spcAft>
              <a:defRPr/>
            </a:pPr>
            <a:endParaRPr lang="en-US" sz="2040" b="1">
              <a:ln w="3175">
                <a:noFill/>
              </a:ln>
              <a:solidFill>
                <a:srgbClr val="0078D7"/>
              </a:solidFill>
              <a:latin typeface="Segoe UI"/>
              <a:cs typeface="Segoe UI Semilight" panose="020B0402040204020203" pitchFamily="34" charset="0"/>
            </a:endParaRPr>
          </a:p>
          <a:p>
            <a:pPr algn="ctr" defTabSz="950846" fontAlgn="base">
              <a:spcAft>
                <a:spcPct val="0"/>
              </a:spcAft>
              <a:defRPr/>
            </a:pPr>
            <a:endParaRPr lang="en-US" sz="2040" b="1">
              <a:ln w="3175">
                <a:noFill/>
              </a:ln>
              <a:solidFill>
                <a:srgbClr val="0078D7"/>
              </a:solidFill>
              <a:latin typeface="Segoe UI"/>
              <a:cs typeface="Segoe UI Semilight" panose="020B0402040204020203" pitchFamily="34" charset="0"/>
            </a:endParaRPr>
          </a:p>
          <a:p>
            <a:pPr algn="ctr" defTabSz="950846" fontAlgn="base">
              <a:spcAft>
                <a:spcPct val="0"/>
              </a:spcAft>
              <a:defRPr/>
            </a:pPr>
            <a:r>
              <a:rPr lang="en-US" sz="2040" b="1">
                <a:ln w="3175">
                  <a:noFill/>
                </a:ln>
                <a:solidFill>
                  <a:srgbClr val="0078D7"/>
                </a:solidFill>
                <a:latin typeface="Segoe UI"/>
                <a:cs typeface="Segoe UI Semilight" panose="020B0402040204020203" pitchFamily="34" charset="0"/>
              </a:rPr>
              <a:t>User authentication</a:t>
            </a:r>
          </a:p>
          <a:p>
            <a:pPr algn="ctr" defTabSz="950846" fontAlgn="base">
              <a:spcAft>
                <a:spcPct val="0"/>
              </a:spcAft>
              <a:defRPr/>
            </a:pPr>
            <a:endParaRPr lang="en-US" sz="2040" b="1">
              <a:ln w="3175">
                <a:noFill/>
              </a:ln>
              <a:solidFill>
                <a:srgbClr val="0078D7"/>
              </a:solidFill>
              <a:latin typeface="Segoe UI"/>
              <a:cs typeface="Segoe UI Semilight" panose="020B0402040204020203" pitchFamily="34" charset="0"/>
            </a:endParaRPr>
          </a:p>
          <a:p>
            <a:pPr algn="ctr" defTabSz="950846" fontAlgn="base">
              <a:spcAft>
                <a:spcPct val="0"/>
              </a:spcAft>
              <a:defRPr/>
            </a:pPr>
            <a:endParaRPr lang="en-US" sz="2040" b="1">
              <a:ln w="3175">
                <a:noFill/>
              </a:ln>
              <a:solidFill>
                <a:srgbClr val="0078D7"/>
              </a:solidFill>
              <a:latin typeface="Segoe UI"/>
              <a:cs typeface="Segoe UI Semilight" panose="020B0402040204020203" pitchFamily="34" charset="0"/>
            </a:endParaRPr>
          </a:p>
          <a:p>
            <a:pPr algn="ctr" defTabSz="950846" fontAlgn="base">
              <a:spcAft>
                <a:spcPct val="0"/>
              </a:spcAft>
              <a:defRPr/>
            </a:pPr>
            <a:r>
              <a:rPr lang="en-US" sz="2040" b="1">
                <a:ln w="3175">
                  <a:noFill/>
                </a:ln>
                <a:solidFill>
                  <a:srgbClr val="0078D7"/>
                </a:solidFill>
                <a:latin typeface="Segoe UI"/>
                <a:cs typeface="Segoe UI Semilight" panose="020B0402040204020203" pitchFamily="34" charset="0"/>
              </a:rPr>
              <a:t>Push notifications</a:t>
            </a:r>
          </a:p>
        </p:txBody>
      </p:sp>
      <p:cxnSp>
        <p:nvCxnSpPr>
          <p:cNvPr id="335" name="Straight Connector 334"/>
          <p:cNvCxnSpPr/>
          <p:nvPr/>
        </p:nvCxnSpPr>
        <p:spPr>
          <a:xfrm>
            <a:off x="8083444" y="3025016"/>
            <a:ext cx="3264112"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8083444" y="3957620"/>
            <a:ext cx="3264112"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27071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96"/>
                                        </p:tgtEl>
                                        <p:attrNameLst>
                                          <p:attrName>style.visibility</p:attrName>
                                        </p:attrNameLst>
                                      </p:cBhvr>
                                      <p:to>
                                        <p:strVal val="visible"/>
                                      </p:to>
                                    </p:set>
                                    <p:animEffect transition="in" filter="fade">
                                      <p:cBhvr>
                                        <p:cTn id="15" dur="500"/>
                                        <p:tgtEl>
                                          <p:spTgt spid="9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62"/>
                                        </p:tgtEl>
                                        <p:attrNameLst>
                                          <p:attrName>style.visibility</p:attrName>
                                        </p:attrNameLst>
                                      </p:cBhvr>
                                      <p:to>
                                        <p:strVal val="visible"/>
                                      </p:to>
                                    </p:set>
                                    <p:animEffect transition="in" filter="fade">
                                      <p:cBhvr>
                                        <p:cTn id="18" dur="500"/>
                                        <p:tgtEl>
                                          <p:spTgt spid="26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8"/>
                                        </p:tgtEl>
                                        <p:attrNameLst>
                                          <p:attrName>style.visibility</p:attrName>
                                        </p:attrNameLst>
                                      </p:cBhvr>
                                      <p:to>
                                        <p:strVal val="visible"/>
                                      </p:to>
                                    </p:set>
                                    <p:animEffect transition="in" filter="fade">
                                      <p:cBhvr>
                                        <p:cTn id="21" dur="500"/>
                                        <p:tgtEl>
                                          <p:spTgt spid="8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9"/>
                                        </p:tgtEl>
                                        <p:attrNameLst>
                                          <p:attrName>style.visibility</p:attrName>
                                        </p:attrNameLst>
                                      </p:cBhvr>
                                      <p:to>
                                        <p:strVal val="visible"/>
                                      </p:to>
                                    </p:set>
                                    <p:animEffect transition="in" filter="fade">
                                      <p:cBhvr>
                                        <p:cTn id="24" dur="500"/>
                                        <p:tgtEl>
                                          <p:spTgt spid="89"/>
                                        </p:tgtEl>
                                      </p:cBhvr>
                                    </p:animEffect>
                                  </p:childTnLst>
                                </p:cTn>
                              </p:par>
                              <p:par>
                                <p:cTn id="25" presetID="10" presetClass="entr" presetSubtype="0" fill="hold" nodeType="withEffect">
                                  <p:stCondLst>
                                    <p:cond delay="0"/>
                                  </p:stCondLst>
                                  <p:childTnLst>
                                    <p:set>
                                      <p:cBhvr>
                                        <p:cTn id="26" dur="1" fill="hold">
                                          <p:stCondLst>
                                            <p:cond delay="0"/>
                                          </p:stCondLst>
                                        </p:cTn>
                                        <p:tgtEl>
                                          <p:spTgt spid="90"/>
                                        </p:tgtEl>
                                        <p:attrNameLst>
                                          <p:attrName>style.visibility</p:attrName>
                                        </p:attrNameLst>
                                      </p:cBhvr>
                                      <p:to>
                                        <p:strVal val="visible"/>
                                      </p:to>
                                    </p:set>
                                    <p:animEffect transition="in" filter="fade">
                                      <p:cBhvr>
                                        <p:cTn id="27" dur="500"/>
                                        <p:tgtEl>
                                          <p:spTgt spid="90"/>
                                        </p:tgtEl>
                                      </p:cBhvr>
                                    </p:animEffect>
                                  </p:childTnLst>
                                </p:cTn>
                              </p:par>
                              <p:par>
                                <p:cTn id="28" presetID="10" presetClass="entr" presetSubtype="0" fill="hold" nodeType="withEffect">
                                  <p:stCondLst>
                                    <p:cond delay="0"/>
                                  </p:stCondLst>
                                  <p:childTnLst>
                                    <p:set>
                                      <p:cBhvr>
                                        <p:cTn id="29" dur="1" fill="hold">
                                          <p:stCondLst>
                                            <p:cond delay="0"/>
                                          </p:stCondLst>
                                        </p:cTn>
                                        <p:tgtEl>
                                          <p:spTgt spid="92"/>
                                        </p:tgtEl>
                                        <p:attrNameLst>
                                          <p:attrName>style.visibility</p:attrName>
                                        </p:attrNameLst>
                                      </p:cBhvr>
                                      <p:to>
                                        <p:strVal val="visible"/>
                                      </p:to>
                                    </p:set>
                                    <p:animEffect transition="in" filter="fade">
                                      <p:cBhvr>
                                        <p:cTn id="30" dur="500"/>
                                        <p:tgtEl>
                                          <p:spTgt spid="9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50"/>
                                        </p:tgtEl>
                                        <p:attrNameLst>
                                          <p:attrName>style.visibility</p:attrName>
                                        </p:attrNameLst>
                                      </p:cBhvr>
                                      <p:to>
                                        <p:strVal val="visible"/>
                                      </p:to>
                                    </p:set>
                                    <p:animEffect transition="in" filter="fade">
                                      <p:cBhvr>
                                        <p:cTn id="33" dur="500"/>
                                        <p:tgtEl>
                                          <p:spTgt spid="150"/>
                                        </p:tgtEl>
                                      </p:cBhvr>
                                    </p:animEffect>
                                  </p:childTnLst>
                                </p:cTn>
                              </p:par>
                              <p:par>
                                <p:cTn id="34" presetID="10" presetClass="entr" presetSubtype="0" fill="hold" nodeType="withEffect">
                                  <p:stCondLst>
                                    <p:cond delay="0"/>
                                  </p:stCondLst>
                                  <p:childTnLst>
                                    <p:set>
                                      <p:cBhvr>
                                        <p:cTn id="35" dur="1" fill="hold">
                                          <p:stCondLst>
                                            <p:cond delay="0"/>
                                          </p:stCondLst>
                                        </p:cTn>
                                        <p:tgtEl>
                                          <p:spTgt spid="152"/>
                                        </p:tgtEl>
                                        <p:attrNameLst>
                                          <p:attrName>style.visibility</p:attrName>
                                        </p:attrNameLst>
                                      </p:cBhvr>
                                      <p:to>
                                        <p:strVal val="visible"/>
                                      </p:to>
                                    </p:set>
                                    <p:animEffect transition="in" filter="fade">
                                      <p:cBhvr>
                                        <p:cTn id="36" dur="500"/>
                                        <p:tgtEl>
                                          <p:spTgt spid="15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54"/>
                                        </p:tgtEl>
                                        <p:attrNameLst>
                                          <p:attrName>style.visibility</p:attrName>
                                        </p:attrNameLst>
                                      </p:cBhvr>
                                      <p:to>
                                        <p:strVal val="visible"/>
                                      </p:to>
                                    </p:set>
                                    <p:animEffect transition="in" filter="fade">
                                      <p:cBhvr>
                                        <p:cTn id="39" dur="500"/>
                                        <p:tgtEl>
                                          <p:spTgt spid="154"/>
                                        </p:tgtEl>
                                      </p:cBhvr>
                                    </p:animEffect>
                                  </p:childTnLst>
                                </p:cTn>
                              </p:par>
                              <p:par>
                                <p:cTn id="40" presetID="10" presetClass="entr" presetSubtype="0" fill="hold" nodeType="withEffect">
                                  <p:stCondLst>
                                    <p:cond delay="0"/>
                                  </p:stCondLst>
                                  <p:childTnLst>
                                    <p:set>
                                      <p:cBhvr>
                                        <p:cTn id="41" dur="1" fill="hold">
                                          <p:stCondLst>
                                            <p:cond delay="0"/>
                                          </p:stCondLst>
                                        </p:cTn>
                                        <p:tgtEl>
                                          <p:spTgt spid="156"/>
                                        </p:tgtEl>
                                        <p:attrNameLst>
                                          <p:attrName>style.visibility</p:attrName>
                                        </p:attrNameLst>
                                      </p:cBhvr>
                                      <p:to>
                                        <p:strVal val="visible"/>
                                      </p:to>
                                    </p:set>
                                    <p:animEffect transition="in" filter="fade">
                                      <p:cBhvr>
                                        <p:cTn id="42" dur="500"/>
                                        <p:tgtEl>
                                          <p:spTgt spid="15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67"/>
                                        </p:tgtEl>
                                        <p:attrNameLst>
                                          <p:attrName>style.visibility</p:attrName>
                                        </p:attrNameLst>
                                      </p:cBhvr>
                                      <p:to>
                                        <p:strVal val="visible"/>
                                      </p:to>
                                    </p:set>
                                    <p:animEffect transition="in" filter="fade">
                                      <p:cBhvr>
                                        <p:cTn id="45" dur="500"/>
                                        <p:tgtEl>
                                          <p:spTgt spid="167"/>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68"/>
                                        </p:tgtEl>
                                        <p:attrNameLst>
                                          <p:attrName>style.visibility</p:attrName>
                                        </p:attrNameLst>
                                      </p:cBhvr>
                                      <p:to>
                                        <p:strVal val="visible"/>
                                      </p:to>
                                    </p:set>
                                    <p:animEffect transition="in" filter="fade">
                                      <p:cBhvr>
                                        <p:cTn id="48" dur="500"/>
                                        <p:tgtEl>
                                          <p:spTgt spid="16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69"/>
                                        </p:tgtEl>
                                        <p:attrNameLst>
                                          <p:attrName>style.visibility</p:attrName>
                                        </p:attrNameLst>
                                      </p:cBhvr>
                                      <p:to>
                                        <p:strVal val="visible"/>
                                      </p:to>
                                    </p:set>
                                    <p:animEffect transition="in" filter="fade">
                                      <p:cBhvr>
                                        <p:cTn id="51" dur="500"/>
                                        <p:tgtEl>
                                          <p:spTgt spid="169"/>
                                        </p:tgtEl>
                                      </p:cBhvr>
                                    </p:animEffect>
                                  </p:childTnLst>
                                </p:cTn>
                              </p:par>
                              <p:par>
                                <p:cTn id="52" presetID="10" presetClass="entr" presetSubtype="0" fill="hold" nodeType="withEffect">
                                  <p:stCondLst>
                                    <p:cond delay="0"/>
                                  </p:stCondLst>
                                  <p:childTnLst>
                                    <p:set>
                                      <p:cBhvr>
                                        <p:cTn id="53" dur="1" fill="hold">
                                          <p:stCondLst>
                                            <p:cond delay="0"/>
                                          </p:stCondLst>
                                        </p:cTn>
                                        <p:tgtEl>
                                          <p:spTgt spid="170"/>
                                        </p:tgtEl>
                                        <p:attrNameLst>
                                          <p:attrName>style.visibility</p:attrName>
                                        </p:attrNameLst>
                                      </p:cBhvr>
                                      <p:to>
                                        <p:strVal val="visible"/>
                                      </p:to>
                                    </p:set>
                                    <p:animEffect transition="in" filter="fade">
                                      <p:cBhvr>
                                        <p:cTn id="54" dur="500"/>
                                        <p:tgtEl>
                                          <p:spTgt spid="170"/>
                                        </p:tgtEl>
                                      </p:cBhvr>
                                    </p:animEffect>
                                  </p:childTnLst>
                                </p:cTn>
                              </p:par>
                              <p:par>
                                <p:cTn id="55" presetID="10" presetClass="entr" presetSubtype="0" fill="hold" nodeType="withEffect">
                                  <p:stCondLst>
                                    <p:cond delay="0"/>
                                  </p:stCondLst>
                                  <p:childTnLst>
                                    <p:set>
                                      <p:cBhvr>
                                        <p:cTn id="56" dur="1" fill="hold">
                                          <p:stCondLst>
                                            <p:cond delay="0"/>
                                          </p:stCondLst>
                                        </p:cTn>
                                        <p:tgtEl>
                                          <p:spTgt spid="181"/>
                                        </p:tgtEl>
                                        <p:attrNameLst>
                                          <p:attrName>style.visibility</p:attrName>
                                        </p:attrNameLst>
                                      </p:cBhvr>
                                      <p:to>
                                        <p:strVal val="visible"/>
                                      </p:to>
                                    </p:set>
                                    <p:animEffect transition="in" filter="fade">
                                      <p:cBhvr>
                                        <p:cTn id="57" dur="500"/>
                                        <p:tgtEl>
                                          <p:spTgt spid="181"/>
                                        </p:tgtEl>
                                      </p:cBhvr>
                                    </p:animEffect>
                                  </p:childTnLst>
                                </p:cTn>
                              </p:par>
                              <p:par>
                                <p:cTn id="58" presetID="10" presetClass="entr" presetSubtype="0" fill="hold" nodeType="withEffect">
                                  <p:stCondLst>
                                    <p:cond delay="0"/>
                                  </p:stCondLst>
                                  <p:childTnLst>
                                    <p:set>
                                      <p:cBhvr>
                                        <p:cTn id="59" dur="1" fill="hold">
                                          <p:stCondLst>
                                            <p:cond delay="0"/>
                                          </p:stCondLst>
                                        </p:cTn>
                                        <p:tgtEl>
                                          <p:spTgt spid="182"/>
                                        </p:tgtEl>
                                        <p:attrNameLst>
                                          <p:attrName>style.visibility</p:attrName>
                                        </p:attrNameLst>
                                      </p:cBhvr>
                                      <p:to>
                                        <p:strVal val="visible"/>
                                      </p:to>
                                    </p:set>
                                    <p:animEffect transition="in" filter="fade">
                                      <p:cBhvr>
                                        <p:cTn id="60" dur="500"/>
                                        <p:tgtEl>
                                          <p:spTgt spid="182"/>
                                        </p:tgtEl>
                                      </p:cBhvr>
                                    </p:animEffect>
                                  </p:childTnLst>
                                </p:cTn>
                              </p:par>
                              <p:par>
                                <p:cTn id="61" presetID="10" presetClass="entr" presetSubtype="0" fill="hold" nodeType="withEffect">
                                  <p:stCondLst>
                                    <p:cond delay="0"/>
                                  </p:stCondLst>
                                  <p:childTnLst>
                                    <p:set>
                                      <p:cBhvr>
                                        <p:cTn id="62" dur="1" fill="hold">
                                          <p:stCondLst>
                                            <p:cond delay="0"/>
                                          </p:stCondLst>
                                        </p:cTn>
                                        <p:tgtEl>
                                          <p:spTgt spid="183"/>
                                        </p:tgtEl>
                                        <p:attrNameLst>
                                          <p:attrName>style.visibility</p:attrName>
                                        </p:attrNameLst>
                                      </p:cBhvr>
                                      <p:to>
                                        <p:strVal val="visible"/>
                                      </p:to>
                                    </p:set>
                                    <p:animEffect transition="in" filter="fade">
                                      <p:cBhvr>
                                        <p:cTn id="63" dur="500"/>
                                        <p:tgtEl>
                                          <p:spTgt spid="183"/>
                                        </p:tgtEl>
                                      </p:cBhvr>
                                    </p:animEffect>
                                  </p:childTnLst>
                                </p:cTn>
                              </p:par>
                              <p:par>
                                <p:cTn id="64" presetID="10" presetClass="entr" presetSubtype="0" fill="hold" nodeType="withEffect">
                                  <p:stCondLst>
                                    <p:cond delay="0"/>
                                  </p:stCondLst>
                                  <p:childTnLst>
                                    <p:set>
                                      <p:cBhvr>
                                        <p:cTn id="65" dur="1" fill="hold">
                                          <p:stCondLst>
                                            <p:cond delay="0"/>
                                          </p:stCondLst>
                                        </p:cTn>
                                        <p:tgtEl>
                                          <p:spTgt spid="186"/>
                                        </p:tgtEl>
                                        <p:attrNameLst>
                                          <p:attrName>style.visibility</p:attrName>
                                        </p:attrNameLst>
                                      </p:cBhvr>
                                      <p:to>
                                        <p:strVal val="visible"/>
                                      </p:to>
                                    </p:set>
                                    <p:animEffect transition="in" filter="fade">
                                      <p:cBhvr>
                                        <p:cTn id="66" dur="500"/>
                                        <p:tgtEl>
                                          <p:spTgt spid="186"/>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38"/>
                                        </p:tgtEl>
                                        <p:attrNameLst>
                                          <p:attrName>style.visibility</p:attrName>
                                        </p:attrNameLst>
                                      </p:cBhvr>
                                      <p:to>
                                        <p:strVal val="visible"/>
                                      </p:to>
                                    </p:set>
                                    <p:animEffect transition="in" filter="fade">
                                      <p:cBhvr>
                                        <p:cTn id="69" dur="500"/>
                                        <p:tgtEl>
                                          <p:spTgt spid="238"/>
                                        </p:tgtEl>
                                      </p:cBhvr>
                                    </p:animEffect>
                                  </p:childTnLst>
                                </p:cTn>
                              </p:par>
                              <p:par>
                                <p:cTn id="70" presetID="10" presetClass="entr" presetSubtype="0" fill="hold" nodeType="withEffect">
                                  <p:stCondLst>
                                    <p:cond delay="0"/>
                                  </p:stCondLst>
                                  <p:childTnLst>
                                    <p:set>
                                      <p:cBhvr>
                                        <p:cTn id="71" dur="1" fill="hold">
                                          <p:stCondLst>
                                            <p:cond delay="0"/>
                                          </p:stCondLst>
                                        </p:cTn>
                                        <p:tgtEl>
                                          <p:spTgt spid="239"/>
                                        </p:tgtEl>
                                        <p:attrNameLst>
                                          <p:attrName>style.visibility</p:attrName>
                                        </p:attrNameLst>
                                      </p:cBhvr>
                                      <p:to>
                                        <p:strVal val="visible"/>
                                      </p:to>
                                    </p:set>
                                    <p:animEffect transition="in" filter="fade">
                                      <p:cBhvr>
                                        <p:cTn id="72" dur="500"/>
                                        <p:tgtEl>
                                          <p:spTgt spid="239"/>
                                        </p:tgtEl>
                                      </p:cBhvr>
                                    </p:animEffect>
                                  </p:childTnLst>
                                </p:cTn>
                              </p:par>
                              <p:par>
                                <p:cTn id="73" presetID="10" presetClass="entr" presetSubtype="0" fill="hold" nodeType="withEffect">
                                  <p:stCondLst>
                                    <p:cond delay="0"/>
                                  </p:stCondLst>
                                  <p:childTnLst>
                                    <p:set>
                                      <p:cBhvr>
                                        <p:cTn id="74" dur="1" fill="hold">
                                          <p:stCondLst>
                                            <p:cond delay="0"/>
                                          </p:stCondLst>
                                        </p:cTn>
                                        <p:tgtEl>
                                          <p:spTgt spid="240"/>
                                        </p:tgtEl>
                                        <p:attrNameLst>
                                          <p:attrName>style.visibility</p:attrName>
                                        </p:attrNameLst>
                                      </p:cBhvr>
                                      <p:to>
                                        <p:strVal val="visible"/>
                                      </p:to>
                                    </p:set>
                                    <p:animEffect transition="in" filter="fade">
                                      <p:cBhvr>
                                        <p:cTn id="75" dur="500"/>
                                        <p:tgtEl>
                                          <p:spTgt spid="240"/>
                                        </p:tgtEl>
                                      </p:cBhvr>
                                    </p:animEffect>
                                  </p:childTnLst>
                                </p:cTn>
                              </p:par>
                              <p:par>
                                <p:cTn id="76" presetID="10" presetClass="entr" presetSubtype="0" fill="hold" nodeType="withEffect">
                                  <p:stCondLst>
                                    <p:cond delay="0"/>
                                  </p:stCondLst>
                                  <p:childTnLst>
                                    <p:set>
                                      <p:cBhvr>
                                        <p:cTn id="77" dur="1" fill="hold">
                                          <p:stCondLst>
                                            <p:cond delay="0"/>
                                          </p:stCondLst>
                                        </p:cTn>
                                        <p:tgtEl>
                                          <p:spTgt spid="241"/>
                                        </p:tgtEl>
                                        <p:attrNameLst>
                                          <p:attrName>style.visibility</p:attrName>
                                        </p:attrNameLst>
                                      </p:cBhvr>
                                      <p:to>
                                        <p:strVal val="visible"/>
                                      </p:to>
                                    </p:set>
                                    <p:animEffect transition="in" filter="fade">
                                      <p:cBhvr>
                                        <p:cTn id="78" dur="500"/>
                                        <p:tgtEl>
                                          <p:spTgt spid="241"/>
                                        </p:tgtEl>
                                      </p:cBhvr>
                                    </p:animEffect>
                                  </p:childTnLst>
                                </p:cTn>
                              </p:par>
                              <p:par>
                                <p:cTn id="79" presetID="10" presetClass="entr" presetSubtype="0" fill="hold" nodeType="withEffect">
                                  <p:stCondLst>
                                    <p:cond delay="0"/>
                                  </p:stCondLst>
                                  <p:childTnLst>
                                    <p:set>
                                      <p:cBhvr>
                                        <p:cTn id="80" dur="1" fill="hold">
                                          <p:stCondLst>
                                            <p:cond delay="0"/>
                                          </p:stCondLst>
                                        </p:cTn>
                                        <p:tgtEl>
                                          <p:spTgt spid="242"/>
                                        </p:tgtEl>
                                        <p:attrNameLst>
                                          <p:attrName>style.visibility</p:attrName>
                                        </p:attrNameLst>
                                      </p:cBhvr>
                                      <p:to>
                                        <p:strVal val="visible"/>
                                      </p:to>
                                    </p:set>
                                    <p:animEffect transition="in" filter="fade">
                                      <p:cBhvr>
                                        <p:cTn id="81" dur="500"/>
                                        <p:tgtEl>
                                          <p:spTgt spid="242"/>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60"/>
                                        </p:tgtEl>
                                        <p:attrNameLst>
                                          <p:attrName>style.visibility</p:attrName>
                                        </p:attrNameLst>
                                      </p:cBhvr>
                                      <p:to>
                                        <p:strVal val="visible"/>
                                      </p:to>
                                    </p:set>
                                    <p:animEffect transition="in" filter="fade">
                                      <p:cBhvr>
                                        <p:cTn id="84" dur="500"/>
                                        <p:tgtEl>
                                          <p:spTgt spid="260"/>
                                        </p:tgtEl>
                                      </p:cBhvr>
                                    </p:animEffect>
                                  </p:childTnLst>
                                </p:cTn>
                              </p:par>
                              <p:par>
                                <p:cTn id="85" presetID="10" presetClass="entr" presetSubtype="0" fill="hold" nodeType="withEffect">
                                  <p:stCondLst>
                                    <p:cond delay="0"/>
                                  </p:stCondLst>
                                  <p:childTnLst>
                                    <p:set>
                                      <p:cBhvr>
                                        <p:cTn id="86" dur="1" fill="hold">
                                          <p:stCondLst>
                                            <p:cond delay="0"/>
                                          </p:stCondLst>
                                        </p:cTn>
                                        <p:tgtEl>
                                          <p:spTgt spid="261"/>
                                        </p:tgtEl>
                                        <p:attrNameLst>
                                          <p:attrName>style.visibility</p:attrName>
                                        </p:attrNameLst>
                                      </p:cBhvr>
                                      <p:to>
                                        <p:strVal val="visible"/>
                                      </p:to>
                                    </p:set>
                                    <p:animEffect transition="in" filter="fade">
                                      <p:cBhvr>
                                        <p:cTn id="87" dur="500"/>
                                        <p:tgtEl>
                                          <p:spTgt spid="26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63"/>
                                        </p:tgtEl>
                                        <p:attrNameLst>
                                          <p:attrName>style.visibility</p:attrName>
                                        </p:attrNameLst>
                                      </p:cBhvr>
                                      <p:to>
                                        <p:strVal val="visible"/>
                                      </p:to>
                                    </p:set>
                                    <p:animEffect transition="in" filter="fade">
                                      <p:cBhvr>
                                        <p:cTn id="90" dur="500"/>
                                        <p:tgtEl>
                                          <p:spTgt spid="26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64"/>
                                        </p:tgtEl>
                                        <p:attrNameLst>
                                          <p:attrName>style.visibility</p:attrName>
                                        </p:attrNameLst>
                                      </p:cBhvr>
                                      <p:to>
                                        <p:strVal val="visible"/>
                                      </p:to>
                                    </p:set>
                                    <p:animEffect transition="in" filter="fade">
                                      <p:cBhvr>
                                        <p:cTn id="93" dur="500"/>
                                        <p:tgtEl>
                                          <p:spTgt spid="26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65"/>
                                        </p:tgtEl>
                                        <p:attrNameLst>
                                          <p:attrName>style.visibility</p:attrName>
                                        </p:attrNameLst>
                                      </p:cBhvr>
                                      <p:to>
                                        <p:strVal val="visible"/>
                                      </p:to>
                                    </p:set>
                                    <p:animEffect transition="in" filter="fade">
                                      <p:cBhvr>
                                        <p:cTn id="96" dur="500"/>
                                        <p:tgtEl>
                                          <p:spTgt spid="265"/>
                                        </p:tgtEl>
                                      </p:cBhvr>
                                    </p:animEffect>
                                  </p:childTnLst>
                                </p:cTn>
                              </p:par>
                              <p:par>
                                <p:cTn id="97" presetID="10" presetClass="entr" presetSubtype="0" fill="hold" nodeType="withEffect">
                                  <p:stCondLst>
                                    <p:cond delay="0"/>
                                  </p:stCondLst>
                                  <p:childTnLst>
                                    <p:set>
                                      <p:cBhvr>
                                        <p:cTn id="98" dur="1" fill="hold">
                                          <p:stCondLst>
                                            <p:cond delay="0"/>
                                          </p:stCondLst>
                                        </p:cTn>
                                        <p:tgtEl>
                                          <p:spTgt spid="266"/>
                                        </p:tgtEl>
                                        <p:attrNameLst>
                                          <p:attrName>style.visibility</p:attrName>
                                        </p:attrNameLst>
                                      </p:cBhvr>
                                      <p:to>
                                        <p:strVal val="visible"/>
                                      </p:to>
                                    </p:set>
                                    <p:animEffect transition="in" filter="fade">
                                      <p:cBhvr>
                                        <p:cTn id="99" dur="500"/>
                                        <p:tgtEl>
                                          <p:spTgt spid="266"/>
                                        </p:tgtEl>
                                      </p:cBhvr>
                                    </p:animEffect>
                                  </p:childTnLst>
                                </p:cTn>
                              </p:par>
                              <p:par>
                                <p:cTn id="100" presetID="10" presetClass="entr" presetSubtype="0" fill="hold" nodeType="withEffect">
                                  <p:stCondLst>
                                    <p:cond delay="0"/>
                                  </p:stCondLst>
                                  <p:childTnLst>
                                    <p:set>
                                      <p:cBhvr>
                                        <p:cTn id="101" dur="1" fill="hold">
                                          <p:stCondLst>
                                            <p:cond delay="0"/>
                                          </p:stCondLst>
                                        </p:cTn>
                                        <p:tgtEl>
                                          <p:spTgt spid="269"/>
                                        </p:tgtEl>
                                        <p:attrNameLst>
                                          <p:attrName>style.visibility</p:attrName>
                                        </p:attrNameLst>
                                      </p:cBhvr>
                                      <p:to>
                                        <p:strVal val="visible"/>
                                      </p:to>
                                    </p:set>
                                    <p:animEffect transition="in" filter="fade">
                                      <p:cBhvr>
                                        <p:cTn id="102" dur="500"/>
                                        <p:tgtEl>
                                          <p:spTgt spid="269"/>
                                        </p:tgtEl>
                                      </p:cBhvr>
                                    </p:animEffect>
                                  </p:childTnLst>
                                </p:cTn>
                              </p:par>
                              <p:par>
                                <p:cTn id="103" presetID="10" presetClass="entr" presetSubtype="0" fill="hold" nodeType="withEffect">
                                  <p:stCondLst>
                                    <p:cond delay="0"/>
                                  </p:stCondLst>
                                  <p:childTnLst>
                                    <p:set>
                                      <p:cBhvr>
                                        <p:cTn id="104" dur="1" fill="hold">
                                          <p:stCondLst>
                                            <p:cond delay="0"/>
                                          </p:stCondLst>
                                        </p:cTn>
                                        <p:tgtEl>
                                          <p:spTgt spid="270"/>
                                        </p:tgtEl>
                                        <p:attrNameLst>
                                          <p:attrName>style.visibility</p:attrName>
                                        </p:attrNameLst>
                                      </p:cBhvr>
                                      <p:to>
                                        <p:strVal val="visible"/>
                                      </p:to>
                                    </p:set>
                                    <p:animEffect transition="in" filter="fade">
                                      <p:cBhvr>
                                        <p:cTn id="105" dur="500"/>
                                        <p:tgtEl>
                                          <p:spTgt spid="270"/>
                                        </p:tgtEl>
                                      </p:cBhvr>
                                    </p:animEffect>
                                  </p:childTnLst>
                                </p:cTn>
                              </p:par>
                              <p:par>
                                <p:cTn id="106" presetID="10" presetClass="entr" presetSubtype="0" fill="hold" nodeType="withEffect">
                                  <p:stCondLst>
                                    <p:cond delay="0"/>
                                  </p:stCondLst>
                                  <p:childTnLst>
                                    <p:set>
                                      <p:cBhvr>
                                        <p:cTn id="107" dur="1" fill="hold">
                                          <p:stCondLst>
                                            <p:cond delay="0"/>
                                          </p:stCondLst>
                                        </p:cTn>
                                        <p:tgtEl>
                                          <p:spTgt spid="329"/>
                                        </p:tgtEl>
                                        <p:attrNameLst>
                                          <p:attrName>style.visibility</p:attrName>
                                        </p:attrNameLst>
                                      </p:cBhvr>
                                      <p:to>
                                        <p:strVal val="visible"/>
                                      </p:to>
                                    </p:set>
                                    <p:animEffect transition="in" filter="fade">
                                      <p:cBhvr>
                                        <p:cTn id="108" dur="500"/>
                                        <p:tgtEl>
                                          <p:spTgt spid="329"/>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151"/>
                                        </p:tgtEl>
                                        <p:attrNameLst>
                                          <p:attrName>style.visibility</p:attrName>
                                        </p:attrNameLst>
                                      </p:cBhvr>
                                      <p:to>
                                        <p:strVal val="visible"/>
                                      </p:to>
                                    </p:set>
                                    <p:animEffect transition="in" filter="fade">
                                      <p:cBhvr>
                                        <p:cTn id="112" dur="500"/>
                                        <p:tgtEl>
                                          <p:spTgt spid="151"/>
                                        </p:tgtEl>
                                      </p:cBhvr>
                                    </p:animEffect>
                                  </p:childTnLst>
                                </p:cTn>
                              </p:par>
                              <p:par>
                                <p:cTn id="113" presetID="10" presetClass="entr" presetSubtype="0" fill="hold" nodeType="withEffect">
                                  <p:stCondLst>
                                    <p:cond delay="0"/>
                                  </p:stCondLst>
                                  <p:childTnLst>
                                    <p:set>
                                      <p:cBhvr>
                                        <p:cTn id="114" dur="1" fill="hold">
                                          <p:stCondLst>
                                            <p:cond delay="0"/>
                                          </p:stCondLst>
                                        </p:cTn>
                                        <p:tgtEl>
                                          <p:spTgt spid="153"/>
                                        </p:tgtEl>
                                        <p:attrNameLst>
                                          <p:attrName>style.visibility</p:attrName>
                                        </p:attrNameLst>
                                      </p:cBhvr>
                                      <p:to>
                                        <p:strVal val="visible"/>
                                      </p:to>
                                    </p:set>
                                    <p:animEffect transition="in" filter="fade">
                                      <p:cBhvr>
                                        <p:cTn id="115" dur="500"/>
                                        <p:tgtEl>
                                          <p:spTgt spid="153"/>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334"/>
                                        </p:tgtEl>
                                        <p:attrNameLst>
                                          <p:attrName>style.visibility</p:attrName>
                                        </p:attrNameLst>
                                      </p:cBhvr>
                                      <p:to>
                                        <p:strVal val="visible"/>
                                      </p:to>
                                    </p:set>
                                    <p:animEffect transition="in" filter="fade">
                                      <p:cBhvr>
                                        <p:cTn id="118" dur="500"/>
                                        <p:tgtEl>
                                          <p:spTgt spid="334"/>
                                        </p:tgtEl>
                                      </p:cBhvr>
                                    </p:animEffect>
                                  </p:childTnLst>
                                </p:cTn>
                              </p:par>
                              <p:par>
                                <p:cTn id="119" presetID="10" presetClass="entr" presetSubtype="0" fill="hold" nodeType="withEffect">
                                  <p:stCondLst>
                                    <p:cond delay="0"/>
                                  </p:stCondLst>
                                  <p:childTnLst>
                                    <p:set>
                                      <p:cBhvr>
                                        <p:cTn id="120" dur="1" fill="hold">
                                          <p:stCondLst>
                                            <p:cond delay="0"/>
                                          </p:stCondLst>
                                        </p:cTn>
                                        <p:tgtEl>
                                          <p:spTgt spid="335"/>
                                        </p:tgtEl>
                                        <p:attrNameLst>
                                          <p:attrName>style.visibility</p:attrName>
                                        </p:attrNameLst>
                                      </p:cBhvr>
                                      <p:to>
                                        <p:strVal val="visible"/>
                                      </p:to>
                                    </p:set>
                                    <p:animEffect transition="in" filter="fade">
                                      <p:cBhvr>
                                        <p:cTn id="121" dur="500"/>
                                        <p:tgtEl>
                                          <p:spTgt spid="335"/>
                                        </p:tgtEl>
                                      </p:cBhvr>
                                    </p:animEffect>
                                  </p:childTnLst>
                                </p:cTn>
                              </p:par>
                              <p:par>
                                <p:cTn id="122" presetID="10" presetClass="entr" presetSubtype="0" fill="hold" nodeType="withEffect">
                                  <p:stCondLst>
                                    <p:cond delay="0"/>
                                  </p:stCondLst>
                                  <p:childTnLst>
                                    <p:set>
                                      <p:cBhvr>
                                        <p:cTn id="123" dur="1" fill="hold">
                                          <p:stCondLst>
                                            <p:cond delay="0"/>
                                          </p:stCondLst>
                                        </p:cTn>
                                        <p:tgtEl>
                                          <p:spTgt spid="336"/>
                                        </p:tgtEl>
                                        <p:attrNameLst>
                                          <p:attrName>style.visibility</p:attrName>
                                        </p:attrNameLst>
                                      </p:cBhvr>
                                      <p:to>
                                        <p:strVal val="visible"/>
                                      </p:to>
                                    </p:set>
                                    <p:animEffect transition="in" filter="fade">
                                      <p:cBhvr>
                                        <p:cTn id="124" dur="500"/>
                                        <p:tgtEl>
                                          <p:spTgt spid="3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P spid="96" grpId="0" animBg="1"/>
      <p:bldP spid="262" grpId="0"/>
      <p:bldP spid="88" grpId="0"/>
      <p:bldP spid="89" grpId="0"/>
      <p:bldP spid="150" grpId="0"/>
      <p:bldP spid="151" grpId="0"/>
      <p:bldP spid="154" grpId="0"/>
      <p:bldP spid="167" grpId="0"/>
      <p:bldP spid="168" grpId="0" animBg="1"/>
      <p:bldP spid="169" grpId="0"/>
      <p:bldP spid="238" grpId="0"/>
      <p:bldP spid="260" grpId="0"/>
      <p:bldP spid="263" grpId="0" animBg="1"/>
      <p:bldP spid="264" grpId="0"/>
      <p:bldP spid="265" grpId="0" animBg="1"/>
      <p:bldP spid="334"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SQL Data Warehouse</a:t>
            </a:r>
          </a:p>
        </p:txBody>
      </p:sp>
      <p:sp>
        <p:nvSpPr>
          <p:cNvPr id="3" name="Text Placeholder 2"/>
          <p:cNvSpPr>
            <a:spLocks noGrp="1"/>
          </p:cNvSpPr>
          <p:nvPr>
            <p:ph type="body" sz="quarter" idx="10"/>
          </p:nvPr>
        </p:nvSpPr>
        <p:spPr>
          <a:xfrm>
            <a:off x="275397" y="1213143"/>
            <a:ext cx="11885683" cy="1329425"/>
          </a:xfrm>
        </p:spPr>
        <p:txBody>
          <a:bodyPr/>
          <a:lstStyle/>
          <a:p>
            <a:pPr algn="ctr"/>
            <a:r>
              <a:rPr lang="en-US" sz="2400">
                <a:solidFill>
                  <a:schemeClr val="tx1"/>
                </a:solidFill>
              </a:rPr>
              <a:t>Fully managed relational data warehouse-as-a-service</a:t>
            </a:r>
          </a:p>
          <a:p>
            <a:pPr algn="ctr"/>
            <a:r>
              <a:rPr lang="en-US" sz="2400">
                <a:solidFill>
                  <a:schemeClr val="tx1"/>
                </a:solidFill>
              </a:rPr>
              <a:t>The first elastic cloud data warehouse with enterprise-grade capabilities</a:t>
            </a:r>
          </a:p>
          <a:p>
            <a:pPr algn="ctr"/>
            <a:r>
              <a:rPr lang="en-US" sz="2400">
                <a:solidFill>
                  <a:schemeClr val="tx1"/>
                </a:solidFill>
              </a:rPr>
              <a:t>Support your smallest to largest data sets</a:t>
            </a:r>
          </a:p>
        </p:txBody>
      </p:sp>
      <p:sp>
        <p:nvSpPr>
          <p:cNvPr id="4" name="Rectangle 3"/>
          <p:cNvSpPr/>
          <p:nvPr/>
        </p:nvSpPr>
        <p:spPr bwMode="auto">
          <a:xfrm>
            <a:off x="-14903" y="2694928"/>
            <a:ext cx="12433124" cy="436162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05" fontAlgn="base">
              <a:spcBef>
                <a:spcPct val="0"/>
              </a:spcBef>
              <a:spcAft>
                <a:spcPct val="0"/>
              </a:spcAft>
            </a:pPr>
            <a:endParaRPr lang="en-US" sz="2000">
              <a:gradFill>
                <a:gsLst>
                  <a:gs pos="16814">
                    <a:srgbClr val="FFFFFF"/>
                  </a:gs>
                  <a:gs pos="46000">
                    <a:srgbClr val="FFFFFF"/>
                  </a:gs>
                </a:gsLst>
                <a:lin ang="5400000" scaled="0"/>
              </a:gradFill>
            </a:endParaRPr>
          </a:p>
        </p:txBody>
      </p:sp>
      <p:grpSp>
        <p:nvGrpSpPr>
          <p:cNvPr id="105" name="Group 104"/>
          <p:cNvGrpSpPr/>
          <p:nvPr/>
        </p:nvGrpSpPr>
        <p:grpSpPr>
          <a:xfrm>
            <a:off x="3318410" y="3242748"/>
            <a:ext cx="1295117" cy="1071210"/>
            <a:chOff x="3318039" y="3242715"/>
            <a:chExt cx="1295282" cy="1071347"/>
          </a:xfrm>
        </p:grpSpPr>
        <p:sp>
          <p:nvSpPr>
            <p:cNvPr id="106" name="21 INE 1"/>
            <p:cNvSpPr/>
            <p:nvPr/>
          </p:nvSpPr>
          <p:spPr bwMode="auto">
            <a:xfrm>
              <a:off x="3318039"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32504"/>
              <a:endParaRPr lang="en-US" sz="1730" kern="0">
                <a:solidFill>
                  <a:srgbClr val="FFFFFF"/>
                </a:solidFill>
                <a:latin typeface="Segoe UI"/>
              </a:endParaRPr>
            </a:p>
          </p:txBody>
        </p:sp>
        <p:grpSp>
          <p:nvGrpSpPr>
            <p:cNvPr id="107" name="1 GEAR"/>
            <p:cNvGrpSpPr>
              <a:grpSpLocks noChangeAspect="1"/>
            </p:cNvGrpSpPr>
            <p:nvPr/>
          </p:nvGrpSpPr>
          <p:grpSpPr>
            <a:xfrm>
              <a:off x="3707871" y="3242715"/>
              <a:ext cx="548640" cy="548640"/>
              <a:chOff x="3427632" y="3858620"/>
              <a:chExt cx="676353" cy="704919"/>
            </a:xfrm>
          </p:grpSpPr>
          <p:sp>
            <p:nvSpPr>
              <p:cNvPr id="108" name="Oval 107"/>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09" name="Freeform 108"/>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grpSp>
      <p:grpSp>
        <p:nvGrpSpPr>
          <p:cNvPr id="111" name="Group 110"/>
          <p:cNvGrpSpPr/>
          <p:nvPr/>
        </p:nvGrpSpPr>
        <p:grpSpPr>
          <a:xfrm>
            <a:off x="307605" y="3078751"/>
            <a:ext cx="3199991" cy="3007742"/>
            <a:chOff x="306849" y="3078698"/>
            <a:chExt cx="3200400" cy="3008126"/>
          </a:xfrm>
        </p:grpSpPr>
        <p:sp>
          <p:nvSpPr>
            <p:cNvPr id="112" name="Rectangle 111"/>
            <p:cNvSpPr/>
            <p:nvPr/>
          </p:nvSpPr>
          <p:spPr bwMode="auto">
            <a:xfrm>
              <a:off x="306849" y="3078698"/>
              <a:ext cx="32004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Elastic scale </a:t>
              </a:r>
              <a:b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113" name="Group 112"/>
            <p:cNvGrpSpPr/>
            <p:nvPr/>
          </p:nvGrpSpPr>
          <p:grpSpPr>
            <a:xfrm>
              <a:off x="473611" y="4368838"/>
              <a:ext cx="2872205" cy="1717986"/>
              <a:chOff x="313191" y="4096124"/>
              <a:chExt cx="2872205" cy="1717986"/>
            </a:xfrm>
          </p:grpSpPr>
          <p:grpSp>
            <p:nvGrpSpPr>
              <p:cNvPr id="114" name="Group 113"/>
              <p:cNvGrpSpPr>
                <a:grpSpLocks noChangeAspect="1"/>
              </p:cNvGrpSpPr>
              <p:nvPr/>
            </p:nvGrpSpPr>
            <p:grpSpPr>
              <a:xfrm>
                <a:off x="2782015" y="4360362"/>
                <a:ext cx="403381" cy="376649"/>
                <a:chOff x="-5364163" y="-2738437"/>
                <a:chExt cx="4327525" cy="4054475"/>
              </a:xfrm>
              <a:solidFill>
                <a:schemeClr val="accent4"/>
              </a:solidFill>
            </p:grpSpPr>
            <p:sp>
              <p:nvSpPr>
                <p:cNvPr id="148"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49"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0"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1"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2"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3"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4"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5"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6"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7"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8"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9"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60"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61"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grpSp>
          <p:pic>
            <p:nvPicPr>
              <p:cNvPr id="115" name="Picture 1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0114" y="5101502"/>
                <a:ext cx="646710" cy="646710"/>
              </a:xfrm>
              <a:prstGeom prst="rect">
                <a:avLst/>
              </a:prstGeom>
            </p:spPr>
          </p:pic>
          <p:grpSp>
            <p:nvGrpSpPr>
              <p:cNvPr id="116" name="Group 115"/>
              <p:cNvGrpSpPr/>
              <p:nvPr/>
            </p:nvGrpSpPr>
            <p:grpSpPr>
              <a:xfrm>
                <a:off x="313191" y="4106750"/>
                <a:ext cx="1392869" cy="1707360"/>
                <a:chOff x="313191" y="4732388"/>
                <a:chExt cx="1392869" cy="1707360"/>
              </a:xfrm>
            </p:grpSpPr>
            <p:grpSp>
              <p:nvGrpSpPr>
                <p:cNvPr id="133" name="Group 132"/>
                <p:cNvGrpSpPr>
                  <a:grpSpLocks noChangeAspect="1"/>
                </p:cNvGrpSpPr>
                <p:nvPr/>
              </p:nvGrpSpPr>
              <p:grpSpPr>
                <a:xfrm>
                  <a:off x="791659" y="4732388"/>
                  <a:ext cx="914401" cy="1187440"/>
                  <a:chOff x="1644407" y="5115540"/>
                  <a:chExt cx="822960" cy="1068695"/>
                </a:xfrm>
              </p:grpSpPr>
              <p:sp>
                <p:nvSpPr>
                  <p:cNvPr id="144" name="Rectangle 143"/>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45" name="Group 144"/>
                  <p:cNvGrpSpPr/>
                  <p:nvPr/>
                </p:nvGrpSpPr>
                <p:grpSpPr>
                  <a:xfrm>
                    <a:off x="1644407" y="5115540"/>
                    <a:ext cx="822960" cy="1068695"/>
                    <a:chOff x="961359" y="2483721"/>
                    <a:chExt cx="822960" cy="1068695"/>
                  </a:xfrm>
                </p:grpSpPr>
                <p:sp>
                  <p:nvSpPr>
                    <p:cNvPr id="146" name="Oval 145"/>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47"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34" name="Group 133"/>
                <p:cNvGrpSpPr>
                  <a:grpSpLocks noChangeAspect="1"/>
                </p:cNvGrpSpPr>
                <p:nvPr/>
              </p:nvGrpSpPr>
              <p:grpSpPr>
                <a:xfrm>
                  <a:off x="552425" y="4994175"/>
                  <a:ext cx="914401" cy="1183785"/>
                  <a:chOff x="1645666" y="5118829"/>
                  <a:chExt cx="822960" cy="1065406"/>
                </a:xfrm>
              </p:grpSpPr>
              <p:sp>
                <p:nvSpPr>
                  <p:cNvPr id="140" name="Rectangle 139"/>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41" name="Group 140"/>
                  <p:cNvGrpSpPr/>
                  <p:nvPr/>
                </p:nvGrpSpPr>
                <p:grpSpPr>
                  <a:xfrm>
                    <a:off x="1645666" y="5118829"/>
                    <a:ext cx="822960" cy="1065406"/>
                    <a:chOff x="962618" y="2487010"/>
                    <a:chExt cx="822960" cy="1065406"/>
                  </a:xfrm>
                </p:grpSpPr>
                <p:sp>
                  <p:nvSpPr>
                    <p:cNvPr id="142" name="Oval 141"/>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43"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35" name="Group 134"/>
                <p:cNvGrpSpPr>
                  <a:grpSpLocks noChangeAspect="1"/>
                </p:cNvGrpSpPr>
                <p:nvPr/>
              </p:nvGrpSpPr>
              <p:grpSpPr>
                <a:xfrm>
                  <a:off x="313191" y="5252308"/>
                  <a:ext cx="914401" cy="1187440"/>
                  <a:chOff x="1625267" y="5096400"/>
                  <a:chExt cx="822960" cy="1068695"/>
                </a:xfrm>
              </p:grpSpPr>
              <p:sp>
                <p:nvSpPr>
                  <p:cNvPr id="136" name="Rectangle 135"/>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37" name="Group 136"/>
                  <p:cNvGrpSpPr/>
                  <p:nvPr/>
                </p:nvGrpSpPr>
                <p:grpSpPr>
                  <a:xfrm>
                    <a:off x="1625267" y="5096400"/>
                    <a:ext cx="822960" cy="1068695"/>
                    <a:chOff x="942219" y="2464581"/>
                    <a:chExt cx="822960" cy="1068695"/>
                  </a:xfrm>
                </p:grpSpPr>
                <p:sp>
                  <p:nvSpPr>
                    <p:cNvPr id="138" name="Oval 137"/>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39" name="Freeform 138"/>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grpSp>
            <p:nvGrpSpPr>
              <p:cNvPr id="117" name="Group 116"/>
              <p:cNvGrpSpPr>
                <a:grpSpLocks noChangeAspect="1"/>
              </p:cNvGrpSpPr>
              <p:nvPr/>
            </p:nvGrpSpPr>
            <p:grpSpPr>
              <a:xfrm>
                <a:off x="1886141" y="4096124"/>
                <a:ext cx="822960" cy="1008773"/>
                <a:chOff x="313191" y="4732388"/>
                <a:chExt cx="1392869" cy="1707360"/>
              </a:xfrm>
            </p:grpSpPr>
            <p:grpSp>
              <p:nvGrpSpPr>
                <p:cNvPr id="118" name="Group 117"/>
                <p:cNvGrpSpPr>
                  <a:grpSpLocks noChangeAspect="1"/>
                </p:cNvGrpSpPr>
                <p:nvPr/>
              </p:nvGrpSpPr>
              <p:grpSpPr>
                <a:xfrm>
                  <a:off x="791659" y="4732388"/>
                  <a:ext cx="914401" cy="1187440"/>
                  <a:chOff x="1644407" y="5115540"/>
                  <a:chExt cx="822960" cy="1068695"/>
                </a:xfrm>
              </p:grpSpPr>
              <p:sp>
                <p:nvSpPr>
                  <p:cNvPr id="129" name="Rectangle 128"/>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30" name="Group 129"/>
                  <p:cNvGrpSpPr/>
                  <p:nvPr/>
                </p:nvGrpSpPr>
                <p:grpSpPr>
                  <a:xfrm>
                    <a:off x="1644407" y="5115540"/>
                    <a:ext cx="822960" cy="1068695"/>
                    <a:chOff x="961359" y="2483721"/>
                    <a:chExt cx="822960" cy="1068695"/>
                  </a:xfrm>
                </p:grpSpPr>
                <p:sp>
                  <p:nvSpPr>
                    <p:cNvPr id="131" name="Oval 130"/>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32"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19" name="Group 118"/>
                <p:cNvGrpSpPr>
                  <a:grpSpLocks noChangeAspect="1"/>
                </p:cNvGrpSpPr>
                <p:nvPr/>
              </p:nvGrpSpPr>
              <p:grpSpPr>
                <a:xfrm>
                  <a:off x="552425" y="4994175"/>
                  <a:ext cx="914401" cy="1183785"/>
                  <a:chOff x="1645666" y="5118829"/>
                  <a:chExt cx="822960" cy="1065406"/>
                </a:xfrm>
              </p:grpSpPr>
              <p:sp>
                <p:nvSpPr>
                  <p:cNvPr id="125" name="Rectangle 124"/>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26" name="Group 125"/>
                  <p:cNvGrpSpPr/>
                  <p:nvPr/>
                </p:nvGrpSpPr>
                <p:grpSpPr>
                  <a:xfrm>
                    <a:off x="1645666" y="5118829"/>
                    <a:ext cx="822960" cy="1065406"/>
                    <a:chOff x="962618" y="2487010"/>
                    <a:chExt cx="822960" cy="1065406"/>
                  </a:xfrm>
                </p:grpSpPr>
                <p:sp>
                  <p:nvSpPr>
                    <p:cNvPr id="127" name="Oval 126"/>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28"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20" name="Group 119"/>
                <p:cNvGrpSpPr>
                  <a:grpSpLocks noChangeAspect="1"/>
                </p:cNvGrpSpPr>
                <p:nvPr/>
              </p:nvGrpSpPr>
              <p:grpSpPr>
                <a:xfrm>
                  <a:off x="313191" y="5252308"/>
                  <a:ext cx="914401" cy="1187440"/>
                  <a:chOff x="1625267" y="5096400"/>
                  <a:chExt cx="822960" cy="1068695"/>
                </a:xfrm>
              </p:grpSpPr>
              <p:sp>
                <p:nvSpPr>
                  <p:cNvPr id="121" name="Rectangle 120"/>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22" name="Group 121"/>
                  <p:cNvGrpSpPr/>
                  <p:nvPr/>
                </p:nvGrpSpPr>
                <p:grpSpPr>
                  <a:xfrm>
                    <a:off x="1625267" y="5096400"/>
                    <a:ext cx="822960" cy="1068695"/>
                    <a:chOff x="942219" y="2464581"/>
                    <a:chExt cx="822960" cy="1068695"/>
                  </a:xfrm>
                </p:grpSpPr>
                <p:sp>
                  <p:nvSpPr>
                    <p:cNvPr id="123" name="Oval 122"/>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24" name="Freeform 123"/>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grpSp>
      </p:grpSp>
      <p:grpSp>
        <p:nvGrpSpPr>
          <p:cNvPr id="162" name="Group 161"/>
          <p:cNvGrpSpPr/>
          <p:nvPr/>
        </p:nvGrpSpPr>
        <p:grpSpPr>
          <a:xfrm>
            <a:off x="7343979" y="3242748"/>
            <a:ext cx="1295117" cy="1071210"/>
            <a:chOff x="7344122" y="3242715"/>
            <a:chExt cx="1295282" cy="1071347"/>
          </a:xfrm>
        </p:grpSpPr>
        <p:sp>
          <p:nvSpPr>
            <p:cNvPr id="163" name="2 LINE 2"/>
            <p:cNvSpPr/>
            <p:nvPr/>
          </p:nvSpPr>
          <p:spPr bwMode="auto">
            <a:xfrm flipH="1">
              <a:off x="7344122"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32504"/>
              <a:endParaRPr lang="en-US" sz="1730" kern="0">
                <a:solidFill>
                  <a:srgbClr val="FFFFFF"/>
                </a:solidFill>
                <a:latin typeface="Segoe UI"/>
              </a:endParaRPr>
            </a:p>
          </p:txBody>
        </p:sp>
        <p:grpSp>
          <p:nvGrpSpPr>
            <p:cNvPr id="164" name="1 GEAR"/>
            <p:cNvGrpSpPr>
              <a:grpSpLocks noChangeAspect="1"/>
            </p:cNvGrpSpPr>
            <p:nvPr/>
          </p:nvGrpSpPr>
          <p:grpSpPr>
            <a:xfrm>
              <a:off x="7700649" y="3242715"/>
              <a:ext cx="548640" cy="548640"/>
              <a:chOff x="3427632" y="3858620"/>
              <a:chExt cx="676353" cy="704919"/>
            </a:xfrm>
          </p:grpSpPr>
          <p:sp>
            <p:nvSpPr>
              <p:cNvPr id="165" name="Oval 164"/>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66" name="Freeform 165"/>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grpSp>
      <p:grpSp>
        <p:nvGrpSpPr>
          <p:cNvPr id="167" name="Group 166"/>
          <p:cNvGrpSpPr/>
          <p:nvPr/>
        </p:nvGrpSpPr>
        <p:grpSpPr>
          <a:xfrm>
            <a:off x="4245426" y="3928460"/>
            <a:ext cx="3474276" cy="2749478"/>
            <a:chOff x="4245174" y="3928515"/>
            <a:chExt cx="3474720" cy="2749829"/>
          </a:xfrm>
        </p:grpSpPr>
        <p:sp>
          <p:nvSpPr>
            <p:cNvPr id="168" name="Rectangle 167"/>
            <p:cNvSpPr/>
            <p:nvPr/>
          </p:nvSpPr>
          <p:spPr bwMode="auto">
            <a:xfrm>
              <a:off x="4245174" y="3928515"/>
              <a:ext cx="347472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Powered by the Cloud</a:t>
              </a:r>
            </a:p>
          </p:txBody>
        </p:sp>
        <p:grpSp>
          <p:nvGrpSpPr>
            <p:cNvPr id="169" name="Group 168"/>
            <p:cNvGrpSpPr/>
            <p:nvPr/>
          </p:nvGrpSpPr>
          <p:grpSpPr>
            <a:xfrm>
              <a:off x="4444308" y="5063987"/>
              <a:ext cx="3024528" cy="1614357"/>
              <a:chOff x="4476392" y="4871483"/>
              <a:chExt cx="3024528" cy="1614357"/>
            </a:xfrm>
          </p:grpSpPr>
          <p:grpSp>
            <p:nvGrpSpPr>
              <p:cNvPr id="170" name="Group 169"/>
              <p:cNvGrpSpPr/>
              <p:nvPr/>
            </p:nvGrpSpPr>
            <p:grpSpPr>
              <a:xfrm>
                <a:off x="5125206" y="4871483"/>
                <a:ext cx="2375714" cy="1614357"/>
                <a:chOff x="15516218" y="1242147"/>
                <a:chExt cx="530372" cy="360401"/>
              </a:xfrm>
            </p:grpSpPr>
            <p:sp>
              <p:nvSpPr>
                <p:cNvPr id="176" name="Freeform 175"/>
                <p:cNvSpPr>
                  <a:spLocks/>
                </p:cNvSpPr>
                <p:nvPr/>
              </p:nvSpPr>
              <p:spPr bwMode="auto">
                <a:xfrm>
                  <a:off x="15516218" y="1242147"/>
                  <a:ext cx="485376" cy="30437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p:txBody>
            </p:sp>
            <p:sp>
              <p:nvSpPr>
                <p:cNvPr id="177" name="Freeform 176"/>
                <p:cNvSpPr>
                  <a:spLocks/>
                </p:cNvSpPr>
                <p:nvPr/>
              </p:nvSpPr>
              <p:spPr bwMode="auto">
                <a:xfrm>
                  <a:off x="15646045" y="1351688"/>
                  <a:ext cx="400545" cy="25086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p:txBody>
            </p:sp>
          </p:grpSp>
          <p:grpSp>
            <p:nvGrpSpPr>
              <p:cNvPr id="171" name="Group 170"/>
              <p:cNvGrpSpPr/>
              <p:nvPr/>
            </p:nvGrpSpPr>
            <p:grpSpPr>
              <a:xfrm>
                <a:off x="6751676" y="5260858"/>
                <a:ext cx="647396" cy="697154"/>
                <a:chOff x="6671466" y="5260858"/>
                <a:chExt cx="647396" cy="697154"/>
              </a:xfrm>
            </p:grpSpPr>
            <p:sp>
              <p:nvSpPr>
                <p:cNvPr id="174" name="Oval 173"/>
                <p:cNvSpPr/>
                <p:nvPr/>
              </p:nvSpPr>
              <p:spPr bwMode="auto">
                <a:xfrm>
                  <a:off x="6867822" y="5482093"/>
                  <a:ext cx="254684" cy="254684"/>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75" name="Freeform 174"/>
                <p:cNvSpPr>
                  <a:spLocks noEditPoints="1"/>
                </p:cNvSpPr>
                <p:nvPr/>
              </p:nvSpPr>
              <p:spPr bwMode="black">
                <a:xfrm>
                  <a:off x="6671466" y="5260858"/>
                  <a:ext cx="647396" cy="6971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tx1">
                    <a:lumMod val="65000"/>
                  </a:schemeClr>
                </a:solidFill>
                <a:ln>
                  <a:noFill/>
                </a:ln>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pic>
            <p:nvPicPr>
              <p:cNvPr id="172" name="Picture 1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94242" y="4969325"/>
                <a:ext cx="443261" cy="443261"/>
              </a:xfrm>
              <a:prstGeom prst="rect">
                <a:avLst/>
              </a:prstGeom>
            </p:spPr>
          </p:pic>
          <p:pic>
            <p:nvPicPr>
              <p:cNvPr id="173" name="Picture 172"/>
              <p:cNvPicPr>
                <a:picLocks noChangeAspect="1"/>
              </p:cNvPicPr>
              <p:nvPr/>
            </p:nvPicPr>
            <p:blipFill>
              <a:blip r:embed="rId5">
                <a:clrChange>
                  <a:clrFrom>
                    <a:srgbClr val="000000"/>
                  </a:clrFrom>
                  <a:clrTo>
                    <a:srgbClr val="000000">
                      <a:alpha val="0"/>
                    </a:srgbClr>
                  </a:clrTo>
                </a:clrChange>
              </a:blip>
              <a:stretch>
                <a:fillRect/>
              </a:stretch>
            </p:blipFill>
            <p:spPr>
              <a:xfrm>
                <a:off x="4476392" y="5547797"/>
                <a:ext cx="552576" cy="552576"/>
              </a:xfrm>
              <a:prstGeom prst="rect">
                <a:avLst/>
              </a:prstGeom>
            </p:spPr>
          </p:pic>
        </p:grpSp>
      </p:grpSp>
      <p:grpSp>
        <p:nvGrpSpPr>
          <p:cNvPr id="178" name="Group 177"/>
          <p:cNvGrpSpPr/>
          <p:nvPr/>
        </p:nvGrpSpPr>
        <p:grpSpPr>
          <a:xfrm>
            <a:off x="8486014" y="3046670"/>
            <a:ext cx="3474276" cy="2995692"/>
            <a:chOff x="8486303" y="3046613"/>
            <a:chExt cx="3474720" cy="2996074"/>
          </a:xfrm>
        </p:grpSpPr>
        <p:sp>
          <p:nvSpPr>
            <p:cNvPr id="179" name="Rectangle 178"/>
            <p:cNvSpPr/>
            <p:nvPr/>
          </p:nvSpPr>
          <p:spPr bwMode="auto">
            <a:xfrm>
              <a:off x="8486303" y="3046613"/>
              <a:ext cx="347472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Market Leading Price </a:t>
              </a:r>
              <a:b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180" name="Group 179"/>
            <p:cNvGrpSpPr/>
            <p:nvPr/>
          </p:nvGrpSpPr>
          <p:grpSpPr>
            <a:xfrm>
              <a:off x="8988092" y="4412976"/>
              <a:ext cx="2446666" cy="1629711"/>
              <a:chOff x="9292890" y="4193911"/>
              <a:chExt cx="2446666" cy="1629711"/>
            </a:xfrm>
          </p:grpSpPr>
          <p:sp>
            <p:nvSpPr>
              <p:cNvPr id="181" name="Freeform 180"/>
              <p:cNvSpPr>
                <a:spLocks noChangeAspect="1"/>
              </p:cNvSpPr>
              <p:nvPr/>
            </p:nvSpPr>
            <p:spPr bwMode="auto">
              <a:xfrm flipH="1">
                <a:off x="10628567" y="4193911"/>
                <a:ext cx="1110989" cy="731520"/>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a:p>
                <a:pPr>
                  <a:defRPr/>
                </a:pPr>
                <a:endParaRPr lang="en-US" sz="1764">
                  <a:solidFill>
                    <a:prstClr val="black"/>
                  </a:solidFill>
                </a:endParaRPr>
              </a:p>
            </p:txBody>
          </p:sp>
          <p:pic>
            <p:nvPicPr>
              <p:cNvPr id="182" name="Picture 181"/>
              <p:cNvPicPr>
                <a:picLocks noChangeAspect="1"/>
              </p:cNvPicPr>
              <p:nvPr/>
            </p:nvPicPr>
            <p:blipFill>
              <a:blip r:embed="rId6"/>
              <a:stretch>
                <a:fillRect/>
              </a:stretch>
            </p:blipFill>
            <p:spPr>
              <a:xfrm>
                <a:off x="9292890" y="4482669"/>
                <a:ext cx="1867762" cy="1340953"/>
              </a:xfrm>
              <a:prstGeom prst="rect">
                <a:avLst/>
              </a:prstGeom>
            </p:spPr>
          </p:pic>
        </p:grpSp>
      </p:grpSp>
    </p:spTree>
    <p:extLst>
      <p:ext uri="{BB962C8B-B14F-4D97-AF65-F5344CB8AC3E}">
        <p14:creationId xmlns:p14="http://schemas.microsoft.com/office/powerpoint/2010/main" val="318020618"/>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500"/>
                                        <p:tgtEl>
                                          <p:spTgt spid="1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5"/>
                                        </p:tgtEl>
                                        <p:attrNameLst>
                                          <p:attrName>style.visibility</p:attrName>
                                        </p:attrNameLst>
                                      </p:cBhvr>
                                      <p:to>
                                        <p:strVal val="visible"/>
                                      </p:to>
                                    </p:set>
                                    <p:animEffect transition="in" filter="wipe(left)">
                                      <p:cBhvr>
                                        <p:cTn id="12" dur="500"/>
                                        <p:tgtEl>
                                          <p:spTgt spid="105"/>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67"/>
                                        </p:tgtEl>
                                        <p:attrNameLst>
                                          <p:attrName>style.visibility</p:attrName>
                                        </p:attrNameLst>
                                      </p:cBhvr>
                                      <p:to>
                                        <p:strVal val="visible"/>
                                      </p:to>
                                    </p:set>
                                    <p:animEffect transition="in" filter="fade">
                                      <p:cBhvr>
                                        <p:cTn id="16" dur="500"/>
                                        <p:tgtEl>
                                          <p:spTgt spid="167"/>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62"/>
                                        </p:tgtEl>
                                        <p:attrNameLst>
                                          <p:attrName>style.visibility</p:attrName>
                                        </p:attrNameLst>
                                      </p:cBhvr>
                                      <p:to>
                                        <p:strVal val="visible"/>
                                      </p:to>
                                    </p:set>
                                    <p:animEffect transition="in" filter="wipe(left)">
                                      <p:cBhvr>
                                        <p:cTn id="21" dur="500"/>
                                        <p:tgtEl>
                                          <p:spTgt spid="162"/>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78"/>
                                        </p:tgtEl>
                                        <p:attrNameLst>
                                          <p:attrName>style.visibility</p:attrName>
                                        </p:attrNameLst>
                                      </p:cBhvr>
                                      <p:to>
                                        <p:strVal val="visible"/>
                                      </p:to>
                                    </p:set>
                                    <p:animEffect transition="in" filter="fade">
                                      <p:cBhvr>
                                        <p:cTn id="25"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716931" y="1265014"/>
            <a:ext cx="5827945" cy="5445779"/>
          </a:xfrm>
          <a:prstGeom prst="rect">
            <a:avLst/>
          </a:prstGeom>
          <a:solidFill>
            <a:srgbClr val="FFFFFF">
              <a:alpha val="40000"/>
            </a:srgbClr>
          </a:solidFill>
          <a:ln>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000">
              <a:defRPr/>
            </a:pPr>
            <a:endParaRPr lang="en-US" sz="1530" kern="0">
              <a:solidFill>
                <a:schemeClr val="bg1"/>
              </a:solidFill>
            </a:endParaRPr>
          </a:p>
        </p:txBody>
      </p:sp>
      <p:sp>
        <p:nvSpPr>
          <p:cNvPr id="2" name="Title 1"/>
          <p:cNvSpPr>
            <a:spLocks noGrp="1"/>
          </p:cNvSpPr>
          <p:nvPr>
            <p:ph type="title"/>
          </p:nvPr>
        </p:nvSpPr>
        <p:spPr/>
        <p:txBody>
          <a:bodyPr vert="horz" wrap="square" lIns="146304" tIns="91440" rIns="146304" bIns="91440" rtlCol="0" anchor="t">
            <a:noAutofit/>
          </a:bodyPr>
          <a:lstStyle/>
          <a:p>
            <a:r>
              <a:rPr lang="en-US" b="1"/>
              <a:t>Big Data / Hadoop in Azure</a:t>
            </a:r>
          </a:p>
        </p:txBody>
      </p:sp>
      <p:sp>
        <p:nvSpPr>
          <p:cNvPr id="22" name="Rectangle 21"/>
          <p:cNvSpPr/>
          <p:nvPr/>
        </p:nvSpPr>
        <p:spPr>
          <a:xfrm>
            <a:off x="4911196" y="5447449"/>
            <a:ext cx="5478266" cy="1049531"/>
          </a:xfrm>
          <a:prstGeom prst="rect">
            <a:avLst/>
          </a:prstGeom>
          <a:solidFill>
            <a:srgbClr val="002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defTabSz="777000">
              <a:defRPr/>
            </a:pPr>
            <a:r>
              <a:rPr lang="en-US" sz="2379" b="1" kern="0">
                <a:solidFill>
                  <a:schemeClr val="tx1"/>
                </a:solidFill>
                <a:latin typeface="+mj-lt"/>
              </a:rPr>
              <a:t>Azure Data Lake Store</a:t>
            </a:r>
          </a:p>
        </p:txBody>
      </p:sp>
      <p:cxnSp>
        <p:nvCxnSpPr>
          <p:cNvPr id="7" name="Straight Connector 6"/>
          <p:cNvCxnSpPr/>
          <p:nvPr/>
        </p:nvCxnSpPr>
        <p:spPr>
          <a:xfrm>
            <a:off x="1840494" y="5081438"/>
            <a:ext cx="9246204" cy="0"/>
          </a:xfrm>
          <a:prstGeom prst="line">
            <a:avLst/>
          </a:prstGeom>
          <a:noFill/>
          <a:ln>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cxnSp>
      <p:sp>
        <p:nvSpPr>
          <p:cNvPr id="25" name="Rectangle 24"/>
          <p:cNvSpPr/>
          <p:nvPr/>
        </p:nvSpPr>
        <p:spPr>
          <a:xfrm>
            <a:off x="4911196" y="6032360"/>
            <a:ext cx="5478266" cy="465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360" kern="0">
                <a:solidFill>
                  <a:schemeClr val="tx1"/>
                </a:solidFill>
                <a:latin typeface="+mj-lt"/>
              </a:rPr>
              <a:t>Hyper-scale Storage optimized for analytics</a:t>
            </a:r>
          </a:p>
        </p:txBody>
      </p:sp>
      <p:sp>
        <p:nvSpPr>
          <p:cNvPr id="26" name="Rectangle 25"/>
          <p:cNvSpPr/>
          <p:nvPr/>
        </p:nvSpPr>
        <p:spPr>
          <a:xfrm>
            <a:off x="4922395" y="1265014"/>
            <a:ext cx="5478266"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2719" kern="0">
                <a:solidFill>
                  <a:schemeClr val="bg1">
                    <a:lumMod val="75000"/>
                  </a:schemeClr>
                </a:solidFill>
              </a:rPr>
              <a:t>Azure Data Lake</a:t>
            </a:r>
          </a:p>
        </p:txBody>
      </p:sp>
      <p:sp>
        <p:nvSpPr>
          <p:cNvPr id="36" name="Rectangle 35"/>
          <p:cNvSpPr/>
          <p:nvPr/>
        </p:nvSpPr>
        <p:spPr>
          <a:xfrm>
            <a:off x="1958372" y="1777673"/>
            <a:ext cx="2331177" cy="310462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IaaS Hadoop</a:t>
            </a:r>
          </a:p>
        </p:txBody>
      </p:sp>
      <p:sp>
        <p:nvSpPr>
          <p:cNvPr id="37" name="Rectangle 36"/>
          <p:cNvSpPr/>
          <p:nvPr/>
        </p:nvSpPr>
        <p:spPr>
          <a:xfrm>
            <a:off x="1948147" y="4123817"/>
            <a:ext cx="2331177"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Install Hadoop distros on Azure VMs</a:t>
            </a:r>
          </a:p>
        </p:txBody>
      </p:sp>
      <p:sp>
        <p:nvSpPr>
          <p:cNvPr id="38" name="Rectangle 37"/>
          <p:cNvSpPr/>
          <p:nvPr/>
        </p:nvSpPr>
        <p:spPr>
          <a:xfrm>
            <a:off x="1958372" y="5447448"/>
            <a:ext cx="2331177" cy="1049532"/>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77000">
              <a:defRPr/>
            </a:pPr>
            <a:r>
              <a:rPr lang="en-US" sz="2379" kern="0">
                <a:solidFill>
                  <a:schemeClr val="tx1"/>
                </a:solidFill>
                <a:latin typeface="+mj-lt"/>
              </a:rPr>
              <a:t>Blob Storage</a:t>
            </a:r>
          </a:p>
        </p:txBody>
      </p:sp>
      <p:grpSp>
        <p:nvGrpSpPr>
          <p:cNvPr id="46" name="Group 45">
            <a:extLst>
              <a:ext uri="{FF2B5EF4-FFF2-40B4-BE49-F238E27FC236}">
                <a16:creationId xmlns:a16="http://schemas.microsoft.com/office/drawing/2014/main" id="{B03BCA23-6B39-48CF-8242-154F59D39000}"/>
              </a:ext>
            </a:extLst>
          </p:cNvPr>
          <p:cNvGrpSpPr/>
          <p:nvPr/>
        </p:nvGrpSpPr>
        <p:grpSpPr>
          <a:xfrm>
            <a:off x="5039188" y="1777673"/>
            <a:ext cx="2331177" cy="3217886"/>
            <a:chOff x="4911196" y="1777673"/>
            <a:chExt cx="2331177" cy="3217886"/>
          </a:xfrm>
        </p:grpSpPr>
        <p:sp>
          <p:nvSpPr>
            <p:cNvPr id="17" name="Rectangle 16"/>
            <p:cNvSpPr/>
            <p:nvPr/>
          </p:nvSpPr>
          <p:spPr>
            <a:xfrm>
              <a:off x="4911196" y="1777673"/>
              <a:ext cx="2331177" cy="3104622"/>
            </a:xfrm>
            <a:prstGeom prst="rect">
              <a:avLst/>
            </a:prstGeom>
            <a:solidFill>
              <a:srgbClr val="0078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Azure HDInsight</a:t>
              </a:r>
            </a:p>
          </p:txBody>
        </p:sp>
        <p:sp>
          <p:nvSpPr>
            <p:cNvPr id="5" name="Rectangle 4"/>
            <p:cNvSpPr/>
            <p:nvPr/>
          </p:nvSpPr>
          <p:spPr>
            <a:xfrm>
              <a:off x="4911196" y="4289350"/>
              <a:ext cx="2331177"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Azure-managed Hadoop clusters</a:t>
              </a:r>
            </a:p>
          </p:txBody>
        </p:sp>
        <p:sp>
          <p:nvSpPr>
            <p:cNvPr id="32" name="Rectangle 31"/>
            <p:cNvSpPr/>
            <p:nvPr/>
          </p:nvSpPr>
          <p:spPr>
            <a:xfrm>
              <a:off x="5367950" y="2905150"/>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77000">
                <a:defRPr/>
              </a:pPr>
              <a:r>
                <a:rPr lang="en-US" sz="1360" kern="0">
                  <a:solidFill>
                    <a:schemeClr val="bg1"/>
                  </a:solidFill>
                  <a:latin typeface="+mj-lt"/>
                </a:rPr>
                <a:t>Hadoop</a:t>
              </a:r>
            </a:p>
          </p:txBody>
        </p:sp>
        <p:sp>
          <p:nvSpPr>
            <p:cNvPr id="33" name="Rectangle 32"/>
            <p:cNvSpPr/>
            <p:nvPr/>
          </p:nvSpPr>
          <p:spPr>
            <a:xfrm>
              <a:off x="5367950" y="3260986"/>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a:solidFill>
                    <a:schemeClr val="bg1"/>
                  </a:solidFill>
                  <a:latin typeface="+mj-lt"/>
                </a:rPr>
                <a:t>Spark</a:t>
              </a:r>
            </a:p>
          </p:txBody>
        </p:sp>
        <p:sp>
          <p:nvSpPr>
            <p:cNvPr id="34" name="Rectangle 33"/>
            <p:cNvSpPr/>
            <p:nvPr/>
          </p:nvSpPr>
          <p:spPr>
            <a:xfrm>
              <a:off x="5367950" y="3616822"/>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err="1">
                  <a:solidFill>
                    <a:schemeClr val="bg1"/>
                  </a:solidFill>
                  <a:latin typeface="+mj-lt"/>
                </a:rPr>
                <a:t>HBase</a:t>
              </a:r>
              <a:endParaRPr lang="en-US" sz="1360" kern="0">
                <a:solidFill>
                  <a:schemeClr val="bg1"/>
                </a:solidFill>
                <a:latin typeface="+mj-lt"/>
              </a:endParaRPr>
            </a:p>
          </p:txBody>
        </p:sp>
        <p:sp>
          <p:nvSpPr>
            <p:cNvPr id="35" name="Rectangle 34"/>
            <p:cNvSpPr/>
            <p:nvPr/>
          </p:nvSpPr>
          <p:spPr>
            <a:xfrm>
              <a:off x="5367950" y="3972658"/>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a:solidFill>
                    <a:schemeClr val="bg1"/>
                  </a:solidFill>
                  <a:latin typeface="+mj-lt"/>
                </a:rPr>
                <a:t>Storm</a:t>
              </a:r>
            </a:p>
          </p:txBody>
        </p:sp>
        <p:grpSp>
          <p:nvGrpSpPr>
            <p:cNvPr id="28" name="Group 27"/>
            <p:cNvGrpSpPr/>
            <p:nvPr/>
          </p:nvGrpSpPr>
          <p:grpSpPr>
            <a:xfrm>
              <a:off x="5709257" y="2211649"/>
              <a:ext cx="748928" cy="544468"/>
              <a:chOff x="3365500" y="4116388"/>
              <a:chExt cx="1570037" cy="1141413"/>
            </a:xfrm>
          </p:grpSpPr>
          <p:sp>
            <p:nvSpPr>
              <p:cNvPr id="29" name="Freeform 49"/>
              <p:cNvSpPr>
                <a:spLocks noEditPoints="1"/>
              </p:cNvSpPr>
              <p:nvPr/>
            </p:nvSpPr>
            <p:spPr bwMode="auto">
              <a:xfrm>
                <a:off x="3365500" y="4116388"/>
                <a:ext cx="1570037" cy="1141413"/>
              </a:xfrm>
              <a:custGeom>
                <a:avLst/>
                <a:gdLst>
                  <a:gd name="T0" fmla="*/ 6137 w 14832"/>
                  <a:gd name="T1" fmla="*/ 8965 h 10783"/>
                  <a:gd name="T2" fmla="*/ 5781 w 14832"/>
                  <a:gd name="T3" fmla="*/ 8730 h 10783"/>
                  <a:gd name="T4" fmla="*/ 4083 w 14832"/>
                  <a:gd name="T5" fmla="*/ 8216 h 10783"/>
                  <a:gd name="T6" fmla="*/ 3755 w 14832"/>
                  <a:gd name="T7" fmla="*/ 9972 h 10783"/>
                  <a:gd name="T8" fmla="*/ 2687 w 14832"/>
                  <a:gd name="T9" fmla="*/ 10607 h 10783"/>
                  <a:gd name="T10" fmla="*/ 2102 w 14832"/>
                  <a:gd name="T11" fmla="*/ 9104 h 10783"/>
                  <a:gd name="T12" fmla="*/ 1235 w 14832"/>
                  <a:gd name="T13" fmla="*/ 7273 h 10783"/>
                  <a:gd name="T14" fmla="*/ 1127 w 14832"/>
                  <a:gd name="T15" fmla="*/ 5308 h 10783"/>
                  <a:gd name="T16" fmla="*/ 149 w 14832"/>
                  <a:gd name="T17" fmla="*/ 4605 h 10783"/>
                  <a:gd name="T18" fmla="*/ 474 w 14832"/>
                  <a:gd name="T19" fmla="*/ 3575 h 10783"/>
                  <a:gd name="T20" fmla="*/ 555 w 14832"/>
                  <a:gd name="T21" fmla="*/ 4279 h 10783"/>
                  <a:gd name="T22" fmla="*/ 802 w 14832"/>
                  <a:gd name="T23" fmla="*/ 4830 h 10783"/>
                  <a:gd name="T24" fmla="*/ 3031 w 14832"/>
                  <a:gd name="T25" fmla="*/ 2802 h 10783"/>
                  <a:gd name="T26" fmla="*/ 4406 w 14832"/>
                  <a:gd name="T27" fmla="*/ 2558 h 10783"/>
                  <a:gd name="T28" fmla="*/ 3081 w 14832"/>
                  <a:gd name="T29" fmla="*/ 4642 h 10783"/>
                  <a:gd name="T30" fmla="*/ 3562 w 14832"/>
                  <a:gd name="T31" fmla="*/ 6571 h 10783"/>
                  <a:gd name="T32" fmla="*/ 5629 w 14832"/>
                  <a:gd name="T33" fmla="*/ 7092 h 10783"/>
                  <a:gd name="T34" fmla="*/ 7380 w 14832"/>
                  <a:gd name="T35" fmla="*/ 6723 h 10783"/>
                  <a:gd name="T36" fmla="*/ 7361 w 14832"/>
                  <a:gd name="T37" fmla="*/ 3984 h 10783"/>
                  <a:gd name="T38" fmla="*/ 7094 w 14832"/>
                  <a:gd name="T39" fmla="*/ 4285 h 10783"/>
                  <a:gd name="T40" fmla="*/ 6987 w 14832"/>
                  <a:gd name="T41" fmla="*/ 6290 h 10783"/>
                  <a:gd name="T42" fmla="*/ 4952 w 14832"/>
                  <a:gd name="T43" fmla="*/ 6982 h 10783"/>
                  <a:gd name="T44" fmla="*/ 4056 w 14832"/>
                  <a:gd name="T45" fmla="*/ 5494 h 10783"/>
                  <a:gd name="T46" fmla="*/ 3995 w 14832"/>
                  <a:gd name="T47" fmla="*/ 3516 h 10783"/>
                  <a:gd name="T48" fmla="*/ 7034 w 14832"/>
                  <a:gd name="T49" fmla="*/ 1324 h 10783"/>
                  <a:gd name="T50" fmla="*/ 6734 w 14832"/>
                  <a:gd name="T51" fmla="*/ 796 h 10783"/>
                  <a:gd name="T52" fmla="*/ 9460 w 14832"/>
                  <a:gd name="T53" fmla="*/ 64 h 10783"/>
                  <a:gd name="T54" fmla="*/ 10600 w 14832"/>
                  <a:gd name="T55" fmla="*/ 1459 h 10783"/>
                  <a:gd name="T56" fmla="*/ 11843 w 14832"/>
                  <a:gd name="T57" fmla="*/ 2300 h 10783"/>
                  <a:gd name="T58" fmla="*/ 11532 w 14832"/>
                  <a:gd name="T59" fmla="*/ 2526 h 10783"/>
                  <a:gd name="T60" fmla="*/ 11978 w 14832"/>
                  <a:gd name="T61" fmla="*/ 2994 h 10783"/>
                  <a:gd name="T62" fmla="*/ 12447 w 14832"/>
                  <a:gd name="T63" fmla="*/ 3355 h 10783"/>
                  <a:gd name="T64" fmla="*/ 12276 w 14832"/>
                  <a:gd name="T65" fmla="*/ 4544 h 10783"/>
                  <a:gd name="T66" fmla="*/ 12767 w 14832"/>
                  <a:gd name="T67" fmla="*/ 2092 h 10783"/>
                  <a:gd name="T68" fmla="*/ 13588 w 14832"/>
                  <a:gd name="T69" fmla="*/ 903 h 10783"/>
                  <a:gd name="T70" fmla="*/ 14461 w 14832"/>
                  <a:gd name="T71" fmla="*/ 947 h 10783"/>
                  <a:gd name="T72" fmla="*/ 14687 w 14832"/>
                  <a:gd name="T73" fmla="*/ 4434 h 10783"/>
                  <a:gd name="T74" fmla="*/ 12655 w 14832"/>
                  <a:gd name="T75" fmla="*/ 6662 h 10783"/>
                  <a:gd name="T76" fmla="*/ 10066 w 14832"/>
                  <a:gd name="T77" fmla="*/ 5712 h 10783"/>
                  <a:gd name="T78" fmla="*/ 9782 w 14832"/>
                  <a:gd name="T79" fmla="*/ 6353 h 10783"/>
                  <a:gd name="T80" fmla="*/ 11061 w 14832"/>
                  <a:gd name="T81" fmla="*/ 6977 h 10783"/>
                  <a:gd name="T82" fmla="*/ 10590 w 14832"/>
                  <a:gd name="T83" fmla="*/ 7698 h 10783"/>
                  <a:gd name="T84" fmla="*/ 8473 w 14832"/>
                  <a:gd name="T85" fmla="*/ 6622 h 10783"/>
                  <a:gd name="T86" fmla="*/ 8937 w 14832"/>
                  <a:gd name="T87" fmla="*/ 7279 h 10783"/>
                  <a:gd name="T88" fmla="*/ 8191 w 14832"/>
                  <a:gd name="T89" fmla="*/ 9163 h 10783"/>
                  <a:gd name="T90" fmla="*/ 6136 w 14832"/>
                  <a:gd name="T91" fmla="*/ 10756 h 10783"/>
                  <a:gd name="T92" fmla="*/ 10735 w 14832"/>
                  <a:gd name="T93" fmla="*/ 3102 h 10783"/>
                  <a:gd name="T94" fmla="*/ 10340 w 14832"/>
                  <a:gd name="T95" fmla="*/ 3073 h 10783"/>
                  <a:gd name="T96" fmla="*/ 10320 w 14832"/>
                  <a:gd name="T97" fmla="*/ 2657 h 10783"/>
                  <a:gd name="T98" fmla="*/ 9155 w 14832"/>
                  <a:gd name="T99" fmla="*/ 3323 h 10783"/>
                  <a:gd name="T100" fmla="*/ 9337 w 14832"/>
                  <a:gd name="T101" fmla="*/ 3385 h 10783"/>
                  <a:gd name="T102" fmla="*/ 9442 w 14832"/>
                  <a:gd name="T103" fmla="*/ 4031 h 10783"/>
                  <a:gd name="T104" fmla="*/ 6076 w 14832"/>
                  <a:gd name="T105" fmla="*/ 2490 h 10783"/>
                  <a:gd name="T106" fmla="*/ 6189 w 14832"/>
                  <a:gd name="T107" fmla="*/ 3093 h 10783"/>
                  <a:gd name="T108" fmla="*/ 7467 w 14832"/>
                  <a:gd name="T109" fmla="*/ 1842 h 10783"/>
                  <a:gd name="T110" fmla="*/ 6249 w 14832"/>
                  <a:gd name="T111" fmla="*/ 2025 h 10783"/>
                  <a:gd name="T112" fmla="*/ 5392 w 14832"/>
                  <a:gd name="T113" fmla="*/ 3950 h 10783"/>
                  <a:gd name="T114" fmla="*/ 9358 w 14832"/>
                  <a:gd name="T115" fmla="*/ 1916 h 10783"/>
                  <a:gd name="T116" fmla="*/ 8711 w 14832"/>
                  <a:gd name="T117" fmla="*/ 1875 h 10783"/>
                  <a:gd name="T118" fmla="*/ 8633 w 14832"/>
                  <a:gd name="T119" fmla="*/ 2505 h 10783"/>
                  <a:gd name="T120" fmla="*/ 13968 w 14832"/>
                  <a:gd name="T121" fmla="*/ 680 h 10783"/>
                  <a:gd name="T122" fmla="*/ 12994 w 14832"/>
                  <a:gd name="T123" fmla="*/ 1432 h 10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32" h="10783">
                    <a:moveTo>
                      <a:pt x="5570" y="10190"/>
                    </a:moveTo>
                    <a:lnTo>
                      <a:pt x="5549" y="10163"/>
                    </a:lnTo>
                    <a:lnTo>
                      <a:pt x="5529" y="10136"/>
                    </a:lnTo>
                    <a:lnTo>
                      <a:pt x="5510" y="10110"/>
                    </a:lnTo>
                    <a:lnTo>
                      <a:pt x="5491" y="10084"/>
                    </a:lnTo>
                    <a:lnTo>
                      <a:pt x="5458" y="10035"/>
                    </a:lnTo>
                    <a:lnTo>
                      <a:pt x="5429" y="9987"/>
                    </a:lnTo>
                    <a:lnTo>
                      <a:pt x="5403" y="9943"/>
                    </a:lnTo>
                    <a:lnTo>
                      <a:pt x="5381" y="9901"/>
                    </a:lnTo>
                    <a:lnTo>
                      <a:pt x="5363" y="9860"/>
                    </a:lnTo>
                    <a:lnTo>
                      <a:pt x="5347" y="9822"/>
                    </a:lnTo>
                    <a:lnTo>
                      <a:pt x="5335" y="9784"/>
                    </a:lnTo>
                    <a:lnTo>
                      <a:pt x="5327" y="9749"/>
                    </a:lnTo>
                    <a:lnTo>
                      <a:pt x="5321" y="9716"/>
                    </a:lnTo>
                    <a:lnTo>
                      <a:pt x="5317" y="9686"/>
                    </a:lnTo>
                    <a:lnTo>
                      <a:pt x="5316" y="9656"/>
                    </a:lnTo>
                    <a:lnTo>
                      <a:pt x="5319" y="9627"/>
                    </a:lnTo>
                    <a:lnTo>
                      <a:pt x="5323" y="9600"/>
                    </a:lnTo>
                    <a:lnTo>
                      <a:pt x="5329" y="9575"/>
                    </a:lnTo>
                    <a:lnTo>
                      <a:pt x="5337" y="9551"/>
                    </a:lnTo>
                    <a:lnTo>
                      <a:pt x="5347" y="9528"/>
                    </a:lnTo>
                    <a:lnTo>
                      <a:pt x="5360" y="9505"/>
                    </a:lnTo>
                    <a:lnTo>
                      <a:pt x="5373" y="9485"/>
                    </a:lnTo>
                    <a:lnTo>
                      <a:pt x="5388" y="9465"/>
                    </a:lnTo>
                    <a:lnTo>
                      <a:pt x="5404" y="9447"/>
                    </a:lnTo>
                    <a:lnTo>
                      <a:pt x="5421" y="9428"/>
                    </a:lnTo>
                    <a:lnTo>
                      <a:pt x="5439" y="9411"/>
                    </a:lnTo>
                    <a:lnTo>
                      <a:pt x="5479" y="9378"/>
                    </a:lnTo>
                    <a:lnTo>
                      <a:pt x="5519" y="9346"/>
                    </a:lnTo>
                    <a:lnTo>
                      <a:pt x="5561" y="9316"/>
                    </a:lnTo>
                    <a:lnTo>
                      <a:pt x="5602" y="9287"/>
                    </a:lnTo>
                    <a:lnTo>
                      <a:pt x="5685" y="9242"/>
                    </a:lnTo>
                    <a:lnTo>
                      <a:pt x="5769" y="9198"/>
                    </a:lnTo>
                    <a:lnTo>
                      <a:pt x="5809" y="9178"/>
                    </a:lnTo>
                    <a:lnTo>
                      <a:pt x="5849" y="9158"/>
                    </a:lnTo>
                    <a:lnTo>
                      <a:pt x="5888" y="9139"/>
                    </a:lnTo>
                    <a:lnTo>
                      <a:pt x="5926" y="9119"/>
                    </a:lnTo>
                    <a:lnTo>
                      <a:pt x="5961" y="9101"/>
                    </a:lnTo>
                    <a:lnTo>
                      <a:pt x="5995" y="9082"/>
                    </a:lnTo>
                    <a:lnTo>
                      <a:pt x="6026" y="9063"/>
                    </a:lnTo>
                    <a:lnTo>
                      <a:pt x="6054" y="9046"/>
                    </a:lnTo>
                    <a:lnTo>
                      <a:pt x="6078" y="9027"/>
                    </a:lnTo>
                    <a:lnTo>
                      <a:pt x="6100" y="9010"/>
                    </a:lnTo>
                    <a:lnTo>
                      <a:pt x="6119" y="8992"/>
                    </a:lnTo>
                    <a:lnTo>
                      <a:pt x="6126" y="8984"/>
                    </a:lnTo>
                    <a:lnTo>
                      <a:pt x="6132" y="8975"/>
                    </a:lnTo>
                    <a:lnTo>
                      <a:pt x="6137" y="8965"/>
                    </a:lnTo>
                    <a:lnTo>
                      <a:pt x="6142" y="8952"/>
                    </a:lnTo>
                    <a:lnTo>
                      <a:pt x="6147" y="8937"/>
                    </a:lnTo>
                    <a:lnTo>
                      <a:pt x="6152" y="8919"/>
                    </a:lnTo>
                    <a:lnTo>
                      <a:pt x="6155" y="8901"/>
                    </a:lnTo>
                    <a:lnTo>
                      <a:pt x="6158" y="8879"/>
                    </a:lnTo>
                    <a:lnTo>
                      <a:pt x="6161" y="8855"/>
                    </a:lnTo>
                    <a:lnTo>
                      <a:pt x="6163" y="8832"/>
                    </a:lnTo>
                    <a:lnTo>
                      <a:pt x="6165" y="8805"/>
                    </a:lnTo>
                    <a:lnTo>
                      <a:pt x="6167" y="8778"/>
                    </a:lnTo>
                    <a:lnTo>
                      <a:pt x="6168" y="8749"/>
                    </a:lnTo>
                    <a:lnTo>
                      <a:pt x="6169" y="8720"/>
                    </a:lnTo>
                    <a:lnTo>
                      <a:pt x="6170" y="8660"/>
                    </a:lnTo>
                    <a:lnTo>
                      <a:pt x="6171" y="8597"/>
                    </a:lnTo>
                    <a:lnTo>
                      <a:pt x="6170" y="8534"/>
                    </a:lnTo>
                    <a:lnTo>
                      <a:pt x="6169" y="8472"/>
                    </a:lnTo>
                    <a:lnTo>
                      <a:pt x="6168" y="8413"/>
                    </a:lnTo>
                    <a:lnTo>
                      <a:pt x="6167" y="8385"/>
                    </a:lnTo>
                    <a:lnTo>
                      <a:pt x="6167" y="8357"/>
                    </a:lnTo>
                    <a:lnTo>
                      <a:pt x="6166" y="8331"/>
                    </a:lnTo>
                    <a:lnTo>
                      <a:pt x="6165" y="8306"/>
                    </a:lnTo>
                    <a:lnTo>
                      <a:pt x="6165" y="8283"/>
                    </a:lnTo>
                    <a:lnTo>
                      <a:pt x="6164" y="8262"/>
                    </a:lnTo>
                    <a:lnTo>
                      <a:pt x="6164" y="8241"/>
                    </a:lnTo>
                    <a:lnTo>
                      <a:pt x="6163" y="8224"/>
                    </a:lnTo>
                    <a:lnTo>
                      <a:pt x="6163" y="8210"/>
                    </a:lnTo>
                    <a:lnTo>
                      <a:pt x="6163" y="8196"/>
                    </a:lnTo>
                    <a:lnTo>
                      <a:pt x="6160" y="8220"/>
                    </a:lnTo>
                    <a:lnTo>
                      <a:pt x="6155" y="8245"/>
                    </a:lnTo>
                    <a:lnTo>
                      <a:pt x="6150" y="8270"/>
                    </a:lnTo>
                    <a:lnTo>
                      <a:pt x="6142" y="8296"/>
                    </a:lnTo>
                    <a:lnTo>
                      <a:pt x="6134" y="8322"/>
                    </a:lnTo>
                    <a:lnTo>
                      <a:pt x="6124" y="8349"/>
                    </a:lnTo>
                    <a:lnTo>
                      <a:pt x="6112" y="8376"/>
                    </a:lnTo>
                    <a:lnTo>
                      <a:pt x="6100" y="8403"/>
                    </a:lnTo>
                    <a:lnTo>
                      <a:pt x="6087" y="8431"/>
                    </a:lnTo>
                    <a:lnTo>
                      <a:pt x="6070" y="8459"/>
                    </a:lnTo>
                    <a:lnTo>
                      <a:pt x="6054" y="8486"/>
                    </a:lnTo>
                    <a:lnTo>
                      <a:pt x="6034" y="8512"/>
                    </a:lnTo>
                    <a:lnTo>
                      <a:pt x="6013" y="8539"/>
                    </a:lnTo>
                    <a:lnTo>
                      <a:pt x="5992" y="8566"/>
                    </a:lnTo>
                    <a:lnTo>
                      <a:pt x="5967" y="8592"/>
                    </a:lnTo>
                    <a:lnTo>
                      <a:pt x="5941" y="8616"/>
                    </a:lnTo>
                    <a:lnTo>
                      <a:pt x="5913" y="8641"/>
                    </a:lnTo>
                    <a:lnTo>
                      <a:pt x="5883" y="8665"/>
                    </a:lnTo>
                    <a:lnTo>
                      <a:pt x="5851" y="8687"/>
                    </a:lnTo>
                    <a:lnTo>
                      <a:pt x="5817" y="8709"/>
                    </a:lnTo>
                    <a:lnTo>
                      <a:pt x="5781" y="8730"/>
                    </a:lnTo>
                    <a:lnTo>
                      <a:pt x="5742" y="8748"/>
                    </a:lnTo>
                    <a:lnTo>
                      <a:pt x="5702" y="8767"/>
                    </a:lnTo>
                    <a:lnTo>
                      <a:pt x="5659" y="8783"/>
                    </a:lnTo>
                    <a:lnTo>
                      <a:pt x="5614" y="8798"/>
                    </a:lnTo>
                    <a:lnTo>
                      <a:pt x="5566" y="8811"/>
                    </a:lnTo>
                    <a:lnTo>
                      <a:pt x="5516" y="8822"/>
                    </a:lnTo>
                    <a:lnTo>
                      <a:pt x="5463" y="8833"/>
                    </a:lnTo>
                    <a:lnTo>
                      <a:pt x="5408" y="8840"/>
                    </a:lnTo>
                    <a:lnTo>
                      <a:pt x="5351" y="8846"/>
                    </a:lnTo>
                    <a:lnTo>
                      <a:pt x="5291" y="8849"/>
                    </a:lnTo>
                    <a:lnTo>
                      <a:pt x="5228" y="8850"/>
                    </a:lnTo>
                    <a:lnTo>
                      <a:pt x="5166" y="8850"/>
                    </a:lnTo>
                    <a:lnTo>
                      <a:pt x="5088" y="8846"/>
                    </a:lnTo>
                    <a:lnTo>
                      <a:pt x="5015" y="8839"/>
                    </a:lnTo>
                    <a:lnTo>
                      <a:pt x="4945" y="8829"/>
                    </a:lnTo>
                    <a:lnTo>
                      <a:pt x="4879" y="8815"/>
                    </a:lnTo>
                    <a:lnTo>
                      <a:pt x="4816" y="8801"/>
                    </a:lnTo>
                    <a:lnTo>
                      <a:pt x="4755" y="8783"/>
                    </a:lnTo>
                    <a:lnTo>
                      <a:pt x="4698" y="8764"/>
                    </a:lnTo>
                    <a:lnTo>
                      <a:pt x="4644" y="8743"/>
                    </a:lnTo>
                    <a:lnTo>
                      <a:pt x="4594" y="8719"/>
                    </a:lnTo>
                    <a:lnTo>
                      <a:pt x="4546" y="8696"/>
                    </a:lnTo>
                    <a:lnTo>
                      <a:pt x="4501" y="8670"/>
                    </a:lnTo>
                    <a:lnTo>
                      <a:pt x="4459" y="8643"/>
                    </a:lnTo>
                    <a:lnTo>
                      <a:pt x="4419" y="8614"/>
                    </a:lnTo>
                    <a:lnTo>
                      <a:pt x="4382" y="8587"/>
                    </a:lnTo>
                    <a:lnTo>
                      <a:pt x="4348" y="8557"/>
                    </a:lnTo>
                    <a:lnTo>
                      <a:pt x="4316" y="8527"/>
                    </a:lnTo>
                    <a:lnTo>
                      <a:pt x="4287" y="8497"/>
                    </a:lnTo>
                    <a:lnTo>
                      <a:pt x="4259" y="8467"/>
                    </a:lnTo>
                    <a:lnTo>
                      <a:pt x="4235" y="8436"/>
                    </a:lnTo>
                    <a:lnTo>
                      <a:pt x="4212" y="8407"/>
                    </a:lnTo>
                    <a:lnTo>
                      <a:pt x="4191" y="8377"/>
                    </a:lnTo>
                    <a:lnTo>
                      <a:pt x="4172" y="8349"/>
                    </a:lnTo>
                    <a:lnTo>
                      <a:pt x="4155" y="8321"/>
                    </a:lnTo>
                    <a:lnTo>
                      <a:pt x="4140" y="8294"/>
                    </a:lnTo>
                    <a:lnTo>
                      <a:pt x="4126" y="8267"/>
                    </a:lnTo>
                    <a:lnTo>
                      <a:pt x="4115" y="8244"/>
                    </a:lnTo>
                    <a:lnTo>
                      <a:pt x="4105" y="8220"/>
                    </a:lnTo>
                    <a:lnTo>
                      <a:pt x="4096" y="8198"/>
                    </a:lnTo>
                    <a:lnTo>
                      <a:pt x="4089" y="8179"/>
                    </a:lnTo>
                    <a:lnTo>
                      <a:pt x="4083" y="8161"/>
                    </a:lnTo>
                    <a:lnTo>
                      <a:pt x="4078" y="8147"/>
                    </a:lnTo>
                    <a:lnTo>
                      <a:pt x="4075" y="8133"/>
                    </a:lnTo>
                    <a:lnTo>
                      <a:pt x="4078" y="8158"/>
                    </a:lnTo>
                    <a:lnTo>
                      <a:pt x="4080" y="8186"/>
                    </a:lnTo>
                    <a:lnTo>
                      <a:pt x="4083" y="8216"/>
                    </a:lnTo>
                    <a:lnTo>
                      <a:pt x="4085" y="8248"/>
                    </a:lnTo>
                    <a:lnTo>
                      <a:pt x="4087" y="8283"/>
                    </a:lnTo>
                    <a:lnTo>
                      <a:pt x="4089" y="8319"/>
                    </a:lnTo>
                    <a:lnTo>
                      <a:pt x="4090" y="8357"/>
                    </a:lnTo>
                    <a:lnTo>
                      <a:pt x="4092" y="8397"/>
                    </a:lnTo>
                    <a:lnTo>
                      <a:pt x="4093" y="8438"/>
                    </a:lnTo>
                    <a:lnTo>
                      <a:pt x="4094" y="8479"/>
                    </a:lnTo>
                    <a:lnTo>
                      <a:pt x="4096" y="8567"/>
                    </a:lnTo>
                    <a:lnTo>
                      <a:pt x="4097" y="8656"/>
                    </a:lnTo>
                    <a:lnTo>
                      <a:pt x="4098" y="8745"/>
                    </a:lnTo>
                    <a:lnTo>
                      <a:pt x="4097" y="8834"/>
                    </a:lnTo>
                    <a:lnTo>
                      <a:pt x="4097" y="8877"/>
                    </a:lnTo>
                    <a:lnTo>
                      <a:pt x="4096" y="8919"/>
                    </a:lnTo>
                    <a:lnTo>
                      <a:pt x="4095" y="8960"/>
                    </a:lnTo>
                    <a:lnTo>
                      <a:pt x="4094" y="9001"/>
                    </a:lnTo>
                    <a:lnTo>
                      <a:pt x="4093" y="9039"/>
                    </a:lnTo>
                    <a:lnTo>
                      <a:pt x="4092" y="9076"/>
                    </a:lnTo>
                    <a:lnTo>
                      <a:pt x="4090" y="9111"/>
                    </a:lnTo>
                    <a:lnTo>
                      <a:pt x="4089" y="9144"/>
                    </a:lnTo>
                    <a:lnTo>
                      <a:pt x="4087" y="9175"/>
                    </a:lnTo>
                    <a:lnTo>
                      <a:pt x="4085" y="9202"/>
                    </a:lnTo>
                    <a:lnTo>
                      <a:pt x="4083" y="9228"/>
                    </a:lnTo>
                    <a:lnTo>
                      <a:pt x="4080" y="9251"/>
                    </a:lnTo>
                    <a:lnTo>
                      <a:pt x="4078" y="9270"/>
                    </a:lnTo>
                    <a:lnTo>
                      <a:pt x="4075" y="9287"/>
                    </a:lnTo>
                    <a:lnTo>
                      <a:pt x="4071" y="9299"/>
                    </a:lnTo>
                    <a:lnTo>
                      <a:pt x="4066" y="9315"/>
                    </a:lnTo>
                    <a:lnTo>
                      <a:pt x="4060" y="9331"/>
                    </a:lnTo>
                    <a:lnTo>
                      <a:pt x="4052" y="9350"/>
                    </a:lnTo>
                    <a:lnTo>
                      <a:pt x="4044" y="9370"/>
                    </a:lnTo>
                    <a:lnTo>
                      <a:pt x="4034" y="9392"/>
                    </a:lnTo>
                    <a:lnTo>
                      <a:pt x="4024" y="9415"/>
                    </a:lnTo>
                    <a:lnTo>
                      <a:pt x="4013" y="9439"/>
                    </a:lnTo>
                    <a:lnTo>
                      <a:pt x="4000" y="9464"/>
                    </a:lnTo>
                    <a:lnTo>
                      <a:pt x="3988" y="9491"/>
                    </a:lnTo>
                    <a:lnTo>
                      <a:pt x="3961" y="9546"/>
                    </a:lnTo>
                    <a:lnTo>
                      <a:pt x="3932" y="9602"/>
                    </a:lnTo>
                    <a:lnTo>
                      <a:pt x="3903" y="9661"/>
                    </a:lnTo>
                    <a:lnTo>
                      <a:pt x="3874" y="9720"/>
                    </a:lnTo>
                    <a:lnTo>
                      <a:pt x="3845" y="9776"/>
                    </a:lnTo>
                    <a:lnTo>
                      <a:pt x="3819" y="9831"/>
                    </a:lnTo>
                    <a:lnTo>
                      <a:pt x="3806" y="9858"/>
                    </a:lnTo>
                    <a:lnTo>
                      <a:pt x="3794" y="9883"/>
                    </a:lnTo>
                    <a:lnTo>
                      <a:pt x="3782" y="9907"/>
                    </a:lnTo>
                    <a:lnTo>
                      <a:pt x="3772" y="9930"/>
                    </a:lnTo>
                    <a:lnTo>
                      <a:pt x="3763" y="9951"/>
                    </a:lnTo>
                    <a:lnTo>
                      <a:pt x="3755" y="9972"/>
                    </a:lnTo>
                    <a:lnTo>
                      <a:pt x="3746" y="9990"/>
                    </a:lnTo>
                    <a:lnTo>
                      <a:pt x="3740" y="10007"/>
                    </a:lnTo>
                    <a:lnTo>
                      <a:pt x="3736" y="10022"/>
                    </a:lnTo>
                    <a:lnTo>
                      <a:pt x="3732" y="10035"/>
                    </a:lnTo>
                    <a:lnTo>
                      <a:pt x="3729" y="10047"/>
                    </a:lnTo>
                    <a:lnTo>
                      <a:pt x="3727" y="10061"/>
                    </a:lnTo>
                    <a:lnTo>
                      <a:pt x="3726" y="10075"/>
                    </a:lnTo>
                    <a:lnTo>
                      <a:pt x="3724" y="10091"/>
                    </a:lnTo>
                    <a:lnTo>
                      <a:pt x="3722" y="10125"/>
                    </a:lnTo>
                    <a:lnTo>
                      <a:pt x="3720" y="10163"/>
                    </a:lnTo>
                    <a:lnTo>
                      <a:pt x="3719" y="10203"/>
                    </a:lnTo>
                    <a:lnTo>
                      <a:pt x="3718" y="10244"/>
                    </a:lnTo>
                    <a:lnTo>
                      <a:pt x="3716" y="10287"/>
                    </a:lnTo>
                    <a:lnTo>
                      <a:pt x="3712" y="10331"/>
                    </a:lnTo>
                    <a:lnTo>
                      <a:pt x="3707" y="10375"/>
                    </a:lnTo>
                    <a:lnTo>
                      <a:pt x="3699" y="10418"/>
                    </a:lnTo>
                    <a:lnTo>
                      <a:pt x="3688" y="10459"/>
                    </a:lnTo>
                    <a:lnTo>
                      <a:pt x="3675" y="10499"/>
                    </a:lnTo>
                    <a:lnTo>
                      <a:pt x="3667" y="10519"/>
                    </a:lnTo>
                    <a:lnTo>
                      <a:pt x="3658" y="10536"/>
                    </a:lnTo>
                    <a:lnTo>
                      <a:pt x="3646" y="10554"/>
                    </a:lnTo>
                    <a:lnTo>
                      <a:pt x="3635" y="10571"/>
                    </a:lnTo>
                    <a:lnTo>
                      <a:pt x="3622" y="10587"/>
                    </a:lnTo>
                    <a:lnTo>
                      <a:pt x="3608" y="10601"/>
                    </a:lnTo>
                    <a:lnTo>
                      <a:pt x="3592" y="10615"/>
                    </a:lnTo>
                    <a:lnTo>
                      <a:pt x="3576" y="10627"/>
                    </a:lnTo>
                    <a:lnTo>
                      <a:pt x="3564" y="10633"/>
                    </a:lnTo>
                    <a:lnTo>
                      <a:pt x="3550" y="10638"/>
                    </a:lnTo>
                    <a:lnTo>
                      <a:pt x="3535" y="10645"/>
                    </a:lnTo>
                    <a:lnTo>
                      <a:pt x="3518" y="10650"/>
                    </a:lnTo>
                    <a:lnTo>
                      <a:pt x="3501" y="10655"/>
                    </a:lnTo>
                    <a:lnTo>
                      <a:pt x="3481" y="10660"/>
                    </a:lnTo>
                    <a:lnTo>
                      <a:pt x="3461" y="10665"/>
                    </a:lnTo>
                    <a:lnTo>
                      <a:pt x="3440" y="10669"/>
                    </a:lnTo>
                    <a:lnTo>
                      <a:pt x="3417" y="10673"/>
                    </a:lnTo>
                    <a:lnTo>
                      <a:pt x="3394" y="10678"/>
                    </a:lnTo>
                    <a:lnTo>
                      <a:pt x="3344" y="10684"/>
                    </a:lnTo>
                    <a:lnTo>
                      <a:pt x="3290" y="10688"/>
                    </a:lnTo>
                    <a:lnTo>
                      <a:pt x="3233" y="10689"/>
                    </a:lnTo>
                    <a:lnTo>
                      <a:pt x="3168" y="10688"/>
                    </a:lnTo>
                    <a:lnTo>
                      <a:pt x="3102" y="10684"/>
                    </a:lnTo>
                    <a:lnTo>
                      <a:pt x="3035" y="10676"/>
                    </a:lnTo>
                    <a:lnTo>
                      <a:pt x="2966" y="10667"/>
                    </a:lnTo>
                    <a:lnTo>
                      <a:pt x="2897" y="10656"/>
                    </a:lnTo>
                    <a:lnTo>
                      <a:pt x="2828" y="10641"/>
                    </a:lnTo>
                    <a:lnTo>
                      <a:pt x="2757" y="10626"/>
                    </a:lnTo>
                    <a:lnTo>
                      <a:pt x="2687" y="10607"/>
                    </a:lnTo>
                    <a:lnTo>
                      <a:pt x="2617" y="10588"/>
                    </a:lnTo>
                    <a:lnTo>
                      <a:pt x="2547" y="10566"/>
                    </a:lnTo>
                    <a:lnTo>
                      <a:pt x="2478" y="10544"/>
                    </a:lnTo>
                    <a:lnTo>
                      <a:pt x="2408" y="10519"/>
                    </a:lnTo>
                    <a:lnTo>
                      <a:pt x="2340" y="10493"/>
                    </a:lnTo>
                    <a:lnTo>
                      <a:pt x="2273" y="10466"/>
                    </a:lnTo>
                    <a:lnTo>
                      <a:pt x="2207" y="10438"/>
                    </a:lnTo>
                    <a:lnTo>
                      <a:pt x="2142" y="10409"/>
                    </a:lnTo>
                    <a:lnTo>
                      <a:pt x="2119" y="10398"/>
                    </a:lnTo>
                    <a:lnTo>
                      <a:pt x="2095" y="10389"/>
                    </a:lnTo>
                    <a:lnTo>
                      <a:pt x="2068" y="10380"/>
                    </a:lnTo>
                    <a:lnTo>
                      <a:pt x="2041" y="10371"/>
                    </a:lnTo>
                    <a:lnTo>
                      <a:pt x="1986" y="10350"/>
                    </a:lnTo>
                    <a:lnTo>
                      <a:pt x="1959" y="10340"/>
                    </a:lnTo>
                    <a:lnTo>
                      <a:pt x="1935" y="10328"/>
                    </a:lnTo>
                    <a:lnTo>
                      <a:pt x="1910" y="10315"/>
                    </a:lnTo>
                    <a:lnTo>
                      <a:pt x="1888" y="10302"/>
                    </a:lnTo>
                    <a:lnTo>
                      <a:pt x="1869" y="10286"/>
                    </a:lnTo>
                    <a:lnTo>
                      <a:pt x="1852" y="10270"/>
                    </a:lnTo>
                    <a:lnTo>
                      <a:pt x="1839" y="10251"/>
                    </a:lnTo>
                    <a:lnTo>
                      <a:pt x="1833" y="10242"/>
                    </a:lnTo>
                    <a:lnTo>
                      <a:pt x="1828" y="10230"/>
                    </a:lnTo>
                    <a:lnTo>
                      <a:pt x="1825" y="10220"/>
                    </a:lnTo>
                    <a:lnTo>
                      <a:pt x="1823" y="10208"/>
                    </a:lnTo>
                    <a:lnTo>
                      <a:pt x="1823" y="10195"/>
                    </a:lnTo>
                    <a:lnTo>
                      <a:pt x="1823" y="10183"/>
                    </a:lnTo>
                    <a:lnTo>
                      <a:pt x="1826" y="10147"/>
                    </a:lnTo>
                    <a:lnTo>
                      <a:pt x="1831" y="10109"/>
                    </a:lnTo>
                    <a:lnTo>
                      <a:pt x="1838" y="10069"/>
                    </a:lnTo>
                    <a:lnTo>
                      <a:pt x="1845" y="10027"/>
                    </a:lnTo>
                    <a:lnTo>
                      <a:pt x="1853" y="9983"/>
                    </a:lnTo>
                    <a:lnTo>
                      <a:pt x="1862" y="9938"/>
                    </a:lnTo>
                    <a:lnTo>
                      <a:pt x="1873" y="9892"/>
                    </a:lnTo>
                    <a:lnTo>
                      <a:pt x="1883" y="9844"/>
                    </a:lnTo>
                    <a:lnTo>
                      <a:pt x="1908" y="9748"/>
                    </a:lnTo>
                    <a:lnTo>
                      <a:pt x="1934" y="9651"/>
                    </a:lnTo>
                    <a:lnTo>
                      <a:pt x="1961" y="9553"/>
                    </a:lnTo>
                    <a:lnTo>
                      <a:pt x="1989" y="9458"/>
                    </a:lnTo>
                    <a:lnTo>
                      <a:pt x="2003" y="9412"/>
                    </a:lnTo>
                    <a:lnTo>
                      <a:pt x="2017" y="9366"/>
                    </a:lnTo>
                    <a:lnTo>
                      <a:pt x="2031" y="9323"/>
                    </a:lnTo>
                    <a:lnTo>
                      <a:pt x="2044" y="9281"/>
                    </a:lnTo>
                    <a:lnTo>
                      <a:pt x="2056" y="9241"/>
                    </a:lnTo>
                    <a:lnTo>
                      <a:pt x="2069" y="9202"/>
                    </a:lnTo>
                    <a:lnTo>
                      <a:pt x="2081" y="9167"/>
                    </a:lnTo>
                    <a:lnTo>
                      <a:pt x="2091" y="9133"/>
                    </a:lnTo>
                    <a:lnTo>
                      <a:pt x="2102" y="9104"/>
                    </a:lnTo>
                    <a:lnTo>
                      <a:pt x="2112" y="9076"/>
                    </a:lnTo>
                    <a:lnTo>
                      <a:pt x="2120" y="9051"/>
                    </a:lnTo>
                    <a:lnTo>
                      <a:pt x="2128" y="9029"/>
                    </a:lnTo>
                    <a:lnTo>
                      <a:pt x="2134" y="9012"/>
                    </a:lnTo>
                    <a:lnTo>
                      <a:pt x="2139" y="8999"/>
                    </a:lnTo>
                    <a:lnTo>
                      <a:pt x="2140" y="8993"/>
                    </a:lnTo>
                    <a:lnTo>
                      <a:pt x="2142" y="8988"/>
                    </a:lnTo>
                    <a:lnTo>
                      <a:pt x="2143" y="8985"/>
                    </a:lnTo>
                    <a:lnTo>
                      <a:pt x="2144" y="8983"/>
                    </a:lnTo>
                    <a:lnTo>
                      <a:pt x="2144" y="8982"/>
                    </a:lnTo>
                    <a:lnTo>
                      <a:pt x="2142" y="8980"/>
                    </a:lnTo>
                    <a:lnTo>
                      <a:pt x="2140" y="8977"/>
                    </a:lnTo>
                    <a:lnTo>
                      <a:pt x="2137" y="8972"/>
                    </a:lnTo>
                    <a:lnTo>
                      <a:pt x="2133" y="8966"/>
                    </a:lnTo>
                    <a:lnTo>
                      <a:pt x="2128" y="8957"/>
                    </a:lnTo>
                    <a:lnTo>
                      <a:pt x="2122" y="8949"/>
                    </a:lnTo>
                    <a:lnTo>
                      <a:pt x="2115" y="8939"/>
                    </a:lnTo>
                    <a:lnTo>
                      <a:pt x="2108" y="8926"/>
                    </a:lnTo>
                    <a:lnTo>
                      <a:pt x="2100" y="8914"/>
                    </a:lnTo>
                    <a:lnTo>
                      <a:pt x="2091" y="8901"/>
                    </a:lnTo>
                    <a:lnTo>
                      <a:pt x="2082" y="8885"/>
                    </a:lnTo>
                    <a:lnTo>
                      <a:pt x="2072" y="8869"/>
                    </a:lnTo>
                    <a:lnTo>
                      <a:pt x="2061" y="8851"/>
                    </a:lnTo>
                    <a:lnTo>
                      <a:pt x="2049" y="8834"/>
                    </a:lnTo>
                    <a:lnTo>
                      <a:pt x="2037" y="8814"/>
                    </a:lnTo>
                    <a:lnTo>
                      <a:pt x="2011" y="8772"/>
                    </a:lnTo>
                    <a:lnTo>
                      <a:pt x="1983" y="8727"/>
                    </a:lnTo>
                    <a:lnTo>
                      <a:pt x="1953" y="8677"/>
                    </a:lnTo>
                    <a:lnTo>
                      <a:pt x="1922" y="8624"/>
                    </a:lnTo>
                    <a:lnTo>
                      <a:pt x="1888" y="8568"/>
                    </a:lnTo>
                    <a:lnTo>
                      <a:pt x="1854" y="8509"/>
                    </a:lnTo>
                    <a:lnTo>
                      <a:pt x="1818" y="8447"/>
                    </a:lnTo>
                    <a:lnTo>
                      <a:pt x="1781" y="8384"/>
                    </a:lnTo>
                    <a:lnTo>
                      <a:pt x="1744" y="8317"/>
                    </a:lnTo>
                    <a:lnTo>
                      <a:pt x="1704" y="8248"/>
                    </a:lnTo>
                    <a:lnTo>
                      <a:pt x="1666" y="8178"/>
                    </a:lnTo>
                    <a:lnTo>
                      <a:pt x="1627" y="8106"/>
                    </a:lnTo>
                    <a:lnTo>
                      <a:pt x="1588" y="8032"/>
                    </a:lnTo>
                    <a:lnTo>
                      <a:pt x="1548" y="7958"/>
                    </a:lnTo>
                    <a:lnTo>
                      <a:pt x="1472" y="7807"/>
                    </a:lnTo>
                    <a:lnTo>
                      <a:pt x="1435" y="7730"/>
                    </a:lnTo>
                    <a:lnTo>
                      <a:pt x="1398" y="7653"/>
                    </a:lnTo>
                    <a:lnTo>
                      <a:pt x="1363" y="7576"/>
                    </a:lnTo>
                    <a:lnTo>
                      <a:pt x="1329" y="7500"/>
                    </a:lnTo>
                    <a:lnTo>
                      <a:pt x="1296" y="7423"/>
                    </a:lnTo>
                    <a:lnTo>
                      <a:pt x="1265" y="7347"/>
                    </a:lnTo>
                    <a:lnTo>
                      <a:pt x="1235" y="7273"/>
                    </a:lnTo>
                    <a:lnTo>
                      <a:pt x="1208" y="7199"/>
                    </a:lnTo>
                    <a:lnTo>
                      <a:pt x="1183" y="7125"/>
                    </a:lnTo>
                    <a:lnTo>
                      <a:pt x="1161" y="7050"/>
                    </a:lnTo>
                    <a:lnTo>
                      <a:pt x="1142" y="6972"/>
                    </a:lnTo>
                    <a:lnTo>
                      <a:pt x="1124" y="6893"/>
                    </a:lnTo>
                    <a:lnTo>
                      <a:pt x="1110" y="6814"/>
                    </a:lnTo>
                    <a:lnTo>
                      <a:pt x="1097" y="6735"/>
                    </a:lnTo>
                    <a:lnTo>
                      <a:pt x="1088" y="6653"/>
                    </a:lnTo>
                    <a:lnTo>
                      <a:pt x="1080" y="6573"/>
                    </a:lnTo>
                    <a:lnTo>
                      <a:pt x="1074" y="6492"/>
                    </a:lnTo>
                    <a:lnTo>
                      <a:pt x="1068" y="6412"/>
                    </a:lnTo>
                    <a:lnTo>
                      <a:pt x="1066" y="6333"/>
                    </a:lnTo>
                    <a:lnTo>
                      <a:pt x="1064" y="6255"/>
                    </a:lnTo>
                    <a:lnTo>
                      <a:pt x="1064" y="6177"/>
                    </a:lnTo>
                    <a:lnTo>
                      <a:pt x="1065" y="6102"/>
                    </a:lnTo>
                    <a:lnTo>
                      <a:pt x="1067" y="6028"/>
                    </a:lnTo>
                    <a:lnTo>
                      <a:pt x="1072" y="5956"/>
                    </a:lnTo>
                    <a:lnTo>
                      <a:pt x="1075" y="5887"/>
                    </a:lnTo>
                    <a:lnTo>
                      <a:pt x="1080" y="5819"/>
                    </a:lnTo>
                    <a:lnTo>
                      <a:pt x="1085" y="5755"/>
                    </a:lnTo>
                    <a:lnTo>
                      <a:pt x="1091" y="5694"/>
                    </a:lnTo>
                    <a:lnTo>
                      <a:pt x="1096" y="5635"/>
                    </a:lnTo>
                    <a:lnTo>
                      <a:pt x="1103" y="5582"/>
                    </a:lnTo>
                    <a:lnTo>
                      <a:pt x="1106" y="5556"/>
                    </a:lnTo>
                    <a:lnTo>
                      <a:pt x="1109" y="5531"/>
                    </a:lnTo>
                    <a:lnTo>
                      <a:pt x="1112" y="5508"/>
                    </a:lnTo>
                    <a:lnTo>
                      <a:pt x="1115" y="5485"/>
                    </a:lnTo>
                    <a:lnTo>
                      <a:pt x="1118" y="5463"/>
                    </a:lnTo>
                    <a:lnTo>
                      <a:pt x="1121" y="5443"/>
                    </a:lnTo>
                    <a:lnTo>
                      <a:pt x="1124" y="5424"/>
                    </a:lnTo>
                    <a:lnTo>
                      <a:pt x="1126" y="5407"/>
                    </a:lnTo>
                    <a:lnTo>
                      <a:pt x="1129" y="5389"/>
                    </a:lnTo>
                    <a:lnTo>
                      <a:pt x="1131" y="5374"/>
                    </a:lnTo>
                    <a:lnTo>
                      <a:pt x="1133" y="5360"/>
                    </a:lnTo>
                    <a:lnTo>
                      <a:pt x="1136" y="5347"/>
                    </a:lnTo>
                    <a:lnTo>
                      <a:pt x="1138" y="5336"/>
                    </a:lnTo>
                    <a:lnTo>
                      <a:pt x="1140" y="5326"/>
                    </a:lnTo>
                    <a:lnTo>
                      <a:pt x="1141" y="5317"/>
                    </a:lnTo>
                    <a:lnTo>
                      <a:pt x="1143" y="5310"/>
                    </a:lnTo>
                    <a:lnTo>
                      <a:pt x="1144" y="5305"/>
                    </a:lnTo>
                    <a:lnTo>
                      <a:pt x="1144" y="5301"/>
                    </a:lnTo>
                    <a:lnTo>
                      <a:pt x="1145" y="5299"/>
                    </a:lnTo>
                    <a:lnTo>
                      <a:pt x="1145" y="5298"/>
                    </a:lnTo>
                    <a:lnTo>
                      <a:pt x="1144" y="5299"/>
                    </a:lnTo>
                    <a:lnTo>
                      <a:pt x="1141" y="5301"/>
                    </a:lnTo>
                    <a:lnTo>
                      <a:pt x="1136" y="5304"/>
                    </a:lnTo>
                    <a:lnTo>
                      <a:pt x="1127" y="5308"/>
                    </a:lnTo>
                    <a:lnTo>
                      <a:pt x="1118" y="5312"/>
                    </a:lnTo>
                    <a:lnTo>
                      <a:pt x="1106" y="5317"/>
                    </a:lnTo>
                    <a:lnTo>
                      <a:pt x="1091" y="5323"/>
                    </a:lnTo>
                    <a:lnTo>
                      <a:pt x="1075" y="5330"/>
                    </a:lnTo>
                    <a:lnTo>
                      <a:pt x="1056" y="5335"/>
                    </a:lnTo>
                    <a:lnTo>
                      <a:pt x="1035" y="5341"/>
                    </a:lnTo>
                    <a:lnTo>
                      <a:pt x="1013" y="5346"/>
                    </a:lnTo>
                    <a:lnTo>
                      <a:pt x="988" y="5351"/>
                    </a:lnTo>
                    <a:lnTo>
                      <a:pt x="960" y="5354"/>
                    </a:lnTo>
                    <a:lnTo>
                      <a:pt x="931" y="5357"/>
                    </a:lnTo>
                    <a:lnTo>
                      <a:pt x="899" y="5359"/>
                    </a:lnTo>
                    <a:lnTo>
                      <a:pt x="865" y="5360"/>
                    </a:lnTo>
                    <a:lnTo>
                      <a:pt x="829" y="5359"/>
                    </a:lnTo>
                    <a:lnTo>
                      <a:pt x="789" y="5355"/>
                    </a:lnTo>
                    <a:lnTo>
                      <a:pt x="746" y="5349"/>
                    </a:lnTo>
                    <a:lnTo>
                      <a:pt x="701" y="5341"/>
                    </a:lnTo>
                    <a:lnTo>
                      <a:pt x="652" y="5332"/>
                    </a:lnTo>
                    <a:lnTo>
                      <a:pt x="602" y="5320"/>
                    </a:lnTo>
                    <a:lnTo>
                      <a:pt x="547" y="5309"/>
                    </a:lnTo>
                    <a:lnTo>
                      <a:pt x="490" y="5298"/>
                    </a:lnTo>
                    <a:lnTo>
                      <a:pt x="459" y="5282"/>
                    </a:lnTo>
                    <a:lnTo>
                      <a:pt x="430" y="5264"/>
                    </a:lnTo>
                    <a:lnTo>
                      <a:pt x="403" y="5244"/>
                    </a:lnTo>
                    <a:lnTo>
                      <a:pt x="377" y="5222"/>
                    </a:lnTo>
                    <a:lnTo>
                      <a:pt x="353" y="5199"/>
                    </a:lnTo>
                    <a:lnTo>
                      <a:pt x="331" y="5174"/>
                    </a:lnTo>
                    <a:lnTo>
                      <a:pt x="311" y="5147"/>
                    </a:lnTo>
                    <a:lnTo>
                      <a:pt x="292" y="5120"/>
                    </a:lnTo>
                    <a:lnTo>
                      <a:pt x="275" y="5092"/>
                    </a:lnTo>
                    <a:lnTo>
                      <a:pt x="259" y="5063"/>
                    </a:lnTo>
                    <a:lnTo>
                      <a:pt x="245" y="5033"/>
                    </a:lnTo>
                    <a:lnTo>
                      <a:pt x="231" y="5002"/>
                    </a:lnTo>
                    <a:lnTo>
                      <a:pt x="220" y="4972"/>
                    </a:lnTo>
                    <a:lnTo>
                      <a:pt x="209" y="4941"/>
                    </a:lnTo>
                    <a:lnTo>
                      <a:pt x="199" y="4911"/>
                    </a:lnTo>
                    <a:lnTo>
                      <a:pt x="191" y="4880"/>
                    </a:lnTo>
                    <a:lnTo>
                      <a:pt x="177" y="4822"/>
                    </a:lnTo>
                    <a:lnTo>
                      <a:pt x="170" y="4794"/>
                    </a:lnTo>
                    <a:lnTo>
                      <a:pt x="166" y="4766"/>
                    </a:lnTo>
                    <a:lnTo>
                      <a:pt x="162" y="4740"/>
                    </a:lnTo>
                    <a:lnTo>
                      <a:pt x="158" y="4716"/>
                    </a:lnTo>
                    <a:lnTo>
                      <a:pt x="155" y="4692"/>
                    </a:lnTo>
                    <a:lnTo>
                      <a:pt x="153" y="4671"/>
                    </a:lnTo>
                    <a:lnTo>
                      <a:pt x="152" y="4651"/>
                    </a:lnTo>
                    <a:lnTo>
                      <a:pt x="150" y="4633"/>
                    </a:lnTo>
                    <a:lnTo>
                      <a:pt x="149" y="4618"/>
                    </a:lnTo>
                    <a:lnTo>
                      <a:pt x="149" y="4605"/>
                    </a:lnTo>
                    <a:lnTo>
                      <a:pt x="148" y="4595"/>
                    </a:lnTo>
                    <a:lnTo>
                      <a:pt x="148" y="4587"/>
                    </a:lnTo>
                    <a:lnTo>
                      <a:pt x="148" y="4583"/>
                    </a:lnTo>
                    <a:lnTo>
                      <a:pt x="148" y="4581"/>
                    </a:lnTo>
                    <a:lnTo>
                      <a:pt x="147" y="4581"/>
                    </a:lnTo>
                    <a:lnTo>
                      <a:pt x="146" y="4580"/>
                    </a:lnTo>
                    <a:lnTo>
                      <a:pt x="142" y="4578"/>
                    </a:lnTo>
                    <a:lnTo>
                      <a:pt x="138" y="4575"/>
                    </a:lnTo>
                    <a:lnTo>
                      <a:pt x="128" y="4567"/>
                    </a:lnTo>
                    <a:lnTo>
                      <a:pt x="115" y="4556"/>
                    </a:lnTo>
                    <a:lnTo>
                      <a:pt x="100" y="4542"/>
                    </a:lnTo>
                    <a:lnTo>
                      <a:pt x="84" y="4523"/>
                    </a:lnTo>
                    <a:lnTo>
                      <a:pt x="67" y="4501"/>
                    </a:lnTo>
                    <a:lnTo>
                      <a:pt x="51" y="4476"/>
                    </a:lnTo>
                    <a:lnTo>
                      <a:pt x="42" y="4461"/>
                    </a:lnTo>
                    <a:lnTo>
                      <a:pt x="35" y="4446"/>
                    </a:lnTo>
                    <a:lnTo>
                      <a:pt x="28" y="4429"/>
                    </a:lnTo>
                    <a:lnTo>
                      <a:pt x="22" y="4412"/>
                    </a:lnTo>
                    <a:lnTo>
                      <a:pt x="15" y="4393"/>
                    </a:lnTo>
                    <a:lnTo>
                      <a:pt x="11" y="4374"/>
                    </a:lnTo>
                    <a:lnTo>
                      <a:pt x="7" y="4353"/>
                    </a:lnTo>
                    <a:lnTo>
                      <a:pt x="3" y="4330"/>
                    </a:lnTo>
                    <a:lnTo>
                      <a:pt x="1" y="4308"/>
                    </a:lnTo>
                    <a:lnTo>
                      <a:pt x="0" y="4284"/>
                    </a:lnTo>
                    <a:lnTo>
                      <a:pt x="1" y="4258"/>
                    </a:lnTo>
                    <a:lnTo>
                      <a:pt x="2" y="4231"/>
                    </a:lnTo>
                    <a:lnTo>
                      <a:pt x="5" y="4204"/>
                    </a:lnTo>
                    <a:lnTo>
                      <a:pt x="9" y="4175"/>
                    </a:lnTo>
                    <a:lnTo>
                      <a:pt x="15" y="4145"/>
                    </a:lnTo>
                    <a:lnTo>
                      <a:pt x="24" y="4113"/>
                    </a:lnTo>
                    <a:lnTo>
                      <a:pt x="34" y="4081"/>
                    </a:lnTo>
                    <a:lnTo>
                      <a:pt x="46" y="4049"/>
                    </a:lnTo>
                    <a:lnTo>
                      <a:pt x="61" y="4018"/>
                    </a:lnTo>
                    <a:lnTo>
                      <a:pt x="77" y="3986"/>
                    </a:lnTo>
                    <a:lnTo>
                      <a:pt x="96" y="3956"/>
                    </a:lnTo>
                    <a:lnTo>
                      <a:pt x="116" y="3926"/>
                    </a:lnTo>
                    <a:lnTo>
                      <a:pt x="137" y="3896"/>
                    </a:lnTo>
                    <a:lnTo>
                      <a:pt x="160" y="3867"/>
                    </a:lnTo>
                    <a:lnTo>
                      <a:pt x="185" y="3838"/>
                    </a:lnTo>
                    <a:lnTo>
                      <a:pt x="210" y="3810"/>
                    </a:lnTo>
                    <a:lnTo>
                      <a:pt x="261" y="3756"/>
                    </a:lnTo>
                    <a:lnTo>
                      <a:pt x="316" y="3705"/>
                    </a:lnTo>
                    <a:lnTo>
                      <a:pt x="370" y="3658"/>
                    </a:lnTo>
                    <a:lnTo>
                      <a:pt x="396" y="3636"/>
                    </a:lnTo>
                    <a:lnTo>
                      <a:pt x="423" y="3615"/>
                    </a:lnTo>
                    <a:lnTo>
                      <a:pt x="449" y="3595"/>
                    </a:lnTo>
                    <a:lnTo>
                      <a:pt x="474" y="3575"/>
                    </a:lnTo>
                    <a:lnTo>
                      <a:pt x="498" y="3558"/>
                    </a:lnTo>
                    <a:lnTo>
                      <a:pt x="520" y="3541"/>
                    </a:lnTo>
                    <a:lnTo>
                      <a:pt x="542" y="3527"/>
                    </a:lnTo>
                    <a:lnTo>
                      <a:pt x="562" y="3514"/>
                    </a:lnTo>
                    <a:lnTo>
                      <a:pt x="580" y="3501"/>
                    </a:lnTo>
                    <a:lnTo>
                      <a:pt x="597" y="3490"/>
                    </a:lnTo>
                    <a:lnTo>
                      <a:pt x="611" y="3481"/>
                    </a:lnTo>
                    <a:lnTo>
                      <a:pt x="624" y="3473"/>
                    </a:lnTo>
                    <a:lnTo>
                      <a:pt x="633" y="3467"/>
                    </a:lnTo>
                    <a:lnTo>
                      <a:pt x="640" y="3463"/>
                    </a:lnTo>
                    <a:lnTo>
                      <a:pt x="645" y="3460"/>
                    </a:lnTo>
                    <a:lnTo>
                      <a:pt x="646" y="3459"/>
                    </a:lnTo>
                    <a:lnTo>
                      <a:pt x="646" y="3460"/>
                    </a:lnTo>
                    <a:lnTo>
                      <a:pt x="645" y="3462"/>
                    </a:lnTo>
                    <a:lnTo>
                      <a:pt x="643" y="3466"/>
                    </a:lnTo>
                    <a:lnTo>
                      <a:pt x="641" y="3472"/>
                    </a:lnTo>
                    <a:lnTo>
                      <a:pt x="638" y="3480"/>
                    </a:lnTo>
                    <a:lnTo>
                      <a:pt x="635" y="3488"/>
                    </a:lnTo>
                    <a:lnTo>
                      <a:pt x="632" y="3498"/>
                    </a:lnTo>
                    <a:lnTo>
                      <a:pt x="628" y="3510"/>
                    </a:lnTo>
                    <a:lnTo>
                      <a:pt x="624" y="3524"/>
                    </a:lnTo>
                    <a:lnTo>
                      <a:pt x="618" y="3538"/>
                    </a:lnTo>
                    <a:lnTo>
                      <a:pt x="613" y="3555"/>
                    </a:lnTo>
                    <a:lnTo>
                      <a:pt x="609" y="3572"/>
                    </a:lnTo>
                    <a:lnTo>
                      <a:pt x="604" y="3592"/>
                    </a:lnTo>
                    <a:lnTo>
                      <a:pt x="599" y="3612"/>
                    </a:lnTo>
                    <a:lnTo>
                      <a:pt x="594" y="3634"/>
                    </a:lnTo>
                    <a:lnTo>
                      <a:pt x="588" y="3658"/>
                    </a:lnTo>
                    <a:lnTo>
                      <a:pt x="583" y="3682"/>
                    </a:lnTo>
                    <a:lnTo>
                      <a:pt x="578" y="3708"/>
                    </a:lnTo>
                    <a:lnTo>
                      <a:pt x="574" y="3736"/>
                    </a:lnTo>
                    <a:lnTo>
                      <a:pt x="569" y="3765"/>
                    </a:lnTo>
                    <a:lnTo>
                      <a:pt x="565" y="3795"/>
                    </a:lnTo>
                    <a:lnTo>
                      <a:pt x="562" y="3826"/>
                    </a:lnTo>
                    <a:lnTo>
                      <a:pt x="557" y="3859"/>
                    </a:lnTo>
                    <a:lnTo>
                      <a:pt x="554" y="3893"/>
                    </a:lnTo>
                    <a:lnTo>
                      <a:pt x="552" y="3928"/>
                    </a:lnTo>
                    <a:lnTo>
                      <a:pt x="550" y="3964"/>
                    </a:lnTo>
                    <a:lnTo>
                      <a:pt x="549" y="4002"/>
                    </a:lnTo>
                    <a:lnTo>
                      <a:pt x="548" y="4040"/>
                    </a:lnTo>
                    <a:lnTo>
                      <a:pt x="548" y="4080"/>
                    </a:lnTo>
                    <a:lnTo>
                      <a:pt x="549" y="4121"/>
                    </a:lnTo>
                    <a:lnTo>
                      <a:pt x="551" y="4164"/>
                    </a:lnTo>
                    <a:lnTo>
                      <a:pt x="553" y="4207"/>
                    </a:lnTo>
                    <a:lnTo>
                      <a:pt x="555" y="4233"/>
                    </a:lnTo>
                    <a:lnTo>
                      <a:pt x="556" y="4256"/>
                    </a:lnTo>
                    <a:lnTo>
                      <a:pt x="555" y="4279"/>
                    </a:lnTo>
                    <a:lnTo>
                      <a:pt x="553" y="4301"/>
                    </a:lnTo>
                    <a:lnTo>
                      <a:pt x="549" y="4321"/>
                    </a:lnTo>
                    <a:lnTo>
                      <a:pt x="545" y="4340"/>
                    </a:lnTo>
                    <a:lnTo>
                      <a:pt x="539" y="4357"/>
                    </a:lnTo>
                    <a:lnTo>
                      <a:pt x="533" y="4374"/>
                    </a:lnTo>
                    <a:lnTo>
                      <a:pt x="524" y="4389"/>
                    </a:lnTo>
                    <a:lnTo>
                      <a:pt x="516" y="4404"/>
                    </a:lnTo>
                    <a:lnTo>
                      <a:pt x="507" y="4417"/>
                    </a:lnTo>
                    <a:lnTo>
                      <a:pt x="498" y="4428"/>
                    </a:lnTo>
                    <a:lnTo>
                      <a:pt x="477" y="4450"/>
                    </a:lnTo>
                    <a:lnTo>
                      <a:pt x="455" y="4468"/>
                    </a:lnTo>
                    <a:lnTo>
                      <a:pt x="434" y="4483"/>
                    </a:lnTo>
                    <a:lnTo>
                      <a:pt x="412" y="4494"/>
                    </a:lnTo>
                    <a:lnTo>
                      <a:pt x="391" y="4503"/>
                    </a:lnTo>
                    <a:lnTo>
                      <a:pt x="373" y="4510"/>
                    </a:lnTo>
                    <a:lnTo>
                      <a:pt x="357" y="4514"/>
                    </a:lnTo>
                    <a:lnTo>
                      <a:pt x="351" y="4516"/>
                    </a:lnTo>
                    <a:lnTo>
                      <a:pt x="345" y="4517"/>
                    </a:lnTo>
                    <a:lnTo>
                      <a:pt x="341" y="4518"/>
                    </a:lnTo>
                    <a:lnTo>
                      <a:pt x="338" y="4519"/>
                    </a:lnTo>
                    <a:lnTo>
                      <a:pt x="336" y="4519"/>
                    </a:lnTo>
                    <a:lnTo>
                      <a:pt x="334" y="4519"/>
                    </a:lnTo>
                    <a:lnTo>
                      <a:pt x="334" y="4520"/>
                    </a:lnTo>
                    <a:lnTo>
                      <a:pt x="336" y="4522"/>
                    </a:lnTo>
                    <a:lnTo>
                      <a:pt x="338" y="4526"/>
                    </a:lnTo>
                    <a:lnTo>
                      <a:pt x="341" y="4532"/>
                    </a:lnTo>
                    <a:lnTo>
                      <a:pt x="344" y="4539"/>
                    </a:lnTo>
                    <a:lnTo>
                      <a:pt x="348" y="4548"/>
                    </a:lnTo>
                    <a:lnTo>
                      <a:pt x="353" y="4557"/>
                    </a:lnTo>
                    <a:lnTo>
                      <a:pt x="358" y="4567"/>
                    </a:lnTo>
                    <a:lnTo>
                      <a:pt x="372" y="4591"/>
                    </a:lnTo>
                    <a:lnTo>
                      <a:pt x="389" y="4618"/>
                    </a:lnTo>
                    <a:lnTo>
                      <a:pt x="409" y="4646"/>
                    </a:lnTo>
                    <a:lnTo>
                      <a:pt x="433" y="4674"/>
                    </a:lnTo>
                    <a:lnTo>
                      <a:pt x="458" y="4703"/>
                    </a:lnTo>
                    <a:lnTo>
                      <a:pt x="488" y="4731"/>
                    </a:lnTo>
                    <a:lnTo>
                      <a:pt x="521" y="4758"/>
                    </a:lnTo>
                    <a:lnTo>
                      <a:pt x="558" y="4782"/>
                    </a:lnTo>
                    <a:lnTo>
                      <a:pt x="578" y="4792"/>
                    </a:lnTo>
                    <a:lnTo>
                      <a:pt x="599" y="4801"/>
                    </a:lnTo>
                    <a:lnTo>
                      <a:pt x="619" y="4809"/>
                    </a:lnTo>
                    <a:lnTo>
                      <a:pt x="642" y="4817"/>
                    </a:lnTo>
                    <a:lnTo>
                      <a:pt x="665" y="4823"/>
                    </a:lnTo>
                    <a:lnTo>
                      <a:pt x="690" y="4827"/>
                    </a:lnTo>
                    <a:lnTo>
                      <a:pt x="714" y="4829"/>
                    </a:lnTo>
                    <a:lnTo>
                      <a:pt x="740" y="4830"/>
                    </a:lnTo>
                    <a:lnTo>
                      <a:pt x="802" y="4830"/>
                    </a:lnTo>
                    <a:lnTo>
                      <a:pt x="831" y="4826"/>
                    </a:lnTo>
                    <a:lnTo>
                      <a:pt x="859" y="4821"/>
                    </a:lnTo>
                    <a:lnTo>
                      <a:pt x="887" y="4812"/>
                    </a:lnTo>
                    <a:lnTo>
                      <a:pt x="914" y="4803"/>
                    </a:lnTo>
                    <a:lnTo>
                      <a:pt x="940" y="4791"/>
                    </a:lnTo>
                    <a:lnTo>
                      <a:pt x="967" y="4777"/>
                    </a:lnTo>
                    <a:lnTo>
                      <a:pt x="993" y="4761"/>
                    </a:lnTo>
                    <a:lnTo>
                      <a:pt x="1020" y="4742"/>
                    </a:lnTo>
                    <a:lnTo>
                      <a:pt x="1048" y="4722"/>
                    </a:lnTo>
                    <a:lnTo>
                      <a:pt x="1076" y="4698"/>
                    </a:lnTo>
                    <a:lnTo>
                      <a:pt x="1104" y="4672"/>
                    </a:lnTo>
                    <a:lnTo>
                      <a:pt x="1133" y="4644"/>
                    </a:lnTo>
                    <a:lnTo>
                      <a:pt x="1163" y="4613"/>
                    </a:lnTo>
                    <a:lnTo>
                      <a:pt x="1194" y="4579"/>
                    </a:lnTo>
                    <a:lnTo>
                      <a:pt x="1227" y="4543"/>
                    </a:lnTo>
                    <a:lnTo>
                      <a:pt x="1262" y="4503"/>
                    </a:lnTo>
                    <a:lnTo>
                      <a:pt x="1298" y="4460"/>
                    </a:lnTo>
                    <a:lnTo>
                      <a:pt x="1336" y="4415"/>
                    </a:lnTo>
                    <a:lnTo>
                      <a:pt x="1375" y="4366"/>
                    </a:lnTo>
                    <a:lnTo>
                      <a:pt x="1417" y="4315"/>
                    </a:lnTo>
                    <a:lnTo>
                      <a:pt x="1461" y="4260"/>
                    </a:lnTo>
                    <a:lnTo>
                      <a:pt x="1507" y="4203"/>
                    </a:lnTo>
                    <a:lnTo>
                      <a:pt x="1557" y="4141"/>
                    </a:lnTo>
                    <a:lnTo>
                      <a:pt x="1608" y="4077"/>
                    </a:lnTo>
                    <a:lnTo>
                      <a:pt x="1663" y="4008"/>
                    </a:lnTo>
                    <a:lnTo>
                      <a:pt x="1721" y="3937"/>
                    </a:lnTo>
                    <a:lnTo>
                      <a:pt x="1783" y="3862"/>
                    </a:lnTo>
                    <a:lnTo>
                      <a:pt x="1847" y="3782"/>
                    </a:lnTo>
                    <a:lnTo>
                      <a:pt x="1915" y="3699"/>
                    </a:lnTo>
                    <a:lnTo>
                      <a:pt x="1987" y="3612"/>
                    </a:lnTo>
                    <a:lnTo>
                      <a:pt x="2063" y="3523"/>
                    </a:lnTo>
                    <a:lnTo>
                      <a:pt x="2102" y="3475"/>
                    </a:lnTo>
                    <a:lnTo>
                      <a:pt x="2142" y="3428"/>
                    </a:lnTo>
                    <a:lnTo>
                      <a:pt x="2176" y="3389"/>
                    </a:lnTo>
                    <a:lnTo>
                      <a:pt x="2212" y="3351"/>
                    </a:lnTo>
                    <a:lnTo>
                      <a:pt x="2249" y="3314"/>
                    </a:lnTo>
                    <a:lnTo>
                      <a:pt x="2288" y="3278"/>
                    </a:lnTo>
                    <a:lnTo>
                      <a:pt x="2328" y="3242"/>
                    </a:lnTo>
                    <a:lnTo>
                      <a:pt x="2369" y="3207"/>
                    </a:lnTo>
                    <a:lnTo>
                      <a:pt x="2410" y="3173"/>
                    </a:lnTo>
                    <a:lnTo>
                      <a:pt x="2454" y="3140"/>
                    </a:lnTo>
                    <a:lnTo>
                      <a:pt x="2543" y="3076"/>
                    </a:lnTo>
                    <a:lnTo>
                      <a:pt x="2636" y="3015"/>
                    </a:lnTo>
                    <a:lnTo>
                      <a:pt x="2732" y="2957"/>
                    </a:lnTo>
                    <a:lnTo>
                      <a:pt x="2830" y="2903"/>
                    </a:lnTo>
                    <a:lnTo>
                      <a:pt x="2930" y="2851"/>
                    </a:lnTo>
                    <a:lnTo>
                      <a:pt x="3031" y="2802"/>
                    </a:lnTo>
                    <a:lnTo>
                      <a:pt x="3133" y="2756"/>
                    </a:lnTo>
                    <a:lnTo>
                      <a:pt x="3236" y="2713"/>
                    </a:lnTo>
                    <a:lnTo>
                      <a:pt x="3340" y="2673"/>
                    </a:lnTo>
                    <a:lnTo>
                      <a:pt x="3442" y="2635"/>
                    </a:lnTo>
                    <a:lnTo>
                      <a:pt x="3543" y="2600"/>
                    </a:lnTo>
                    <a:lnTo>
                      <a:pt x="3642" y="2567"/>
                    </a:lnTo>
                    <a:lnTo>
                      <a:pt x="3740" y="2537"/>
                    </a:lnTo>
                    <a:lnTo>
                      <a:pt x="3834" y="2509"/>
                    </a:lnTo>
                    <a:lnTo>
                      <a:pt x="3926" y="2484"/>
                    </a:lnTo>
                    <a:lnTo>
                      <a:pt x="3970" y="2472"/>
                    </a:lnTo>
                    <a:lnTo>
                      <a:pt x="4015" y="2461"/>
                    </a:lnTo>
                    <a:lnTo>
                      <a:pt x="4057" y="2450"/>
                    </a:lnTo>
                    <a:lnTo>
                      <a:pt x="4098" y="2439"/>
                    </a:lnTo>
                    <a:lnTo>
                      <a:pt x="4139" y="2430"/>
                    </a:lnTo>
                    <a:lnTo>
                      <a:pt x="4178" y="2421"/>
                    </a:lnTo>
                    <a:lnTo>
                      <a:pt x="4215" y="2412"/>
                    </a:lnTo>
                    <a:lnTo>
                      <a:pt x="4252" y="2404"/>
                    </a:lnTo>
                    <a:lnTo>
                      <a:pt x="4287" y="2396"/>
                    </a:lnTo>
                    <a:lnTo>
                      <a:pt x="4320" y="2390"/>
                    </a:lnTo>
                    <a:lnTo>
                      <a:pt x="4352" y="2383"/>
                    </a:lnTo>
                    <a:lnTo>
                      <a:pt x="4383" y="2376"/>
                    </a:lnTo>
                    <a:lnTo>
                      <a:pt x="4411" y="2371"/>
                    </a:lnTo>
                    <a:lnTo>
                      <a:pt x="4438" y="2366"/>
                    </a:lnTo>
                    <a:lnTo>
                      <a:pt x="4464" y="2361"/>
                    </a:lnTo>
                    <a:lnTo>
                      <a:pt x="4486" y="2357"/>
                    </a:lnTo>
                    <a:lnTo>
                      <a:pt x="4508" y="2353"/>
                    </a:lnTo>
                    <a:lnTo>
                      <a:pt x="4528" y="2350"/>
                    </a:lnTo>
                    <a:lnTo>
                      <a:pt x="4545" y="2347"/>
                    </a:lnTo>
                    <a:lnTo>
                      <a:pt x="4561" y="2344"/>
                    </a:lnTo>
                    <a:lnTo>
                      <a:pt x="4573" y="2342"/>
                    </a:lnTo>
                    <a:lnTo>
                      <a:pt x="4585" y="2340"/>
                    </a:lnTo>
                    <a:lnTo>
                      <a:pt x="4593" y="2339"/>
                    </a:lnTo>
                    <a:lnTo>
                      <a:pt x="4599" y="2338"/>
                    </a:lnTo>
                    <a:lnTo>
                      <a:pt x="4603" y="2337"/>
                    </a:lnTo>
                    <a:lnTo>
                      <a:pt x="4604" y="2337"/>
                    </a:lnTo>
                    <a:lnTo>
                      <a:pt x="4602" y="2339"/>
                    </a:lnTo>
                    <a:lnTo>
                      <a:pt x="4598" y="2344"/>
                    </a:lnTo>
                    <a:lnTo>
                      <a:pt x="4590" y="2354"/>
                    </a:lnTo>
                    <a:lnTo>
                      <a:pt x="4578" y="2366"/>
                    </a:lnTo>
                    <a:lnTo>
                      <a:pt x="4565" y="2382"/>
                    </a:lnTo>
                    <a:lnTo>
                      <a:pt x="4548" y="2399"/>
                    </a:lnTo>
                    <a:lnTo>
                      <a:pt x="4530" y="2420"/>
                    </a:lnTo>
                    <a:lnTo>
                      <a:pt x="4508" y="2443"/>
                    </a:lnTo>
                    <a:lnTo>
                      <a:pt x="4485" y="2469"/>
                    </a:lnTo>
                    <a:lnTo>
                      <a:pt x="4461" y="2497"/>
                    </a:lnTo>
                    <a:lnTo>
                      <a:pt x="4434" y="2526"/>
                    </a:lnTo>
                    <a:lnTo>
                      <a:pt x="4406" y="2558"/>
                    </a:lnTo>
                    <a:lnTo>
                      <a:pt x="4376" y="2591"/>
                    </a:lnTo>
                    <a:lnTo>
                      <a:pt x="4345" y="2625"/>
                    </a:lnTo>
                    <a:lnTo>
                      <a:pt x="4314" y="2660"/>
                    </a:lnTo>
                    <a:lnTo>
                      <a:pt x="4281" y="2696"/>
                    </a:lnTo>
                    <a:lnTo>
                      <a:pt x="4215" y="2770"/>
                    </a:lnTo>
                    <a:lnTo>
                      <a:pt x="4147" y="2845"/>
                    </a:lnTo>
                    <a:lnTo>
                      <a:pt x="4079" y="2920"/>
                    </a:lnTo>
                    <a:lnTo>
                      <a:pt x="4014" y="2994"/>
                    </a:lnTo>
                    <a:lnTo>
                      <a:pt x="3982" y="3030"/>
                    </a:lnTo>
                    <a:lnTo>
                      <a:pt x="3951" y="3064"/>
                    </a:lnTo>
                    <a:lnTo>
                      <a:pt x="3921" y="3098"/>
                    </a:lnTo>
                    <a:lnTo>
                      <a:pt x="3892" y="3130"/>
                    </a:lnTo>
                    <a:lnTo>
                      <a:pt x="3865" y="3160"/>
                    </a:lnTo>
                    <a:lnTo>
                      <a:pt x="3840" y="3189"/>
                    </a:lnTo>
                    <a:lnTo>
                      <a:pt x="3816" y="3216"/>
                    </a:lnTo>
                    <a:lnTo>
                      <a:pt x="3795" y="3241"/>
                    </a:lnTo>
                    <a:lnTo>
                      <a:pt x="3776" y="3265"/>
                    </a:lnTo>
                    <a:lnTo>
                      <a:pt x="3756" y="3291"/>
                    </a:lnTo>
                    <a:lnTo>
                      <a:pt x="3733" y="3320"/>
                    </a:lnTo>
                    <a:lnTo>
                      <a:pt x="3709" y="3350"/>
                    </a:lnTo>
                    <a:lnTo>
                      <a:pt x="3683" y="3381"/>
                    </a:lnTo>
                    <a:lnTo>
                      <a:pt x="3656" y="3415"/>
                    </a:lnTo>
                    <a:lnTo>
                      <a:pt x="3629" y="3450"/>
                    </a:lnTo>
                    <a:lnTo>
                      <a:pt x="3599" y="3486"/>
                    </a:lnTo>
                    <a:lnTo>
                      <a:pt x="3570" y="3523"/>
                    </a:lnTo>
                    <a:lnTo>
                      <a:pt x="3539" y="3562"/>
                    </a:lnTo>
                    <a:lnTo>
                      <a:pt x="3508" y="3603"/>
                    </a:lnTo>
                    <a:lnTo>
                      <a:pt x="3477" y="3644"/>
                    </a:lnTo>
                    <a:lnTo>
                      <a:pt x="3446" y="3687"/>
                    </a:lnTo>
                    <a:lnTo>
                      <a:pt x="3415" y="3731"/>
                    </a:lnTo>
                    <a:lnTo>
                      <a:pt x="3354" y="3822"/>
                    </a:lnTo>
                    <a:lnTo>
                      <a:pt x="3295" y="3915"/>
                    </a:lnTo>
                    <a:lnTo>
                      <a:pt x="3268" y="3963"/>
                    </a:lnTo>
                    <a:lnTo>
                      <a:pt x="3241" y="4011"/>
                    </a:lnTo>
                    <a:lnTo>
                      <a:pt x="3216" y="4061"/>
                    </a:lnTo>
                    <a:lnTo>
                      <a:pt x="3192" y="4110"/>
                    </a:lnTo>
                    <a:lnTo>
                      <a:pt x="3170" y="4159"/>
                    </a:lnTo>
                    <a:lnTo>
                      <a:pt x="3150" y="4210"/>
                    </a:lnTo>
                    <a:lnTo>
                      <a:pt x="3132" y="4260"/>
                    </a:lnTo>
                    <a:lnTo>
                      <a:pt x="3116" y="4311"/>
                    </a:lnTo>
                    <a:lnTo>
                      <a:pt x="3102" y="4361"/>
                    </a:lnTo>
                    <a:lnTo>
                      <a:pt x="3092" y="4412"/>
                    </a:lnTo>
                    <a:lnTo>
                      <a:pt x="3084" y="4462"/>
                    </a:lnTo>
                    <a:lnTo>
                      <a:pt x="3078" y="4513"/>
                    </a:lnTo>
                    <a:lnTo>
                      <a:pt x="3076" y="4563"/>
                    </a:lnTo>
                    <a:lnTo>
                      <a:pt x="3077" y="4613"/>
                    </a:lnTo>
                    <a:lnTo>
                      <a:pt x="3081" y="4642"/>
                    </a:lnTo>
                    <a:lnTo>
                      <a:pt x="3087" y="4672"/>
                    </a:lnTo>
                    <a:lnTo>
                      <a:pt x="3094" y="4702"/>
                    </a:lnTo>
                    <a:lnTo>
                      <a:pt x="3103" y="4733"/>
                    </a:lnTo>
                    <a:lnTo>
                      <a:pt x="3113" y="4764"/>
                    </a:lnTo>
                    <a:lnTo>
                      <a:pt x="3125" y="4796"/>
                    </a:lnTo>
                    <a:lnTo>
                      <a:pt x="3138" y="4828"/>
                    </a:lnTo>
                    <a:lnTo>
                      <a:pt x="3153" y="4860"/>
                    </a:lnTo>
                    <a:lnTo>
                      <a:pt x="3168" y="4893"/>
                    </a:lnTo>
                    <a:lnTo>
                      <a:pt x="3186" y="4925"/>
                    </a:lnTo>
                    <a:lnTo>
                      <a:pt x="3203" y="4958"/>
                    </a:lnTo>
                    <a:lnTo>
                      <a:pt x="3223" y="4991"/>
                    </a:lnTo>
                    <a:lnTo>
                      <a:pt x="3263" y="5057"/>
                    </a:lnTo>
                    <a:lnTo>
                      <a:pt x="3308" y="5122"/>
                    </a:lnTo>
                    <a:lnTo>
                      <a:pt x="3354" y="5187"/>
                    </a:lnTo>
                    <a:lnTo>
                      <a:pt x="3402" y="5252"/>
                    </a:lnTo>
                    <a:lnTo>
                      <a:pt x="3452" y="5316"/>
                    </a:lnTo>
                    <a:lnTo>
                      <a:pt x="3503" y="5379"/>
                    </a:lnTo>
                    <a:lnTo>
                      <a:pt x="3553" y="5440"/>
                    </a:lnTo>
                    <a:lnTo>
                      <a:pt x="3604" y="5498"/>
                    </a:lnTo>
                    <a:lnTo>
                      <a:pt x="3653" y="5555"/>
                    </a:lnTo>
                    <a:lnTo>
                      <a:pt x="3701" y="5610"/>
                    </a:lnTo>
                    <a:lnTo>
                      <a:pt x="3729" y="5645"/>
                    </a:lnTo>
                    <a:lnTo>
                      <a:pt x="3754" y="5678"/>
                    </a:lnTo>
                    <a:lnTo>
                      <a:pt x="3776" y="5711"/>
                    </a:lnTo>
                    <a:lnTo>
                      <a:pt x="3796" y="5742"/>
                    </a:lnTo>
                    <a:lnTo>
                      <a:pt x="3813" y="5771"/>
                    </a:lnTo>
                    <a:lnTo>
                      <a:pt x="3829" y="5800"/>
                    </a:lnTo>
                    <a:lnTo>
                      <a:pt x="3841" y="5826"/>
                    </a:lnTo>
                    <a:lnTo>
                      <a:pt x="3853" y="5851"/>
                    </a:lnTo>
                    <a:lnTo>
                      <a:pt x="3862" y="5872"/>
                    </a:lnTo>
                    <a:lnTo>
                      <a:pt x="3870" y="5893"/>
                    </a:lnTo>
                    <a:lnTo>
                      <a:pt x="3875" y="5909"/>
                    </a:lnTo>
                    <a:lnTo>
                      <a:pt x="3881" y="5925"/>
                    </a:lnTo>
                    <a:lnTo>
                      <a:pt x="3884" y="5936"/>
                    </a:lnTo>
                    <a:lnTo>
                      <a:pt x="3886" y="5944"/>
                    </a:lnTo>
                    <a:lnTo>
                      <a:pt x="3888" y="5950"/>
                    </a:lnTo>
                    <a:lnTo>
                      <a:pt x="3888" y="5952"/>
                    </a:lnTo>
                    <a:lnTo>
                      <a:pt x="3514" y="6513"/>
                    </a:lnTo>
                    <a:lnTo>
                      <a:pt x="3515" y="6514"/>
                    </a:lnTo>
                    <a:lnTo>
                      <a:pt x="3516" y="6515"/>
                    </a:lnTo>
                    <a:lnTo>
                      <a:pt x="3518" y="6518"/>
                    </a:lnTo>
                    <a:lnTo>
                      <a:pt x="3522" y="6523"/>
                    </a:lnTo>
                    <a:lnTo>
                      <a:pt x="3526" y="6529"/>
                    </a:lnTo>
                    <a:lnTo>
                      <a:pt x="3532" y="6535"/>
                    </a:lnTo>
                    <a:lnTo>
                      <a:pt x="3538" y="6542"/>
                    </a:lnTo>
                    <a:lnTo>
                      <a:pt x="3545" y="6550"/>
                    </a:lnTo>
                    <a:lnTo>
                      <a:pt x="3562" y="6571"/>
                    </a:lnTo>
                    <a:lnTo>
                      <a:pt x="3581" y="6593"/>
                    </a:lnTo>
                    <a:lnTo>
                      <a:pt x="3604" y="6620"/>
                    </a:lnTo>
                    <a:lnTo>
                      <a:pt x="3630" y="6650"/>
                    </a:lnTo>
                    <a:lnTo>
                      <a:pt x="3658" y="6682"/>
                    </a:lnTo>
                    <a:lnTo>
                      <a:pt x="3690" y="6716"/>
                    </a:lnTo>
                    <a:lnTo>
                      <a:pt x="3723" y="6753"/>
                    </a:lnTo>
                    <a:lnTo>
                      <a:pt x="3759" y="6791"/>
                    </a:lnTo>
                    <a:lnTo>
                      <a:pt x="3797" y="6830"/>
                    </a:lnTo>
                    <a:lnTo>
                      <a:pt x="3837" y="6870"/>
                    </a:lnTo>
                    <a:lnTo>
                      <a:pt x="3879" y="6912"/>
                    </a:lnTo>
                    <a:lnTo>
                      <a:pt x="3923" y="6953"/>
                    </a:lnTo>
                    <a:lnTo>
                      <a:pt x="3968" y="6995"/>
                    </a:lnTo>
                    <a:lnTo>
                      <a:pt x="4015" y="7036"/>
                    </a:lnTo>
                    <a:lnTo>
                      <a:pt x="4063" y="7078"/>
                    </a:lnTo>
                    <a:lnTo>
                      <a:pt x="4112" y="7117"/>
                    </a:lnTo>
                    <a:lnTo>
                      <a:pt x="4162" y="7156"/>
                    </a:lnTo>
                    <a:lnTo>
                      <a:pt x="4213" y="7193"/>
                    </a:lnTo>
                    <a:lnTo>
                      <a:pt x="4263" y="7229"/>
                    </a:lnTo>
                    <a:lnTo>
                      <a:pt x="4316" y="7262"/>
                    </a:lnTo>
                    <a:lnTo>
                      <a:pt x="4368" y="7293"/>
                    </a:lnTo>
                    <a:lnTo>
                      <a:pt x="4420" y="7322"/>
                    </a:lnTo>
                    <a:lnTo>
                      <a:pt x="4473" y="7346"/>
                    </a:lnTo>
                    <a:lnTo>
                      <a:pt x="4525" y="7369"/>
                    </a:lnTo>
                    <a:lnTo>
                      <a:pt x="4576" y="7387"/>
                    </a:lnTo>
                    <a:lnTo>
                      <a:pt x="4602" y="7395"/>
                    </a:lnTo>
                    <a:lnTo>
                      <a:pt x="4628" y="7401"/>
                    </a:lnTo>
                    <a:lnTo>
                      <a:pt x="4654" y="7407"/>
                    </a:lnTo>
                    <a:lnTo>
                      <a:pt x="4680" y="7411"/>
                    </a:lnTo>
                    <a:lnTo>
                      <a:pt x="4704" y="7414"/>
                    </a:lnTo>
                    <a:lnTo>
                      <a:pt x="4729" y="7416"/>
                    </a:lnTo>
                    <a:lnTo>
                      <a:pt x="4776" y="7415"/>
                    </a:lnTo>
                    <a:lnTo>
                      <a:pt x="4822" y="7412"/>
                    </a:lnTo>
                    <a:lnTo>
                      <a:pt x="4867" y="7407"/>
                    </a:lnTo>
                    <a:lnTo>
                      <a:pt x="4914" y="7400"/>
                    </a:lnTo>
                    <a:lnTo>
                      <a:pt x="4959" y="7391"/>
                    </a:lnTo>
                    <a:lnTo>
                      <a:pt x="5004" y="7380"/>
                    </a:lnTo>
                    <a:lnTo>
                      <a:pt x="5049" y="7368"/>
                    </a:lnTo>
                    <a:lnTo>
                      <a:pt x="5093" y="7354"/>
                    </a:lnTo>
                    <a:lnTo>
                      <a:pt x="5139" y="7338"/>
                    </a:lnTo>
                    <a:lnTo>
                      <a:pt x="5183" y="7322"/>
                    </a:lnTo>
                    <a:lnTo>
                      <a:pt x="5228" y="7303"/>
                    </a:lnTo>
                    <a:lnTo>
                      <a:pt x="5272" y="7284"/>
                    </a:lnTo>
                    <a:lnTo>
                      <a:pt x="5316" y="7263"/>
                    </a:lnTo>
                    <a:lnTo>
                      <a:pt x="5361" y="7241"/>
                    </a:lnTo>
                    <a:lnTo>
                      <a:pt x="5450" y="7195"/>
                    </a:lnTo>
                    <a:lnTo>
                      <a:pt x="5539" y="7144"/>
                    </a:lnTo>
                    <a:lnTo>
                      <a:pt x="5629" y="7092"/>
                    </a:lnTo>
                    <a:lnTo>
                      <a:pt x="5720" y="7038"/>
                    </a:lnTo>
                    <a:lnTo>
                      <a:pt x="5812" y="6983"/>
                    </a:lnTo>
                    <a:lnTo>
                      <a:pt x="5905" y="6927"/>
                    </a:lnTo>
                    <a:lnTo>
                      <a:pt x="6000" y="6870"/>
                    </a:lnTo>
                    <a:lnTo>
                      <a:pt x="6096" y="6816"/>
                    </a:lnTo>
                    <a:lnTo>
                      <a:pt x="6194" y="6762"/>
                    </a:lnTo>
                    <a:lnTo>
                      <a:pt x="6229" y="6746"/>
                    </a:lnTo>
                    <a:lnTo>
                      <a:pt x="6265" y="6730"/>
                    </a:lnTo>
                    <a:lnTo>
                      <a:pt x="6302" y="6716"/>
                    </a:lnTo>
                    <a:lnTo>
                      <a:pt x="6339" y="6704"/>
                    </a:lnTo>
                    <a:lnTo>
                      <a:pt x="6377" y="6692"/>
                    </a:lnTo>
                    <a:lnTo>
                      <a:pt x="6414" y="6682"/>
                    </a:lnTo>
                    <a:lnTo>
                      <a:pt x="6452" y="6673"/>
                    </a:lnTo>
                    <a:lnTo>
                      <a:pt x="6490" y="6664"/>
                    </a:lnTo>
                    <a:lnTo>
                      <a:pt x="6528" y="6658"/>
                    </a:lnTo>
                    <a:lnTo>
                      <a:pt x="6567" y="6652"/>
                    </a:lnTo>
                    <a:lnTo>
                      <a:pt x="6641" y="6644"/>
                    </a:lnTo>
                    <a:lnTo>
                      <a:pt x="6715" y="6639"/>
                    </a:lnTo>
                    <a:lnTo>
                      <a:pt x="6786" y="6638"/>
                    </a:lnTo>
                    <a:lnTo>
                      <a:pt x="6849" y="6639"/>
                    </a:lnTo>
                    <a:lnTo>
                      <a:pt x="6910" y="6642"/>
                    </a:lnTo>
                    <a:lnTo>
                      <a:pt x="6968" y="6646"/>
                    </a:lnTo>
                    <a:lnTo>
                      <a:pt x="7024" y="6652"/>
                    </a:lnTo>
                    <a:lnTo>
                      <a:pt x="7076" y="6659"/>
                    </a:lnTo>
                    <a:lnTo>
                      <a:pt x="7124" y="6668"/>
                    </a:lnTo>
                    <a:lnTo>
                      <a:pt x="7169" y="6676"/>
                    </a:lnTo>
                    <a:lnTo>
                      <a:pt x="7211" y="6685"/>
                    </a:lnTo>
                    <a:lnTo>
                      <a:pt x="7230" y="6689"/>
                    </a:lnTo>
                    <a:lnTo>
                      <a:pt x="7248" y="6693"/>
                    </a:lnTo>
                    <a:lnTo>
                      <a:pt x="7265" y="6697"/>
                    </a:lnTo>
                    <a:lnTo>
                      <a:pt x="7281" y="6702"/>
                    </a:lnTo>
                    <a:lnTo>
                      <a:pt x="7296" y="6706"/>
                    </a:lnTo>
                    <a:lnTo>
                      <a:pt x="7310" y="6710"/>
                    </a:lnTo>
                    <a:lnTo>
                      <a:pt x="7322" y="6713"/>
                    </a:lnTo>
                    <a:lnTo>
                      <a:pt x="7334" y="6717"/>
                    </a:lnTo>
                    <a:lnTo>
                      <a:pt x="7344" y="6720"/>
                    </a:lnTo>
                    <a:lnTo>
                      <a:pt x="7353" y="6723"/>
                    </a:lnTo>
                    <a:lnTo>
                      <a:pt x="7360" y="6725"/>
                    </a:lnTo>
                    <a:lnTo>
                      <a:pt x="7367" y="6727"/>
                    </a:lnTo>
                    <a:lnTo>
                      <a:pt x="7372" y="6729"/>
                    </a:lnTo>
                    <a:lnTo>
                      <a:pt x="7375" y="6730"/>
                    </a:lnTo>
                    <a:lnTo>
                      <a:pt x="7377" y="6731"/>
                    </a:lnTo>
                    <a:lnTo>
                      <a:pt x="7378" y="6731"/>
                    </a:lnTo>
                    <a:lnTo>
                      <a:pt x="7378" y="6731"/>
                    </a:lnTo>
                    <a:lnTo>
                      <a:pt x="7379" y="6729"/>
                    </a:lnTo>
                    <a:lnTo>
                      <a:pt x="7379" y="6726"/>
                    </a:lnTo>
                    <a:lnTo>
                      <a:pt x="7380" y="6723"/>
                    </a:lnTo>
                    <a:lnTo>
                      <a:pt x="7383" y="6713"/>
                    </a:lnTo>
                    <a:lnTo>
                      <a:pt x="7387" y="6698"/>
                    </a:lnTo>
                    <a:lnTo>
                      <a:pt x="7392" y="6680"/>
                    </a:lnTo>
                    <a:lnTo>
                      <a:pt x="7399" y="6658"/>
                    </a:lnTo>
                    <a:lnTo>
                      <a:pt x="7405" y="6633"/>
                    </a:lnTo>
                    <a:lnTo>
                      <a:pt x="7413" y="6604"/>
                    </a:lnTo>
                    <a:lnTo>
                      <a:pt x="7421" y="6572"/>
                    </a:lnTo>
                    <a:lnTo>
                      <a:pt x="7430" y="6537"/>
                    </a:lnTo>
                    <a:lnTo>
                      <a:pt x="7439" y="6500"/>
                    </a:lnTo>
                    <a:lnTo>
                      <a:pt x="7449" y="6458"/>
                    </a:lnTo>
                    <a:lnTo>
                      <a:pt x="7460" y="6415"/>
                    </a:lnTo>
                    <a:lnTo>
                      <a:pt x="7470" y="6370"/>
                    </a:lnTo>
                    <a:lnTo>
                      <a:pt x="7480" y="6321"/>
                    </a:lnTo>
                    <a:lnTo>
                      <a:pt x="7492" y="6272"/>
                    </a:lnTo>
                    <a:lnTo>
                      <a:pt x="7502" y="6219"/>
                    </a:lnTo>
                    <a:lnTo>
                      <a:pt x="7513" y="6166"/>
                    </a:lnTo>
                    <a:lnTo>
                      <a:pt x="7525" y="6110"/>
                    </a:lnTo>
                    <a:lnTo>
                      <a:pt x="7535" y="6053"/>
                    </a:lnTo>
                    <a:lnTo>
                      <a:pt x="7546" y="5994"/>
                    </a:lnTo>
                    <a:lnTo>
                      <a:pt x="7557" y="5934"/>
                    </a:lnTo>
                    <a:lnTo>
                      <a:pt x="7566" y="5873"/>
                    </a:lnTo>
                    <a:lnTo>
                      <a:pt x="7576" y="5812"/>
                    </a:lnTo>
                    <a:lnTo>
                      <a:pt x="7594" y="5685"/>
                    </a:lnTo>
                    <a:lnTo>
                      <a:pt x="7608" y="5556"/>
                    </a:lnTo>
                    <a:lnTo>
                      <a:pt x="7620" y="5426"/>
                    </a:lnTo>
                    <a:lnTo>
                      <a:pt x="7625" y="5362"/>
                    </a:lnTo>
                    <a:lnTo>
                      <a:pt x="7628" y="5298"/>
                    </a:lnTo>
                    <a:lnTo>
                      <a:pt x="7629" y="5254"/>
                    </a:lnTo>
                    <a:lnTo>
                      <a:pt x="7629" y="5212"/>
                    </a:lnTo>
                    <a:lnTo>
                      <a:pt x="7629" y="5171"/>
                    </a:lnTo>
                    <a:lnTo>
                      <a:pt x="7628" y="5132"/>
                    </a:lnTo>
                    <a:lnTo>
                      <a:pt x="7624" y="5055"/>
                    </a:lnTo>
                    <a:lnTo>
                      <a:pt x="7618" y="4980"/>
                    </a:lnTo>
                    <a:lnTo>
                      <a:pt x="7608" y="4910"/>
                    </a:lnTo>
                    <a:lnTo>
                      <a:pt x="7598" y="4843"/>
                    </a:lnTo>
                    <a:lnTo>
                      <a:pt x="7584" y="4778"/>
                    </a:lnTo>
                    <a:lnTo>
                      <a:pt x="7571" y="4716"/>
                    </a:lnTo>
                    <a:lnTo>
                      <a:pt x="7556" y="4655"/>
                    </a:lnTo>
                    <a:lnTo>
                      <a:pt x="7539" y="4594"/>
                    </a:lnTo>
                    <a:lnTo>
                      <a:pt x="7503" y="4478"/>
                    </a:lnTo>
                    <a:lnTo>
                      <a:pt x="7466" y="4360"/>
                    </a:lnTo>
                    <a:lnTo>
                      <a:pt x="7447" y="4302"/>
                    </a:lnTo>
                    <a:lnTo>
                      <a:pt x="7429" y="4242"/>
                    </a:lnTo>
                    <a:lnTo>
                      <a:pt x="7411" y="4180"/>
                    </a:lnTo>
                    <a:lnTo>
                      <a:pt x="7393" y="4117"/>
                    </a:lnTo>
                    <a:lnTo>
                      <a:pt x="7377" y="4052"/>
                    </a:lnTo>
                    <a:lnTo>
                      <a:pt x="7361" y="3984"/>
                    </a:lnTo>
                    <a:lnTo>
                      <a:pt x="7348" y="3913"/>
                    </a:lnTo>
                    <a:lnTo>
                      <a:pt x="7336" y="3840"/>
                    </a:lnTo>
                    <a:lnTo>
                      <a:pt x="7325" y="3762"/>
                    </a:lnTo>
                    <a:lnTo>
                      <a:pt x="7320" y="3722"/>
                    </a:lnTo>
                    <a:lnTo>
                      <a:pt x="7316" y="3680"/>
                    </a:lnTo>
                    <a:lnTo>
                      <a:pt x="7313" y="3638"/>
                    </a:lnTo>
                    <a:lnTo>
                      <a:pt x="7310" y="3594"/>
                    </a:lnTo>
                    <a:lnTo>
                      <a:pt x="7308" y="3550"/>
                    </a:lnTo>
                    <a:lnTo>
                      <a:pt x="7306" y="3503"/>
                    </a:lnTo>
                    <a:lnTo>
                      <a:pt x="7306" y="3456"/>
                    </a:lnTo>
                    <a:lnTo>
                      <a:pt x="7305" y="3407"/>
                    </a:lnTo>
                    <a:lnTo>
                      <a:pt x="7306" y="3357"/>
                    </a:lnTo>
                    <a:lnTo>
                      <a:pt x="7307" y="3305"/>
                    </a:lnTo>
                    <a:lnTo>
                      <a:pt x="7309" y="3253"/>
                    </a:lnTo>
                    <a:lnTo>
                      <a:pt x="7312" y="3198"/>
                    </a:lnTo>
                    <a:lnTo>
                      <a:pt x="7315" y="3142"/>
                    </a:lnTo>
                    <a:lnTo>
                      <a:pt x="7320" y="3084"/>
                    </a:lnTo>
                    <a:lnTo>
                      <a:pt x="7325" y="3024"/>
                    </a:lnTo>
                    <a:lnTo>
                      <a:pt x="7332" y="2964"/>
                    </a:lnTo>
                    <a:lnTo>
                      <a:pt x="7339" y="2901"/>
                    </a:lnTo>
                    <a:lnTo>
                      <a:pt x="7347" y="2836"/>
                    </a:lnTo>
                    <a:lnTo>
                      <a:pt x="7326" y="2872"/>
                    </a:lnTo>
                    <a:lnTo>
                      <a:pt x="7307" y="2908"/>
                    </a:lnTo>
                    <a:lnTo>
                      <a:pt x="7287" y="2946"/>
                    </a:lnTo>
                    <a:lnTo>
                      <a:pt x="7268" y="2985"/>
                    </a:lnTo>
                    <a:lnTo>
                      <a:pt x="7249" y="3026"/>
                    </a:lnTo>
                    <a:lnTo>
                      <a:pt x="7230" y="3068"/>
                    </a:lnTo>
                    <a:lnTo>
                      <a:pt x="7213" y="3112"/>
                    </a:lnTo>
                    <a:lnTo>
                      <a:pt x="7196" y="3156"/>
                    </a:lnTo>
                    <a:lnTo>
                      <a:pt x="7180" y="3202"/>
                    </a:lnTo>
                    <a:lnTo>
                      <a:pt x="7164" y="3251"/>
                    </a:lnTo>
                    <a:lnTo>
                      <a:pt x="7150" y="3300"/>
                    </a:lnTo>
                    <a:lnTo>
                      <a:pt x="7136" y="3352"/>
                    </a:lnTo>
                    <a:lnTo>
                      <a:pt x="7124" y="3405"/>
                    </a:lnTo>
                    <a:lnTo>
                      <a:pt x="7113" y="3460"/>
                    </a:lnTo>
                    <a:lnTo>
                      <a:pt x="7102" y="3517"/>
                    </a:lnTo>
                    <a:lnTo>
                      <a:pt x="7094" y="3576"/>
                    </a:lnTo>
                    <a:lnTo>
                      <a:pt x="7087" y="3637"/>
                    </a:lnTo>
                    <a:lnTo>
                      <a:pt x="7081" y="3700"/>
                    </a:lnTo>
                    <a:lnTo>
                      <a:pt x="7077" y="3765"/>
                    </a:lnTo>
                    <a:lnTo>
                      <a:pt x="7073" y="3832"/>
                    </a:lnTo>
                    <a:lnTo>
                      <a:pt x="7072" y="3902"/>
                    </a:lnTo>
                    <a:lnTo>
                      <a:pt x="7073" y="3974"/>
                    </a:lnTo>
                    <a:lnTo>
                      <a:pt x="7076" y="4048"/>
                    </a:lnTo>
                    <a:lnTo>
                      <a:pt x="7080" y="4124"/>
                    </a:lnTo>
                    <a:lnTo>
                      <a:pt x="7086" y="4204"/>
                    </a:lnTo>
                    <a:lnTo>
                      <a:pt x="7094" y="4285"/>
                    </a:lnTo>
                    <a:lnTo>
                      <a:pt x="7104" y="4368"/>
                    </a:lnTo>
                    <a:lnTo>
                      <a:pt x="7118" y="4456"/>
                    </a:lnTo>
                    <a:lnTo>
                      <a:pt x="7132" y="4545"/>
                    </a:lnTo>
                    <a:lnTo>
                      <a:pt x="7150" y="4637"/>
                    </a:lnTo>
                    <a:lnTo>
                      <a:pt x="7169" y="4732"/>
                    </a:lnTo>
                    <a:lnTo>
                      <a:pt x="7191" y="4830"/>
                    </a:lnTo>
                    <a:lnTo>
                      <a:pt x="7205" y="4887"/>
                    </a:lnTo>
                    <a:lnTo>
                      <a:pt x="7215" y="4944"/>
                    </a:lnTo>
                    <a:lnTo>
                      <a:pt x="7222" y="5003"/>
                    </a:lnTo>
                    <a:lnTo>
                      <a:pt x="7228" y="5063"/>
                    </a:lnTo>
                    <a:lnTo>
                      <a:pt x="7231" y="5124"/>
                    </a:lnTo>
                    <a:lnTo>
                      <a:pt x="7231" y="5185"/>
                    </a:lnTo>
                    <a:lnTo>
                      <a:pt x="7230" y="5247"/>
                    </a:lnTo>
                    <a:lnTo>
                      <a:pt x="7227" y="5309"/>
                    </a:lnTo>
                    <a:lnTo>
                      <a:pt x="7223" y="5371"/>
                    </a:lnTo>
                    <a:lnTo>
                      <a:pt x="7217" y="5433"/>
                    </a:lnTo>
                    <a:lnTo>
                      <a:pt x="7210" y="5493"/>
                    </a:lnTo>
                    <a:lnTo>
                      <a:pt x="7200" y="5554"/>
                    </a:lnTo>
                    <a:lnTo>
                      <a:pt x="7191" y="5613"/>
                    </a:lnTo>
                    <a:lnTo>
                      <a:pt x="7180" y="5672"/>
                    </a:lnTo>
                    <a:lnTo>
                      <a:pt x="7168" y="5729"/>
                    </a:lnTo>
                    <a:lnTo>
                      <a:pt x="7156" y="5785"/>
                    </a:lnTo>
                    <a:lnTo>
                      <a:pt x="7144" y="5838"/>
                    </a:lnTo>
                    <a:lnTo>
                      <a:pt x="7130" y="5890"/>
                    </a:lnTo>
                    <a:lnTo>
                      <a:pt x="7118" y="5940"/>
                    </a:lnTo>
                    <a:lnTo>
                      <a:pt x="7104" y="5988"/>
                    </a:lnTo>
                    <a:lnTo>
                      <a:pt x="7092" y="6032"/>
                    </a:lnTo>
                    <a:lnTo>
                      <a:pt x="7079" y="6074"/>
                    </a:lnTo>
                    <a:lnTo>
                      <a:pt x="7067" y="6113"/>
                    </a:lnTo>
                    <a:lnTo>
                      <a:pt x="7056" y="6149"/>
                    </a:lnTo>
                    <a:lnTo>
                      <a:pt x="7045" y="6181"/>
                    </a:lnTo>
                    <a:lnTo>
                      <a:pt x="7035" y="6210"/>
                    </a:lnTo>
                    <a:lnTo>
                      <a:pt x="7026" y="6235"/>
                    </a:lnTo>
                    <a:lnTo>
                      <a:pt x="7022" y="6246"/>
                    </a:lnTo>
                    <a:lnTo>
                      <a:pt x="7019" y="6257"/>
                    </a:lnTo>
                    <a:lnTo>
                      <a:pt x="7016" y="6265"/>
                    </a:lnTo>
                    <a:lnTo>
                      <a:pt x="7013" y="6273"/>
                    </a:lnTo>
                    <a:lnTo>
                      <a:pt x="7010" y="6279"/>
                    </a:lnTo>
                    <a:lnTo>
                      <a:pt x="7008" y="6284"/>
                    </a:lnTo>
                    <a:lnTo>
                      <a:pt x="7006" y="6290"/>
                    </a:lnTo>
                    <a:lnTo>
                      <a:pt x="7005" y="6293"/>
                    </a:lnTo>
                    <a:lnTo>
                      <a:pt x="7004" y="6294"/>
                    </a:lnTo>
                    <a:lnTo>
                      <a:pt x="7004" y="6295"/>
                    </a:lnTo>
                    <a:lnTo>
                      <a:pt x="7003" y="6295"/>
                    </a:lnTo>
                    <a:lnTo>
                      <a:pt x="7000" y="6294"/>
                    </a:lnTo>
                    <a:lnTo>
                      <a:pt x="6995" y="6292"/>
                    </a:lnTo>
                    <a:lnTo>
                      <a:pt x="6987" y="6290"/>
                    </a:lnTo>
                    <a:lnTo>
                      <a:pt x="6977" y="6287"/>
                    </a:lnTo>
                    <a:lnTo>
                      <a:pt x="6966" y="6285"/>
                    </a:lnTo>
                    <a:lnTo>
                      <a:pt x="6953" y="6282"/>
                    </a:lnTo>
                    <a:lnTo>
                      <a:pt x="6938" y="6279"/>
                    </a:lnTo>
                    <a:lnTo>
                      <a:pt x="6921" y="6276"/>
                    </a:lnTo>
                    <a:lnTo>
                      <a:pt x="6902" y="6274"/>
                    </a:lnTo>
                    <a:lnTo>
                      <a:pt x="6881" y="6271"/>
                    </a:lnTo>
                    <a:lnTo>
                      <a:pt x="6860" y="6269"/>
                    </a:lnTo>
                    <a:lnTo>
                      <a:pt x="6836" y="6267"/>
                    </a:lnTo>
                    <a:lnTo>
                      <a:pt x="6810" y="6265"/>
                    </a:lnTo>
                    <a:lnTo>
                      <a:pt x="6783" y="6264"/>
                    </a:lnTo>
                    <a:lnTo>
                      <a:pt x="6756" y="6264"/>
                    </a:lnTo>
                    <a:lnTo>
                      <a:pt x="6737" y="6264"/>
                    </a:lnTo>
                    <a:lnTo>
                      <a:pt x="6717" y="6264"/>
                    </a:lnTo>
                    <a:lnTo>
                      <a:pt x="6697" y="6264"/>
                    </a:lnTo>
                    <a:lnTo>
                      <a:pt x="6674" y="6265"/>
                    </a:lnTo>
                    <a:lnTo>
                      <a:pt x="6651" y="6265"/>
                    </a:lnTo>
                    <a:lnTo>
                      <a:pt x="6628" y="6266"/>
                    </a:lnTo>
                    <a:lnTo>
                      <a:pt x="6576" y="6268"/>
                    </a:lnTo>
                    <a:lnTo>
                      <a:pt x="6522" y="6271"/>
                    </a:lnTo>
                    <a:lnTo>
                      <a:pt x="6465" y="6277"/>
                    </a:lnTo>
                    <a:lnTo>
                      <a:pt x="6409" y="6284"/>
                    </a:lnTo>
                    <a:lnTo>
                      <a:pt x="6350" y="6295"/>
                    </a:lnTo>
                    <a:lnTo>
                      <a:pt x="6305" y="6305"/>
                    </a:lnTo>
                    <a:lnTo>
                      <a:pt x="6259" y="6317"/>
                    </a:lnTo>
                    <a:lnTo>
                      <a:pt x="6213" y="6333"/>
                    </a:lnTo>
                    <a:lnTo>
                      <a:pt x="6164" y="6350"/>
                    </a:lnTo>
                    <a:lnTo>
                      <a:pt x="6114" y="6369"/>
                    </a:lnTo>
                    <a:lnTo>
                      <a:pt x="6065" y="6390"/>
                    </a:lnTo>
                    <a:lnTo>
                      <a:pt x="6014" y="6413"/>
                    </a:lnTo>
                    <a:lnTo>
                      <a:pt x="5963" y="6438"/>
                    </a:lnTo>
                    <a:lnTo>
                      <a:pt x="5911" y="6464"/>
                    </a:lnTo>
                    <a:lnTo>
                      <a:pt x="5858" y="6490"/>
                    </a:lnTo>
                    <a:lnTo>
                      <a:pt x="5753" y="6546"/>
                    </a:lnTo>
                    <a:lnTo>
                      <a:pt x="5648" y="6606"/>
                    </a:lnTo>
                    <a:lnTo>
                      <a:pt x="5544" y="6665"/>
                    </a:lnTo>
                    <a:lnTo>
                      <a:pt x="5440" y="6724"/>
                    </a:lnTo>
                    <a:lnTo>
                      <a:pt x="5341" y="6782"/>
                    </a:lnTo>
                    <a:lnTo>
                      <a:pt x="5293" y="6810"/>
                    </a:lnTo>
                    <a:lnTo>
                      <a:pt x="5245" y="6836"/>
                    </a:lnTo>
                    <a:lnTo>
                      <a:pt x="5199" y="6862"/>
                    </a:lnTo>
                    <a:lnTo>
                      <a:pt x="5153" y="6887"/>
                    </a:lnTo>
                    <a:lnTo>
                      <a:pt x="5110" y="6910"/>
                    </a:lnTo>
                    <a:lnTo>
                      <a:pt x="5068" y="6930"/>
                    </a:lnTo>
                    <a:lnTo>
                      <a:pt x="5027" y="6950"/>
                    </a:lnTo>
                    <a:lnTo>
                      <a:pt x="4988" y="6967"/>
                    </a:lnTo>
                    <a:lnTo>
                      <a:pt x="4952" y="6982"/>
                    </a:lnTo>
                    <a:lnTo>
                      <a:pt x="4917" y="6994"/>
                    </a:lnTo>
                    <a:lnTo>
                      <a:pt x="4884" y="7004"/>
                    </a:lnTo>
                    <a:lnTo>
                      <a:pt x="4854" y="7012"/>
                    </a:lnTo>
                    <a:lnTo>
                      <a:pt x="4792" y="7012"/>
                    </a:lnTo>
                    <a:lnTo>
                      <a:pt x="4754" y="7011"/>
                    </a:lnTo>
                    <a:lnTo>
                      <a:pt x="4717" y="7006"/>
                    </a:lnTo>
                    <a:lnTo>
                      <a:pt x="4680" y="7000"/>
                    </a:lnTo>
                    <a:lnTo>
                      <a:pt x="4642" y="6992"/>
                    </a:lnTo>
                    <a:lnTo>
                      <a:pt x="4605" y="6981"/>
                    </a:lnTo>
                    <a:lnTo>
                      <a:pt x="4569" y="6968"/>
                    </a:lnTo>
                    <a:lnTo>
                      <a:pt x="4534" y="6954"/>
                    </a:lnTo>
                    <a:lnTo>
                      <a:pt x="4499" y="6938"/>
                    </a:lnTo>
                    <a:lnTo>
                      <a:pt x="4465" y="6921"/>
                    </a:lnTo>
                    <a:lnTo>
                      <a:pt x="4432" y="6903"/>
                    </a:lnTo>
                    <a:lnTo>
                      <a:pt x="4367" y="6863"/>
                    </a:lnTo>
                    <a:lnTo>
                      <a:pt x="4337" y="6843"/>
                    </a:lnTo>
                    <a:lnTo>
                      <a:pt x="4307" y="6821"/>
                    </a:lnTo>
                    <a:lnTo>
                      <a:pt x="4278" y="6799"/>
                    </a:lnTo>
                    <a:lnTo>
                      <a:pt x="4250" y="6778"/>
                    </a:lnTo>
                    <a:lnTo>
                      <a:pt x="4224" y="6756"/>
                    </a:lnTo>
                    <a:lnTo>
                      <a:pt x="4198" y="6735"/>
                    </a:lnTo>
                    <a:lnTo>
                      <a:pt x="4175" y="6713"/>
                    </a:lnTo>
                    <a:lnTo>
                      <a:pt x="4152" y="6692"/>
                    </a:lnTo>
                    <a:lnTo>
                      <a:pt x="4131" y="6672"/>
                    </a:lnTo>
                    <a:lnTo>
                      <a:pt x="4112" y="6652"/>
                    </a:lnTo>
                    <a:lnTo>
                      <a:pt x="4094" y="6635"/>
                    </a:lnTo>
                    <a:lnTo>
                      <a:pt x="4078" y="6617"/>
                    </a:lnTo>
                    <a:lnTo>
                      <a:pt x="4063" y="6602"/>
                    </a:lnTo>
                    <a:lnTo>
                      <a:pt x="4050" y="6587"/>
                    </a:lnTo>
                    <a:lnTo>
                      <a:pt x="4038" y="6575"/>
                    </a:lnTo>
                    <a:lnTo>
                      <a:pt x="4029" y="6565"/>
                    </a:lnTo>
                    <a:lnTo>
                      <a:pt x="4022" y="6555"/>
                    </a:lnTo>
                    <a:lnTo>
                      <a:pt x="4017" y="6549"/>
                    </a:lnTo>
                    <a:lnTo>
                      <a:pt x="4014" y="6545"/>
                    </a:lnTo>
                    <a:lnTo>
                      <a:pt x="4013" y="6544"/>
                    </a:lnTo>
                    <a:lnTo>
                      <a:pt x="4854" y="4799"/>
                    </a:lnTo>
                    <a:lnTo>
                      <a:pt x="4138" y="5641"/>
                    </a:lnTo>
                    <a:lnTo>
                      <a:pt x="4137" y="5640"/>
                    </a:lnTo>
                    <a:lnTo>
                      <a:pt x="4134" y="5634"/>
                    </a:lnTo>
                    <a:lnTo>
                      <a:pt x="4130" y="5627"/>
                    </a:lnTo>
                    <a:lnTo>
                      <a:pt x="4125" y="5617"/>
                    </a:lnTo>
                    <a:lnTo>
                      <a:pt x="4118" y="5605"/>
                    </a:lnTo>
                    <a:lnTo>
                      <a:pt x="4110" y="5588"/>
                    </a:lnTo>
                    <a:lnTo>
                      <a:pt x="4099" y="5570"/>
                    </a:lnTo>
                    <a:lnTo>
                      <a:pt x="4087" y="5547"/>
                    </a:lnTo>
                    <a:lnTo>
                      <a:pt x="4073" y="5522"/>
                    </a:lnTo>
                    <a:lnTo>
                      <a:pt x="4056" y="5494"/>
                    </a:lnTo>
                    <a:lnTo>
                      <a:pt x="4038" y="5463"/>
                    </a:lnTo>
                    <a:lnTo>
                      <a:pt x="4019" y="5430"/>
                    </a:lnTo>
                    <a:lnTo>
                      <a:pt x="3997" y="5393"/>
                    </a:lnTo>
                    <a:lnTo>
                      <a:pt x="3972" y="5354"/>
                    </a:lnTo>
                    <a:lnTo>
                      <a:pt x="3947" y="5312"/>
                    </a:lnTo>
                    <a:lnTo>
                      <a:pt x="3919" y="5267"/>
                    </a:lnTo>
                    <a:lnTo>
                      <a:pt x="3888" y="5220"/>
                    </a:lnTo>
                    <a:lnTo>
                      <a:pt x="3854" y="5175"/>
                    </a:lnTo>
                    <a:lnTo>
                      <a:pt x="3818" y="5129"/>
                    </a:lnTo>
                    <a:lnTo>
                      <a:pt x="3780" y="5084"/>
                    </a:lnTo>
                    <a:lnTo>
                      <a:pt x="3702" y="4995"/>
                    </a:lnTo>
                    <a:lnTo>
                      <a:pt x="3664" y="4949"/>
                    </a:lnTo>
                    <a:lnTo>
                      <a:pt x="3627" y="4904"/>
                    </a:lnTo>
                    <a:lnTo>
                      <a:pt x="3591" y="4859"/>
                    </a:lnTo>
                    <a:lnTo>
                      <a:pt x="3558" y="4812"/>
                    </a:lnTo>
                    <a:lnTo>
                      <a:pt x="3528" y="4766"/>
                    </a:lnTo>
                    <a:lnTo>
                      <a:pt x="3515" y="4742"/>
                    </a:lnTo>
                    <a:lnTo>
                      <a:pt x="3503" y="4719"/>
                    </a:lnTo>
                    <a:lnTo>
                      <a:pt x="3491" y="4695"/>
                    </a:lnTo>
                    <a:lnTo>
                      <a:pt x="3481" y="4670"/>
                    </a:lnTo>
                    <a:lnTo>
                      <a:pt x="3472" y="4646"/>
                    </a:lnTo>
                    <a:lnTo>
                      <a:pt x="3464" y="4621"/>
                    </a:lnTo>
                    <a:lnTo>
                      <a:pt x="3459" y="4596"/>
                    </a:lnTo>
                    <a:lnTo>
                      <a:pt x="3454" y="4570"/>
                    </a:lnTo>
                    <a:lnTo>
                      <a:pt x="3452" y="4545"/>
                    </a:lnTo>
                    <a:lnTo>
                      <a:pt x="3451" y="4519"/>
                    </a:lnTo>
                    <a:lnTo>
                      <a:pt x="3453" y="4491"/>
                    </a:lnTo>
                    <a:lnTo>
                      <a:pt x="3457" y="4460"/>
                    </a:lnTo>
                    <a:lnTo>
                      <a:pt x="3464" y="4427"/>
                    </a:lnTo>
                    <a:lnTo>
                      <a:pt x="3475" y="4391"/>
                    </a:lnTo>
                    <a:lnTo>
                      <a:pt x="3488" y="4353"/>
                    </a:lnTo>
                    <a:lnTo>
                      <a:pt x="3504" y="4313"/>
                    </a:lnTo>
                    <a:lnTo>
                      <a:pt x="3522" y="4270"/>
                    </a:lnTo>
                    <a:lnTo>
                      <a:pt x="3543" y="4225"/>
                    </a:lnTo>
                    <a:lnTo>
                      <a:pt x="3566" y="4179"/>
                    </a:lnTo>
                    <a:lnTo>
                      <a:pt x="3591" y="4131"/>
                    </a:lnTo>
                    <a:lnTo>
                      <a:pt x="3619" y="4080"/>
                    </a:lnTo>
                    <a:lnTo>
                      <a:pt x="3648" y="4029"/>
                    </a:lnTo>
                    <a:lnTo>
                      <a:pt x="3680" y="3976"/>
                    </a:lnTo>
                    <a:lnTo>
                      <a:pt x="3714" y="3921"/>
                    </a:lnTo>
                    <a:lnTo>
                      <a:pt x="3749" y="3866"/>
                    </a:lnTo>
                    <a:lnTo>
                      <a:pt x="3787" y="3809"/>
                    </a:lnTo>
                    <a:lnTo>
                      <a:pt x="3826" y="3753"/>
                    </a:lnTo>
                    <a:lnTo>
                      <a:pt x="3866" y="3694"/>
                    </a:lnTo>
                    <a:lnTo>
                      <a:pt x="3907" y="3635"/>
                    </a:lnTo>
                    <a:lnTo>
                      <a:pt x="3951" y="3575"/>
                    </a:lnTo>
                    <a:lnTo>
                      <a:pt x="3995" y="3516"/>
                    </a:lnTo>
                    <a:lnTo>
                      <a:pt x="4041" y="3456"/>
                    </a:lnTo>
                    <a:lnTo>
                      <a:pt x="4088" y="3395"/>
                    </a:lnTo>
                    <a:lnTo>
                      <a:pt x="4135" y="3335"/>
                    </a:lnTo>
                    <a:lnTo>
                      <a:pt x="4234" y="3215"/>
                    </a:lnTo>
                    <a:lnTo>
                      <a:pt x="4335" y="3096"/>
                    </a:lnTo>
                    <a:lnTo>
                      <a:pt x="4438" y="2980"/>
                    </a:lnTo>
                    <a:lnTo>
                      <a:pt x="4490" y="2922"/>
                    </a:lnTo>
                    <a:lnTo>
                      <a:pt x="4542" y="2867"/>
                    </a:lnTo>
                    <a:lnTo>
                      <a:pt x="4642" y="2754"/>
                    </a:lnTo>
                    <a:lnTo>
                      <a:pt x="4741" y="2642"/>
                    </a:lnTo>
                    <a:lnTo>
                      <a:pt x="4842" y="2529"/>
                    </a:lnTo>
                    <a:lnTo>
                      <a:pt x="4940" y="2417"/>
                    </a:lnTo>
                    <a:lnTo>
                      <a:pt x="5038" y="2306"/>
                    </a:lnTo>
                    <a:lnTo>
                      <a:pt x="5134" y="2199"/>
                    </a:lnTo>
                    <a:lnTo>
                      <a:pt x="5180" y="2147"/>
                    </a:lnTo>
                    <a:lnTo>
                      <a:pt x="5227" y="2096"/>
                    </a:lnTo>
                    <a:lnTo>
                      <a:pt x="5272" y="2047"/>
                    </a:lnTo>
                    <a:lnTo>
                      <a:pt x="5317" y="1998"/>
                    </a:lnTo>
                    <a:lnTo>
                      <a:pt x="5362" y="1951"/>
                    </a:lnTo>
                    <a:lnTo>
                      <a:pt x="5405" y="1907"/>
                    </a:lnTo>
                    <a:lnTo>
                      <a:pt x="5448" y="1863"/>
                    </a:lnTo>
                    <a:lnTo>
                      <a:pt x="5489" y="1822"/>
                    </a:lnTo>
                    <a:lnTo>
                      <a:pt x="5529" y="1783"/>
                    </a:lnTo>
                    <a:lnTo>
                      <a:pt x="5568" y="1746"/>
                    </a:lnTo>
                    <a:lnTo>
                      <a:pt x="5606" y="1711"/>
                    </a:lnTo>
                    <a:lnTo>
                      <a:pt x="5643" y="1679"/>
                    </a:lnTo>
                    <a:lnTo>
                      <a:pt x="5678" y="1650"/>
                    </a:lnTo>
                    <a:lnTo>
                      <a:pt x="5712" y="1622"/>
                    </a:lnTo>
                    <a:lnTo>
                      <a:pt x="5744" y="1599"/>
                    </a:lnTo>
                    <a:lnTo>
                      <a:pt x="5775" y="1578"/>
                    </a:lnTo>
                    <a:lnTo>
                      <a:pt x="5805" y="1561"/>
                    </a:lnTo>
                    <a:lnTo>
                      <a:pt x="5832" y="1545"/>
                    </a:lnTo>
                    <a:lnTo>
                      <a:pt x="5858" y="1534"/>
                    </a:lnTo>
                    <a:lnTo>
                      <a:pt x="5882" y="1527"/>
                    </a:lnTo>
                    <a:lnTo>
                      <a:pt x="6475" y="1434"/>
                    </a:lnTo>
                    <a:lnTo>
                      <a:pt x="6533" y="1425"/>
                    </a:lnTo>
                    <a:lnTo>
                      <a:pt x="6587" y="1416"/>
                    </a:lnTo>
                    <a:lnTo>
                      <a:pt x="6641" y="1407"/>
                    </a:lnTo>
                    <a:lnTo>
                      <a:pt x="6693" y="1398"/>
                    </a:lnTo>
                    <a:lnTo>
                      <a:pt x="6742" y="1389"/>
                    </a:lnTo>
                    <a:lnTo>
                      <a:pt x="6790" y="1379"/>
                    </a:lnTo>
                    <a:lnTo>
                      <a:pt x="6835" y="1370"/>
                    </a:lnTo>
                    <a:lnTo>
                      <a:pt x="6879" y="1361"/>
                    </a:lnTo>
                    <a:lnTo>
                      <a:pt x="6921" y="1350"/>
                    </a:lnTo>
                    <a:lnTo>
                      <a:pt x="6961" y="1342"/>
                    </a:lnTo>
                    <a:lnTo>
                      <a:pt x="6998" y="1333"/>
                    </a:lnTo>
                    <a:lnTo>
                      <a:pt x="7034" y="1324"/>
                    </a:lnTo>
                    <a:lnTo>
                      <a:pt x="7068" y="1314"/>
                    </a:lnTo>
                    <a:lnTo>
                      <a:pt x="7101" y="1306"/>
                    </a:lnTo>
                    <a:lnTo>
                      <a:pt x="7131" y="1298"/>
                    </a:lnTo>
                    <a:lnTo>
                      <a:pt x="7160" y="1290"/>
                    </a:lnTo>
                    <a:lnTo>
                      <a:pt x="7187" y="1281"/>
                    </a:lnTo>
                    <a:lnTo>
                      <a:pt x="7212" y="1274"/>
                    </a:lnTo>
                    <a:lnTo>
                      <a:pt x="7236" y="1267"/>
                    </a:lnTo>
                    <a:lnTo>
                      <a:pt x="7256" y="1260"/>
                    </a:lnTo>
                    <a:lnTo>
                      <a:pt x="7276" y="1254"/>
                    </a:lnTo>
                    <a:lnTo>
                      <a:pt x="7294" y="1247"/>
                    </a:lnTo>
                    <a:lnTo>
                      <a:pt x="7310" y="1241"/>
                    </a:lnTo>
                    <a:lnTo>
                      <a:pt x="7324" y="1236"/>
                    </a:lnTo>
                    <a:lnTo>
                      <a:pt x="7337" y="1232"/>
                    </a:lnTo>
                    <a:lnTo>
                      <a:pt x="7348" y="1228"/>
                    </a:lnTo>
                    <a:lnTo>
                      <a:pt x="7357" y="1224"/>
                    </a:lnTo>
                    <a:lnTo>
                      <a:pt x="7365" y="1221"/>
                    </a:lnTo>
                    <a:lnTo>
                      <a:pt x="7371" y="1219"/>
                    </a:lnTo>
                    <a:lnTo>
                      <a:pt x="7375" y="1217"/>
                    </a:lnTo>
                    <a:lnTo>
                      <a:pt x="7377" y="1216"/>
                    </a:lnTo>
                    <a:lnTo>
                      <a:pt x="7378" y="1216"/>
                    </a:lnTo>
                    <a:lnTo>
                      <a:pt x="6381" y="1246"/>
                    </a:lnTo>
                    <a:lnTo>
                      <a:pt x="6383" y="1245"/>
                    </a:lnTo>
                    <a:lnTo>
                      <a:pt x="6385" y="1243"/>
                    </a:lnTo>
                    <a:lnTo>
                      <a:pt x="6389" y="1238"/>
                    </a:lnTo>
                    <a:lnTo>
                      <a:pt x="6393" y="1232"/>
                    </a:lnTo>
                    <a:lnTo>
                      <a:pt x="6398" y="1225"/>
                    </a:lnTo>
                    <a:lnTo>
                      <a:pt x="6405" y="1216"/>
                    </a:lnTo>
                    <a:lnTo>
                      <a:pt x="6411" y="1205"/>
                    </a:lnTo>
                    <a:lnTo>
                      <a:pt x="6419" y="1193"/>
                    </a:lnTo>
                    <a:lnTo>
                      <a:pt x="6427" y="1179"/>
                    </a:lnTo>
                    <a:lnTo>
                      <a:pt x="6438" y="1165"/>
                    </a:lnTo>
                    <a:lnTo>
                      <a:pt x="6448" y="1149"/>
                    </a:lnTo>
                    <a:lnTo>
                      <a:pt x="6459" y="1131"/>
                    </a:lnTo>
                    <a:lnTo>
                      <a:pt x="6472" y="1114"/>
                    </a:lnTo>
                    <a:lnTo>
                      <a:pt x="6485" y="1094"/>
                    </a:lnTo>
                    <a:lnTo>
                      <a:pt x="6501" y="1073"/>
                    </a:lnTo>
                    <a:lnTo>
                      <a:pt x="6516" y="1052"/>
                    </a:lnTo>
                    <a:lnTo>
                      <a:pt x="6533" y="1029"/>
                    </a:lnTo>
                    <a:lnTo>
                      <a:pt x="6550" y="1006"/>
                    </a:lnTo>
                    <a:lnTo>
                      <a:pt x="6569" y="982"/>
                    </a:lnTo>
                    <a:lnTo>
                      <a:pt x="6589" y="957"/>
                    </a:lnTo>
                    <a:lnTo>
                      <a:pt x="6610" y="932"/>
                    </a:lnTo>
                    <a:lnTo>
                      <a:pt x="6633" y="905"/>
                    </a:lnTo>
                    <a:lnTo>
                      <a:pt x="6655" y="880"/>
                    </a:lnTo>
                    <a:lnTo>
                      <a:pt x="6680" y="852"/>
                    </a:lnTo>
                    <a:lnTo>
                      <a:pt x="6706" y="824"/>
                    </a:lnTo>
                    <a:lnTo>
                      <a:pt x="6734" y="796"/>
                    </a:lnTo>
                    <a:lnTo>
                      <a:pt x="6762" y="768"/>
                    </a:lnTo>
                    <a:lnTo>
                      <a:pt x="6792" y="740"/>
                    </a:lnTo>
                    <a:lnTo>
                      <a:pt x="6822" y="711"/>
                    </a:lnTo>
                    <a:lnTo>
                      <a:pt x="6855" y="682"/>
                    </a:lnTo>
                    <a:lnTo>
                      <a:pt x="6888" y="652"/>
                    </a:lnTo>
                    <a:lnTo>
                      <a:pt x="6923" y="623"/>
                    </a:lnTo>
                    <a:lnTo>
                      <a:pt x="6959" y="594"/>
                    </a:lnTo>
                    <a:lnTo>
                      <a:pt x="6996" y="565"/>
                    </a:lnTo>
                    <a:lnTo>
                      <a:pt x="7035" y="536"/>
                    </a:lnTo>
                    <a:lnTo>
                      <a:pt x="7076" y="507"/>
                    </a:lnTo>
                    <a:lnTo>
                      <a:pt x="7117" y="478"/>
                    </a:lnTo>
                    <a:lnTo>
                      <a:pt x="7160" y="450"/>
                    </a:lnTo>
                    <a:lnTo>
                      <a:pt x="7205" y="422"/>
                    </a:lnTo>
                    <a:lnTo>
                      <a:pt x="7250" y="395"/>
                    </a:lnTo>
                    <a:lnTo>
                      <a:pt x="7297" y="368"/>
                    </a:lnTo>
                    <a:lnTo>
                      <a:pt x="7347" y="341"/>
                    </a:lnTo>
                    <a:lnTo>
                      <a:pt x="7398" y="314"/>
                    </a:lnTo>
                    <a:lnTo>
                      <a:pt x="7449" y="290"/>
                    </a:lnTo>
                    <a:lnTo>
                      <a:pt x="7503" y="265"/>
                    </a:lnTo>
                    <a:lnTo>
                      <a:pt x="7559" y="240"/>
                    </a:lnTo>
                    <a:lnTo>
                      <a:pt x="7615" y="217"/>
                    </a:lnTo>
                    <a:lnTo>
                      <a:pt x="7674" y="195"/>
                    </a:lnTo>
                    <a:lnTo>
                      <a:pt x="7734" y="173"/>
                    </a:lnTo>
                    <a:lnTo>
                      <a:pt x="7796" y="153"/>
                    </a:lnTo>
                    <a:lnTo>
                      <a:pt x="7859" y="134"/>
                    </a:lnTo>
                    <a:lnTo>
                      <a:pt x="7924" y="115"/>
                    </a:lnTo>
                    <a:lnTo>
                      <a:pt x="7991" y="98"/>
                    </a:lnTo>
                    <a:lnTo>
                      <a:pt x="8059" y="81"/>
                    </a:lnTo>
                    <a:lnTo>
                      <a:pt x="8130" y="67"/>
                    </a:lnTo>
                    <a:lnTo>
                      <a:pt x="8202" y="54"/>
                    </a:lnTo>
                    <a:lnTo>
                      <a:pt x="8275" y="41"/>
                    </a:lnTo>
                    <a:lnTo>
                      <a:pt x="8350" y="31"/>
                    </a:lnTo>
                    <a:lnTo>
                      <a:pt x="8428" y="22"/>
                    </a:lnTo>
                    <a:lnTo>
                      <a:pt x="8507" y="14"/>
                    </a:lnTo>
                    <a:lnTo>
                      <a:pt x="8589" y="8"/>
                    </a:lnTo>
                    <a:lnTo>
                      <a:pt x="8671" y="4"/>
                    </a:lnTo>
                    <a:lnTo>
                      <a:pt x="8756" y="1"/>
                    </a:lnTo>
                    <a:lnTo>
                      <a:pt x="8843" y="0"/>
                    </a:lnTo>
                    <a:lnTo>
                      <a:pt x="9062" y="0"/>
                    </a:lnTo>
                    <a:lnTo>
                      <a:pt x="9114" y="4"/>
                    </a:lnTo>
                    <a:lnTo>
                      <a:pt x="9166" y="8"/>
                    </a:lnTo>
                    <a:lnTo>
                      <a:pt x="9217" y="14"/>
                    </a:lnTo>
                    <a:lnTo>
                      <a:pt x="9266" y="23"/>
                    </a:lnTo>
                    <a:lnTo>
                      <a:pt x="9316" y="31"/>
                    </a:lnTo>
                    <a:lnTo>
                      <a:pt x="9365" y="41"/>
                    </a:lnTo>
                    <a:lnTo>
                      <a:pt x="9413" y="52"/>
                    </a:lnTo>
                    <a:lnTo>
                      <a:pt x="9460" y="64"/>
                    </a:lnTo>
                    <a:lnTo>
                      <a:pt x="9507" y="77"/>
                    </a:lnTo>
                    <a:lnTo>
                      <a:pt x="9553" y="91"/>
                    </a:lnTo>
                    <a:lnTo>
                      <a:pt x="9643" y="123"/>
                    </a:lnTo>
                    <a:lnTo>
                      <a:pt x="9731" y="158"/>
                    </a:lnTo>
                    <a:lnTo>
                      <a:pt x="9815" y="196"/>
                    </a:lnTo>
                    <a:lnTo>
                      <a:pt x="9897" y="237"/>
                    </a:lnTo>
                    <a:lnTo>
                      <a:pt x="9976" y="280"/>
                    </a:lnTo>
                    <a:lnTo>
                      <a:pt x="10053" y="327"/>
                    </a:lnTo>
                    <a:lnTo>
                      <a:pt x="10126" y="375"/>
                    </a:lnTo>
                    <a:lnTo>
                      <a:pt x="10197" y="425"/>
                    </a:lnTo>
                    <a:lnTo>
                      <a:pt x="10265" y="477"/>
                    </a:lnTo>
                    <a:lnTo>
                      <a:pt x="10330" y="531"/>
                    </a:lnTo>
                    <a:lnTo>
                      <a:pt x="10393" y="584"/>
                    </a:lnTo>
                    <a:lnTo>
                      <a:pt x="10453" y="639"/>
                    </a:lnTo>
                    <a:lnTo>
                      <a:pt x="10511" y="693"/>
                    </a:lnTo>
                    <a:lnTo>
                      <a:pt x="10565" y="747"/>
                    </a:lnTo>
                    <a:lnTo>
                      <a:pt x="10617" y="801"/>
                    </a:lnTo>
                    <a:lnTo>
                      <a:pt x="10666" y="855"/>
                    </a:lnTo>
                    <a:lnTo>
                      <a:pt x="10712" y="908"/>
                    </a:lnTo>
                    <a:lnTo>
                      <a:pt x="10756" y="958"/>
                    </a:lnTo>
                    <a:lnTo>
                      <a:pt x="10797" y="1007"/>
                    </a:lnTo>
                    <a:lnTo>
                      <a:pt x="10835" y="1056"/>
                    </a:lnTo>
                    <a:lnTo>
                      <a:pt x="10870" y="1101"/>
                    </a:lnTo>
                    <a:lnTo>
                      <a:pt x="10903" y="1143"/>
                    </a:lnTo>
                    <a:lnTo>
                      <a:pt x="10933" y="1184"/>
                    </a:lnTo>
                    <a:lnTo>
                      <a:pt x="10960" y="1221"/>
                    </a:lnTo>
                    <a:lnTo>
                      <a:pt x="10985" y="1254"/>
                    </a:lnTo>
                    <a:lnTo>
                      <a:pt x="11007" y="1284"/>
                    </a:lnTo>
                    <a:lnTo>
                      <a:pt x="11016" y="1297"/>
                    </a:lnTo>
                    <a:lnTo>
                      <a:pt x="11025" y="1309"/>
                    </a:lnTo>
                    <a:lnTo>
                      <a:pt x="10993" y="1309"/>
                    </a:lnTo>
                    <a:lnTo>
                      <a:pt x="10963" y="1311"/>
                    </a:lnTo>
                    <a:lnTo>
                      <a:pt x="10931" y="1316"/>
                    </a:lnTo>
                    <a:lnTo>
                      <a:pt x="10898" y="1324"/>
                    </a:lnTo>
                    <a:lnTo>
                      <a:pt x="10864" y="1334"/>
                    </a:lnTo>
                    <a:lnTo>
                      <a:pt x="10830" y="1345"/>
                    </a:lnTo>
                    <a:lnTo>
                      <a:pt x="10797" y="1359"/>
                    </a:lnTo>
                    <a:lnTo>
                      <a:pt x="10764" y="1372"/>
                    </a:lnTo>
                    <a:lnTo>
                      <a:pt x="10732" y="1388"/>
                    </a:lnTo>
                    <a:lnTo>
                      <a:pt x="10703" y="1402"/>
                    </a:lnTo>
                    <a:lnTo>
                      <a:pt x="10675" y="1415"/>
                    </a:lnTo>
                    <a:lnTo>
                      <a:pt x="10651" y="1429"/>
                    </a:lnTo>
                    <a:lnTo>
                      <a:pt x="10630" y="1440"/>
                    </a:lnTo>
                    <a:lnTo>
                      <a:pt x="10621" y="1446"/>
                    </a:lnTo>
                    <a:lnTo>
                      <a:pt x="10612" y="1450"/>
                    </a:lnTo>
                    <a:lnTo>
                      <a:pt x="10605" y="1454"/>
                    </a:lnTo>
                    <a:lnTo>
                      <a:pt x="10600" y="1459"/>
                    </a:lnTo>
                    <a:lnTo>
                      <a:pt x="10595" y="1461"/>
                    </a:lnTo>
                    <a:lnTo>
                      <a:pt x="10592" y="1463"/>
                    </a:lnTo>
                    <a:lnTo>
                      <a:pt x="10590" y="1465"/>
                    </a:lnTo>
                    <a:lnTo>
                      <a:pt x="10589" y="1465"/>
                    </a:lnTo>
                    <a:lnTo>
                      <a:pt x="10868" y="1465"/>
                    </a:lnTo>
                    <a:lnTo>
                      <a:pt x="10914" y="1465"/>
                    </a:lnTo>
                    <a:lnTo>
                      <a:pt x="10957" y="1466"/>
                    </a:lnTo>
                    <a:lnTo>
                      <a:pt x="10997" y="1467"/>
                    </a:lnTo>
                    <a:lnTo>
                      <a:pt x="11037" y="1469"/>
                    </a:lnTo>
                    <a:lnTo>
                      <a:pt x="11074" y="1472"/>
                    </a:lnTo>
                    <a:lnTo>
                      <a:pt x="11110" y="1478"/>
                    </a:lnTo>
                    <a:lnTo>
                      <a:pt x="11145" y="1485"/>
                    </a:lnTo>
                    <a:lnTo>
                      <a:pt x="11180" y="1496"/>
                    </a:lnTo>
                    <a:lnTo>
                      <a:pt x="11215" y="1508"/>
                    </a:lnTo>
                    <a:lnTo>
                      <a:pt x="11249" y="1521"/>
                    </a:lnTo>
                    <a:lnTo>
                      <a:pt x="11283" y="1535"/>
                    </a:lnTo>
                    <a:lnTo>
                      <a:pt x="11316" y="1551"/>
                    </a:lnTo>
                    <a:lnTo>
                      <a:pt x="11349" y="1568"/>
                    </a:lnTo>
                    <a:lnTo>
                      <a:pt x="11383" y="1587"/>
                    </a:lnTo>
                    <a:lnTo>
                      <a:pt x="11416" y="1609"/>
                    </a:lnTo>
                    <a:lnTo>
                      <a:pt x="11449" y="1633"/>
                    </a:lnTo>
                    <a:lnTo>
                      <a:pt x="11484" y="1658"/>
                    </a:lnTo>
                    <a:lnTo>
                      <a:pt x="11518" y="1687"/>
                    </a:lnTo>
                    <a:lnTo>
                      <a:pt x="11553" y="1719"/>
                    </a:lnTo>
                    <a:lnTo>
                      <a:pt x="11589" y="1754"/>
                    </a:lnTo>
                    <a:lnTo>
                      <a:pt x="11625" y="1793"/>
                    </a:lnTo>
                    <a:lnTo>
                      <a:pt x="11663" y="1836"/>
                    </a:lnTo>
                    <a:lnTo>
                      <a:pt x="11682" y="1858"/>
                    </a:lnTo>
                    <a:lnTo>
                      <a:pt x="11701" y="1882"/>
                    </a:lnTo>
                    <a:lnTo>
                      <a:pt x="11721" y="1907"/>
                    </a:lnTo>
                    <a:lnTo>
                      <a:pt x="11742" y="1932"/>
                    </a:lnTo>
                    <a:lnTo>
                      <a:pt x="11769" y="1967"/>
                    </a:lnTo>
                    <a:lnTo>
                      <a:pt x="11794" y="2004"/>
                    </a:lnTo>
                    <a:lnTo>
                      <a:pt x="11816" y="2040"/>
                    </a:lnTo>
                    <a:lnTo>
                      <a:pt x="11833" y="2075"/>
                    </a:lnTo>
                    <a:lnTo>
                      <a:pt x="11848" y="2109"/>
                    </a:lnTo>
                    <a:lnTo>
                      <a:pt x="11859" y="2143"/>
                    </a:lnTo>
                    <a:lnTo>
                      <a:pt x="11867" y="2174"/>
                    </a:lnTo>
                    <a:lnTo>
                      <a:pt x="11871" y="2204"/>
                    </a:lnTo>
                    <a:lnTo>
                      <a:pt x="11871" y="2219"/>
                    </a:lnTo>
                    <a:lnTo>
                      <a:pt x="11870" y="2233"/>
                    </a:lnTo>
                    <a:lnTo>
                      <a:pt x="11868" y="2246"/>
                    </a:lnTo>
                    <a:lnTo>
                      <a:pt x="11864" y="2258"/>
                    </a:lnTo>
                    <a:lnTo>
                      <a:pt x="11861" y="2270"/>
                    </a:lnTo>
                    <a:lnTo>
                      <a:pt x="11856" y="2281"/>
                    </a:lnTo>
                    <a:lnTo>
                      <a:pt x="11850" y="2291"/>
                    </a:lnTo>
                    <a:lnTo>
                      <a:pt x="11843" y="2300"/>
                    </a:lnTo>
                    <a:lnTo>
                      <a:pt x="11833" y="2308"/>
                    </a:lnTo>
                    <a:lnTo>
                      <a:pt x="11824" y="2316"/>
                    </a:lnTo>
                    <a:lnTo>
                      <a:pt x="11814" y="2322"/>
                    </a:lnTo>
                    <a:lnTo>
                      <a:pt x="11801" y="2328"/>
                    </a:lnTo>
                    <a:lnTo>
                      <a:pt x="11788" y="2332"/>
                    </a:lnTo>
                    <a:lnTo>
                      <a:pt x="11775" y="2335"/>
                    </a:lnTo>
                    <a:lnTo>
                      <a:pt x="11758" y="2336"/>
                    </a:lnTo>
                    <a:lnTo>
                      <a:pt x="11742" y="2337"/>
                    </a:lnTo>
                    <a:lnTo>
                      <a:pt x="11648" y="2337"/>
                    </a:lnTo>
                    <a:lnTo>
                      <a:pt x="11619" y="2337"/>
                    </a:lnTo>
                    <a:lnTo>
                      <a:pt x="11592" y="2338"/>
                    </a:lnTo>
                    <a:lnTo>
                      <a:pt x="11566" y="2339"/>
                    </a:lnTo>
                    <a:lnTo>
                      <a:pt x="11541" y="2340"/>
                    </a:lnTo>
                    <a:lnTo>
                      <a:pt x="11519" y="2341"/>
                    </a:lnTo>
                    <a:lnTo>
                      <a:pt x="11496" y="2343"/>
                    </a:lnTo>
                    <a:lnTo>
                      <a:pt x="11475" y="2345"/>
                    </a:lnTo>
                    <a:lnTo>
                      <a:pt x="11456" y="2348"/>
                    </a:lnTo>
                    <a:lnTo>
                      <a:pt x="11419" y="2354"/>
                    </a:lnTo>
                    <a:lnTo>
                      <a:pt x="11384" y="2360"/>
                    </a:lnTo>
                    <a:lnTo>
                      <a:pt x="11353" y="2368"/>
                    </a:lnTo>
                    <a:lnTo>
                      <a:pt x="11325" y="2376"/>
                    </a:lnTo>
                    <a:lnTo>
                      <a:pt x="11298" y="2385"/>
                    </a:lnTo>
                    <a:lnTo>
                      <a:pt x="11272" y="2395"/>
                    </a:lnTo>
                    <a:lnTo>
                      <a:pt x="11222" y="2416"/>
                    </a:lnTo>
                    <a:lnTo>
                      <a:pt x="11199" y="2427"/>
                    </a:lnTo>
                    <a:lnTo>
                      <a:pt x="11173" y="2438"/>
                    </a:lnTo>
                    <a:lnTo>
                      <a:pt x="11146" y="2451"/>
                    </a:lnTo>
                    <a:lnTo>
                      <a:pt x="11118" y="2462"/>
                    </a:lnTo>
                    <a:lnTo>
                      <a:pt x="11132" y="2461"/>
                    </a:lnTo>
                    <a:lnTo>
                      <a:pt x="11147" y="2457"/>
                    </a:lnTo>
                    <a:lnTo>
                      <a:pt x="11165" y="2453"/>
                    </a:lnTo>
                    <a:lnTo>
                      <a:pt x="11184" y="2446"/>
                    </a:lnTo>
                    <a:lnTo>
                      <a:pt x="11206" y="2441"/>
                    </a:lnTo>
                    <a:lnTo>
                      <a:pt x="11228" y="2436"/>
                    </a:lnTo>
                    <a:lnTo>
                      <a:pt x="11251" y="2432"/>
                    </a:lnTo>
                    <a:lnTo>
                      <a:pt x="11274" y="2431"/>
                    </a:lnTo>
                    <a:lnTo>
                      <a:pt x="11321" y="2432"/>
                    </a:lnTo>
                    <a:lnTo>
                      <a:pt x="11345" y="2433"/>
                    </a:lnTo>
                    <a:lnTo>
                      <a:pt x="11369" y="2435"/>
                    </a:lnTo>
                    <a:lnTo>
                      <a:pt x="11393" y="2439"/>
                    </a:lnTo>
                    <a:lnTo>
                      <a:pt x="11415" y="2444"/>
                    </a:lnTo>
                    <a:lnTo>
                      <a:pt x="11438" y="2453"/>
                    </a:lnTo>
                    <a:lnTo>
                      <a:pt x="11461" y="2463"/>
                    </a:lnTo>
                    <a:lnTo>
                      <a:pt x="11483" y="2476"/>
                    </a:lnTo>
                    <a:lnTo>
                      <a:pt x="11503" y="2493"/>
                    </a:lnTo>
                    <a:lnTo>
                      <a:pt x="11523" y="2513"/>
                    </a:lnTo>
                    <a:lnTo>
                      <a:pt x="11532" y="2526"/>
                    </a:lnTo>
                    <a:lnTo>
                      <a:pt x="11540" y="2538"/>
                    </a:lnTo>
                    <a:lnTo>
                      <a:pt x="11550" y="2551"/>
                    </a:lnTo>
                    <a:lnTo>
                      <a:pt x="11558" y="2567"/>
                    </a:lnTo>
                    <a:lnTo>
                      <a:pt x="11566" y="2582"/>
                    </a:lnTo>
                    <a:lnTo>
                      <a:pt x="11573" y="2600"/>
                    </a:lnTo>
                    <a:lnTo>
                      <a:pt x="11581" y="2618"/>
                    </a:lnTo>
                    <a:lnTo>
                      <a:pt x="11588" y="2638"/>
                    </a:lnTo>
                    <a:lnTo>
                      <a:pt x="11594" y="2660"/>
                    </a:lnTo>
                    <a:lnTo>
                      <a:pt x="11600" y="2682"/>
                    </a:lnTo>
                    <a:lnTo>
                      <a:pt x="11600" y="2715"/>
                    </a:lnTo>
                    <a:lnTo>
                      <a:pt x="11600" y="2746"/>
                    </a:lnTo>
                    <a:lnTo>
                      <a:pt x="11599" y="2774"/>
                    </a:lnTo>
                    <a:lnTo>
                      <a:pt x="11598" y="2800"/>
                    </a:lnTo>
                    <a:lnTo>
                      <a:pt x="11595" y="2824"/>
                    </a:lnTo>
                    <a:lnTo>
                      <a:pt x="11592" y="2846"/>
                    </a:lnTo>
                    <a:lnTo>
                      <a:pt x="11588" y="2866"/>
                    </a:lnTo>
                    <a:lnTo>
                      <a:pt x="11583" y="2883"/>
                    </a:lnTo>
                    <a:lnTo>
                      <a:pt x="11575" y="2900"/>
                    </a:lnTo>
                    <a:lnTo>
                      <a:pt x="11568" y="2913"/>
                    </a:lnTo>
                    <a:lnTo>
                      <a:pt x="11559" y="2925"/>
                    </a:lnTo>
                    <a:lnTo>
                      <a:pt x="11549" y="2937"/>
                    </a:lnTo>
                    <a:lnTo>
                      <a:pt x="11537" y="2946"/>
                    </a:lnTo>
                    <a:lnTo>
                      <a:pt x="11524" y="2953"/>
                    </a:lnTo>
                    <a:lnTo>
                      <a:pt x="11509" y="2959"/>
                    </a:lnTo>
                    <a:lnTo>
                      <a:pt x="11493" y="2965"/>
                    </a:lnTo>
                    <a:lnTo>
                      <a:pt x="11518" y="2955"/>
                    </a:lnTo>
                    <a:lnTo>
                      <a:pt x="11540" y="2948"/>
                    </a:lnTo>
                    <a:lnTo>
                      <a:pt x="11564" y="2943"/>
                    </a:lnTo>
                    <a:lnTo>
                      <a:pt x="11577" y="2940"/>
                    </a:lnTo>
                    <a:lnTo>
                      <a:pt x="11591" y="2938"/>
                    </a:lnTo>
                    <a:lnTo>
                      <a:pt x="11606" y="2937"/>
                    </a:lnTo>
                    <a:lnTo>
                      <a:pt x="11623" y="2935"/>
                    </a:lnTo>
                    <a:lnTo>
                      <a:pt x="11641" y="2934"/>
                    </a:lnTo>
                    <a:lnTo>
                      <a:pt x="11662" y="2933"/>
                    </a:lnTo>
                    <a:lnTo>
                      <a:pt x="11686" y="2932"/>
                    </a:lnTo>
                    <a:lnTo>
                      <a:pt x="11712" y="2931"/>
                    </a:lnTo>
                    <a:lnTo>
                      <a:pt x="11741" y="2931"/>
                    </a:lnTo>
                    <a:lnTo>
                      <a:pt x="11773" y="2930"/>
                    </a:lnTo>
                    <a:lnTo>
                      <a:pt x="11796" y="2931"/>
                    </a:lnTo>
                    <a:lnTo>
                      <a:pt x="11820" y="2933"/>
                    </a:lnTo>
                    <a:lnTo>
                      <a:pt x="11844" y="2937"/>
                    </a:lnTo>
                    <a:lnTo>
                      <a:pt x="11868" y="2943"/>
                    </a:lnTo>
                    <a:lnTo>
                      <a:pt x="11890" y="2950"/>
                    </a:lnTo>
                    <a:lnTo>
                      <a:pt x="11914" y="2959"/>
                    </a:lnTo>
                    <a:lnTo>
                      <a:pt x="11936" y="2970"/>
                    </a:lnTo>
                    <a:lnTo>
                      <a:pt x="11957" y="2981"/>
                    </a:lnTo>
                    <a:lnTo>
                      <a:pt x="11978" y="2994"/>
                    </a:lnTo>
                    <a:lnTo>
                      <a:pt x="11998" y="3008"/>
                    </a:lnTo>
                    <a:lnTo>
                      <a:pt x="12016" y="3023"/>
                    </a:lnTo>
                    <a:lnTo>
                      <a:pt x="12033" y="3040"/>
                    </a:lnTo>
                    <a:lnTo>
                      <a:pt x="12048" y="3057"/>
                    </a:lnTo>
                    <a:lnTo>
                      <a:pt x="12063" y="3076"/>
                    </a:lnTo>
                    <a:lnTo>
                      <a:pt x="12074" y="3095"/>
                    </a:lnTo>
                    <a:lnTo>
                      <a:pt x="12084" y="3116"/>
                    </a:lnTo>
                    <a:lnTo>
                      <a:pt x="12094" y="3137"/>
                    </a:lnTo>
                    <a:lnTo>
                      <a:pt x="12102" y="3157"/>
                    </a:lnTo>
                    <a:lnTo>
                      <a:pt x="12110" y="3176"/>
                    </a:lnTo>
                    <a:lnTo>
                      <a:pt x="12117" y="3194"/>
                    </a:lnTo>
                    <a:lnTo>
                      <a:pt x="12124" y="3213"/>
                    </a:lnTo>
                    <a:lnTo>
                      <a:pt x="12128" y="3231"/>
                    </a:lnTo>
                    <a:lnTo>
                      <a:pt x="12130" y="3251"/>
                    </a:lnTo>
                    <a:lnTo>
                      <a:pt x="12130" y="3269"/>
                    </a:lnTo>
                    <a:lnTo>
                      <a:pt x="12127" y="3290"/>
                    </a:lnTo>
                    <a:lnTo>
                      <a:pt x="12120" y="3312"/>
                    </a:lnTo>
                    <a:lnTo>
                      <a:pt x="12111" y="3334"/>
                    </a:lnTo>
                    <a:lnTo>
                      <a:pt x="12105" y="3347"/>
                    </a:lnTo>
                    <a:lnTo>
                      <a:pt x="12098" y="3359"/>
                    </a:lnTo>
                    <a:lnTo>
                      <a:pt x="12090" y="3371"/>
                    </a:lnTo>
                    <a:lnTo>
                      <a:pt x="12080" y="3385"/>
                    </a:lnTo>
                    <a:lnTo>
                      <a:pt x="12070" y="3399"/>
                    </a:lnTo>
                    <a:lnTo>
                      <a:pt x="12058" y="3414"/>
                    </a:lnTo>
                    <a:lnTo>
                      <a:pt x="12045" y="3429"/>
                    </a:lnTo>
                    <a:lnTo>
                      <a:pt x="12031" y="3445"/>
                    </a:lnTo>
                    <a:lnTo>
                      <a:pt x="12015" y="3461"/>
                    </a:lnTo>
                    <a:lnTo>
                      <a:pt x="11999" y="3479"/>
                    </a:lnTo>
                    <a:lnTo>
                      <a:pt x="12016" y="3462"/>
                    </a:lnTo>
                    <a:lnTo>
                      <a:pt x="12035" y="3446"/>
                    </a:lnTo>
                    <a:lnTo>
                      <a:pt x="12053" y="3431"/>
                    </a:lnTo>
                    <a:lnTo>
                      <a:pt x="12073" y="3418"/>
                    </a:lnTo>
                    <a:lnTo>
                      <a:pt x="12093" y="3405"/>
                    </a:lnTo>
                    <a:lnTo>
                      <a:pt x="12113" y="3394"/>
                    </a:lnTo>
                    <a:lnTo>
                      <a:pt x="12134" y="3385"/>
                    </a:lnTo>
                    <a:lnTo>
                      <a:pt x="12156" y="3376"/>
                    </a:lnTo>
                    <a:lnTo>
                      <a:pt x="12199" y="3360"/>
                    </a:lnTo>
                    <a:lnTo>
                      <a:pt x="12243" y="3348"/>
                    </a:lnTo>
                    <a:lnTo>
                      <a:pt x="12288" y="3339"/>
                    </a:lnTo>
                    <a:lnTo>
                      <a:pt x="12333" y="3334"/>
                    </a:lnTo>
                    <a:lnTo>
                      <a:pt x="12350" y="3333"/>
                    </a:lnTo>
                    <a:lnTo>
                      <a:pt x="12367" y="3333"/>
                    </a:lnTo>
                    <a:lnTo>
                      <a:pt x="12385" y="3334"/>
                    </a:lnTo>
                    <a:lnTo>
                      <a:pt x="12401" y="3336"/>
                    </a:lnTo>
                    <a:lnTo>
                      <a:pt x="12418" y="3341"/>
                    </a:lnTo>
                    <a:lnTo>
                      <a:pt x="12433" y="3347"/>
                    </a:lnTo>
                    <a:lnTo>
                      <a:pt x="12447" y="3355"/>
                    </a:lnTo>
                    <a:lnTo>
                      <a:pt x="12458" y="3365"/>
                    </a:lnTo>
                    <a:lnTo>
                      <a:pt x="12474" y="3382"/>
                    </a:lnTo>
                    <a:lnTo>
                      <a:pt x="12487" y="3397"/>
                    </a:lnTo>
                    <a:lnTo>
                      <a:pt x="12499" y="3413"/>
                    </a:lnTo>
                    <a:lnTo>
                      <a:pt x="12511" y="3427"/>
                    </a:lnTo>
                    <a:lnTo>
                      <a:pt x="12520" y="3442"/>
                    </a:lnTo>
                    <a:lnTo>
                      <a:pt x="12528" y="3458"/>
                    </a:lnTo>
                    <a:lnTo>
                      <a:pt x="12534" y="3474"/>
                    </a:lnTo>
                    <a:lnTo>
                      <a:pt x="12539" y="3492"/>
                    </a:lnTo>
                    <a:lnTo>
                      <a:pt x="12542" y="3511"/>
                    </a:lnTo>
                    <a:lnTo>
                      <a:pt x="12544" y="3534"/>
                    </a:lnTo>
                    <a:lnTo>
                      <a:pt x="12543" y="3558"/>
                    </a:lnTo>
                    <a:lnTo>
                      <a:pt x="12541" y="3586"/>
                    </a:lnTo>
                    <a:lnTo>
                      <a:pt x="12537" y="3618"/>
                    </a:lnTo>
                    <a:lnTo>
                      <a:pt x="12533" y="3634"/>
                    </a:lnTo>
                    <a:lnTo>
                      <a:pt x="12529" y="3653"/>
                    </a:lnTo>
                    <a:lnTo>
                      <a:pt x="12526" y="3671"/>
                    </a:lnTo>
                    <a:lnTo>
                      <a:pt x="12521" y="3692"/>
                    </a:lnTo>
                    <a:lnTo>
                      <a:pt x="12516" y="3713"/>
                    </a:lnTo>
                    <a:lnTo>
                      <a:pt x="12511" y="3736"/>
                    </a:lnTo>
                    <a:lnTo>
                      <a:pt x="12505" y="3766"/>
                    </a:lnTo>
                    <a:lnTo>
                      <a:pt x="12497" y="3797"/>
                    </a:lnTo>
                    <a:lnTo>
                      <a:pt x="12483" y="3861"/>
                    </a:lnTo>
                    <a:lnTo>
                      <a:pt x="12465" y="3927"/>
                    </a:lnTo>
                    <a:lnTo>
                      <a:pt x="12447" y="3995"/>
                    </a:lnTo>
                    <a:lnTo>
                      <a:pt x="12427" y="4063"/>
                    </a:lnTo>
                    <a:lnTo>
                      <a:pt x="12407" y="4131"/>
                    </a:lnTo>
                    <a:lnTo>
                      <a:pt x="12387" y="4196"/>
                    </a:lnTo>
                    <a:lnTo>
                      <a:pt x="12367" y="4259"/>
                    </a:lnTo>
                    <a:lnTo>
                      <a:pt x="12358" y="4290"/>
                    </a:lnTo>
                    <a:lnTo>
                      <a:pt x="12349" y="4319"/>
                    </a:lnTo>
                    <a:lnTo>
                      <a:pt x="12339" y="4348"/>
                    </a:lnTo>
                    <a:lnTo>
                      <a:pt x="12330" y="4375"/>
                    </a:lnTo>
                    <a:lnTo>
                      <a:pt x="12322" y="4399"/>
                    </a:lnTo>
                    <a:lnTo>
                      <a:pt x="12315" y="4424"/>
                    </a:lnTo>
                    <a:lnTo>
                      <a:pt x="12306" y="4446"/>
                    </a:lnTo>
                    <a:lnTo>
                      <a:pt x="12300" y="4466"/>
                    </a:lnTo>
                    <a:lnTo>
                      <a:pt x="12294" y="4485"/>
                    </a:lnTo>
                    <a:lnTo>
                      <a:pt x="12288" y="4501"/>
                    </a:lnTo>
                    <a:lnTo>
                      <a:pt x="12283" y="4516"/>
                    </a:lnTo>
                    <a:lnTo>
                      <a:pt x="12278" y="4527"/>
                    </a:lnTo>
                    <a:lnTo>
                      <a:pt x="12275" y="4537"/>
                    </a:lnTo>
                    <a:lnTo>
                      <a:pt x="12273" y="4544"/>
                    </a:lnTo>
                    <a:lnTo>
                      <a:pt x="12272" y="4549"/>
                    </a:lnTo>
                    <a:lnTo>
                      <a:pt x="12271" y="4550"/>
                    </a:lnTo>
                    <a:lnTo>
                      <a:pt x="12272" y="4548"/>
                    </a:lnTo>
                    <a:lnTo>
                      <a:pt x="12276" y="4544"/>
                    </a:lnTo>
                    <a:lnTo>
                      <a:pt x="12283" y="4535"/>
                    </a:lnTo>
                    <a:lnTo>
                      <a:pt x="12291" y="4525"/>
                    </a:lnTo>
                    <a:lnTo>
                      <a:pt x="12301" y="4511"/>
                    </a:lnTo>
                    <a:lnTo>
                      <a:pt x="12314" y="4493"/>
                    </a:lnTo>
                    <a:lnTo>
                      <a:pt x="12328" y="4473"/>
                    </a:lnTo>
                    <a:lnTo>
                      <a:pt x="12343" y="4449"/>
                    </a:lnTo>
                    <a:lnTo>
                      <a:pt x="12360" y="4422"/>
                    </a:lnTo>
                    <a:lnTo>
                      <a:pt x="12379" y="4392"/>
                    </a:lnTo>
                    <a:lnTo>
                      <a:pt x="12398" y="4359"/>
                    </a:lnTo>
                    <a:lnTo>
                      <a:pt x="12419" y="4323"/>
                    </a:lnTo>
                    <a:lnTo>
                      <a:pt x="12439" y="4284"/>
                    </a:lnTo>
                    <a:lnTo>
                      <a:pt x="12462" y="4242"/>
                    </a:lnTo>
                    <a:lnTo>
                      <a:pt x="12484" y="4196"/>
                    </a:lnTo>
                    <a:lnTo>
                      <a:pt x="12507" y="4147"/>
                    </a:lnTo>
                    <a:lnTo>
                      <a:pt x="12529" y="4096"/>
                    </a:lnTo>
                    <a:lnTo>
                      <a:pt x="12553" y="4041"/>
                    </a:lnTo>
                    <a:lnTo>
                      <a:pt x="12576" y="3983"/>
                    </a:lnTo>
                    <a:lnTo>
                      <a:pt x="12597" y="3922"/>
                    </a:lnTo>
                    <a:lnTo>
                      <a:pt x="12620" y="3858"/>
                    </a:lnTo>
                    <a:lnTo>
                      <a:pt x="12642" y="3791"/>
                    </a:lnTo>
                    <a:lnTo>
                      <a:pt x="12662" y="3721"/>
                    </a:lnTo>
                    <a:lnTo>
                      <a:pt x="12682" y="3647"/>
                    </a:lnTo>
                    <a:lnTo>
                      <a:pt x="12701" y="3571"/>
                    </a:lnTo>
                    <a:lnTo>
                      <a:pt x="12718" y="3491"/>
                    </a:lnTo>
                    <a:lnTo>
                      <a:pt x="12735" y="3408"/>
                    </a:lnTo>
                    <a:lnTo>
                      <a:pt x="12749" y="3323"/>
                    </a:lnTo>
                    <a:lnTo>
                      <a:pt x="12763" y="3234"/>
                    </a:lnTo>
                    <a:lnTo>
                      <a:pt x="12773" y="3143"/>
                    </a:lnTo>
                    <a:lnTo>
                      <a:pt x="12782" y="3048"/>
                    </a:lnTo>
                    <a:lnTo>
                      <a:pt x="12789" y="2950"/>
                    </a:lnTo>
                    <a:lnTo>
                      <a:pt x="12793" y="2897"/>
                    </a:lnTo>
                    <a:lnTo>
                      <a:pt x="12795" y="2844"/>
                    </a:lnTo>
                    <a:lnTo>
                      <a:pt x="12796" y="2794"/>
                    </a:lnTo>
                    <a:lnTo>
                      <a:pt x="12797" y="2743"/>
                    </a:lnTo>
                    <a:lnTo>
                      <a:pt x="12798" y="2695"/>
                    </a:lnTo>
                    <a:lnTo>
                      <a:pt x="12798" y="2647"/>
                    </a:lnTo>
                    <a:lnTo>
                      <a:pt x="12798" y="2601"/>
                    </a:lnTo>
                    <a:lnTo>
                      <a:pt x="12798" y="2556"/>
                    </a:lnTo>
                    <a:lnTo>
                      <a:pt x="12797" y="2511"/>
                    </a:lnTo>
                    <a:lnTo>
                      <a:pt x="12796" y="2468"/>
                    </a:lnTo>
                    <a:lnTo>
                      <a:pt x="12794" y="2426"/>
                    </a:lnTo>
                    <a:lnTo>
                      <a:pt x="12791" y="2385"/>
                    </a:lnTo>
                    <a:lnTo>
                      <a:pt x="12789" y="2344"/>
                    </a:lnTo>
                    <a:lnTo>
                      <a:pt x="12787" y="2305"/>
                    </a:lnTo>
                    <a:lnTo>
                      <a:pt x="12781" y="2231"/>
                    </a:lnTo>
                    <a:lnTo>
                      <a:pt x="12774" y="2159"/>
                    </a:lnTo>
                    <a:lnTo>
                      <a:pt x="12767" y="2092"/>
                    </a:lnTo>
                    <a:lnTo>
                      <a:pt x="12759" y="2028"/>
                    </a:lnTo>
                    <a:lnTo>
                      <a:pt x="12751" y="1968"/>
                    </a:lnTo>
                    <a:lnTo>
                      <a:pt x="12742" y="1911"/>
                    </a:lnTo>
                    <a:lnTo>
                      <a:pt x="12734" y="1857"/>
                    </a:lnTo>
                    <a:lnTo>
                      <a:pt x="12724" y="1808"/>
                    </a:lnTo>
                    <a:lnTo>
                      <a:pt x="12716" y="1760"/>
                    </a:lnTo>
                    <a:lnTo>
                      <a:pt x="12708" y="1715"/>
                    </a:lnTo>
                    <a:lnTo>
                      <a:pt x="12701" y="1674"/>
                    </a:lnTo>
                    <a:lnTo>
                      <a:pt x="12693" y="1635"/>
                    </a:lnTo>
                    <a:lnTo>
                      <a:pt x="12687" y="1599"/>
                    </a:lnTo>
                    <a:lnTo>
                      <a:pt x="12683" y="1565"/>
                    </a:lnTo>
                    <a:lnTo>
                      <a:pt x="12679" y="1533"/>
                    </a:lnTo>
                    <a:lnTo>
                      <a:pt x="12676" y="1504"/>
                    </a:lnTo>
                    <a:lnTo>
                      <a:pt x="12675" y="1476"/>
                    </a:lnTo>
                    <a:lnTo>
                      <a:pt x="12676" y="1450"/>
                    </a:lnTo>
                    <a:lnTo>
                      <a:pt x="12678" y="1427"/>
                    </a:lnTo>
                    <a:lnTo>
                      <a:pt x="12682" y="1405"/>
                    </a:lnTo>
                    <a:lnTo>
                      <a:pt x="12688" y="1385"/>
                    </a:lnTo>
                    <a:lnTo>
                      <a:pt x="12697" y="1366"/>
                    </a:lnTo>
                    <a:lnTo>
                      <a:pt x="12707" y="1348"/>
                    </a:lnTo>
                    <a:lnTo>
                      <a:pt x="12720" y="1333"/>
                    </a:lnTo>
                    <a:lnTo>
                      <a:pt x="12737" y="1317"/>
                    </a:lnTo>
                    <a:lnTo>
                      <a:pt x="12752" y="1301"/>
                    </a:lnTo>
                    <a:lnTo>
                      <a:pt x="12769" y="1286"/>
                    </a:lnTo>
                    <a:lnTo>
                      <a:pt x="12786" y="1271"/>
                    </a:lnTo>
                    <a:lnTo>
                      <a:pt x="12805" y="1258"/>
                    </a:lnTo>
                    <a:lnTo>
                      <a:pt x="12825" y="1245"/>
                    </a:lnTo>
                    <a:lnTo>
                      <a:pt x="12845" y="1234"/>
                    </a:lnTo>
                    <a:lnTo>
                      <a:pt x="12890" y="1213"/>
                    </a:lnTo>
                    <a:lnTo>
                      <a:pt x="12938" y="1196"/>
                    </a:lnTo>
                    <a:lnTo>
                      <a:pt x="12989" y="1179"/>
                    </a:lnTo>
                    <a:lnTo>
                      <a:pt x="13041" y="1165"/>
                    </a:lnTo>
                    <a:lnTo>
                      <a:pt x="13096" y="1150"/>
                    </a:lnTo>
                    <a:lnTo>
                      <a:pt x="13153" y="1133"/>
                    </a:lnTo>
                    <a:lnTo>
                      <a:pt x="13210" y="1117"/>
                    </a:lnTo>
                    <a:lnTo>
                      <a:pt x="13267" y="1096"/>
                    </a:lnTo>
                    <a:lnTo>
                      <a:pt x="13326" y="1073"/>
                    </a:lnTo>
                    <a:lnTo>
                      <a:pt x="13355" y="1061"/>
                    </a:lnTo>
                    <a:lnTo>
                      <a:pt x="13383" y="1047"/>
                    </a:lnTo>
                    <a:lnTo>
                      <a:pt x="13412" y="1031"/>
                    </a:lnTo>
                    <a:lnTo>
                      <a:pt x="13440" y="1015"/>
                    </a:lnTo>
                    <a:lnTo>
                      <a:pt x="13468" y="997"/>
                    </a:lnTo>
                    <a:lnTo>
                      <a:pt x="13496" y="978"/>
                    </a:lnTo>
                    <a:lnTo>
                      <a:pt x="13522" y="957"/>
                    </a:lnTo>
                    <a:lnTo>
                      <a:pt x="13549" y="934"/>
                    </a:lnTo>
                    <a:lnTo>
                      <a:pt x="13569" y="919"/>
                    </a:lnTo>
                    <a:lnTo>
                      <a:pt x="13588" y="903"/>
                    </a:lnTo>
                    <a:lnTo>
                      <a:pt x="13625" y="868"/>
                    </a:lnTo>
                    <a:lnTo>
                      <a:pt x="13658" y="830"/>
                    </a:lnTo>
                    <a:lnTo>
                      <a:pt x="13689" y="791"/>
                    </a:lnTo>
                    <a:lnTo>
                      <a:pt x="13717" y="750"/>
                    </a:lnTo>
                    <a:lnTo>
                      <a:pt x="13745" y="709"/>
                    </a:lnTo>
                    <a:lnTo>
                      <a:pt x="13772" y="667"/>
                    </a:lnTo>
                    <a:lnTo>
                      <a:pt x="13799" y="626"/>
                    </a:lnTo>
                    <a:lnTo>
                      <a:pt x="13825" y="588"/>
                    </a:lnTo>
                    <a:lnTo>
                      <a:pt x="13852" y="552"/>
                    </a:lnTo>
                    <a:lnTo>
                      <a:pt x="13865" y="536"/>
                    </a:lnTo>
                    <a:lnTo>
                      <a:pt x="13880" y="520"/>
                    </a:lnTo>
                    <a:lnTo>
                      <a:pt x="13894" y="506"/>
                    </a:lnTo>
                    <a:lnTo>
                      <a:pt x="13908" y="491"/>
                    </a:lnTo>
                    <a:lnTo>
                      <a:pt x="13924" y="479"/>
                    </a:lnTo>
                    <a:lnTo>
                      <a:pt x="13939" y="469"/>
                    </a:lnTo>
                    <a:lnTo>
                      <a:pt x="13956" y="458"/>
                    </a:lnTo>
                    <a:lnTo>
                      <a:pt x="13972" y="451"/>
                    </a:lnTo>
                    <a:lnTo>
                      <a:pt x="13990" y="444"/>
                    </a:lnTo>
                    <a:lnTo>
                      <a:pt x="14009" y="440"/>
                    </a:lnTo>
                    <a:lnTo>
                      <a:pt x="14028" y="437"/>
                    </a:lnTo>
                    <a:lnTo>
                      <a:pt x="14048" y="436"/>
                    </a:lnTo>
                    <a:lnTo>
                      <a:pt x="14063" y="438"/>
                    </a:lnTo>
                    <a:lnTo>
                      <a:pt x="14081" y="442"/>
                    </a:lnTo>
                    <a:lnTo>
                      <a:pt x="14100" y="450"/>
                    </a:lnTo>
                    <a:lnTo>
                      <a:pt x="14122" y="463"/>
                    </a:lnTo>
                    <a:lnTo>
                      <a:pt x="14145" y="478"/>
                    </a:lnTo>
                    <a:lnTo>
                      <a:pt x="14170" y="498"/>
                    </a:lnTo>
                    <a:lnTo>
                      <a:pt x="14182" y="509"/>
                    </a:lnTo>
                    <a:lnTo>
                      <a:pt x="14195" y="521"/>
                    </a:lnTo>
                    <a:lnTo>
                      <a:pt x="14209" y="535"/>
                    </a:lnTo>
                    <a:lnTo>
                      <a:pt x="14222" y="549"/>
                    </a:lnTo>
                    <a:lnTo>
                      <a:pt x="14236" y="565"/>
                    </a:lnTo>
                    <a:lnTo>
                      <a:pt x="14250" y="582"/>
                    </a:lnTo>
                    <a:lnTo>
                      <a:pt x="14265" y="600"/>
                    </a:lnTo>
                    <a:lnTo>
                      <a:pt x="14279" y="619"/>
                    </a:lnTo>
                    <a:lnTo>
                      <a:pt x="14294" y="639"/>
                    </a:lnTo>
                    <a:lnTo>
                      <a:pt x="14308" y="660"/>
                    </a:lnTo>
                    <a:lnTo>
                      <a:pt x="14323" y="683"/>
                    </a:lnTo>
                    <a:lnTo>
                      <a:pt x="14338" y="707"/>
                    </a:lnTo>
                    <a:lnTo>
                      <a:pt x="14353" y="732"/>
                    </a:lnTo>
                    <a:lnTo>
                      <a:pt x="14369" y="759"/>
                    </a:lnTo>
                    <a:lnTo>
                      <a:pt x="14384" y="787"/>
                    </a:lnTo>
                    <a:lnTo>
                      <a:pt x="14399" y="816"/>
                    </a:lnTo>
                    <a:lnTo>
                      <a:pt x="14414" y="847"/>
                    </a:lnTo>
                    <a:lnTo>
                      <a:pt x="14430" y="879"/>
                    </a:lnTo>
                    <a:lnTo>
                      <a:pt x="14445" y="912"/>
                    </a:lnTo>
                    <a:lnTo>
                      <a:pt x="14461" y="947"/>
                    </a:lnTo>
                    <a:lnTo>
                      <a:pt x="14476" y="983"/>
                    </a:lnTo>
                    <a:lnTo>
                      <a:pt x="14492" y="1020"/>
                    </a:lnTo>
                    <a:lnTo>
                      <a:pt x="14506" y="1059"/>
                    </a:lnTo>
                    <a:lnTo>
                      <a:pt x="14522" y="1100"/>
                    </a:lnTo>
                    <a:lnTo>
                      <a:pt x="14536" y="1142"/>
                    </a:lnTo>
                    <a:lnTo>
                      <a:pt x="14552" y="1186"/>
                    </a:lnTo>
                    <a:lnTo>
                      <a:pt x="14566" y="1231"/>
                    </a:lnTo>
                    <a:lnTo>
                      <a:pt x="14580" y="1277"/>
                    </a:lnTo>
                    <a:lnTo>
                      <a:pt x="14595" y="1326"/>
                    </a:lnTo>
                    <a:lnTo>
                      <a:pt x="14608" y="1376"/>
                    </a:lnTo>
                    <a:lnTo>
                      <a:pt x="14623" y="1428"/>
                    </a:lnTo>
                    <a:lnTo>
                      <a:pt x="14636" y="1481"/>
                    </a:lnTo>
                    <a:lnTo>
                      <a:pt x="14650" y="1536"/>
                    </a:lnTo>
                    <a:lnTo>
                      <a:pt x="14663" y="1593"/>
                    </a:lnTo>
                    <a:lnTo>
                      <a:pt x="14675" y="1651"/>
                    </a:lnTo>
                    <a:lnTo>
                      <a:pt x="14688" y="1712"/>
                    </a:lnTo>
                    <a:lnTo>
                      <a:pt x="14700" y="1774"/>
                    </a:lnTo>
                    <a:lnTo>
                      <a:pt x="14712" y="1838"/>
                    </a:lnTo>
                    <a:lnTo>
                      <a:pt x="14723" y="1903"/>
                    </a:lnTo>
                    <a:lnTo>
                      <a:pt x="14734" y="1971"/>
                    </a:lnTo>
                    <a:lnTo>
                      <a:pt x="14745" y="2040"/>
                    </a:lnTo>
                    <a:lnTo>
                      <a:pt x="14754" y="2111"/>
                    </a:lnTo>
                    <a:lnTo>
                      <a:pt x="14764" y="2184"/>
                    </a:lnTo>
                    <a:lnTo>
                      <a:pt x="14774" y="2259"/>
                    </a:lnTo>
                    <a:lnTo>
                      <a:pt x="14782" y="2335"/>
                    </a:lnTo>
                    <a:lnTo>
                      <a:pt x="14790" y="2414"/>
                    </a:lnTo>
                    <a:lnTo>
                      <a:pt x="14797" y="2495"/>
                    </a:lnTo>
                    <a:lnTo>
                      <a:pt x="14805" y="2578"/>
                    </a:lnTo>
                    <a:lnTo>
                      <a:pt x="14812" y="2663"/>
                    </a:lnTo>
                    <a:lnTo>
                      <a:pt x="14817" y="2749"/>
                    </a:lnTo>
                    <a:lnTo>
                      <a:pt x="14822" y="2839"/>
                    </a:lnTo>
                    <a:lnTo>
                      <a:pt x="14827" y="2930"/>
                    </a:lnTo>
                    <a:lnTo>
                      <a:pt x="14830" y="3041"/>
                    </a:lnTo>
                    <a:lnTo>
                      <a:pt x="14832" y="3151"/>
                    </a:lnTo>
                    <a:lnTo>
                      <a:pt x="14831" y="3260"/>
                    </a:lnTo>
                    <a:lnTo>
                      <a:pt x="14829" y="3366"/>
                    </a:lnTo>
                    <a:lnTo>
                      <a:pt x="14825" y="3471"/>
                    </a:lnTo>
                    <a:lnTo>
                      <a:pt x="14819" y="3575"/>
                    </a:lnTo>
                    <a:lnTo>
                      <a:pt x="14811" y="3677"/>
                    </a:lnTo>
                    <a:lnTo>
                      <a:pt x="14800" y="3777"/>
                    </a:lnTo>
                    <a:lnTo>
                      <a:pt x="14789" y="3876"/>
                    </a:lnTo>
                    <a:lnTo>
                      <a:pt x="14777" y="3974"/>
                    </a:lnTo>
                    <a:lnTo>
                      <a:pt x="14761" y="4069"/>
                    </a:lnTo>
                    <a:lnTo>
                      <a:pt x="14746" y="4162"/>
                    </a:lnTo>
                    <a:lnTo>
                      <a:pt x="14727" y="4255"/>
                    </a:lnTo>
                    <a:lnTo>
                      <a:pt x="14707" y="4346"/>
                    </a:lnTo>
                    <a:lnTo>
                      <a:pt x="14687" y="4434"/>
                    </a:lnTo>
                    <a:lnTo>
                      <a:pt x="14664" y="4522"/>
                    </a:lnTo>
                    <a:lnTo>
                      <a:pt x="14640" y="4607"/>
                    </a:lnTo>
                    <a:lnTo>
                      <a:pt x="14615" y="4691"/>
                    </a:lnTo>
                    <a:lnTo>
                      <a:pt x="14589" y="4773"/>
                    </a:lnTo>
                    <a:lnTo>
                      <a:pt x="14560" y="4854"/>
                    </a:lnTo>
                    <a:lnTo>
                      <a:pt x="14531" y="4932"/>
                    </a:lnTo>
                    <a:lnTo>
                      <a:pt x="14500" y="5009"/>
                    </a:lnTo>
                    <a:lnTo>
                      <a:pt x="14469" y="5085"/>
                    </a:lnTo>
                    <a:lnTo>
                      <a:pt x="14436" y="5159"/>
                    </a:lnTo>
                    <a:lnTo>
                      <a:pt x="14402" y="5231"/>
                    </a:lnTo>
                    <a:lnTo>
                      <a:pt x="14366" y="5301"/>
                    </a:lnTo>
                    <a:lnTo>
                      <a:pt x="14330" y="5370"/>
                    </a:lnTo>
                    <a:lnTo>
                      <a:pt x="14292" y="5437"/>
                    </a:lnTo>
                    <a:lnTo>
                      <a:pt x="14254" y="5502"/>
                    </a:lnTo>
                    <a:lnTo>
                      <a:pt x="14215" y="5565"/>
                    </a:lnTo>
                    <a:lnTo>
                      <a:pt x="14175" y="5627"/>
                    </a:lnTo>
                    <a:lnTo>
                      <a:pt x="14134" y="5687"/>
                    </a:lnTo>
                    <a:lnTo>
                      <a:pt x="14091" y="5746"/>
                    </a:lnTo>
                    <a:lnTo>
                      <a:pt x="14048" y="5802"/>
                    </a:lnTo>
                    <a:lnTo>
                      <a:pt x="14004" y="5857"/>
                    </a:lnTo>
                    <a:lnTo>
                      <a:pt x="13960" y="5909"/>
                    </a:lnTo>
                    <a:lnTo>
                      <a:pt x="13915" y="5961"/>
                    </a:lnTo>
                    <a:lnTo>
                      <a:pt x="13869" y="6010"/>
                    </a:lnTo>
                    <a:lnTo>
                      <a:pt x="13823" y="6059"/>
                    </a:lnTo>
                    <a:lnTo>
                      <a:pt x="13775" y="6104"/>
                    </a:lnTo>
                    <a:lnTo>
                      <a:pt x="13728" y="6148"/>
                    </a:lnTo>
                    <a:lnTo>
                      <a:pt x="13679" y="6192"/>
                    </a:lnTo>
                    <a:lnTo>
                      <a:pt x="13631" y="6232"/>
                    </a:lnTo>
                    <a:lnTo>
                      <a:pt x="13581" y="6271"/>
                    </a:lnTo>
                    <a:lnTo>
                      <a:pt x="13532" y="6308"/>
                    </a:lnTo>
                    <a:lnTo>
                      <a:pt x="13482" y="6343"/>
                    </a:lnTo>
                    <a:lnTo>
                      <a:pt x="13432" y="6377"/>
                    </a:lnTo>
                    <a:lnTo>
                      <a:pt x="13381" y="6409"/>
                    </a:lnTo>
                    <a:lnTo>
                      <a:pt x="13329" y="6439"/>
                    </a:lnTo>
                    <a:lnTo>
                      <a:pt x="13278" y="6467"/>
                    </a:lnTo>
                    <a:lnTo>
                      <a:pt x="13226" y="6493"/>
                    </a:lnTo>
                    <a:lnTo>
                      <a:pt x="13174" y="6517"/>
                    </a:lnTo>
                    <a:lnTo>
                      <a:pt x="13123" y="6541"/>
                    </a:lnTo>
                    <a:lnTo>
                      <a:pt x="13071" y="6561"/>
                    </a:lnTo>
                    <a:lnTo>
                      <a:pt x="13019" y="6580"/>
                    </a:lnTo>
                    <a:lnTo>
                      <a:pt x="12967" y="6598"/>
                    </a:lnTo>
                    <a:lnTo>
                      <a:pt x="12914" y="6613"/>
                    </a:lnTo>
                    <a:lnTo>
                      <a:pt x="12863" y="6626"/>
                    </a:lnTo>
                    <a:lnTo>
                      <a:pt x="12810" y="6638"/>
                    </a:lnTo>
                    <a:lnTo>
                      <a:pt x="12758" y="6648"/>
                    </a:lnTo>
                    <a:lnTo>
                      <a:pt x="12707" y="6656"/>
                    </a:lnTo>
                    <a:lnTo>
                      <a:pt x="12655" y="6662"/>
                    </a:lnTo>
                    <a:lnTo>
                      <a:pt x="12604" y="6667"/>
                    </a:lnTo>
                    <a:lnTo>
                      <a:pt x="12552" y="6669"/>
                    </a:lnTo>
                    <a:lnTo>
                      <a:pt x="12458" y="6669"/>
                    </a:lnTo>
                    <a:lnTo>
                      <a:pt x="12375" y="6668"/>
                    </a:lnTo>
                    <a:lnTo>
                      <a:pt x="12294" y="6665"/>
                    </a:lnTo>
                    <a:lnTo>
                      <a:pt x="12214" y="6660"/>
                    </a:lnTo>
                    <a:lnTo>
                      <a:pt x="12136" y="6654"/>
                    </a:lnTo>
                    <a:lnTo>
                      <a:pt x="12059" y="6647"/>
                    </a:lnTo>
                    <a:lnTo>
                      <a:pt x="11982" y="6638"/>
                    </a:lnTo>
                    <a:lnTo>
                      <a:pt x="11908" y="6627"/>
                    </a:lnTo>
                    <a:lnTo>
                      <a:pt x="11835" y="6615"/>
                    </a:lnTo>
                    <a:lnTo>
                      <a:pt x="11762" y="6602"/>
                    </a:lnTo>
                    <a:lnTo>
                      <a:pt x="11691" y="6587"/>
                    </a:lnTo>
                    <a:lnTo>
                      <a:pt x="11622" y="6571"/>
                    </a:lnTo>
                    <a:lnTo>
                      <a:pt x="11554" y="6553"/>
                    </a:lnTo>
                    <a:lnTo>
                      <a:pt x="11487" y="6536"/>
                    </a:lnTo>
                    <a:lnTo>
                      <a:pt x="11422" y="6516"/>
                    </a:lnTo>
                    <a:lnTo>
                      <a:pt x="11358" y="6496"/>
                    </a:lnTo>
                    <a:lnTo>
                      <a:pt x="11295" y="6474"/>
                    </a:lnTo>
                    <a:lnTo>
                      <a:pt x="11233" y="6451"/>
                    </a:lnTo>
                    <a:lnTo>
                      <a:pt x="11173" y="6429"/>
                    </a:lnTo>
                    <a:lnTo>
                      <a:pt x="11114" y="6404"/>
                    </a:lnTo>
                    <a:lnTo>
                      <a:pt x="11056" y="6379"/>
                    </a:lnTo>
                    <a:lnTo>
                      <a:pt x="11000" y="6354"/>
                    </a:lnTo>
                    <a:lnTo>
                      <a:pt x="10946" y="6328"/>
                    </a:lnTo>
                    <a:lnTo>
                      <a:pt x="10892" y="6302"/>
                    </a:lnTo>
                    <a:lnTo>
                      <a:pt x="10839" y="6274"/>
                    </a:lnTo>
                    <a:lnTo>
                      <a:pt x="10788" y="6246"/>
                    </a:lnTo>
                    <a:lnTo>
                      <a:pt x="10738" y="6218"/>
                    </a:lnTo>
                    <a:lnTo>
                      <a:pt x="10690" y="6191"/>
                    </a:lnTo>
                    <a:lnTo>
                      <a:pt x="10643" y="6162"/>
                    </a:lnTo>
                    <a:lnTo>
                      <a:pt x="10597" y="6133"/>
                    </a:lnTo>
                    <a:lnTo>
                      <a:pt x="10552" y="6104"/>
                    </a:lnTo>
                    <a:lnTo>
                      <a:pt x="10509" y="6074"/>
                    </a:lnTo>
                    <a:lnTo>
                      <a:pt x="10468" y="6045"/>
                    </a:lnTo>
                    <a:lnTo>
                      <a:pt x="10426" y="6017"/>
                    </a:lnTo>
                    <a:lnTo>
                      <a:pt x="10387" y="5987"/>
                    </a:lnTo>
                    <a:lnTo>
                      <a:pt x="10349" y="5958"/>
                    </a:lnTo>
                    <a:lnTo>
                      <a:pt x="10313" y="5929"/>
                    </a:lnTo>
                    <a:lnTo>
                      <a:pt x="10278" y="5900"/>
                    </a:lnTo>
                    <a:lnTo>
                      <a:pt x="10243" y="5872"/>
                    </a:lnTo>
                    <a:lnTo>
                      <a:pt x="10211" y="5845"/>
                    </a:lnTo>
                    <a:lnTo>
                      <a:pt x="10179" y="5817"/>
                    </a:lnTo>
                    <a:lnTo>
                      <a:pt x="10149" y="5790"/>
                    </a:lnTo>
                    <a:lnTo>
                      <a:pt x="10120" y="5763"/>
                    </a:lnTo>
                    <a:lnTo>
                      <a:pt x="10092" y="5736"/>
                    </a:lnTo>
                    <a:lnTo>
                      <a:pt x="10066" y="5712"/>
                    </a:lnTo>
                    <a:lnTo>
                      <a:pt x="10040" y="5687"/>
                    </a:lnTo>
                    <a:lnTo>
                      <a:pt x="10017" y="5662"/>
                    </a:lnTo>
                    <a:lnTo>
                      <a:pt x="9994" y="5640"/>
                    </a:lnTo>
                    <a:lnTo>
                      <a:pt x="9973" y="5617"/>
                    </a:lnTo>
                    <a:lnTo>
                      <a:pt x="9954" y="5595"/>
                    </a:lnTo>
                    <a:lnTo>
                      <a:pt x="9935" y="5575"/>
                    </a:lnTo>
                    <a:lnTo>
                      <a:pt x="9918" y="5556"/>
                    </a:lnTo>
                    <a:lnTo>
                      <a:pt x="9901" y="5538"/>
                    </a:lnTo>
                    <a:lnTo>
                      <a:pt x="9887" y="5520"/>
                    </a:lnTo>
                    <a:lnTo>
                      <a:pt x="9873" y="5504"/>
                    </a:lnTo>
                    <a:lnTo>
                      <a:pt x="9861" y="5489"/>
                    </a:lnTo>
                    <a:lnTo>
                      <a:pt x="9850" y="5476"/>
                    </a:lnTo>
                    <a:lnTo>
                      <a:pt x="9840" y="5463"/>
                    </a:lnTo>
                    <a:lnTo>
                      <a:pt x="9832" y="5453"/>
                    </a:lnTo>
                    <a:lnTo>
                      <a:pt x="9826" y="5444"/>
                    </a:lnTo>
                    <a:lnTo>
                      <a:pt x="9819" y="5437"/>
                    </a:lnTo>
                    <a:lnTo>
                      <a:pt x="9815" y="5430"/>
                    </a:lnTo>
                    <a:lnTo>
                      <a:pt x="9812" y="5426"/>
                    </a:lnTo>
                    <a:lnTo>
                      <a:pt x="9810" y="5423"/>
                    </a:lnTo>
                    <a:lnTo>
                      <a:pt x="9809" y="5422"/>
                    </a:lnTo>
                    <a:lnTo>
                      <a:pt x="9809" y="5423"/>
                    </a:lnTo>
                    <a:lnTo>
                      <a:pt x="9808" y="5427"/>
                    </a:lnTo>
                    <a:lnTo>
                      <a:pt x="9807" y="5434"/>
                    </a:lnTo>
                    <a:lnTo>
                      <a:pt x="9806" y="5443"/>
                    </a:lnTo>
                    <a:lnTo>
                      <a:pt x="9805" y="5454"/>
                    </a:lnTo>
                    <a:lnTo>
                      <a:pt x="9803" y="5468"/>
                    </a:lnTo>
                    <a:lnTo>
                      <a:pt x="9801" y="5484"/>
                    </a:lnTo>
                    <a:lnTo>
                      <a:pt x="9799" y="5502"/>
                    </a:lnTo>
                    <a:lnTo>
                      <a:pt x="9797" y="5521"/>
                    </a:lnTo>
                    <a:lnTo>
                      <a:pt x="9795" y="5543"/>
                    </a:lnTo>
                    <a:lnTo>
                      <a:pt x="9792" y="5567"/>
                    </a:lnTo>
                    <a:lnTo>
                      <a:pt x="9790" y="5592"/>
                    </a:lnTo>
                    <a:lnTo>
                      <a:pt x="9786" y="5620"/>
                    </a:lnTo>
                    <a:lnTo>
                      <a:pt x="9784" y="5649"/>
                    </a:lnTo>
                    <a:lnTo>
                      <a:pt x="9781" y="5679"/>
                    </a:lnTo>
                    <a:lnTo>
                      <a:pt x="9779" y="5711"/>
                    </a:lnTo>
                    <a:lnTo>
                      <a:pt x="9777" y="5745"/>
                    </a:lnTo>
                    <a:lnTo>
                      <a:pt x="9775" y="5779"/>
                    </a:lnTo>
                    <a:lnTo>
                      <a:pt x="9773" y="5815"/>
                    </a:lnTo>
                    <a:lnTo>
                      <a:pt x="9772" y="5852"/>
                    </a:lnTo>
                    <a:lnTo>
                      <a:pt x="9770" y="5890"/>
                    </a:lnTo>
                    <a:lnTo>
                      <a:pt x="9769" y="5928"/>
                    </a:lnTo>
                    <a:lnTo>
                      <a:pt x="9768" y="6009"/>
                    </a:lnTo>
                    <a:lnTo>
                      <a:pt x="9769" y="6093"/>
                    </a:lnTo>
                    <a:lnTo>
                      <a:pt x="9771" y="6178"/>
                    </a:lnTo>
                    <a:lnTo>
                      <a:pt x="9775" y="6265"/>
                    </a:lnTo>
                    <a:lnTo>
                      <a:pt x="9782" y="6353"/>
                    </a:lnTo>
                    <a:lnTo>
                      <a:pt x="9792" y="6442"/>
                    </a:lnTo>
                    <a:lnTo>
                      <a:pt x="9804" y="6530"/>
                    </a:lnTo>
                    <a:lnTo>
                      <a:pt x="9819" y="6617"/>
                    </a:lnTo>
                    <a:lnTo>
                      <a:pt x="9838" y="6702"/>
                    </a:lnTo>
                    <a:lnTo>
                      <a:pt x="9861" y="6785"/>
                    </a:lnTo>
                    <a:lnTo>
                      <a:pt x="9873" y="6825"/>
                    </a:lnTo>
                    <a:lnTo>
                      <a:pt x="9888" y="6865"/>
                    </a:lnTo>
                    <a:lnTo>
                      <a:pt x="9902" y="6903"/>
                    </a:lnTo>
                    <a:lnTo>
                      <a:pt x="9919" y="6942"/>
                    </a:lnTo>
                    <a:lnTo>
                      <a:pt x="9935" y="6978"/>
                    </a:lnTo>
                    <a:lnTo>
                      <a:pt x="9954" y="7014"/>
                    </a:lnTo>
                    <a:lnTo>
                      <a:pt x="9973" y="7048"/>
                    </a:lnTo>
                    <a:lnTo>
                      <a:pt x="9994" y="7081"/>
                    </a:lnTo>
                    <a:lnTo>
                      <a:pt x="10016" y="7112"/>
                    </a:lnTo>
                    <a:lnTo>
                      <a:pt x="10039" y="7141"/>
                    </a:lnTo>
                    <a:lnTo>
                      <a:pt x="10064" y="7170"/>
                    </a:lnTo>
                    <a:lnTo>
                      <a:pt x="10090" y="7197"/>
                    </a:lnTo>
                    <a:lnTo>
                      <a:pt x="10118" y="7222"/>
                    </a:lnTo>
                    <a:lnTo>
                      <a:pt x="10147" y="7244"/>
                    </a:lnTo>
                    <a:lnTo>
                      <a:pt x="10177" y="7266"/>
                    </a:lnTo>
                    <a:lnTo>
                      <a:pt x="10209" y="7286"/>
                    </a:lnTo>
                    <a:lnTo>
                      <a:pt x="10242" y="7302"/>
                    </a:lnTo>
                    <a:lnTo>
                      <a:pt x="10277" y="7318"/>
                    </a:lnTo>
                    <a:lnTo>
                      <a:pt x="10313" y="7330"/>
                    </a:lnTo>
                    <a:lnTo>
                      <a:pt x="10351" y="7341"/>
                    </a:lnTo>
                    <a:lnTo>
                      <a:pt x="10391" y="7349"/>
                    </a:lnTo>
                    <a:lnTo>
                      <a:pt x="10433" y="7355"/>
                    </a:lnTo>
                    <a:lnTo>
                      <a:pt x="10495" y="7355"/>
                    </a:lnTo>
                    <a:lnTo>
                      <a:pt x="10535" y="7353"/>
                    </a:lnTo>
                    <a:lnTo>
                      <a:pt x="10574" y="7348"/>
                    </a:lnTo>
                    <a:lnTo>
                      <a:pt x="10612" y="7340"/>
                    </a:lnTo>
                    <a:lnTo>
                      <a:pt x="10649" y="7329"/>
                    </a:lnTo>
                    <a:lnTo>
                      <a:pt x="10686" y="7315"/>
                    </a:lnTo>
                    <a:lnTo>
                      <a:pt x="10720" y="7300"/>
                    </a:lnTo>
                    <a:lnTo>
                      <a:pt x="10754" y="7282"/>
                    </a:lnTo>
                    <a:lnTo>
                      <a:pt x="10786" y="7262"/>
                    </a:lnTo>
                    <a:lnTo>
                      <a:pt x="10817" y="7240"/>
                    </a:lnTo>
                    <a:lnTo>
                      <a:pt x="10847" y="7218"/>
                    </a:lnTo>
                    <a:lnTo>
                      <a:pt x="10876" y="7193"/>
                    </a:lnTo>
                    <a:lnTo>
                      <a:pt x="10903" y="7167"/>
                    </a:lnTo>
                    <a:lnTo>
                      <a:pt x="10929" y="7140"/>
                    </a:lnTo>
                    <a:lnTo>
                      <a:pt x="10955" y="7114"/>
                    </a:lnTo>
                    <a:lnTo>
                      <a:pt x="10979" y="7086"/>
                    </a:lnTo>
                    <a:lnTo>
                      <a:pt x="11001" y="7059"/>
                    </a:lnTo>
                    <a:lnTo>
                      <a:pt x="11022" y="7031"/>
                    </a:lnTo>
                    <a:lnTo>
                      <a:pt x="11043" y="7003"/>
                    </a:lnTo>
                    <a:lnTo>
                      <a:pt x="11061" y="6977"/>
                    </a:lnTo>
                    <a:lnTo>
                      <a:pt x="11078" y="6950"/>
                    </a:lnTo>
                    <a:lnTo>
                      <a:pt x="11094" y="6924"/>
                    </a:lnTo>
                    <a:lnTo>
                      <a:pt x="11109" y="6899"/>
                    </a:lnTo>
                    <a:lnTo>
                      <a:pt x="11122" y="6877"/>
                    </a:lnTo>
                    <a:lnTo>
                      <a:pt x="11135" y="6855"/>
                    </a:lnTo>
                    <a:lnTo>
                      <a:pt x="11145" y="6835"/>
                    </a:lnTo>
                    <a:lnTo>
                      <a:pt x="11154" y="6817"/>
                    </a:lnTo>
                    <a:lnTo>
                      <a:pt x="11162" y="6801"/>
                    </a:lnTo>
                    <a:lnTo>
                      <a:pt x="11169" y="6788"/>
                    </a:lnTo>
                    <a:lnTo>
                      <a:pt x="11174" y="6777"/>
                    </a:lnTo>
                    <a:lnTo>
                      <a:pt x="11177" y="6769"/>
                    </a:lnTo>
                    <a:lnTo>
                      <a:pt x="11179" y="6764"/>
                    </a:lnTo>
                    <a:lnTo>
                      <a:pt x="11180" y="6762"/>
                    </a:lnTo>
                    <a:lnTo>
                      <a:pt x="11336" y="6793"/>
                    </a:lnTo>
                    <a:lnTo>
                      <a:pt x="11336" y="6794"/>
                    </a:lnTo>
                    <a:lnTo>
                      <a:pt x="11335" y="6796"/>
                    </a:lnTo>
                    <a:lnTo>
                      <a:pt x="11334" y="6799"/>
                    </a:lnTo>
                    <a:lnTo>
                      <a:pt x="11333" y="6804"/>
                    </a:lnTo>
                    <a:lnTo>
                      <a:pt x="11332" y="6810"/>
                    </a:lnTo>
                    <a:lnTo>
                      <a:pt x="11330" y="6816"/>
                    </a:lnTo>
                    <a:lnTo>
                      <a:pt x="11327" y="6824"/>
                    </a:lnTo>
                    <a:lnTo>
                      <a:pt x="11324" y="6833"/>
                    </a:lnTo>
                    <a:lnTo>
                      <a:pt x="11317" y="6855"/>
                    </a:lnTo>
                    <a:lnTo>
                      <a:pt x="11308" y="6880"/>
                    </a:lnTo>
                    <a:lnTo>
                      <a:pt x="11298" y="6908"/>
                    </a:lnTo>
                    <a:lnTo>
                      <a:pt x="11286" y="6939"/>
                    </a:lnTo>
                    <a:lnTo>
                      <a:pt x="11272" y="6973"/>
                    </a:lnTo>
                    <a:lnTo>
                      <a:pt x="11256" y="7011"/>
                    </a:lnTo>
                    <a:lnTo>
                      <a:pt x="11239" y="7049"/>
                    </a:lnTo>
                    <a:lnTo>
                      <a:pt x="11219" y="7089"/>
                    </a:lnTo>
                    <a:lnTo>
                      <a:pt x="11198" y="7131"/>
                    </a:lnTo>
                    <a:lnTo>
                      <a:pt x="11175" y="7173"/>
                    </a:lnTo>
                    <a:lnTo>
                      <a:pt x="11149" y="7218"/>
                    </a:lnTo>
                    <a:lnTo>
                      <a:pt x="11122" y="7261"/>
                    </a:lnTo>
                    <a:lnTo>
                      <a:pt x="11092" y="7305"/>
                    </a:lnTo>
                    <a:lnTo>
                      <a:pt x="11061" y="7348"/>
                    </a:lnTo>
                    <a:lnTo>
                      <a:pt x="11027" y="7391"/>
                    </a:lnTo>
                    <a:lnTo>
                      <a:pt x="10991" y="7433"/>
                    </a:lnTo>
                    <a:lnTo>
                      <a:pt x="10953" y="7473"/>
                    </a:lnTo>
                    <a:lnTo>
                      <a:pt x="10912" y="7511"/>
                    </a:lnTo>
                    <a:lnTo>
                      <a:pt x="10869" y="7548"/>
                    </a:lnTo>
                    <a:lnTo>
                      <a:pt x="10824" y="7582"/>
                    </a:lnTo>
                    <a:lnTo>
                      <a:pt x="10776" y="7614"/>
                    </a:lnTo>
                    <a:lnTo>
                      <a:pt x="10726" y="7642"/>
                    </a:lnTo>
                    <a:lnTo>
                      <a:pt x="10673" y="7667"/>
                    </a:lnTo>
                    <a:lnTo>
                      <a:pt x="10617" y="7688"/>
                    </a:lnTo>
                    <a:lnTo>
                      <a:pt x="10590" y="7698"/>
                    </a:lnTo>
                    <a:lnTo>
                      <a:pt x="10560" y="7706"/>
                    </a:lnTo>
                    <a:lnTo>
                      <a:pt x="10530" y="7712"/>
                    </a:lnTo>
                    <a:lnTo>
                      <a:pt x="10500" y="7718"/>
                    </a:lnTo>
                    <a:lnTo>
                      <a:pt x="10469" y="7722"/>
                    </a:lnTo>
                    <a:lnTo>
                      <a:pt x="10437" y="7725"/>
                    </a:lnTo>
                    <a:lnTo>
                      <a:pt x="10404" y="7727"/>
                    </a:lnTo>
                    <a:lnTo>
                      <a:pt x="10371" y="7729"/>
                    </a:lnTo>
                    <a:lnTo>
                      <a:pt x="10324" y="7727"/>
                    </a:lnTo>
                    <a:lnTo>
                      <a:pt x="10277" y="7722"/>
                    </a:lnTo>
                    <a:lnTo>
                      <a:pt x="10230" y="7715"/>
                    </a:lnTo>
                    <a:lnTo>
                      <a:pt x="10184" y="7705"/>
                    </a:lnTo>
                    <a:lnTo>
                      <a:pt x="10136" y="7692"/>
                    </a:lnTo>
                    <a:lnTo>
                      <a:pt x="10090" y="7676"/>
                    </a:lnTo>
                    <a:lnTo>
                      <a:pt x="10042" y="7656"/>
                    </a:lnTo>
                    <a:lnTo>
                      <a:pt x="9996" y="7635"/>
                    </a:lnTo>
                    <a:lnTo>
                      <a:pt x="9943" y="7610"/>
                    </a:lnTo>
                    <a:lnTo>
                      <a:pt x="9889" y="7581"/>
                    </a:lnTo>
                    <a:lnTo>
                      <a:pt x="9833" y="7549"/>
                    </a:lnTo>
                    <a:lnTo>
                      <a:pt x="9778" y="7515"/>
                    </a:lnTo>
                    <a:lnTo>
                      <a:pt x="9721" y="7478"/>
                    </a:lnTo>
                    <a:lnTo>
                      <a:pt x="9666" y="7439"/>
                    </a:lnTo>
                    <a:lnTo>
                      <a:pt x="9611" y="7398"/>
                    </a:lnTo>
                    <a:lnTo>
                      <a:pt x="9556" y="7355"/>
                    </a:lnTo>
                    <a:lnTo>
                      <a:pt x="9503" y="7310"/>
                    </a:lnTo>
                    <a:lnTo>
                      <a:pt x="9450" y="7264"/>
                    </a:lnTo>
                    <a:lnTo>
                      <a:pt x="9400" y="7218"/>
                    </a:lnTo>
                    <a:lnTo>
                      <a:pt x="9352" y="7170"/>
                    </a:lnTo>
                    <a:lnTo>
                      <a:pt x="9305" y="7123"/>
                    </a:lnTo>
                    <a:lnTo>
                      <a:pt x="9263" y="7075"/>
                    </a:lnTo>
                    <a:lnTo>
                      <a:pt x="9223" y="7028"/>
                    </a:lnTo>
                    <a:lnTo>
                      <a:pt x="9186" y="6981"/>
                    </a:lnTo>
                    <a:lnTo>
                      <a:pt x="9136" y="6968"/>
                    </a:lnTo>
                    <a:lnTo>
                      <a:pt x="9086" y="6953"/>
                    </a:lnTo>
                    <a:lnTo>
                      <a:pt x="9038" y="6936"/>
                    </a:lnTo>
                    <a:lnTo>
                      <a:pt x="8989" y="6918"/>
                    </a:lnTo>
                    <a:lnTo>
                      <a:pt x="8941" y="6898"/>
                    </a:lnTo>
                    <a:lnTo>
                      <a:pt x="8894" y="6877"/>
                    </a:lnTo>
                    <a:lnTo>
                      <a:pt x="8847" y="6854"/>
                    </a:lnTo>
                    <a:lnTo>
                      <a:pt x="8802" y="6830"/>
                    </a:lnTo>
                    <a:lnTo>
                      <a:pt x="8756" y="6807"/>
                    </a:lnTo>
                    <a:lnTo>
                      <a:pt x="8713" y="6781"/>
                    </a:lnTo>
                    <a:lnTo>
                      <a:pt x="8669" y="6755"/>
                    </a:lnTo>
                    <a:lnTo>
                      <a:pt x="8627" y="6728"/>
                    </a:lnTo>
                    <a:lnTo>
                      <a:pt x="8587" y="6703"/>
                    </a:lnTo>
                    <a:lnTo>
                      <a:pt x="8548" y="6676"/>
                    </a:lnTo>
                    <a:lnTo>
                      <a:pt x="8509" y="6649"/>
                    </a:lnTo>
                    <a:lnTo>
                      <a:pt x="8473" y="6622"/>
                    </a:lnTo>
                    <a:lnTo>
                      <a:pt x="8438" y="6596"/>
                    </a:lnTo>
                    <a:lnTo>
                      <a:pt x="8404" y="6571"/>
                    </a:lnTo>
                    <a:lnTo>
                      <a:pt x="8373" y="6546"/>
                    </a:lnTo>
                    <a:lnTo>
                      <a:pt x="8343" y="6522"/>
                    </a:lnTo>
                    <a:lnTo>
                      <a:pt x="8315" y="6499"/>
                    </a:lnTo>
                    <a:lnTo>
                      <a:pt x="8290" y="6477"/>
                    </a:lnTo>
                    <a:lnTo>
                      <a:pt x="8266" y="6456"/>
                    </a:lnTo>
                    <a:lnTo>
                      <a:pt x="8244" y="6438"/>
                    </a:lnTo>
                    <a:lnTo>
                      <a:pt x="8225" y="6420"/>
                    </a:lnTo>
                    <a:lnTo>
                      <a:pt x="8207" y="6404"/>
                    </a:lnTo>
                    <a:lnTo>
                      <a:pt x="8193" y="6390"/>
                    </a:lnTo>
                    <a:lnTo>
                      <a:pt x="8180" y="6379"/>
                    </a:lnTo>
                    <a:lnTo>
                      <a:pt x="8170" y="6370"/>
                    </a:lnTo>
                    <a:lnTo>
                      <a:pt x="8164" y="6363"/>
                    </a:lnTo>
                    <a:lnTo>
                      <a:pt x="8158" y="6359"/>
                    </a:lnTo>
                    <a:lnTo>
                      <a:pt x="8157" y="6358"/>
                    </a:lnTo>
                    <a:lnTo>
                      <a:pt x="8157" y="6360"/>
                    </a:lnTo>
                    <a:lnTo>
                      <a:pt x="8159" y="6365"/>
                    </a:lnTo>
                    <a:lnTo>
                      <a:pt x="8162" y="6374"/>
                    </a:lnTo>
                    <a:lnTo>
                      <a:pt x="8166" y="6385"/>
                    </a:lnTo>
                    <a:lnTo>
                      <a:pt x="8171" y="6401"/>
                    </a:lnTo>
                    <a:lnTo>
                      <a:pt x="8177" y="6420"/>
                    </a:lnTo>
                    <a:lnTo>
                      <a:pt x="8185" y="6442"/>
                    </a:lnTo>
                    <a:lnTo>
                      <a:pt x="8197" y="6467"/>
                    </a:lnTo>
                    <a:lnTo>
                      <a:pt x="8209" y="6495"/>
                    </a:lnTo>
                    <a:lnTo>
                      <a:pt x="8225" y="6524"/>
                    </a:lnTo>
                    <a:lnTo>
                      <a:pt x="8242" y="6558"/>
                    </a:lnTo>
                    <a:lnTo>
                      <a:pt x="8263" y="6594"/>
                    </a:lnTo>
                    <a:lnTo>
                      <a:pt x="8285" y="6633"/>
                    </a:lnTo>
                    <a:lnTo>
                      <a:pt x="8312" y="6674"/>
                    </a:lnTo>
                    <a:lnTo>
                      <a:pt x="8342" y="6717"/>
                    </a:lnTo>
                    <a:lnTo>
                      <a:pt x="8375" y="6762"/>
                    </a:lnTo>
                    <a:lnTo>
                      <a:pt x="8424" y="6820"/>
                    </a:lnTo>
                    <a:lnTo>
                      <a:pt x="8473" y="6876"/>
                    </a:lnTo>
                    <a:lnTo>
                      <a:pt x="8526" y="6930"/>
                    </a:lnTo>
                    <a:lnTo>
                      <a:pt x="8579" y="6982"/>
                    </a:lnTo>
                    <a:lnTo>
                      <a:pt x="8630" y="7031"/>
                    </a:lnTo>
                    <a:lnTo>
                      <a:pt x="8682" y="7078"/>
                    </a:lnTo>
                    <a:lnTo>
                      <a:pt x="8732" y="7121"/>
                    </a:lnTo>
                    <a:lnTo>
                      <a:pt x="8781" y="7160"/>
                    </a:lnTo>
                    <a:lnTo>
                      <a:pt x="8826" y="7196"/>
                    </a:lnTo>
                    <a:lnTo>
                      <a:pt x="8847" y="7212"/>
                    </a:lnTo>
                    <a:lnTo>
                      <a:pt x="8868" y="7228"/>
                    </a:lnTo>
                    <a:lnTo>
                      <a:pt x="8886" y="7243"/>
                    </a:lnTo>
                    <a:lnTo>
                      <a:pt x="8905" y="7257"/>
                    </a:lnTo>
                    <a:lnTo>
                      <a:pt x="8921" y="7269"/>
                    </a:lnTo>
                    <a:lnTo>
                      <a:pt x="8937" y="7279"/>
                    </a:lnTo>
                    <a:lnTo>
                      <a:pt x="8950" y="7290"/>
                    </a:lnTo>
                    <a:lnTo>
                      <a:pt x="8963" y="7299"/>
                    </a:lnTo>
                    <a:lnTo>
                      <a:pt x="8973" y="7306"/>
                    </a:lnTo>
                    <a:lnTo>
                      <a:pt x="8982" y="7312"/>
                    </a:lnTo>
                    <a:lnTo>
                      <a:pt x="8989" y="7318"/>
                    </a:lnTo>
                    <a:lnTo>
                      <a:pt x="8995" y="7321"/>
                    </a:lnTo>
                    <a:lnTo>
                      <a:pt x="8998" y="7323"/>
                    </a:lnTo>
                    <a:lnTo>
                      <a:pt x="8999" y="7324"/>
                    </a:lnTo>
                    <a:lnTo>
                      <a:pt x="8999" y="7325"/>
                    </a:lnTo>
                    <a:lnTo>
                      <a:pt x="8997" y="7329"/>
                    </a:lnTo>
                    <a:lnTo>
                      <a:pt x="8995" y="7334"/>
                    </a:lnTo>
                    <a:lnTo>
                      <a:pt x="8992" y="7342"/>
                    </a:lnTo>
                    <a:lnTo>
                      <a:pt x="8987" y="7353"/>
                    </a:lnTo>
                    <a:lnTo>
                      <a:pt x="8983" y="7365"/>
                    </a:lnTo>
                    <a:lnTo>
                      <a:pt x="8978" y="7379"/>
                    </a:lnTo>
                    <a:lnTo>
                      <a:pt x="8971" y="7396"/>
                    </a:lnTo>
                    <a:lnTo>
                      <a:pt x="8965" y="7413"/>
                    </a:lnTo>
                    <a:lnTo>
                      <a:pt x="8956" y="7434"/>
                    </a:lnTo>
                    <a:lnTo>
                      <a:pt x="8948" y="7456"/>
                    </a:lnTo>
                    <a:lnTo>
                      <a:pt x="8939" y="7479"/>
                    </a:lnTo>
                    <a:lnTo>
                      <a:pt x="8930" y="7504"/>
                    </a:lnTo>
                    <a:lnTo>
                      <a:pt x="8918" y="7531"/>
                    </a:lnTo>
                    <a:lnTo>
                      <a:pt x="8908" y="7559"/>
                    </a:lnTo>
                    <a:lnTo>
                      <a:pt x="8896" y="7588"/>
                    </a:lnTo>
                    <a:lnTo>
                      <a:pt x="8884" y="7619"/>
                    </a:lnTo>
                    <a:lnTo>
                      <a:pt x="8871" y="7652"/>
                    </a:lnTo>
                    <a:lnTo>
                      <a:pt x="8857" y="7685"/>
                    </a:lnTo>
                    <a:lnTo>
                      <a:pt x="8844" y="7720"/>
                    </a:lnTo>
                    <a:lnTo>
                      <a:pt x="8829" y="7756"/>
                    </a:lnTo>
                    <a:lnTo>
                      <a:pt x="8815" y="7792"/>
                    </a:lnTo>
                    <a:lnTo>
                      <a:pt x="8783" y="7870"/>
                    </a:lnTo>
                    <a:lnTo>
                      <a:pt x="8751" y="7949"/>
                    </a:lnTo>
                    <a:lnTo>
                      <a:pt x="8717" y="8032"/>
                    </a:lnTo>
                    <a:lnTo>
                      <a:pt x="8681" y="8117"/>
                    </a:lnTo>
                    <a:lnTo>
                      <a:pt x="8645" y="8204"/>
                    </a:lnTo>
                    <a:lnTo>
                      <a:pt x="8606" y="8292"/>
                    </a:lnTo>
                    <a:lnTo>
                      <a:pt x="8568" y="8381"/>
                    </a:lnTo>
                    <a:lnTo>
                      <a:pt x="8489" y="8559"/>
                    </a:lnTo>
                    <a:lnTo>
                      <a:pt x="8449" y="8647"/>
                    </a:lnTo>
                    <a:lnTo>
                      <a:pt x="8408" y="8734"/>
                    </a:lnTo>
                    <a:lnTo>
                      <a:pt x="8368" y="8818"/>
                    </a:lnTo>
                    <a:lnTo>
                      <a:pt x="8328" y="8901"/>
                    </a:lnTo>
                    <a:lnTo>
                      <a:pt x="8289" y="8981"/>
                    </a:lnTo>
                    <a:lnTo>
                      <a:pt x="8249" y="9057"/>
                    </a:lnTo>
                    <a:lnTo>
                      <a:pt x="8230" y="9093"/>
                    </a:lnTo>
                    <a:lnTo>
                      <a:pt x="8210" y="9129"/>
                    </a:lnTo>
                    <a:lnTo>
                      <a:pt x="8191" y="9163"/>
                    </a:lnTo>
                    <a:lnTo>
                      <a:pt x="8173" y="9196"/>
                    </a:lnTo>
                    <a:lnTo>
                      <a:pt x="8154" y="9228"/>
                    </a:lnTo>
                    <a:lnTo>
                      <a:pt x="8136" y="9259"/>
                    </a:lnTo>
                    <a:lnTo>
                      <a:pt x="8117" y="9288"/>
                    </a:lnTo>
                    <a:lnTo>
                      <a:pt x="8100" y="9316"/>
                    </a:lnTo>
                    <a:lnTo>
                      <a:pt x="8082" y="9343"/>
                    </a:lnTo>
                    <a:lnTo>
                      <a:pt x="8066" y="9367"/>
                    </a:lnTo>
                    <a:lnTo>
                      <a:pt x="8049" y="9390"/>
                    </a:lnTo>
                    <a:lnTo>
                      <a:pt x="8032" y="9412"/>
                    </a:lnTo>
                    <a:lnTo>
                      <a:pt x="7999" y="9452"/>
                    </a:lnTo>
                    <a:lnTo>
                      <a:pt x="7966" y="9492"/>
                    </a:lnTo>
                    <a:lnTo>
                      <a:pt x="7896" y="9571"/>
                    </a:lnTo>
                    <a:lnTo>
                      <a:pt x="7822" y="9647"/>
                    </a:lnTo>
                    <a:lnTo>
                      <a:pt x="7744" y="9723"/>
                    </a:lnTo>
                    <a:lnTo>
                      <a:pt x="7664" y="9797"/>
                    </a:lnTo>
                    <a:lnTo>
                      <a:pt x="7581" y="9869"/>
                    </a:lnTo>
                    <a:lnTo>
                      <a:pt x="7497" y="9941"/>
                    </a:lnTo>
                    <a:lnTo>
                      <a:pt x="7409" y="10011"/>
                    </a:lnTo>
                    <a:lnTo>
                      <a:pt x="7321" y="10081"/>
                    </a:lnTo>
                    <a:lnTo>
                      <a:pt x="7231" y="10150"/>
                    </a:lnTo>
                    <a:lnTo>
                      <a:pt x="7051" y="10288"/>
                    </a:lnTo>
                    <a:lnTo>
                      <a:pt x="6870" y="10425"/>
                    </a:lnTo>
                    <a:lnTo>
                      <a:pt x="6781" y="10494"/>
                    </a:lnTo>
                    <a:lnTo>
                      <a:pt x="6693" y="10564"/>
                    </a:lnTo>
                    <a:lnTo>
                      <a:pt x="6658" y="10592"/>
                    </a:lnTo>
                    <a:lnTo>
                      <a:pt x="6625" y="10618"/>
                    </a:lnTo>
                    <a:lnTo>
                      <a:pt x="6593" y="10643"/>
                    </a:lnTo>
                    <a:lnTo>
                      <a:pt x="6564" y="10664"/>
                    </a:lnTo>
                    <a:lnTo>
                      <a:pt x="6534" y="10684"/>
                    </a:lnTo>
                    <a:lnTo>
                      <a:pt x="6506" y="10701"/>
                    </a:lnTo>
                    <a:lnTo>
                      <a:pt x="6478" y="10718"/>
                    </a:lnTo>
                    <a:lnTo>
                      <a:pt x="6451" y="10732"/>
                    </a:lnTo>
                    <a:lnTo>
                      <a:pt x="6425" y="10744"/>
                    </a:lnTo>
                    <a:lnTo>
                      <a:pt x="6400" y="10755"/>
                    </a:lnTo>
                    <a:lnTo>
                      <a:pt x="6376" y="10763"/>
                    </a:lnTo>
                    <a:lnTo>
                      <a:pt x="6351" y="10770"/>
                    </a:lnTo>
                    <a:lnTo>
                      <a:pt x="6327" y="10775"/>
                    </a:lnTo>
                    <a:lnTo>
                      <a:pt x="6303" y="10779"/>
                    </a:lnTo>
                    <a:lnTo>
                      <a:pt x="6281" y="10782"/>
                    </a:lnTo>
                    <a:lnTo>
                      <a:pt x="6257" y="10783"/>
                    </a:lnTo>
                    <a:lnTo>
                      <a:pt x="6239" y="10782"/>
                    </a:lnTo>
                    <a:lnTo>
                      <a:pt x="6222" y="10781"/>
                    </a:lnTo>
                    <a:lnTo>
                      <a:pt x="6204" y="10777"/>
                    </a:lnTo>
                    <a:lnTo>
                      <a:pt x="6188" y="10773"/>
                    </a:lnTo>
                    <a:lnTo>
                      <a:pt x="6170" y="10769"/>
                    </a:lnTo>
                    <a:lnTo>
                      <a:pt x="6154" y="10763"/>
                    </a:lnTo>
                    <a:lnTo>
                      <a:pt x="6136" y="10756"/>
                    </a:lnTo>
                    <a:lnTo>
                      <a:pt x="6119" y="10747"/>
                    </a:lnTo>
                    <a:lnTo>
                      <a:pt x="6101" y="10737"/>
                    </a:lnTo>
                    <a:lnTo>
                      <a:pt x="6083" y="10727"/>
                    </a:lnTo>
                    <a:lnTo>
                      <a:pt x="6066" y="10715"/>
                    </a:lnTo>
                    <a:lnTo>
                      <a:pt x="6047" y="10702"/>
                    </a:lnTo>
                    <a:lnTo>
                      <a:pt x="6029" y="10688"/>
                    </a:lnTo>
                    <a:lnTo>
                      <a:pt x="6010" y="10672"/>
                    </a:lnTo>
                    <a:lnTo>
                      <a:pt x="5992" y="10656"/>
                    </a:lnTo>
                    <a:lnTo>
                      <a:pt x="5972" y="10638"/>
                    </a:lnTo>
                    <a:lnTo>
                      <a:pt x="5951" y="10620"/>
                    </a:lnTo>
                    <a:lnTo>
                      <a:pt x="5932" y="10599"/>
                    </a:lnTo>
                    <a:lnTo>
                      <a:pt x="5910" y="10578"/>
                    </a:lnTo>
                    <a:lnTo>
                      <a:pt x="5888" y="10556"/>
                    </a:lnTo>
                    <a:lnTo>
                      <a:pt x="5867" y="10532"/>
                    </a:lnTo>
                    <a:lnTo>
                      <a:pt x="5844" y="10508"/>
                    </a:lnTo>
                    <a:lnTo>
                      <a:pt x="5820" y="10481"/>
                    </a:lnTo>
                    <a:lnTo>
                      <a:pt x="5795" y="10454"/>
                    </a:lnTo>
                    <a:lnTo>
                      <a:pt x="5771" y="10425"/>
                    </a:lnTo>
                    <a:lnTo>
                      <a:pt x="5745" y="10395"/>
                    </a:lnTo>
                    <a:lnTo>
                      <a:pt x="5718" y="10364"/>
                    </a:lnTo>
                    <a:lnTo>
                      <a:pt x="5690" y="10332"/>
                    </a:lnTo>
                    <a:lnTo>
                      <a:pt x="5662" y="10298"/>
                    </a:lnTo>
                    <a:lnTo>
                      <a:pt x="5632" y="10263"/>
                    </a:lnTo>
                    <a:lnTo>
                      <a:pt x="5602" y="10227"/>
                    </a:lnTo>
                    <a:lnTo>
                      <a:pt x="5570" y="10190"/>
                    </a:lnTo>
                    <a:lnTo>
                      <a:pt x="5570" y="10190"/>
                    </a:lnTo>
                    <a:close/>
                    <a:moveTo>
                      <a:pt x="9965" y="3553"/>
                    </a:moveTo>
                    <a:lnTo>
                      <a:pt x="10041" y="3496"/>
                    </a:lnTo>
                    <a:lnTo>
                      <a:pt x="10117" y="3444"/>
                    </a:lnTo>
                    <a:lnTo>
                      <a:pt x="10190" y="3394"/>
                    </a:lnTo>
                    <a:lnTo>
                      <a:pt x="10262" y="3348"/>
                    </a:lnTo>
                    <a:lnTo>
                      <a:pt x="10333" y="3305"/>
                    </a:lnTo>
                    <a:lnTo>
                      <a:pt x="10400" y="3267"/>
                    </a:lnTo>
                    <a:lnTo>
                      <a:pt x="10432" y="3250"/>
                    </a:lnTo>
                    <a:lnTo>
                      <a:pt x="10464" y="3233"/>
                    </a:lnTo>
                    <a:lnTo>
                      <a:pt x="10494" y="3217"/>
                    </a:lnTo>
                    <a:lnTo>
                      <a:pt x="10522" y="3201"/>
                    </a:lnTo>
                    <a:lnTo>
                      <a:pt x="10550" y="3188"/>
                    </a:lnTo>
                    <a:lnTo>
                      <a:pt x="10577" y="3175"/>
                    </a:lnTo>
                    <a:lnTo>
                      <a:pt x="10602" y="3162"/>
                    </a:lnTo>
                    <a:lnTo>
                      <a:pt x="10626" y="3151"/>
                    </a:lnTo>
                    <a:lnTo>
                      <a:pt x="10648" y="3141"/>
                    </a:lnTo>
                    <a:lnTo>
                      <a:pt x="10669" y="3130"/>
                    </a:lnTo>
                    <a:lnTo>
                      <a:pt x="10689" y="3122"/>
                    </a:lnTo>
                    <a:lnTo>
                      <a:pt x="10706" y="3114"/>
                    </a:lnTo>
                    <a:lnTo>
                      <a:pt x="10722" y="3108"/>
                    </a:lnTo>
                    <a:lnTo>
                      <a:pt x="10735" y="3102"/>
                    </a:lnTo>
                    <a:lnTo>
                      <a:pt x="10747" y="3096"/>
                    </a:lnTo>
                    <a:lnTo>
                      <a:pt x="10757" y="3092"/>
                    </a:lnTo>
                    <a:lnTo>
                      <a:pt x="10765" y="3089"/>
                    </a:lnTo>
                    <a:lnTo>
                      <a:pt x="10771" y="3087"/>
                    </a:lnTo>
                    <a:lnTo>
                      <a:pt x="10774" y="3085"/>
                    </a:lnTo>
                    <a:lnTo>
                      <a:pt x="10775" y="3085"/>
                    </a:lnTo>
                    <a:lnTo>
                      <a:pt x="10774" y="3085"/>
                    </a:lnTo>
                    <a:lnTo>
                      <a:pt x="10770" y="3085"/>
                    </a:lnTo>
                    <a:lnTo>
                      <a:pt x="10763" y="3085"/>
                    </a:lnTo>
                    <a:lnTo>
                      <a:pt x="10754" y="3086"/>
                    </a:lnTo>
                    <a:lnTo>
                      <a:pt x="10742" y="3087"/>
                    </a:lnTo>
                    <a:lnTo>
                      <a:pt x="10729" y="3088"/>
                    </a:lnTo>
                    <a:lnTo>
                      <a:pt x="10714" y="3090"/>
                    </a:lnTo>
                    <a:lnTo>
                      <a:pt x="10697" y="3093"/>
                    </a:lnTo>
                    <a:lnTo>
                      <a:pt x="10679" y="3096"/>
                    </a:lnTo>
                    <a:lnTo>
                      <a:pt x="10660" y="3101"/>
                    </a:lnTo>
                    <a:lnTo>
                      <a:pt x="10639" y="3106"/>
                    </a:lnTo>
                    <a:lnTo>
                      <a:pt x="10617" y="3112"/>
                    </a:lnTo>
                    <a:lnTo>
                      <a:pt x="10595" y="3119"/>
                    </a:lnTo>
                    <a:lnTo>
                      <a:pt x="10572" y="3127"/>
                    </a:lnTo>
                    <a:lnTo>
                      <a:pt x="10549" y="3137"/>
                    </a:lnTo>
                    <a:lnTo>
                      <a:pt x="10526" y="3148"/>
                    </a:lnTo>
                    <a:lnTo>
                      <a:pt x="10504" y="3154"/>
                    </a:lnTo>
                    <a:lnTo>
                      <a:pt x="10483" y="3159"/>
                    </a:lnTo>
                    <a:lnTo>
                      <a:pt x="10466" y="3165"/>
                    </a:lnTo>
                    <a:lnTo>
                      <a:pt x="10449" y="3171"/>
                    </a:lnTo>
                    <a:lnTo>
                      <a:pt x="10435" y="3176"/>
                    </a:lnTo>
                    <a:lnTo>
                      <a:pt x="10422" y="3181"/>
                    </a:lnTo>
                    <a:lnTo>
                      <a:pt x="10411" y="3186"/>
                    </a:lnTo>
                    <a:lnTo>
                      <a:pt x="10402" y="3190"/>
                    </a:lnTo>
                    <a:lnTo>
                      <a:pt x="10393" y="3194"/>
                    </a:lnTo>
                    <a:lnTo>
                      <a:pt x="10387" y="3198"/>
                    </a:lnTo>
                    <a:lnTo>
                      <a:pt x="10382" y="3201"/>
                    </a:lnTo>
                    <a:lnTo>
                      <a:pt x="10378" y="3205"/>
                    </a:lnTo>
                    <a:lnTo>
                      <a:pt x="10375" y="3207"/>
                    </a:lnTo>
                    <a:lnTo>
                      <a:pt x="10373" y="3209"/>
                    </a:lnTo>
                    <a:lnTo>
                      <a:pt x="10371" y="3210"/>
                    </a:lnTo>
                    <a:lnTo>
                      <a:pt x="10371" y="3208"/>
                    </a:lnTo>
                    <a:lnTo>
                      <a:pt x="10371" y="3202"/>
                    </a:lnTo>
                    <a:lnTo>
                      <a:pt x="10370" y="3194"/>
                    </a:lnTo>
                    <a:lnTo>
                      <a:pt x="10369" y="3184"/>
                    </a:lnTo>
                    <a:lnTo>
                      <a:pt x="10367" y="3170"/>
                    </a:lnTo>
                    <a:lnTo>
                      <a:pt x="10365" y="3154"/>
                    </a:lnTo>
                    <a:lnTo>
                      <a:pt x="10360" y="3136"/>
                    </a:lnTo>
                    <a:lnTo>
                      <a:pt x="10355" y="3116"/>
                    </a:lnTo>
                    <a:lnTo>
                      <a:pt x="10348" y="3095"/>
                    </a:lnTo>
                    <a:lnTo>
                      <a:pt x="10340" y="3073"/>
                    </a:lnTo>
                    <a:lnTo>
                      <a:pt x="10330" y="3050"/>
                    </a:lnTo>
                    <a:lnTo>
                      <a:pt x="10318" y="3026"/>
                    </a:lnTo>
                    <a:lnTo>
                      <a:pt x="10304" y="3002"/>
                    </a:lnTo>
                    <a:lnTo>
                      <a:pt x="10287" y="2977"/>
                    </a:lnTo>
                    <a:lnTo>
                      <a:pt x="10267" y="2953"/>
                    </a:lnTo>
                    <a:lnTo>
                      <a:pt x="10246" y="2930"/>
                    </a:lnTo>
                    <a:lnTo>
                      <a:pt x="10228" y="2907"/>
                    </a:lnTo>
                    <a:lnTo>
                      <a:pt x="10210" y="2887"/>
                    </a:lnTo>
                    <a:lnTo>
                      <a:pt x="10191" y="2869"/>
                    </a:lnTo>
                    <a:lnTo>
                      <a:pt x="10172" y="2852"/>
                    </a:lnTo>
                    <a:lnTo>
                      <a:pt x="10154" y="2838"/>
                    </a:lnTo>
                    <a:lnTo>
                      <a:pt x="10135" y="2825"/>
                    </a:lnTo>
                    <a:lnTo>
                      <a:pt x="10118" y="2814"/>
                    </a:lnTo>
                    <a:lnTo>
                      <a:pt x="10101" y="2805"/>
                    </a:lnTo>
                    <a:lnTo>
                      <a:pt x="10086" y="2797"/>
                    </a:lnTo>
                    <a:lnTo>
                      <a:pt x="10071" y="2789"/>
                    </a:lnTo>
                    <a:lnTo>
                      <a:pt x="10059" y="2784"/>
                    </a:lnTo>
                    <a:lnTo>
                      <a:pt x="10048" y="2780"/>
                    </a:lnTo>
                    <a:lnTo>
                      <a:pt x="10039" y="2777"/>
                    </a:lnTo>
                    <a:lnTo>
                      <a:pt x="10032" y="2775"/>
                    </a:lnTo>
                    <a:lnTo>
                      <a:pt x="10028" y="2773"/>
                    </a:lnTo>
                    <a:lnTo>
                      <a:pt x="10027" y="2773"/>
                    </a:lnTo>
                    <a:lnTo>
                      <a:pt x="10027" y="2772"/>
                    </a:lnTo>
                    <a:lnTo>
                      <a:pt x="10029" y="2768"/>
                    </a:lnTo>
                    <a:lnTo>
                      <a:pt x="10031" y="2765"/>
                    </a:lnTo>
                    <a:lnTo>
                      <a:pt x="10033" y="2762"/>
                    </a:lnTo>
                    <a:lnTo>
                      <a:pt x="10037" y="2758"/>
                    </a:lnTo>
                    <a:lnTo>
                      <a:pt x="10042" y="2753"/>
                    </a:lnTo>
                    <a:lnTo>
                      <a:pt x="10050" y="2749"/>
                    </a:lnTo>
                    <a:lnTo>
                      <a:pt x="10058" y="2744"/>
                    </a:lnTo>
                    <a:lnTo>
                      <a:pt x="10067" y="2739"/>
                    </a:lnTo>
                    <a:lnTo>
                      <a:pt x="10080" y="2734"/>
                    </a:lnTo>
                    <a:lnTo>
                      <a:pt x="10094" y="2729"/>
                    </a:lnTo>
                    <a:lnTo>
                      <a:pt x="10111" y="2722"/>
                    </a:lnTo>
                    <a:lnTo>
                      <a:pt x="10130" y="2717"/>
                    </a:lnTo>
                    <a:lnTo>
                      <a:pt x="10152" y="2711"/>
                    </a:lnTo>
                    <a:lnTo>
                      <a:pt x="10175" y="2705"/>
                    </a:lnTo>
                    <a:lnTo>
                      <a:pt x="10196" y="2700"/>
                    </a:lnTo>
                    <a:lnTo>
                      <a:pt x="10216" y="2694"/>
                    </a:lnTo>
                    <a:lnTo>
                      <a:pt x="10233" y="2688"/>
                    </a:lnTo>
                    <a:lnTo>
                      <a:pt x="10251" y="2683"/>
                    </a:lnTo>
                    <a:lnTo>
                      <a:pt x="10265" y="2678"/>
                    </a:lnTo>
                    <a:lnTo>
                      <a:pt x="10280" y="2673"/>
                    </a:lnTo>
                    <a:lnTo>
                      <a:pt x="10292" y="2668"/>
                    </a:lnTo>
                    <a:lnTo>
                      <a:pt x="10303" y="2664"/>
                    </a:lnTo>
                    <a:lnTo>
                      <a:pt x="10313" y="2660"/>
                    </a:lnTo>
                    <a:lnTo>
                      <a:pt x="10320" y="2657"/>
                    </a:lnTo>
                    <a:lnTo>
                      <a:pt x="10327" y="2653"/>
                    </a:lnTo>
                    <a:lnTo>
                      <a:pt x="10333" y="2651"/>
                    </a:lnTo>
                    <a:lnTo>
                      <a:pt x="10336" y="2649"/>
                    </a:lnTo>
                    <a:lnTo>
                      <a:pt x="10338" y="2648"/>
                    </a:lnTo>
                    <a:lnTo>
                      <a:pt x="10339" y="2648"/>
                    </a:lnTo>
                    <a:lnTo>
                      <a:pt x="10335" y="2648"/>
                    </a:lnTo>
                    <a:lnTo>
                      <a:pt x="10329" y="2648"/>
                    </a:lnTo>
                    <a:lnTo>
                      <a:pt x="10322" y="2648"/>
                    </a:lnTo>
                    <a:lnTo>
                      <a:pt x="10313" y="2649"/>
                    </a:lnTo>
                    <a:lnTo>
                      <a:pt x="10303" y="2649"/>
                    </a:lnTo>
                    <a:lnTo>
                      <a:pt x="10290" y="2650"/>
                    </a:lnTo>
                    <a:lnTo>
                      <a:pt x="10277" y="2651"/>
                    </a:lnTo>
                    <a:lnTo>
                      <a:pt x="10261" y="2652"/>
                    </a:lnTo>
                    <a:lnTo>
                      <a:pt x="10245" y="2653"/>
                    </a:lnTo>
                    <a:lnTo>
                      <a:pt x="10227" y="2656"/>
                    </a:lnTo>
                    <a:lnTo>
                      <a:pt x="10208" y="2659"/>
                    </a:lnTo>
                    <a:lnTo>
                      <a:pt x="10187" y="2662"/>
                    </a:lnTo>
                    <a:lnTo>
                      <a:pt x="10165" y="2665"/>
                    </a:lnTo>
                    <a:lnTo>
                      <a:pt x="10143" y="2669"/>
                    </a:lnTo>
                    <a:lnTo>
                      <a:pt x="10119" y="2674"/>
                    </a:lnTo>
                    <a:lnTo>
                      <a:pt x="10094" y="2679"/>
                    </a:lnTo>
                    <a:lnTo>
                      <a:pt x="10040" y="2693"/>
                    </a:lnTo>
                    <a:lnTo>
                      <a:pt x="9984" y="2709"/>
                    </a:lnTo>
                    <a:lnTo>
                      <a:pt x="9924" y="2730"/>
                    </a:lnTo>
                    <a:lnTo>
                      <a:pt x="9893" y="2741"/>
                    </a:lnTo>
                    <a:lnTo>
                      <a:pt x="9862" y="2754"/>
                    </a:lnTo>
                    <a:lnTo>
                      <a:pt x="9829" y="2768"/>
                    </a:lnTo>
                    <a:lnTo>
                      <a:pt x="9797" y="2782"/>
                    </a:lnTo>
                    <a:lnTo>
                      <a:pt x="9763" y="2799"/>
                    </a:lnTo>
                    <a:lnTo>
                      <a:pt x="9730" y="2816"/>
                    </a:lnTo>
                    <a:lnTo>
                      <a:pt x="9696" y="2835"/>
                    </a:lnTo>
                    <a:lnTo>
                      <a:pt x="9660" y="2854"/>
                    </a:lnTo>
                    <a:lnTo>
                      <a:pt x="9626" y="2876"/>
                    </a:lnTo>
                    <a:lnTo>
                      <a:pt x="9591" y="2899"/>
                    </a:lnTo>
                    <a:lnTo>
                      <a:pt x="9557" y="2920"/>
                    </a:lnTo>
                    <a:lnTo>
                      <a:pt x="9523" y="2942"/>
                    </a:lnTo>
                    <a:lnTo>
                      <a:pt x="9490" y="2966"/>
                    </a:lnTo>
                    <a:lnTo>
                      <a:pt x="9458" y="2990"/>
                    </a:lnTo>
                    <a:lnTo>
                      <a:pt x="9398" y="3043"/>
                    </a:lnTo>
                    <a:lnTo>
                      <a:pt x="9341" y="3097"/>
                    </a:lnTo>
                    <a:lnTo>
                      <a:pt x="9288" y="3154"/>
                    </a:lnTo>
                    <a:lnTo>
                      <a:pt x="9263" y="3182"/>
                    </a:lnTo>
                    <a:lnTo>
                      <a:pt x="9239" y="3211"/>
                    </a:lnTo>
                    <a:lnTo>
                      <a:pt x="9217" y="3240"/>
                    </a:lnTo>
                    <a:lnTo>
                      <a:pt x="9195" y="3267"/>
                    </a:lnTo>
                    <a:lnTo>
                      <a:pt x="9174" y="3295"/>
                    </a:lnTo>
                    <a:lnTo>
                      <a:pt x="9155" y="3323"/>
                    </a:lnTo>
                    <a:lnTo>
                      <a:pt x="9136" y="3350"/>
                    </a:lnTo>
                    <a:lnTo>
                      <a:pt x="9120" y="3376"/>
                    </a:lnTo>
                    <a:lnTo>
                      <a:pt x="9103" y="3400"/>
                    </a:lnTo>
                    <a:lnTo>
                      <a:pt x="9088" y="3424"/>
                    </a:lnTo>
                    <a:lnTo>
                      <a:pt x="9074" y="3447"/>
                    </a:lnTo>
                    <a:lnTo>
                      <a:pt x="9061" y="3468"/>
                    </a:lnTo>
                    <a:lnTo>
                      <a:pt x="9049" y="3489"/>
                    </a:lnTo>
                    <a:lnTo>
                      <a:pt x="9039" y="3507"/>
                    </a:lnTo>
                    <a:lnTo>
                      <a:pt x="9030" y="3524"/>
                    </a:lnTo>
                    <a:lnTo>
                      <a:pt x="9021" y="3539"/>
                    </a:lnTo>
                    <a:lnTo>
                      <a:pt x="9014" y="3552"/>
                    </a:lnTo>
                    <a:lnTo>
                      <a:pt x="9009" y="3563"/>
                    </a:lnTo>
                    <a:lnTo>
                      <a:pt x="9005" y="3572"/>
                    </a:lnTo>
                    <a:lnTo>
                      <a:pt x="9002" y="3578"/>
                    </a:lnTo>
                    <a:lnTo>
                      <a:pt x="9000" y="3583"/>
                    </a:lnTo>
                    <a:lnTo>
                      <a:pt x="8999" y="3584"/>
                    </a:lnTo>
                    <a:lnTo>
                      <a:pt x="9000" y="3583"/>
                    </a:lnTo>
                    <a:lnTo>
                      <a:pt x="9004" y="3578"/>
                    </a:lnTo>
                    <a:lnTo>
                      <a:pt x="9011" y="3571"/>
                    </a:lnTo>
                    <a:lnTo>
                      <a:pt x="9019" y="3563"/>
                    </a:lnTo>
                    <a:lnTo>
                      <a:pt x="9030" y="3553"/>
                    </a:lnTo>
                    <a:lnTo>
                      <a:pt x="9041" y="3541"/>
                    </a:lnTo>
                    <a:lnTo>
                      <a:pt x="9054" y="3528"/>
                    </a:lnTo>
                    <a:lnTo>
                      <a:pt x="9069" y="3514"/>
                    </a:lnTo>
                    <a:lnTo>
                      <a:pt x="9099" y="3484"/>
                    </a:lnTo>
                    <a:lnTo>
                      <a:pt x="9130" y="3453"/>
                    </a:lnTo>
                    <a:lnTo>
                      <a:pt x="9160" y="3423"/>
                    </a:lnTo>
                    <a:lnTo>
                      <a:pt x="9173" y="3410"/>
                    </a:lnTo>
                    <a:lnTo>
                      <a:pt x="9186" y="3397"/>
                    </a:lnTo>
                    <a:lnTo>
                      <a:pt x="9209" y="3376"/>
                    </a:lnTo>
                    <a:lnTo>
                      <a:pt x="9232" y="3356"/>
                    </a:lnTo>
                    <a:lnTo>
                      <a:pt x="9253" y="3339"/>
                    </a:lnTo>
                    <a:lnTo>
                      <a:pt x="9271" y="3327"/>
                    </a:lnTo>
                    <a:lnTo>
                      <a:pt x="9288" y="3317"/>
                    </a:lnTo>
                    <a:lnTo>
                      <a:pt x="9294" y="3313"/>
                    </a:lnTo>
                    <a:lnTo>
                      <a:pt x="9300" y="3310"/>
                    </a:lnTo>
                    <a:lnTo>
                      <a:pt x="9304" y="3307"/>
                    </a:lnTo>
                    <a:lnTo>
                      <a:pt x="9307" y="3304"/>
                    </a:lnTo>
                    <a:lnTo>
                      <a:pt x="9309" y="3303"/>
                    </a:lnTo>
                    <a:lnTo>
                      <a:pt x="9311" y="3303"/>
                    </a:lnTo>
                    <a:lnTo>
                      <a:pt x="9311" y="3310"/>
                    </a:lnTo>
                    <a:lnTo>
                      <a:pt x="9312" y="3318"/>
                    </a:lnTo>
                    <a:lnTo>
                      <a:pt x="9314" y="3327"/>
                    </a:lnTo>
                    <a:lnTo>
                      <a:pt x="9317" y="3337"/>
                    </a:lnTo>
                    <a:lnTo>
                      <a:pt x="9325" y="3360"/>
                    </a:lnTo>
                    <a:lnTo>
                      <a:pt x="9331" y="3372"/>
                    </a:lnTo>
                    <a:lnTo>
                      <a:pt x="9337" y="3385"/>
                    </a:lnTo>
                    <a:lnTo>
                      <a:pt x="9346" y="3398"/>
                    </a:lnTo>
                    <a:lnTo>
                      <a:pt x="9355" y="3412"/>
                    </a:lnTo>
                    <a:lnTo>
                      <a:pt x="9365" y="3426"/>
                    </a:lnTo>
                    <a:lnTo>
                      <a:pt x="9377" y="3439"/>
                    </a:lnTo>
                    <a:lnTo>
                      <a:pt x="9389" y="3453"/>
                    </a:lnTo>
                    <a:lnTo>
                      <a:pt x="9403" y="3465"/>
                    </a:lnTo>
                    <a:lnTo>
                      <a:pt x="9419" y="3478"/>
                    </a:lnTo>
                    <a:lnTo>
                      <a:pt x="9435" y="3490"/>
                    </a:lnTo>
                    <a:lnTo>
                      <a:pt x="9458" y="3513"/>
                    </a:lnTo>
                    <a:lnTo>
                      <a:pt x="9481" y="3532"/>
                    </a:lnTo>
                    <a:lnTo>
                      <a:pt x="9501" y="3551"/>
                    </a:lnTo>
                    <a:lnTo>
                      <a:pt x="9522" y="3567"/>
                    </a:lnTo>
                    <a:lnTo>
                      <a:pt x="9542" y="3582"/>
                    </a:lnTo>
                    <a:lnTo>
                      <a:pt x="9559" y="3594"/>
                    </a:lnTo>
                    <a:lnTo>
                      <a:pt x="9576" y="3605"/>
                    </a:lnTo>
                    <a:lnTo>
                      <a:pt x="9591" y="3615"/>
                    </a:lnTo>
                    <a:lnTo>
                      <a:pt x="9605" y="3623"/>
                    </a:lnTo>
                    <a:lnTo>
                      <a:pt x="9617" y="3630"/>
                    </a:lnTo>
                    <a:lnTo>
                      <a:pt x="9627" y="3635"/>
                    </a:lnTo>
                    <a:lnTo>
                      <a:pt x="9637" y="3639"/>
                    </a:lnTo>
                    <a:lnTo>
                      <a:pt x="9644" y="3642"/>
                    </a:lnTo>
                    <a:lnTo>
                      <a:pt x="9649" y="3644"/>
                    </a:lnTo>
                    <a:lnTo>
                      <a:pt x="9652" y="3646"/>
                    </a:lnTo>
                    <a:lnTo>
                      <a:pt x="9653" y="3646"/>
                    </a:lnTo>
                    <a:lnTo>
                      <a:pt x="9652" y="3647"/>
                    </a:lnTo>
                    <a:lnTo>
                      <a:pt x="9649" y="3651"/>
                    </a:lnTo>
                    <a:lnTo>
                      <a:pt x="9645" y="3656"/>
                    </a:lnTo>
                    <a:lnTo>
                      <a:pt x="9638" y="3663"/>
                    </a:lnTo>
                    <a:lnTo>
                      <a:pt x="9631" y="3671"/>
                    </a:lnTo>
                    <a:lnTo>
                      <a:pt x="9622" y="3680"/>
                    </a:lnTo>
                    <a:lnTo>
                      <a:pt x="9613" y="3692"/>
                    </a:lnTo>
                    <a:lnTo>
                      <a:pt x="9603" y="3704"/>
                    </a:lnTo>
                    <a:lnTo>
                      <a:pt x="9592" y="3719"/>
                    </a:lnTo>
                    <a:lnTo>
                      <a:pt x="9582" y="3733"/>
                    </a:lnTo>
                    <a:lnTo>
                      <a:pt x="9561" y="3764"/>
                    </a:lnTo>
                    <a:lnTo>
                      <a:pt x="9543" y="3798"/>
                    </a:lnTo>
                    <a:lnTo>
                      <a:pt x="9535" y="3815"/>
                    </a:lnTo>
                    <a:lnTo>
                      <a:pt x="9528" y="3833"/>
                    </a:lnTo>
                    <a:lnTo>
                      <a:pt x="9507" y="3869"/>
                    </a:lnTo>
                    <a:lnTo>
                      <a:pt x="9488" y="3907"/>
                    </a:lnTo>
                    <a:lnTo>
                      <a:pt x="9472" y="3943"/>
                    </a:lnTo>
                    <a:lnTo>
                      <a:pt x="9465" y="3961"/>
                    </a:lnTo>
                    <a:lnTo>
                      <a:pt x="9459" y="3977"/>
                    </a:lnTo>
                    <a:lnTo>
                      <a:pt x="9453" y="3993"/>
                    </a:lnTo>
                    <a:lnTo>
                      <a:pt x="9449" y="4007"/>
                    </a:lnTo>
                    <a:lnTo>
                      <a:pt x="9445" y="4019"/>
                    </a:lnTo>
                    <a:lnTo>
                      <a:pt x="9442" y="4031"/>
                    </a:lnTo>
                    <a:lnTo>
                      <a:pt x="9439" y="4039"/>
                    </a:lnTo>
                    <a:lnTo>
                      <a:pt x="9436" y="4046"/>
                    </a:lnTo>
                    <a:lnTo>
                      <a:pt x="9435" y="4050"/>
                    </a:lnTo>
                    <a:lnTo>
                      <a:pt x="9435" y="4051"/>
                    </a:lnTo>
                    <a:lnTo>
                      <a:pt x="9436" y="4050"/>
                    </a:lnTo>
                    <a:lnTo>
                      <a:pt x="9439" y="4048"/>
                    </a:lnTo>
                    <a:lnTo>
                      <a:pt x="9442" y="4044"/>
                    </a:lnTo>
                    <a:lnTo>
                      <a:pt x="9447" y="4039"/>
                    </a:lnTo>
                    <a:lnTo>
                      <a:pt x="9453" y="4032"/>
                    </a:lnTo>
                    <a:lnTo>
                      <a:pt x="9460" y="4024"/>
                    </a:lnTo>
                    <a:lnTo>
                      <a:pt x="9468" y="4014"/>
                    </a:lnTo>
                    <a:lnTo>
                      <a:pt x="9479" y="4004"/>
                    </a:lnTo>
                    <a:lnTo>
                      <a:pt x="9490" y="3993"/>
                    </a:lnTo>
                    <a:lnTo>
                      <a:pt x="9501" y="3979"/>
                    </a:lnTo>
                    <a:lnTo>
                      <a:pt x="9515" y="3966"/>
                    </a:lnTo>
                    <a:lnTo>
                      <a:pt x="9529" y="3951"/>
                    </a:lnTo>
                    <a:lnTo>
                      <a:pt x="9560" y="3919"/>
                    </a:lnTo>
                    <a:lnTo>
                      <a:pt x="9595" y="3884"/>
                    </a:lnTo>
                    <a:lnTo>
                      <a:pt x="9633" y="3846"/>
                    </a:lnTo>
                    <a:lnTo>
                      <a:pt x="9674" y="3806"/>
                    </a:lnTo>
                    <a:lnTo>
                      <a:pt x="9718" y="3765"/>
                    </a:lnTo>
                    <a:lnTo>
                      <a:pt x="9764" y="3723"/>
                    </a:lnTo>
                    <a:lnTo>
                      <a:pt x="9812" y="3679"/>
                    </a:lnTo>
                    <a:lnTo>
                      <a:pt x="9862" y="3637"/>
                    </a:lnTo>
                    <a:lnTo>
                      <a:pt x="9912" y="3594"/>
                    </a:lnTo>
                    <a:lnTo>
                      <a:pt x="9965" y="3553"/>
                    </a:lnTo>
                    <a:lnTo>
                      <a:pt x="9965" y="3553"/>
                    </a:lnTo>
                    <a:close/>
                    <a:moveTo>
                      <a:pt x="5828" y="2799"/>
                    </a:moveTo>
                    <a:lnTo>
                      <a:pt x="5843" y="2776"/>
                    </a:lnTo>
                    <a:lnTo>
                      <a:pt x="5857" y="2754"/>
                    </a:lnTo>
                    <a:lnTo>
                      <a:pt x="5871" y="2734"/>
                    </a:lnTo>
                    <a:lnTo>
                      <a:pt x="5884" y="2714"/>
                    </a:lnTo>
                    <a:lnTo>
                      <a:pt x="5909" y="2678"/>
                    </a:lnTo>
                    <a:lnTo>
                      <a:pt x="5933" y="2645"/>
                    </a:lnTo>
                    <a:lnTo>
                      <a:pt x="5955" y="2616"/>
                    </a:lnTo>
                    <a:lnTo>
                      <a:pt x="5976" y="2592"/>
                    </a:lnTo>
                    <a:lnTo>
                      <a:pt x="5995" y="2569"/>
                    </a:lnTo>
                    <a:lnTo>
                      <a:pt x="6011" y="2550"/>
                    </a:lnTo>
                    <a:lnTo>
                      <a:pt x="6027" y="2534"/>
                    </a:lnTo>
                    <a:lnTo>
                      <a:pt x="6040" y="2521"/>
                    </a:lnTo>
                    <a:lnTo>
                      <a:pt x="6051" y="2510"/>
                    </a:lnTo>
                    <a:lnTo>
                      <a:pt x="6061" y="2501"/>
                    </a:lnTo>
                    <a:lnTo>
                      <a:pt x="6068" y="2495"/>
                    </a:lnTo>
                    <a:lnTo>
                      <a:pt x="6073" y="2491"/>
                    </a:lnTo>
                    <a:lnTo>
                      <a:pt x="6076" y="2489"/>
                    </a:lnTo>
                    <a:lnTo>
                      <a:pt x="6077" y="2488"/>
                    </a:lnTo>
                    <a:lnTo>
                      <a:pt x="6076" y="2490"/>
                    </a:lnTo>
                    <a:lnTo>
                      <a:pt x="6075" y="2495"/>
                    </a:lnTo>
                    <a:lnTo>
                      <a:pt x="6072" y="2503"/>
                    </a:lnTo>
                    <a:lnTo>
                      <a:pt x="6068" y="2514"/>
                    </a:lnTo>
                    <a:lnTo>
                      <a:pt x="6064" y="2528"/>
                    </a:lnTo>
                    <a:lnTo>
                      <a:pt x="6060" y="2543"/>
                    </a:lnTo>
                    <a:lnTo>
                      <a:pt x="6055" y="2562"/>
                    </a:lnTo>
                    <a:lnTo>
                      <a:pt x="6050" y="2581"/>
                    </a:lnTo>
                    <a:lnTo>
                      <a:pt x="6046" y="2602"/>
                    </a:lnTo>
                    <a:lnTo>
                      <a:pt x="6042" y="2625"/>
                    </a:lnTo>
                    <a:lnTo>
                      <a:pt x="6040" y="2647"/>
                    </a:lnTo>
                    <a:lnTo>
                      <a:pt x="6038" y="2671"/>
                    </a:lnTo>
                    <a:lnTo>
                      <a:pt x="6038" y="2696"/>
                    </a:lnTo>
                    <a:lnTo>
                      <a:pt x="6039" y="2720"/>
                    </a:lnTo>
                    <a:lnTo>
                      <a:pt x="6041" y="2744"/>
                    </a:lnTo>
                    <a:lnTo>
                      <a:pt x="6046" y="2768"/>
                    </a:lnTo>
                    <a:lnTo>
                      <a:pt x="6053" y="2819"/>
                    </a:lnTo>
                    <a:lnTo>
                      <a:pt x="6061" y="2870"/>
                    </a:lnTo>
                    <a:lnTo>
                      <a:pt x="6069" y="2918"/>
                    </a:lnTo>
                    <a:lnTo>
                      <a:pt x="6079" y="2965"/>
                    </a:lnTo>
                    <a:lnTo>
                      <a:pt x="6089" y="3008"/>
                    </a:lnTo>
                    <a:lnTo>
                      <a:pt x="6100" y="3049"/>
                    </a:lnTo>
                    <a:lnTo>
                      <a:pt x="6110" y="3087"/>
                    </a:lnTo>
                    <a:lnTo>
                      <a:pt x="6121" y="3122"/>
                    </a:lnTo>
                    <a:lnTo>
                      <a:pt x="6131" y="3154"/>
                    </a:lnTo>
                    <a:lnTo>
                      <a:pt x="6140" y="3183"/>
                    </a:lnTo>
                    <a:lnTo>
                      <a:pt x="6149" y="3208"/>
                    </a:lnTo>
                    <a:lnTo>
                      <a:pt x="6153" y="3218"/>
                    </a:lnTo>
                    <a:lnTo>
                      <a:pt x="6156" y="3228"/>
                    </a:lnTo>
                    <a:lnTo>
                      <a:pt x="6160" y="3236"/>
                    </a:lnTo>
                    <a:lnTo>
                      <a:pt x="6162" y="3245"/>
                    </a:lnTo>
                    <a:lnTo>
                      <a:pt x="6165" y="3251"/>
                    </a:lnTo>
                    <a:lnTo>
                      <a:pt x="6167" y="3256"/>
                    </a:lnTo>
                    <a:lnTo>
                      <a:pt x="6169" y="3261"/>
                    </a:lnTo>
                    <a:lnTo>
                      <a:pt x="6170" y="3264"/>
                    </a:lnTo>
                    <a:lnTo>
                      <a:pt x="6171" y="3265"/>
                    </a:lnTo>
                    <a:lnTo>
                      <a:pt x="6171" y="3266"/>
                    </a:lnTo>
                    <a:lnTo>
                      <a:pt x="6171" y="3264"/>
                    </a:lnTo>
                    <a:lnTo>
                      <a:pt x="6171" y="3260"/>
                    </a:lnTo>
                    <a:lnTo>
                      <a:pt x="6172" y="3252"/>
                    </a:lnTo>
                    <a:lnTo>
                      <a:pt x="6173" y="3241"/>
                    </a:lnTo>
                    <a:lnTo>
                      <a:pt x="6174" y="3226"/>
                    </a:lnTo>
                    <a:lnTo>
                      <a:pt x="6175" y="3210"/>
                    </a:lnTo>
                    <a:lnTo>
                      <a:pt x="6177" y="3191"/>
                    </a:lnTo>
                    <a:lnTo>
                      <a:pt x="6179" y="3170"/>
                    </a:lnTo>
                    <a:lnTo>
                      <a:pt x="6183" y="3146"/>
                    </a:lnTo>
                    <a:lnTo>
                      <a:pt x="6185" y="3120"/>
                    </a:lnTo>
                    <a:lnTo>
                      <a:pt x="6189" y="3093"/>
                    </a:lnTo>
                    <a:lnTo>
                      <a:pt x="6193" y="3064"/>
                    </a:lnTo>
                    <a:lnTo>
                      <a:pt x="6197" y="3034"/>
                    </a:lnTo>
                    <a:lnTo>
                      <a:pt x="6202" y="3002"/>
                    </a:lnTo>
                    <a:lnTo>
                      <a:pt x="6207" y="2969"/>
                    </a:lnTo>
                    <a:lnTo>
                      <a:pt x="6214" y="2936"/>
                    </a:lnTo>
                    <a:lnTo>
                      <a:pt x="6228" y="2865"/>
                    </a:lnTo>
                    <a:lnTo>
                      <a:pt x="6246" y="2794"/>
                    </a:lnTo>
                    <a:lnTo>
                      <a:pt x="6266" y="2720"/>
                    </a:lnTo>
                    <a:lnTo>
                      <a:pt x="6289" y="2648"/>
                    </a:lnTo>
                    <a:lnTo>
                      <a:pt x="6316" y="2578"/>
                    </a:lnTo>
                    <a:lnTo>
                      <a:pt x="6331" y="2544"/>
                    </a:lnTo>
                    <a:lnTo>
                      <a:pt x="6347" y="2512"/>
                    </a:lnTo>
                    <a:lnTo>
                      <a:pt x="6363" y="2480"/>
                    </a:lnTo>
                    <a:lnTo>
                      <a:pt x="6382" y="2450"/>
                    </a:lnTo>
                    <a:lnTo>
                      <a:pt x="6400" y="2421"/>
                    </a:lnTo>
                    <a:lnTo>
                      <a:pt x="6420" y="2394"/>
                    </a:lnTo>
                    <a:lnTo>
                      <a:pt x="6444" y="2365"/>
                    </a:lnTo>
                    <a:lnTo>
                      <a:pt x="6470" y="2338"/>
                    </a:lnTo>
                    <a:lnTo>
                      <a:pt x="6496" y="2313"/>
                    </a:lnTo>
                    <a:lnTo>
                      <a:pt x="6525" y="2289"/>
                    </a:lnTo>
                    <a:lnTo>
                      <a:pt x="6554" y="2265"/>
                    </a:lnTo>
                    <a:lnTo>
                      <a:pt x="6585" y="2244"/>
                    </a:lnTo>
                    <a:lnTo>
                      <a:pt x="6617" y="2223"/>
                    </a:lnTo>
                    <a:lnTo>
                      <a:pt x="6650" y="2203"/>
                    </a:lnTo>
                    <a:lnTo>
                      <a:pt x="6684" y="2185"/>
                    </a:lnTo>
                    <a:lnTo>
                      <a:pt x="6719" y="2167"/>
                    </a:lnTo>
                    <a:lnTo>
                      <a:pt x="6793" y="2135"/>
                    </a:lnTo>
                    <a:lnTo>
                      <a:pt x="6869" y="2108"/>
                    </a:lnTo>
                    <a:lnTo>
                      <a:pt x="6950" y="2083"/>
                    </a:lnTo>
                    <a:lnTo>
                      <a:pt x="6992" y="2069"/>
                    </a:lnTo>
                    <a:lnTo>
                      <a:pt x="7035" y="2054"/>
                    </a:lnTo>
                    <a:lnTo>
                      <a:pt x="7080" y="2036"/>
                    </a:lnTo>
                    <a:lnTo>
                      <a:pt x="7125" y="2017"/>
                    </a:lnTo>
                    <a:lnTo>
                      <a:pt x="7169" y="1997"/>
                    </a:lnTo>
                    <a:lnTo>
                      <a:pt x="7214" y="1977"/>
                    </a:lnTo>
                    <a:lnTo>
                      <a:pt x="7256" y="1955"/>
                    </a:lnTo>
                    <a:lnTo>
                      <a:pt x="7297" y="1934"/>
                    </a:lnTo>
                    <a:lnTo>
                      <a:pt x="7335" y="1915"/>
                    </a:lnTo>
                    <a:lnTo>
                      <a:pt x="7370" y="1896"/>
                    </a:lnTo>
                    <a:lnTo>
                      <a:pt x="7386" y="1887"/>
                    </a:lnTo>
                    <a:lnTo>
                      <a:pt x="7402" y="1879"/>
                    </a:lnTo>
                    <a:lnTo>
                      <a:pt x="7415" y="1871"/>
                    </a:lnTo>
                    <a:lnTo>
                      <a:pt x="7429" y="1863"/>
                    </a:lnTo>
                    <a:lnTo>
                      <a:pt x="7440" y="1857"/>
                    </a:lnTo>
                    <a:lnTo>
                      <a:pt x="7450" y="1851"/>
                    </a:lnTo>
                    <a:lnTo>
                      <a:pt x="7459" y="1846"/>
                    </a:lnTo>
                    <a:lnTo>
                      <a:pt x="7467" y="1842"/>
                    </a:lnTo>
                    <a:lnTo>
                      <a:pt x="7472" y="1839"/>
                    </a:lnTo>
                    <a:lnTo>
                      <a:pt x="7477" y="1836"/>
                    </a:lnTo>
                    <a:lnTo>
                      <a:pt x="7479" y="1835"/>
                    </a:lnTo>
                    <a:lnTo>
                      <a:pt x="7480" y="1834"/>
                    </a:lnTo>
                    <a:lnTo>
                      <a:pt x="7479" y="1834"/>
                    </a:lnTo>
                    <a:lnTo>
                      <a:pt x="7478" y="1835"/>
                    </a:lnTo>
                    <a:lnTo>
                      <a:pt x="7475" y="1836"/>
                    </a:lnTo>
                    <a:lnTo>
                      <a:pt x="7471" y="1837"/>
                    </a:lnTo>
                    <a:lnTo>
                      <a:pt x="7467" y="1838"/>
                    </a:lnTo>
                    <a:lnTo>
                      <a:pt x="7461" y="1840"/>
                    </a:lnTo>
                    <a:lnTo>
                      <a:pt x="7453" y="1842"/>
                    </a:lnTo>
                    <a:lnTo>
                      <a:pt x="7444" y="1844"/>
                    </a:lnTo>
                    <a:lnTo>
                      <a:pt x="7435" y="1847"/>
                    </a:lnTo>
                    <a:lnTo>
                      <a:pt x="7424" y="1850"/>
                    </a:lnTo>
                    <a:lnTo>
                      <a:pt x="7412" y="1853"/>
                    </a:lnTo>
                    <a:lnTo>
                      <a:pt x="7400" y="1856"/>
                    </a:lnTo>
                    <a:lnTo>
                      <a:pt x="7385" y="1860"/>
                    </a:lnTo>
                    <a:lnTo>
                      <a:pt x="7370" y="1864"/>
                    </a:lnTo>
                    <a:lnTo>
                      <a:pt x="7353" y="1869"/>
                    </a:lnTo>
                    <a:lnTo>
                      <a:pt x="7336" y="1873"/>
                    </a:lnTo>
                    <a:lnTo>
                      <a:pt x="7317" y="1877"/>
                    </a:lnTo>
                    <a:lnTo>
                      <a:pt x="7296" y="1881"/>
                    </a:lnTo>
                    <a:lnTo>
                      <a:pt x="7276" y="1886"/>
                    </a:lnTo>
                    <a:lnTo>
                      <a:pt x="7253" y="1891"/>
                    </a:lnTo>
                    <a:lnTo>
                      <a:pt x="7229" y="1896"/>
                    </a:lnTo>
                    <a:lnTo>
                      <a:pt x="7205" y="1902"/>
                    </a:lnTo>
                    <a:lnTo>
                      <a:pt x="7179" y="1907"/>
                    </a:lnTo>
                    <a:lnTo>
                      <a:pt x="7151" y="1912"/>
                    </a:lnTo>
                    <a:lnTo>
                      <a:pt x="7122" y="1918"/>
                    </a:lnTo>
                    <a:lnTo>
                      <a:pt x="7093" y="1923"/>
                    </a:lnTo>
                    <a:lnTo>
                      <a:pt x="7062" y="1929"/>
                    </a:lnTo>
                    <a:lnTo>
                      <a:pt x="7029" y="1934"/>
                    </a:lnTo>
                    <a:lnTo>
                      <a:pt x="6996" y="1941"/>
                    </a:lnTo>
                    <a:lnTo>
                      <a:pt x="6961" y="1947"/>
                    </a:lnTo>
                    <a:lnTo>
                      <a:pt x="6925" y="1952"/>
                    </a:lnTo>
                    <a:lnTo>
                      <a:pt x="6888" y="1958"/>
                    </a:lnTo>
                    <a:lnTo>
                      <a:pt x="6818" y="1968"/>
                    </a:lnTo>
                    <a:lnTo>
                      <a:pt x="6752" y="1978"/>
                    </a:lnTo>
                    <a:lnTo>
                      <a:pt x="6687" y="1985"/>
                    </a:lnTo>
                    <a:lnTo>
                      <a:pt x="6624" y="1990"/>
                    </a:lnTo>
                    <a:lnTo>
                      <a:pt x="6565" y="1995"/>
                    </a:lnTo>
                    <a:lnTo>
                      <a:pt x="6507" y="2000"/>
                    </a:lnTo>
                    <a:lnTo>
                      <a:pt x="6451" y="2005"/>
                    </a:lnTo>
                    <a:lnTo>
                      <a:pt x="6397" y="2009"/>
                    </a:lnTo>
                    <a:lnTo>
                      <a:pt x="6346" y="2013"/>
                    </a:lnTo>
                    <a:lnTo>
                      <a:pt x="6296" y="2019"/>
                    </a:lnTo>
                    <a:lnTo>
                      <a:pt x="6249" y="2025"/>
                    </a:lnTo>
                    <a:lnTo>
                      <a:pt x="6204" y="2032"/>
                    </a:lnTo>
                    <a:lnTo>
                      <a:pt x="6161" y="2042"/>
                    </a:lnTo>
                    <a:lnTo>
                      <a:pt x="6121" y="2053"/>
                    </a:lnTo>
                    <a:lnTo>
                      <a:pt x="6082" y="2066"/>
                    </a:lnTo>
                    <a:lnTo>
                      <a:pt x="6046" y="2083"/>
                    </a:lnTo>
                    <a:lnTo>
                      <a:pt x="5996" y="2113"/>
                    </a:lnTo>
                    <a:lnTo>
                      <a:pt x="5948" y="2146"/>
                    </a:lnTo>
                    <a:lnTo>
                      <a:pt x="5904" y="2181"/>
                    </a:lnTo>
                    <a:lnTo>
                      <a:pt x="5863" y="2218"/>
                    </a:lnTo>
                    <a:lnTo>
                      <a:pt x="5824" y="2258"/>
                    </a:lnTo>
                    <a:lnTo>
                      <a:pt x="5788" y="2300"/>
                    </a:lnTo>
                    <a:lnTo>
                      <a:pt x="5754" y="2345"/>
                    </a:lnTo>
                    <a:lnTo>
                      <a:pt x="5723" y="2394"/>
                    </a:lnTo>
                    <a:lnTo>
                      <a:pt x="5693" y="2445"/>
                    </a:lnTo>
                    <a:lnTo>
                      <a:pt x="5664" y="2499"/>
                    </a:lnTo>
                    <a:lnTo>
                      <a:pt x="5638" y="2557"/>
                    </a:lnTo>
                    <a:lnTo>
                      <a:pt x="5613" y="2617"/>
                    </a:lnTo>
                    <a:lnTo>
                      <a:pt x="5588" y="2680"/>
                    </a:lnTo>
                    <a:lnTo>
                      <a:pt x="5563" y="2748"/>
                    </a:lnTo>
                    <a:lnTo>
                      <a:pt x="5540" y="2818"/>
                    </a:lnTo>
                    <a:lnTo>
                      <a:pt x="5517" y="2892"/>
                    </a:lnTo>
                    <a:lnTo>
                      <a:pt x="5502" y="2937"/>
                    </a:lnTo>
                    <a:lnTo>
                      <a:pt x="5490" y="2981"/>
                    </a:lnTo>
                    <a:lnTo>
                      <a:pt x="5466" y="3073"/>
                    </a:lnTo>
                    <a:lnTo>
                      <a:pt x="5448" y="3164"/>
                    </a:lnTo>
                    <a:lnTo>
                      <a:pt x="5431" y="3255"/>
                    </a:lnTo>
                    <a:lnTo>
                      <a:pt x="5419" y="3346"/>
                    </a:lnTo>
                    <a:lnTo>
                      <a:pt x="5408" y="3433"/>
                    </a:lnTo>
                    <a:lnTo>
                      <a:pt x="5404" y="3476"/>
                    </a:lnTo>
                    <a:lnTo>
                      <a:pt x="5401" y="3518"/>
                    </a:lnTo>
                    <a:lnTo>
                      <a:pt x="5398" y="3559"/>
                    </a:lnTo>
                    <a:lnTo>
                      <a:pt x="5396" y="3598"/>
                    </a:lnTo>
                    <a:lnTo>
                      <a:pt x="5394" y="3636"/>
                    </a:lnTo>
                    <a:lnTo>
                      <a:pt x="5392" y="3672"/>
                    </a:lnTo>
                    <a:lnTo>
                      <a:pt x="5391" y="3707"/>
                    </a:lnTo>
                    <a:lnTo>
                      <a:pt x="5391" y="3740"/>
                    </a:lnTo>
                    <a:lnTo>
                      <a:pt x="5390" y="3771"/>
                    </a:lnTo>
                    <a:lnTo>
                      <a:pt x="5390" y="3801"/>
                    </a:lnTo>
                    <a:lnTo>
                      <a:pt x="5390" y="3828"/>
                    </a:lnTo>
                    <a:lnTo>
                      <a:pt x="5390" y="3852"/>
                    </a:lnTo>
                    <a:lnTo>
                      <a:pt x="5390" y="3875"/>
                    </a:lnTo>
                    <a:lnTo>
                      <a:pt x="5390" y="3895"/>
                    </a:lnTo>
                    <a:lnTo>
                      <a:pt x="5391" y="3912"/>
                    </a:lnTo>
                    <a:lnTo>
                      <a:pt x="5391" y="3926"/>
                    </a:lnTo>
                    <a:lnTo>
                      <a:pt x="5391" y="3937"/>
                    </a:lnTo>
                    <a:lnTo>
                      <a:pt x="5392" y="3945"/>
                    </a:lnTo>
                    <a:lnTo>
                      <a:pt x="5392" y="3950"/>
                    </a:lnTo>
                    <a:lnTo>
                      <a:pt x="5392" y="3952"/>
                    </a:lnTo>
                    <a:lnTo>
                      <a:pt x="5392" y="3951"/>
                    </a:lnTo>
                    <a:lnTo>
                      <a:pt x="5393" y="3950"/>
                    </a:lnTo>
                    <a:lnTo>
                      <a:pt x="5393" y="3947"/>
                    </a:lnTo>
                    <a:lnTo>
                      <a:pt x="5394" y="3943"/>
                    </a:lnTo>
                    <a:lnTo>
                      <a:pt x="5396" y="3938"/>
                    </a:lnTo>
                    <a:lnTo>
                      <a:pt x="5397" y="3932"/>
                    </a:lnTo>
                    <a:lnTo>
                      <a:pt x="5399" y="3924"/>
                    </a:lnTo>
                    <a:lnTo>
                      <a:pt x="5402" y="3915"/>
                    </a:lnTo>
                    <a:lnTo>
                      <a:pt x="5407" y="3896"/>
                    </a:lnTo>
                    <a:lnTo>
                      <a:pt x="5413" y="3873"/>
                    </a:lnTo>
                    <a:lnTo>
                      <a:pt x="5421" y="3846"/>
                    </a:lnTo>
                    <a:lnTo>
                      <a:pt x="5429" y="3816"/>
                    </a:lnTo>
                    <a:lnTo>
                      <a:pt x="5438" y="3783"/>
                    </a:lnTo>
                    <a:lnTo>
                      <a:pt x="5449" y="3747"/>
                    </a:lnTo>
                    <a:lnTo>
                      <a:pt x="5460" y="3709"/>
                    </a:lnTo>
                    <a:lnTo>
                      <a:pt x="5472" y="3670"/>
                    </a:lnTo>
                    <a:lnTo>
                      <a:pt x="5485" y="3628"/>
                    </a:lnTo>
                    <a:lnTo>
                      <a:pt x="5499" y="3584"/>
                    </a:lnTo>
                    <a:lnTo>
                      <a:pt x="5513" y="3539"/>
                    </a:lnTo>
                    <a:lnTo>
                      <a:pt x="5528" y="3493"/>
                    </a:lnTo>
                    <a:lnTo>
                      <a:pt x="5560" y="3397"/>
                    </a:lnTo>
                    <a:lnTo>
                      <a:pt x="5594" y="3301"/>
                    </a:lnTo>
                    <a:lnTo>
                      <a:pt x="5630" y="3205"/>
                    </a:lnTo>
                    <a:lnTo>
                      <a:pt x="5649" y="3157"/>
                    </a:lnTo>
                    <a:lnTo>
                      <a:pt x="5668" y="3111"/>
                    </a:lnTo>
                    <a:lnTo>
                      <a:pt x="5687" y="3065"/>
                    </a:lnTo>
                    <a:lnTo>
                      <a:pt x="5707" y="3021"/>
                    </a:lnTo>
                    <a:lnTo>
                      <a:pt x="5727" y="2979"/>
                    </a:lnTo>
                    <a:lnTo>
                      <a:pt x="5747" y="2938"/>
                    </a:lnTo>
                    <a:lnTo>
                      <a:pt x="5768" y="2900"/>
                    </a:lnTo>
                    <a:lnTo>
                      <a:pt x="5787" y="2864"/>
                    </a:lnTo>
                    <a:lnTo>
                      <a:pt x="5808" y="2830"/>
                    </a:lnTo>
                    <a:lnTo>
                      <a:pt x="5828" y="2799"/>
                    </a:lnTo>
                    <a:lnTo>
                      <a:pt x="5828" y="2799"/>
                    </a:lnTo>
                    <a:close/>
                    <a:moveTo>
                      <a:pt x="8937" y="2088"/>
                    </a:moveTo>
                    <a:lnTo>
                      <a:pt x="8957" y="2070"/>
                    </a:lnTo>
                    <a:lnTo>
                      <a:pt x="8979" y="2055"/>
                    </a:lnTo>
                    <a:lnTo>
                      <a:pt x="9002" y="2040"/>
                    </a:lnTo>
                    <a:lnTo>
                      <a:pt x="9025" y="2026"/>
                    </a:lnTo>
                    <a:lnTo>
                      <a:pt x="9072" y="2001"/>
                    </a:lnTo>
                    <a:lnTo>
                      <a:pt x="9122" y="1980"/>
                    </a:lnTo>
                    <a:lnTo>
                      <a:pt x="9170" y="1961"/>
                    </a:lnTo>
                    <a:lnTo>
                      <a:pt x="9220" y="1946"/>
                    </a:lnTo>
                    <a:lnTo>
                      <a:pt x="9268" y="1933"/>
                    </a:lnTo>
                    <a:lnTo>
                      <a:pt x="9315" y="1924"/>
                    </a:lnTo>
                    <a:lnTo>
                      <a:pt x="9358" y="1916"/>
                    </a:lnTo>
                    <a:lnTo>
                      <a:pt x="9398" y="1911"/>
                    </a:lnTo>
                    <a:lnTo>
                      <a:pt x="9418" y="1908"/>
                    </a:lnTo>
                    <a:lnTo>
                      <a:pt x="9435" y="1907"/>
                    </a:lnTo>
                    <a:lnTo>
                      <a:pt x="9452" y="1905"/>
                    </a:lnTo>
                    <a:lnTo>
                      <a:pt x="9466" y="1904"/>
                    </a:lnTo>
                    <a:lnTo>
                      <a:pt x="9480" y="1903"/>
                    </a:lnTo>
                    <a:lnTo>
                      <a:pt x="9492" y="1902"/>
                    </a:lnTo>
                    <a:lnTo>
                      <a:pt x="9503" y="1902"/>
                    </a:lnTo>
                    <a:lnTo>
                      <a:pt x="9512" y="1901"/>
                    </a:lnTo>
                    <a:lnTo>
                      <a:pt x="9519" y="1901"/>
                    </a:lnTo>
                    <a:lnTo>
                      <a:pt x="9524" y="1901"/>
                    </a:lnTo>
                    <a:lnTo>
                      <a:pt x="9527" y="1901"/>
                    </a:lnTo>
                    <a:lnTo>
                      <a:pt x="9528" y="1901"/>
                    </a:lnTo>
                    <a:lnTo>
                      <a:pt x="9527" y="1901"/>
                    </a:lnTo>
                    <a:lnTo>
                      <a:pt x="9525" y="1899"/>
                    </a:lnTo>
                    <a:lnTo>
                      <a:pt x="9520" y="1898"/>
                    </a:lnTo>
                    <a:lnTo>
                      <a:pt x="9515" y="1896"/>
                    </a:lnTo>
                    <a:lnTo>
                      <a:pt x="9507" y="1894"/>
                    </a:lnTo>
                    <a:lnTo>
                      <a:pt x="9498" y="1892"/>
                    </a:lnTo>
                    <a:lnTo>
                      <a:pt x="9488" y="1889"/>
                    </a:lnTo>
                    <a:lnTo>
                      <a:pt x="9476" y="1886"/>
                    </a:lnTo>
                    <a:lnTo>
                      <a:pt x="9463" y="1883"/>
                    </a:lnTo>
                    <a:lnTo>
                      <a:pt x="9449" y="1879"/>
                    </a:lnTo>
                    <a:lnTo>
                      <a:pt x="9433" y="1875"/>
                    </a:lnTo>
                    <a:lnTo>
                      <a:pt x="9417" y="1872"/>
                    </a:lnTo>
                    <a:lnTo>
                      <a:pt x="9381" y="1862"/>
                    </a:lnTo>
                    <a:lnTo>
                      <a:pt x="9341" y="1854"/>
                    </a:lnTo>
                    <a:lnTo>
                      <a:pt x="9299" y="1846"/>
                    </a:lnTo>
                    <a:lnTo>
                      <a:pt x="9255" y="1838"/>
                    </a:lnTo>
                    <a:lnTo>
                      <a:pt x="9208" y="1829"/>
                    </a:lnTo>
                    <a:lnTo>
                      <a:pt x="9161" y="1822"/>
                    </a:lnTo>
                    <a:lnTo>
                      <a:pt x="9112" y="1816"/>
                    </a:lnTo>
                    <a:lnTo>
                      <a:pt x="9064" y="1812"/>
                    </a:lnTo>
                    <a:lnTo>
                      <a:pt x="9015" y="1809"/>
                    </a:lnTo>
                    <a:lnTo>
                      <a:pt x="8968" y="1808"/>
                    </a:lnTo>
                    <a:lnTo>
                      <a:pt x="8933" y="1808"/>
                    </a:lnTo>
                    <a:lnTo>
                      <a:pt x="8898" y="1809"/>
                    </a:lnTo>
                    <a:lnTo>
                      <a:pt x="8865" y="1811"/>
                    </a:lnTo>
                    <a:lnTo>
                      <a:pt x="8832" y="1816"/>
                    </a:lnTo>
                    <a:lnTo>
                      <a:pt x="8800" y="1823"/>
                    </a:lnTo>
                    <a:lnTo>
                      <a:pt x="8785" y="1828"/>
                    </a:lnTo>
                    <a:lnTo>
                      <a:pt x="8771" y="1834"/>
                    </a:lnTo>
                    <a:lnTo>
                      <a:pt x="8756" y="1841"/>
                    </a:lnTo>
                    <a:lnTo>
                      <a:pt x="8743" y="1849"/>
                    </a:lnTo>
                    <a:lnTo>
                      <a:pt x="8730" y="1858"/>
                    </a:lnTo>
                    <a:lnTo>
                      <a:pt x="8718" y="1870"/>
                    </a:lnTo>
                    <a:lnTo>
                      <a:pt x="8711" y="1875"/>
                    </a:lnTo>
                    <a:lnTo>
                      <a:pt x="8704" y="1881"/>
                    </a:lnTo>
                    <a:lnTo>
                      <a:pt x="8689" y="1895"/>
                    </a:lnTo>
                    <a:lnTo>
                      <a:pt x="8676" y="1914"/>
                    </a:lnTo>
                    <a:lnTo>
                      <a:pt x="8662" y="1937"/>
                    </a:lnTo>
                    <a:lnTo>
                      <a:pt x="8650" y="1962"/>
                    </a:lnTo>
                    <a:lnTo>
                      <a:pt x="8637" y="1991"/>
                    </a:lnTo>
                    <a:lnTo>
                      <a:pt x="8625" y="2022"/>
                    </a:lnTo>
                    <a:lnTo>
                      <a:pt x="8614" y="2055"/>
                    </a:lnTo>
                    <a:lnTo>
                      <a:pt x="8602" y="2091"/>
                    </a:lnTo>
                    <a:lnTo>
                      <a:pt x="8591" y="2128"/>
                    </a:lnTo>
                    <a:lnTo>
                      <a:pt x="8581" y="2167"/>
                    </a:lnTo>
                    <a:lnTo>
                      <a:pt x="8570" y="2206"/>
                    </a:lnTo>
                    <a:lnTo>
                      <a:pt x="8552" y="2289"/>
                    </a:lnTo>
                    <a:lnTo>
                      <a:pt x="8535" y="2372"/>
                    </a:lnTo>
                    <a:lnTo>
                      <a:pt x="8520" y="2455"/>
                    </a:lnTo>
                    <a:lnTo>
                      <a:pt x="8514" y="2495"/>
                    </a:lnTo>
                    <a:lnTo>
                      <a:pt x="8506" y="2534"/>
                    </a:lnTo>
                    <a:lnTo>
                      <a:pt x="8501" y="2571"/>
                    </a:lnTo>
                    <a:lnTo>
                      <a:pt x="8496" y="2607"/>
                    </a:lnTo>
                    <a:lnTo>
                      <a:pt x="8491" y="2640"/>
                    </a:lnTo>
                    <a:lnTo>
                      <a:pt x="8486" y="2672"/>
                    </a:lnTo>
                    <a:lnTo>
                      <a:pt x="8483" y="2701"/>
                    </a:lnTo>
                    <a:lnTo>
                      <a:pt x="8478" y="2727"/>
                    </a:lnTo>
                    <a:lnTo>
                      <a:pt x="8476" y="2749"/>
                    </a:lnTo>
                    <a:lnTo>
                      <a:pt x="8473" y="2769"/>
                    </a:lnTo>
                    <a:lnTo>
                      <a:pt x="8471" y="2784"/>
                    </a:lnTo>
                    <a:lnTo>
                      <a:pt x="8471" y="2790"/>
                    </a:lnTo>
                    <a:lnTo>
                      <a:pt x="8470" y="2796"/>
                    </a:lnTo>
                    <a:lnTo>
                      <a:pt x="8470" y="2800"/>
                    </a:lnTo>
                    <a:lnTo>
                      <a:pt x="8469" y="2803"/>
                    </a:lnTo>
                    <a:lnTo>
                      <a:pt x="8469" y="2804"/>
                    </a:lnTo>
                    <a:lnTo>
                      <a:pt x="8469" y="2805"/>
                    </a:lnTo>
                    <a:lnTo>
                      <a:pt x="8470" y="2803"/>
                    </a:lnTo>
                    <a:lnTo>
                      <a:pt x="8472" y="2799"/>
                    </a:lnTo>
                    <a:lnTo>
                      <a:pt x="8476" y="2790"/>
                    </a:lnTo>
                    <a:lnTo>
                      <a:pt x="8482" y="2780"/>
                    </a:lnTo>
                    <a:lnTo>
                      <a:pt x="8489" y="2768"/>
                    </a:lnTo>
                    <a:lnTo>
                      <a:pt x="8496" y="2752"/>
                    </a:lnTo>
                    <a:lnTo>
                      <a:pt x="8505" y="2735"/>
                    </a:lnTo>
                    <a:lnTo>
                      <a:pt x="8516" y="2715"/>
                    </a:lnTo>
                    <a:lnTo>
                      <a:pt x="8528" y="2694"/>
                    </a:lnTo>
                    <a:lnTo>
                      <a:pt x="8540" y="2670"/>
                    </a:lnTo>
                    <a:lnTo>
                      <a:pt x="8554" y="2645"/>
                    </a:lnTo>
                    <a:lnTo>
                      <a:pt x="8568" y="2619"/>
                    </a:lnTo>
                    <a:lnTo>
                      <a:pt x="8583" y="2592"/>
                    </a:lnTo>
                    <a:lnTo>
                      <a:pt x="8599" y="2564"/>
                    </a:lnTo>
                    <a:lnTo>
                      <a:pt x="8633" y="2505"/>
                    </a:lnTo>
                    <a:lnTo>
                      <a:pt x="8669" y="2444"/>
                    </a:lnTo>
                    <a:lnTo>
                      <a:pt x="8707" y="2384"/>
                    </a:lnTo>
                    <a:lnTo>
                      <a:pt x="8746" y="2323"/>
                    </a:lnTo>
                    <a:lnTo>
                      <a:pt x="8785" y="2265"/>
                    </a:lnTo>
                    <a:lnTo>
                      <a:pt x="8805" y="2238"/>
                    </a:lnTo>
                    <a:lnTo>
                      <a:pt x="8824" y="2212"/>
                    </a:lnTo>
                    <a:lnTo>
                      <a:pt x="8844" y="2187"/>
                    </a:lnTo>
                    <a:lnTo>
                      <a:pt x="8864" y="2163"/>
                    </a:lnTo>
                    <a:lnTo>
                      <a:pt x="8882" y="2142"/>
                    </a:lnTo>
                    <a:lnTo>
                      <a:pt x="8901" y="2122"/>
                    </a:lnTo>
                    <a:lnTo>
                      <a:pt x="8919" y="2103"/>
                    </a:lnTo>
                    <a:lnTo>
                      <a:pt x="8937" y="2088"/>
                    </a:lnTo>
                    <a:lnTo>
                      <a:pt x="8937" y="2088"/>
                    </a:lnTo>
                    <a:close/>
                    <a:moveTo>
                      <a:pt x="13635" y="1364"/>
                    </a:moveTo>
                    <a:lnTo>
                      <a:pt x="13659" y="1346"/>
                    </a:lnTo>
                    <a:lnTo>
                      <a:pt x="13681" y="1327"/>
                    </a:lnTo>
                    <a:lnTo>
                      <a:pt x="13726" y="1287"/>
                    </a:lnTo>
                    <a:lnTo>
                      <a:pt x="13768" y="1242"/>
                    </a:lnTo>
                    <a:lnTo>
                      <a:pt x="13807" y="1196"/>
                    </a:lnTo>
                    <a:lnTo>
                      <a:pt x="13845" y="1149"/>
                    </a:lnTo>
                    <a:lnTo>
                      <a:pt x="13880" y="1100"/>
                    </a:lnTo>
                    <a:lnTo>
                      <a:pt x="13912" y="1051"/>
                    </a:lnTo>
                    <a:lnTo>
                      <a:pt x="13939" y="1002"/>
                    </a:lnTo>
                    <a:lnTo>
                      <a:pt x="13963" y="955"/>
                    </a:lnTo>
                    <a:lnTo>
                      <a:pt x="13975" y="931"/>
                    </a:lnTo>
                    <a:lnTo>
                      <a:pt x="13984" y="909"/>
                    </a:lnTo>
                    <a:lnTo>
                      <a:pt x="13993" y="887"/>
                    </a:lnTo>
                    <a:lnTo>
                      <a:pt x="14000" y="865"/>
                    </a:lnTo>
                    <a:lnTo>
                      <a:pt x="14007" y="845"/>
                    </a:lnTo>
                    <a:lnTo>
                      <a:pt x="14013" y="825"/>
                    </a:lnTo>
                    <a:lnTo>
                      <a:pt x="14017" y="807"/>
                    </a:lnTo>
                    <a:lnTo>
                      <a:pt x="14020" y="789"/>
                    </a:lnTo>
                    <a:lnTo>
                      <a:pt x="14021" y="773"/>
                    </a:lnTo>
                    <a:lnTo>
                      <a:pt x="14022" y="757"/>
                    </a:lnTo>
                    <a:lnTo>
                      <a:pt x="14021" y="743"/>
                    </a:lnTo>
                    <a:lnTo>
                      <a:pt x="14019" y="730"/>
                    </a:lnTo>
                    <a:lnTo>
                      <a:pt x="14015" y="719"/>
                    </a:lnTo>
                    <a:lnTo>
                      <a:pt x="14010" y="710"/>
                    </a:lnTo>
                    <a:lnTo>
                      <a:pt x="14010" y="709"/>
                    </a:lnTo>
                    <a:lnTo>
                      <a:pt x="14010" y="705"/>
                    </a:lnTo>
                    <a:lnTo>
                      <a:pt x="14008" y="701"/>
                    </a:lnTo>
                    <a:lnTo>
                      <a:pt x="14005" y="694"/>
                    </a:lnTo>
                    <a:lnTo>
                      <a:pt x="14001" y="689"/>
                    </a:lnTo>
                    <a:lnTo>
                      <a:pt x="13996" y="684"/>
                    </a:lnTo>
                    <a:lnTo>
                      <a:pt x="13988" y="680"/>
                    </a:lnTo>
                    <a:lnTo>
                      <a:pt x="13978" y="679"/>
                    </a:lnTo>
                    <a:lnTo>
                      <a:pt x="13968" y="680"/>
                    </a:lnTo>
                    <a:lnTo>
                      <a:pt x="13959" y="683"/>
                    </a:lnTo>
                    <a:lnTo>
                      <a:pt x="13950" y="687"/>
                    </a:lnTo>
                    <a:lnTo>
                      <a:pt x="13939" y="694"/>
                    </a:lnTo>
                    <a:lnTo>
                      <a:pt x="13929" y="702"/>
                    </a:lnTo>
                    <a:lnTo>
                      <a:pt x="13919" y="712"/>
                    </a:lnTo>
                    <a:lnTo>
                      <a:pt x="13907" y="722"/>
                    </a:lnTo>
                    <a:lnTo>
                      <a:pt x="13896" y="734"/>
                    </a:lnTo>
                    <a:lnTo>
                      <a:pt x="13885" y="748"/>
                    </a:lnTo>
                    <a:lnTo>
                      <a:pt x="13872" y="763"/>
                    </a:lnTo>
                    <a:lnTo>
                      <a:pt x="13860" y="779"/>
                    </a:lnTo>
                    <a:lnTo>
                      <a:pt x="13847" y="795"/>
                    </a:lnTo>
                    <a:lnTo>
                      <a:pt x="13820" y="831"/>
                    </a:lnTo>
                    <a:lnTo>
                      <a:pt x="13791" y="869"/>
                    </a:lnTo>
                    <a:lnTo>
                      <a:pt x="13761" y="910"/>
                    </a:lnTo>
                    <a:lnTo>
                      <a:pt x="13730" y="951"/>
                    </a:lnTo>
                    <a:lnTo>
                      <a:pt x="13697" y="992"/>
                    </a:lnTo>
                    <a:lnTo>
                      <a:pt x="13663" y="1033"/>
                    </a:lnTo>
                    <a:lnTo>
                      <a:pt x="13627" y="1073"/>
                    </a:lnTo>
                    <a:lnTo>
                      <a:pt x="13589" y="1111"/>
                    </a:lnTo>
                    <a:lnTo>
                      <a:pt x="13551" y="1147"/>
                    </a:lnTo>
                    <a:lnTo>
                      <a:pt x="13532" y="1162"/>
                    </a:lnTo>
                    <a:lnTo>
                      <a:pt x="13511" y="1177"/>
                    </a:lnTo>
                    <a:lnTo>
                      <a:pt x="13475" y="1206"/>
                    </a:lnTo>
                    <a:lnTo>
                      <a:pt x="13436" y="1233"/>
                    </a:lnTo>
                    <a:lnTo>
                      <a:pt x="13395" y="1258"/>
                    </a:lnTo>
                    <a:lnTo>
                      <a:pt x="13354" y="1282"/>
                    </a:lnTo>
                    <a:lnTo>
                      <a:pt x="13313" y="1304"/>
                    </a:lnTo>
                    <a:lnTo>
                      <a:pt x="13272" y="1325"/>
                    </a:lnTo>
                    <a:lnTo>
                      <a:pt x="13230" y="1343"/>
                    </a:lnTo>
                    <a:lnTo>
                      <a:pt x="13192" y="1361"/>
                    </a:lnTo>
                    <a:lnTo>
                      <a:pt x="13155" y="1375"/>
                    </a:lnTo>
                    <a:lnTo>
                      <a:pt x="13121" y="1389"/>
                    </a:lnTo>
                    <a:lnTo>
                      <a:pt x="13091" y="1400"/>
                    </a:lnTo>
                    <a:lnTo>
                      <a:pt x="13076" y="1405"/>
                    </a:lnTo>
                    <a:lnTo>
                      <a:pt x="13064" y="1409"/>
                    </a:lnTo>
                    <a:lnTo>
                      <a:pt x="13053" y="1413"/>
                    </a:lnTo>
                    <a:lnTo>
                      <a:pt x="13042" y="1417"/>
                    </a:lnTo>
                    <a:lnTo>
                      <a:pt x="13034" y="1419"/>
                    </a:lnTo>
                    <a:lnTo>
                      <a:pt x="13026" y="1423"/>
                    </a:lnTo>
                    <a:lnTo>
                      <a:pt x="13021" y="1425"/>
                    </a:lnTo>
                    <a:lnTo>
                      <a:pt x="13016" y="1426"/>
                    </a:lnTo>
                    <a:lnTo>
                      <a:pt x="13013" y="1427"/>
                    </a:lnTo>
                    <a:lnTo>
                      <a:pt x="13012" y="1427"/>
                    </a:lnTo>
                    <a:lnTo>
                      <a:pt x="13011" y="1427"/>
                    </a:lnTo>
                    <a:lnTo>
                      <a:pt x="13009" y="1427"/>
                    </a:lnTo>
                    <a:lnTo>
                      <a:pt x="13003" y="1428"/>
                    </a:lnTo>
                    <a:lnTo>
                      <a:pt x="12994" y="1432"/>
                    </a:lnTo>
                    <a:lnTo>
                      <a:pt x="12990" y="1435"/>
                    </a:lnTo>
                    <a:lnTo>
                      <a:pt x="12985" y="1438"/>
                    </a:lnTo>
                    <a:lnTo>
                      <a:pt x="12980" y="1443"/>
                    </a:lnTo>
                    <a:lnTo>
                      <a:pt x="12977" y="1449"/>
                    </a:lnTo>
                    <a:lnTo>
                      <a:pt x="12974" y="1457"/>
                    </a:lnTo>
                    <a:lnTo>
                      <a:pt x="12972" y="1466"/>
                    </a:lnTo>
                    <a:lnTo>
                      <a:pt x="12972" y="1476"/>
                    </a:lnTo>
                    <a:lnTo>
                      <a:pt x="12973" y="1488"/>
                    </a:lnTo>
                    <a:lnTo>
                      <a:pt x="12975" y="1503"/>
                    </a:lnTo>
                    <a:lnTo>
                      <a:pt x="12980" y="1519"/>
                    </a:lnTo>
                    <a:lnTo>
                      <a:pt x="12993" y="1532"/>
                    </a:lnTo>
                    <a:lnTo>
                      <a:pt x="13005" y="1543"/>
                    </a:lnTo>
                    <a:lnTo>
                      <a:pt x="13020" y="1553"/>
                    </a:lnTo>
                    <a:lnTo>
                      <a:pt x="13035" y="1563"/>
                    </a:lnTo>
                    <a:lnTo>
                      <a:pt x="13055" y="1571"/>
                    </a:lnTo>
                    <a:lnTo>
                      <a:pt x="13065" y="1574"/>
                    </a:lnTo>
                    <a:lnTo>
                      <a:pt x="13077" y="1577"/>
                    </a:lnTo>
                    <a:lnTo>
                      <a:pt x="13090" y="1579"/>
                    </a:lnTo>
                    <a:lnTo>
                      <a:pt x="13104" y="1581"/>
                    </a:lnTo>
                    <a:lnTo>
                      <a:pt x="13120" y="1582"/>
                    </a:lnTo>
                    <a:lnTo>
                      <a:pt x="13136" y="1582"/>
                    </a:lnTo>
                    <a:lnTo>
                      <a:pt x="13160" y="1581"/>
                    </a:lnTo>
                    <a:lnTo>
                      <a:pt x="13186" y="1579"/>
                    </a:lnTo>
                    <a:lnTo>
                      <a:pt x="13213" y="1575"/>
                    </a:lnTo>
                    <a:lnTo>
                      <a:pt x="13241" y="1570"/>
                    </a:lnTo>
                    <a:lnTo>
                      <a:pt x="13269" y="1563"/>
                    </a:lnTo>
                    <a:lnTo>
                      <a:pt x="13299" y="1554"/>
                    </a:lnTo>
                    <a:lnTo>
                      <a:pt x="13330" y="1544"/>
                    </a:lnTo>
                    <a:lnTo>
                      <a:pt x="13362" y="1532"/>
                    </a:lnTo>
                    <a:lnTo>
                      <a:pt x="13394" y="1517"/>
                    </a:lnTo>
                    <a:lnTo>
                      <a:pt x="13428" y="1501"/>
                    </a:lnTo>
                    <a:lnTo>
                      <a:pt x="13461" y="1483"/>
                    </a:lnTo>
                    <a:lnTo>
                      <a:pt x="13496" y="1464"/>
                    </a:lnTo>
                    <a:lnTo>
                      <a:pt x="13531" y="1442"/>
                    </a:lnTo>
                    <a:lnTo>
                      <a:pt x="13565" y="1417"/>
                    </a:lnTo>
                    <a:lnTo>
                      <a:pt x="13600" y="1392"/>
                    </a:lnTo>
                    <a:lnTo>
                      <a:pt x="13635" y="1364"/>
                    </a:lnTo>
                    <a:lnTo>
                      <a:pt x="13635" y="1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1" name="Freeform 50"/>
              <p:cNvSpPr>
                <a:spLocks/>
              </p:cNvSpPr>
              <p:nvPr/>
            </p:nvSpPr>
            <p:spPr bwMode="auto">
              <a:xfrm>
                <a:off x="3376613" y="4881563"/>
                <a:ext cx="173037" cy="225425"/>
              </a:xfrm>
              <a:custGeom>
                <a:avLst/>
                <a:gdLst>
                  <a:gd name="T0" fmla="*/ 51 w 1624"/>
                  <a:gd name="T1" fmla="*/ 1213 h 2120"/>
                  <a:gd name="T2" fmla="*/ 44 w 1624"/>
                  <a:gd name="T3" fmla="*/ 1202 h 2120"/>
                  <a:gd name="T4" fmla="*/ 23 w 1624"/>
                  <a:gd name="T5" fmla="*/ 1163 h 2120"/>
                  <a:gd name="T6" fmla="*/ 3 w 1624"/>
                  <a:gd name="T7" fmla="*/ 1084 h 2120"/>
                  <a:gd name="T8" fmla="*/ 2 w 1624"/>
                  <a:gd name="T9" fmla="*/ 992 h 2120"/>
                  <a:gd name="T10" fmla="*/ 14 w 1624"/>
                  <a:gd name="T11" fmla="*/ 926 h 2120"/>
                  <a:gd name="T12" fmla="*/ 39 w 1624"/>
                  <a:gd name="T13" fmla="*/ 854 h 2120"/>
                  <a:gd name="T14" fmla="*/ 79 w 1624"/>
                  <a:gd name="T15" fmla="*/ 774 h 2120"/>
                  <a:gd name="T16" fmla="*/ 157 w 1624"/>
                  <a:gd name="T17" fmla="*/ 663 h 2120"/>
                  <a:gd name="T18" fmla="*/ 295 w 1624"/>
                  <a:gd name="T19" fmla="*/ 491 h 2120"/>
                  <a:gd name="T20" fmla="*/ 434 w 1624"/>
                  <a:gd name="T21" fmla="*/ 322 h 2120"/>
                  <a:gd name="T22" fmla="*/ 538 w 1624"/>
                  <a:gd name="T23" fmla="*/ 197 h 2120"/>
                  <a:gd name="T24" fmla="*/ 591 w 1624"/>
                  <a:gd name="T25" fmla="*/ 134 h 2120"/>
                  <a:gd name="T26" fmla="*/ 632 w 1624"/>
                  <a:gd name="T27" fmla="*/ 85 h 2120"/>
                  <a:gd name="T28" fmla="*/ 661 w 1624"/>
                  <a:gd name="T29" fmla="*/ 49 h 2120"/>
                  <a:gd name="T30" fmla="*/ 676 w 1624"/>
                  <a:gd name="T31" fmla="*/ 33 h 2120"/>
                  <a:gd name="T32" fmla="*/ 735 w 1624"/>
                  <a:gd name="T33" fmla="*/ 45 h 2120"/>
                  <a:gd name="T34" fmla="*/ 801 w 1624"/>
                  <a:gd name="T35" fmla="*/ 214 h 2120"/>
                  <a:gd name="T36" fmla="*/ 967 w 1624"/>
                  <a:gd name="T37" fmla="*/ 585 h 2120"/>
                  <a:gd name="T38" fmla="*/ 1150 w 1624"/>
                  <a:gd name="T39" fmla="*/ 944 h 2120"/>
                  <a:gd name="T40" fmla="*/ 1242 w 1624"/>
                  <a:gd name="T41" fmla="*/ 1111 h 2120"/>
                  <a:gd name="T42" fmla="*/ 1332 w 1624"/>
                  <a:gd name="T43" fmla="*/ 1269 h 2120"/>
                  <a:gd name="T44" fmla="*/ 1417 w 1624"/>
                  <a:gd name="T45" fmla="*/ 1413 h 2120"/>
                  <a:gd name="T46" fmla="*/ 1495 w 1624"/>
                  <a:gd name="T47" fmla="*/ 1542 h 2120"/>
                  <a:gd name="T48" fmla="*/ 1566 w 1624"/>
                  <a:gd name="T49" fmla="*/ 1652 h 2120"/>
                  <a:gd name="T50" fmla="*/ 1624 w 1624"/>
                  <a:gd name="T51" fmla="*/ 1742 h 2120"/>
                  <a:gd name="T52" fmla="*/ 1616 w 1624"/>
                  <a:gd name="T53" fmla="*/ 1790 h 2120"/>
                  <a:gd name="T54" fmla="*/ 1602 w 1624"/>
                  <a:gd name="T55" fmla="*/ 1850 h 2120"/>
                  <a:gd name="T56" fmla="*/ 1547 w 1624"/>
                  <a:gd name="T57" fmla="*/ 1941 h 2120"/>
                  <a:gd name="T58" fmla="*/ 1459 w 1624"/>
                  <a:gd name="T59" fmla="*/ 2020 h 2120"/>
                  <a:gd name="T60" fmla="*/ 1389 w 1624"/>
                  <a:gd name="T61" fmla="*/ 2068 h 2120"/>
                  <a:gd name="T62" fmla="*/ 1315 w 1624"/>
                  <a:gd name="T63" fmla="*/ 2102 h 2120"/>
                  <a:gd name="T64" fmla="*/ 1234 w 1624"/>
                  <a:gd name="T65" fmla="*/ 2119 h 2120"/>
                  <a:gd name="T66" fmla="*/ 1091 w 1624"/>
                  <a:gd name="T67" fmla="*/ 2119 h 2120"/>
                  <a:gd name="T68" fmla="*/ 1025 w 1624"/>
                  <a:gd name="T69" fmla="*/ 2110 h 2120"/>
                  <a:gd name="T70" fmla="*/ 956 w 1624"/>
                  <a:gd name="T71" fmla="*/ 2090 h 2120"/>
                  <a:gd name="T72" fmla="*/ 843 w 1624"/>
                  <a:gd name="T73" fmla="*/ 2036 h 2120"/>
                  <a:gd name="T74" fmla="*/ 706 w 1624"/>
                  <a:gd name="T75" fmla="*/ 1946 h 2120"/>
                  <a:gd name="T76" fmla="*/ 574 w 1624"/>
                  <a:gd name="T77" fmla="*/ 1834 h 2120"/>
                  <a:gd name="T78" fmla="*/ 449 w 1624"/>
                  <a:gd name="T79" fmla="*/ 1710 h 2120"/>
                  <a:gd name="T80" fmla="*/ 334 w 1624"/>
                  <a:gd name="T81" fmla="*/ 1583 h 2120"/>
                  <a:gd name="T82" fmla="*/ 235 w 1624"/>
                  <a:gd name="T83" fmla="*/ 1463 h 2120"/>
                  <a:gd name="T84" fmla="*/ 153 w 1624"/>
                  <a:gd name="T85" fmla="*/ 1357 h 2120"/>
                  <a:gd name="T86" fmla="*/ 95 w 1624"/>
                  <a:gd name="T87" fmla="*/ 1275 h 2120"/>
                  <a:gd name="T88" fmla="*/ 69 w 1624"/>
                  <a:gd name="T89" fmla="*/ 1238 h 2120"/>
                  <a:gd name="T90" fmla="*/ 57 w 1624"/>
                  <a:gd name="T91" fmla="*/ 1222 h 2120"/>
                  <a:gd name="T92" fmla="*/ 53 w 1624"/>
                  <a:gd name="T93" fmla="*/ 1216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24" h="2120">
                    <a:moveTo>
                      <a:pt x="53" y="1216"/>
                    </a:moveTo>
                    <a:lnTo>
                      <a:pt x="53" y="1216"/>
                    </a:lnTo>
                    <a:lnTo>
                      <a:pt x="51" y="1213"/>
                    </a:lnTo>
                    <a:lnTo>
                      <a:pt x="49" y="1210"/>
                    </a:lnTo>
                    <a:lnTo>
                      <a:pt x="47" y="1207"/>
                    </a:lnTo>
                    <a:lnTo>
                      <a:pt x="44" y="1202"/>
                    </a:lnTo>
                    <a:lnTo>
                      <a:pt x="40" y="1196"/>
                    </a:lnTo>
                    <a:lnTo>
                      <a:pt x="33" y="1182"/>
                    </a:lnTo>
                    <a:lnTo>
                      <a:pt x="23" y="1163"/>
                    </a:lnTo>
                    <a:lnTo>
                      <a:pt x="15" y="1140"/>
                    </a:lnTo>
                    <a:lnTo>
                      <a:pt x="8" y="1114"/>
                    </a:lnTo>
                    <a:lnTo>
                      <a:pt x="3" y="1084"/>
                    </a:lnTo>
                    <a:lnTo>
                      <a:pt x="0" y="1050"/>
                    </a:lnTo>
                    <a:lnTo>
                      <a:pt x="0" y="1012"/>
                    </a:lnTo>
                    <a:lnTo>
                      <a:pt x="2" y="992"/>
                    </a:lnTo>
                    <a:lnTo>
                      <a:pt x="5" y="971"/>
                    </a:lnTo>
                    <a:lnTo>
                      <a:pt x="8" y="949"/>
                    </a:lnTo>
                    <a:lnTo>
                      <a:pt x="14" y="926"/>
                    </a:lnTo>
                    <a:lnTo>
                      <a:pt x="20" y="903"/>
                    </a:lnTo>
                    <a:lnTo>
                      <a:pt x="28" y="879"/>
                    </a:lnTo>
                    <a:lnTo>
                      <a:pt x="39" y="854"/>
                    </a:lnTo>
                    <a:lnTo>
                      <a:pt x="50" y="828"/>
                    </a:lnTo>
                    <a:lnTo>
                      <a:pt x="64" y="801"/>
                    </a:lnTo>
                    <a:lnTo>
                      <a:pt x="79" y="774"/>
                    </a:lnTo>
                    <a:lnTo>
                      <a:pt x="96" y="746"/>
                    </a:lnTo>
                    <a:lnTo>
                      <a:pt x="115" y="717"/>
                    </a:lnTo>
                    <a:lnTo>
                      <a:pt x="157" y="663"/>
                    </a:lnTo>
                    <a:lnTo>
                      <a:pt x="202" y="607"/>
                    </a:lnTo>
                    <a:lnTo>
                      <a:pt x="248" y="550"/>
                    </a:lnTo>
                    <a:lnTo>
                      <a:pt x="295" y="491"/>
                    </a:lnTo>
                    <a:lnTo>
                      <a:pt x="342" y="434"/>
                    </a:lnTo>
                    <a:lnTo>
                      <a:pt x="389" y="377"/>
                    </a:lnTo>
                    <a:lnTo>
                      <a:pt x="434" y="322"/>
                    </a:lnTo>
                    <a:lnTo>
                      <a:pt x="479" y="270"/>
                    </a:lnTo>
                    <a:lnTo>
                      <a:pt x="519" y="220"/>
                    </a:lnTo>
                    <a:lnTo>
                      <a:pt x="538" y="197"/>
                    </a:lnTo>
                    <a:lnTo>
                      <a:pt x="557" y="175"/>
                    </a:lnTo>
                    <a:lnTo>
                      <a:pt x="575" y="154"/>
                    </a:lnTo>
                    <a:lnTo>
                      <a:pt x="591" y="134"/>
                    </a:lnTo>
                    <a:lnTo>
                      <a:pt x="606" y="116"/>
                    </a:lnTo>
                    <a:lnTo>
                      <a:pt x="620" y="100"/>
                    </a:lnTo>
                    <a:lnTo>
                      <a:pt x="632" y="85"/>
                    </a:lnTo>
                    <a:lnTo>
                      <a:pt x="644" y="71"/>
                    </a:lnTo>
                    <a:lnTo>
                      <a:pt x="653" y="60"/>
                    </a:lnTo>
                    <a:lnTo>
                      <a:pt x="661" y="49"/>
                    </a:lnTo>
                    <a:lnTo>
                      <a:pt x="668" y="42"/>
                    </a:lnTo>
                    <a:lnTo>
                      <a:pt x="673" y="37"/>
                    </a:lnTo>
                    <a:lnTo>
                      <a:pt x="676" y="33"/>
                    </a:lnTo>
                    <a:lnTo>
                      <a:pt x="677" y="32"/>
                    </a:lnTo>
                    <a:lnTo>
                      <a:pt x="717" y="0"/>
                    </a:lnTo>
                    <a:lnTo>
                      <a:pt x="735" y="45"/>
                    </a:lnTo>
                    <a:lnTo>
                      <a:pt x="752" y="91"/>
                    </a:lnTo>
                    <a:lnTo>
                      <a:pt x="776" y="152"/>
                    </a:lnTo>
                    <a:lnTo>
                      <a:pt x="801" y="214"/>
                    </a:lnTo>
                    <a:lnTo>
                      <a:pt x="853" y="338"/>
                    </a:lnTo>
                    <a:lnTo>
                      <a:pt x="909" y="462"/>
                    </a:lnTo>
                    <a:lnTo>
                      <a:pt x="967" y="585"/>
                    </a:lnTo>
                    <a:lnTo>
                      <a:pt x="1027" y="707"/>
                    </a:lnTo>
                    <a:lnTo>
                      <a:pt x="1089" y="827"/>
                    </a:lnTo>
                    <a:lnTo>
                      <a:pt x="1150" y="944"/>
                    </a:lnTo>
                    <a:lnTo>
                      <a:pt x="1181" y="1000"/>
                    </a:lnTo>
                    <a:lnTo>
                      <a:pt x="1211" y="1057"/>
                    </a:lnTo>
                    <a:lnTo>
                      <a:pt x="1242" y="1111"/>
                    </a:lnTo>
                    <a:lnTo>
                      <a:pt x="1272" y="1165"/>
                    </a:lnTo>
                    <a:lnTo>
                      <a:pt x="1302" y="1218"/>
                    </a:lnTo>
                    <a:lnTo>
                      <a:pt x="1332" y="1269"/>
                    </a:lnTo>
                    <a:lnTo>
                      <a:pt x="1361" y="1319"/>
                    </a:lnTo>
                    <a:lnTo>
                      <a:pt x="1389" y="1367"/>
                    </a:lnTo>
                    <a:lnTo>
                      <a:pt x="1417" y="1413"/>
                    </a:lnTo>
                    <a:lnTo>
                      <a:pt x="1445" y="1458"/>
                    </a:lnTo>
                    <a:lnTo>
                      <a:pt x="1471" y="1501"/>
                    </a:lnTo>
                    <a:lnTo>
                      <a:pt x="1495" y="1542"/>
                    </a:lnTo>
                    <a:lnTo>
                      <a:pt x="1520" y="1580"/>
                    </a:lnTo>
                    <a:lnTo>
                      <a:pt x="1544" y="1617"/>
                    </a:lnTo>
                    <a:lnTo>
                      <a:pt x="1566" y="1652"/>
                    </a:lnTo>
                    <a:lnTo>
                      <a:pt x="1586" y="1684"/>
                    </a:lnTo>
                    <a:lnTo>
                      <a:pt x="1606" y="1714"/>
                    </a:lnTo>
                    <a:lnTo>
                      <a:pt x="1624" y="1742"/>
                    </a:lnTo>
                    <a:lnTo>
                      <a:pt x="1622" y="1757"/>
                    </a:lnTo>
                    <a:lnTo>
                      <a:pt x="1619" y="1773"/>
                    </a:lnTo>
                    <a:lnTo>
                      <a:pt x="1616" y="1790"/>
                    </a:lnTo>
                    <a:lnTo>
                      <a:pt x="1612" y="1810"/>
                    </a:lnTo>
                    <a:lnTo>
                      <a:pt x="1607" y="1829"/>
                    </a:lnTo>
                    <a:lnTo>
                      <a:pt x="1602" y="1850"/>
                    </a:lnTo>
                    <a:lnTo>
                      <a:pt x="1596" y="1873"/>
                    </a:lnTo>
                    <a:lnTo>
                      <a:pt x="1589" y="1895"/>
                    </a:lnTo>
                    <a:lnTo>
                      <a:pt x="1547" y="1941"/>
                    </a:lnTo>
                    <a:lnTo>
                      <a:pt x="1504" y="1982"/>
                    </a:lnTo>
                    <a:lnTo>
                      <a:pt x="1482" y="2001"/>
                    </a:lnTo>
                    <a:lnTo>
                      <a:pt x="1459" y="2020"/>
                    </a:lnTo>
                    <a:lnTo>
                      <a:pt x="1437" y="2037"/>
                    </a:lnTo>
                    <a:lnTo>
                      <a:pt x="1413" y="2054"/>
                    </a:lnTo>
                    <a:lnTo>
                      <a:pt x="1389" y="2068"/>
                    </a:lnTo>
                    <a:lnTo>
                      <a:pt x="1364" y="2081"/>
                    </a:lnTo>
                    <a:lnTo>
                      <a:pt x="1339" y="2092"/>
                    </a:lnTo>
                    <a:lnTo>
                      <a:pt x="1315" y="2102"/>
                    </a:lnTo>
                    <a:lnTo>
                      <a:pt x="1288" y="2110"/>
                    </a:lnTo>
                    <a:lnTo>
                      <a:pt x="1262" y="2116"/>
                    </a:lnTo>
                    <a:lnTo>
                      <a:pt x="1234" y="2119"/>
                    </a:lnTo>
                    <a:lnTo>
                      <a:pt x="1206" y="2120"/>
                    </a:lnTo>
                    <a:lnTo>
                      <a:pt x="1112" y="2120"/>
                    </a:lnTo>
                    <a:lnTo>
                      <a:pt x="1091" y="2119"/>
                    </a:lnTo>
                    <a:lnTo>
                      <a:pt x="1069" y="2118"/>
                    </a:lnTo>
                    <a:lnTo>
                      <a:pt x="1046" y="2114"/>
                    </a:lnTo>
                    <a:lnTo>
                      <a:pt x="1025" y="2110"/>
                    </a:lnTo>
                    <a:lnTo>
                      <a:pt x="1002" y="2104"/>
                    </a:lnTo>
                    <a:lnTo>
                      <a:pt x="979" y="2097"/>
                    </a:lnTo>
                    <a:lnTo>
                      <a:pt x="956" y="2090"/>
                    </a:lnTo>
                    <a:lnTo>
                      <a:pt x="934" y="2081"/>
                    </a:lnTo>
                    <a:lnTo>
                      <a:pt x="888" y="2060"/>
                    </a:lnTo>
                    <a:lnTo>
                      <a:pt x="843" y="2036"/>
                    </a:lnTo>
                    <a:lnTo>
                      <a:pt x="796" y="2009"/>
                    </a:lnTo>
                    <a:lnTo>
                      <a:pt x="751" y="1979"/>
                    </a:lnTo>
                    <a:lnTo>
                      <a:pt x="706" y="1946"/>
                    </a:lnTo>
                    <a:lnTo>
                      <a:pt x="661" y="1910"/>
                    </a:lnTo>
                    <a:lnTo>
                      <a:pt x="617" y="1873"/>
                    </a:lnTo>
                    <a:lnTo>
                      <a:pt x="574" y="1834"/>
                    </a:lnTo>
                    <a:lnTo>
                      <a:pt x="531" y="1793"/>
                    </a:lnTo>
                    <a:lnTo>
                      <a:pt x="489" y="1752"/>
                    </a:lnTo>
                    <a:lnTo>
                      <a:pt x="449" y="1710"/>
                    </a:lnTo>
                    <a:lnTo>
                      <a:pt x="409" y="1668"/>
                    </a:lnTo>
                    <a:lnTo>
                      <a:pt x="371" y="1625"/>
                    </a:lnTo>
                    <a:lnTo>
                      <a:pt x="334" y="1583"/>
                    </a:lnTo>
                    <a:lnTo>
                      <a:pt x="299" y="1542"/>
                    </a:lnTo>
                    <a:lnTo>
                      <a:pt x="266" y="1502"/>
                    </a:lnTo>
                    <a:lnTo>
                      <a:pt x="235" y="1463"/>
                    </a:lnTo>
                    <a:lnTo>
                      <a:pt x="206" y="1426"/>
                    </a:lnTo>
                    <a:lnTo>
                      <a:pt x="178" y="1390"/>
                    </a:lnTo>
                    <a:lnTo>
                      <a:pt x="153" y="1357"/>
                    </a:lnTo>
                    <a:lnTo>
                      <a:pt x="131" y="1327"/>
                    </a:lnTo>
                    <a:lnTo>
                      <a:pt x="111" y="1299"/>
                    </a:lnTo>
                    <a:lnTo>
                      <a:pt x="95" y="1275"/>
                    </a:lnTo>
                    <a:lnTo>
                      <a:pt x="80" y="1255"/>
                    </a:lnTo>
                    <a:lnTo>
                      <a:pt x="74" y="1245"/>
                    </a:lnTo>
                    <a:lnTo>
                      <a:pt x="69" y="1238"/>
                    </a:lnTo>
                    <a:lnTo>
                      <a:pt x="64" y="1231"/>
                    </a:lnTo>
                    <a:lnTo>
                      <a:pt x="60" y="1226"/>
                    </a:lnTo>
                    <a:lnTo>
                      <a:pt x="57" y="1222"/>
                    </a:lnTo>
                    <a:lnTo>
                      <a:pt x="55" y="1219"/>
                    </a:lnTo>
                    <a:lnTo>
                      <a:pt x="53" y="1217"/>
                    </a:lnTo>
                    <a:lnTo>
                      <a:pt x="53" y="1216"/>
                    </a:lnTo>
                    <a:lnTo>
                      <a:pt x="53" y="12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2" name="Freeform 51"/>
              <p:cNvSpPr>
                <a:spLocks/>
              </p:cNvSpPr>
              <p:nvPr/>
            </p:nvSpPr>
            <p:spPr bwMode="auto">
              <a:xfrm>
                <a:off x="4205288" y="4954588"/>
                <a:ext cx="180975" cy="255588"/>
              </a:xfrm>
              <a:custGeom>
                <a:avLst/>
                <a:gdLst>
                  <a:gd name="T0" fmla="*/ 186 w 1703"/>
                  <a:gd name="T1" fmla="*/ 2409 h 2413"/>
                  <a:gd name="T2" fmla="*/ 136 w 1703"/>
                  <a:gd name="T3" fmla="*/ 2400 h 2413"/>
                  <a:gd name="T4" fmla="*/ 96 w 1703"/>
                  <a:gd name="T5" fmla="*/ 2383 h 2413"/>
                  <a:gd name="T6" fmla="*/ 67 w 1703"/>
                  <a:gd name="T7" fmla="*/ 2359 h 2413"/>
                  <a:gd name="T8" fmla="*/ 32 w 1703"/>
                  <a:gd name="T9" fmla="*/ 2300 h 2413"/>
                  <a:gd name="T10" fmla="*/ 19 w 1703"/>
                  <a:gd name="T11" fmla="*/ 2242 h 2413"/>
                  <a:gd name="T12" fmla="*/ 19 w 1703"/>
                  <a:gd name="T13" fmla="*/ 2200 h 2413"/>
                  <a:gd name="T14" fmla="*/ 20 w 1703"/>
                  <a:gd name="T15" fmla="*/ 2192 h 2413"/>
                  <a:gd name="T16" fmla="*/ 73 w 1703"/>
                  <a:gd name="T17" fmla="*/ 1899 h 2413"/>
                  <a:gd name="T18" fmla="*/ 279 w 1703"/>
                  <a:gd name="T19" fmla="*/ 1671 h 2413"/>
                  <a:gd name="T20" fmla="*/ 351 w 1703"/>
                  <a:gd name="T21" fmla="*/ 1570 h 2413"/>
                  <a:gd name="T22" fmla="*/ 427 w 1703"/>
                  <a:gd name="T23" fmla="*/ 1446 h 2413"/>
                  <a:gd name="T24" fmla="*/ 506 w 1703"/>
                  <a:gd name="T25" fmla="*/ 1305 h 2413"/>
                  <a:gd name="T26" fmla="*/ 588 w 1703"/>
                  <a:gd name="T27" fmla="*/ 1149 h 2413"/>
                  <a:gd name="T28" fmla="*/ 698 w 1703"/>
                  <a:gd name="T29" fmla="*/ 923 h 2413"/>
                  <a:gd name="T30" fmla="*/ 861 w 1703"/>
                  <a:gd name="T31" fmla="*/ 567 h 2413"/>
                  <a:gd name="T32" fmla="*/ 1010 w 1703"/>
                  <a:gd name="T33" fmla="*/ 217 h 2413"/>
                  <a:gd name="T34" fmla="*/ 1077 w 1703"/>
                  <a:gd name="T35" fmla="*/ 53 h 2413"/>
                  <a:gd name="T36" fmla="*/ 1164 w 1703"/>
                  <a:gd name="T37" fmla="*/ 92 h 2413"/>
                  <a:gd name="T38" fmla="*/ 1249 w 1703"/>
                  <a:gd name="T39" fmla="*/ 223 h 2413"/>
                  <a:gd name="T40" fmla="*/ 1321 w 1703"/>
                  <a:gd name="T41" fmla="*/ 358 h 2413"/>
                  <a:gd name="T42" fmla="*/ 1389 w 1703"/>
                  <a:gd name="T43" fmla="*/ 513 h 2413"/>
                  <a:gd name="T44" fmla="*/ 1425 w 1703"/>
                  <a:gd name="T45" fmla="*/ 603 h 2413"/>
                  <a:gd name="T46" fmla="*/ 1463 w 1703"/>
                  <a:gd name="T47" fmla="*/ 703 h 2413"/>
                  <a:gd name="T48" fmla="*/ 1505 w 1703"/>
                  <a:gd name="T49" fmla="*/ 815 h 2413"/>
                  <a:gd name="T50" fmla="*/ 1529 w 1703"/>
                  <a:gd name="T51" fmla="*/ 901 h 2413"/>
                  <a:gd name="T52" fmla="*/ 1542 w 1703"/>
                  <a:gd name="T53" fmla="*/ 983 h 2413"/>
                  <a:gd name="T54" fmla="*/ 1550 w 1703"/>
                  <a:gd name="T55" fmla="*/ 1079 h 2413"/>
                  <a:gd name="T56" fmla="*/ 1556 w 1703"/>
                  <a:gd name="T57" fmla="*/ 1288 h 2413"/>
                  <a:gd name="T58" fmla="*/ 1556 w 1703"/>
                  <a:gd name="T59" fmla="*/ 1457 h 2413"/>
                  <a:gd name="T60" fmla="*/ 1554 w 1703"/>
                  <a:gd name="T61" fmla="*/ 1544 h 2413"/>
                  <a:gd name="T62" fmla="*/ 1551 w 1703"/>
                  <a:gd name="T63" fmla="*/ 1617 h 2413"/>
                  <a:gd name="T64" fmla="*/ 1549 w 1703"/>
                  <a:gd name="T65" fmla="*/ 1669 h 2413"/>
                  <a:gd name="T66" fmla="*/ 1548 w 1703"/>
                  <a:gd name="T67" fmla="*/ 1694 h 2413"/>
                  <a:gd name="T68" fmla="*/ 1550 w 1703"/>
                  <a:gd name="T69" fmla="*/ 1698 h 2413"/>
                  <a:gd name="T70" fmla="*/ 1563 w 1703"/>
                  <a:gd name="T71" fmla="*/ 1714 h 2413"/>
                  <a:gd name="T72" fmla="*/ 1598 w 1703"/>
                  <a:gd name="T73" fmla="*/ 1765 h 2413"/>
                  <a:gd name="T74" fmla="*/ 1640 w 1703"/>
                  <a:gd name="T75" fmla="*/ 1840 h 2413"/>
                  <a:gd name="T76" fmla="*/ 1679 w 1703"/>
                  <a:gd name="T77" fmla="*/ 1933 h 2413"/>
                  <a:gd name="T78" fmla="*/ 1702 w 1703"/>
                  <a:gd name="T79" fmla="*/ 2036 h 2413"/>
                  <a:gd name="T80" fmla="*/ 1697 w 1703"/>
                  <a:gd name="T81" fmla="*/ 2139 h 2413"/>
                  <a:gd name="T82" fmla="*/ 1668 w 1703"/>
                  <a:gd name="T83" fmla="*/ 2232 h 2413"/>
                  <a:gd name="T84" fmla="*/ 1617 w 1703"/>
                  <a:gd name="T85" fmla="*/ 2312 h 2413"/>
                  <a:gd name="T86" fmla="*/ 1546 w 1703"/>
                  <a:gd name="T87" fmla="*/ 2370 h 2413"/>
                  <a:gd name="T88" fmla="*/ 1458 w 1703"/>
                  <a:gd name="T89" fmla="*/ 2405 h 2413"/>
                  <a:gd name="T90" fmla="*/ 1391 w 1703"/>
                  <a:gd name="T91" fmla="*/ 2413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3" h="2413">
                    <a:moveTo>
                      <a:pt x="1391" y="2413"/>
                    </a:moveTo>
                    <a:lnTo>
                      <a:pt x="206" y="2410"/>
                    </a:lnTo>
                    <a:lnTo>
                      <a:pt x="186" y="2409"/>
                    </a:lnTo>
                    <a:lnTo>
                      <a:pt x="168" y="2408"/>
                    </a:lnTo>
                    <a:lnTo>
                      <a:pt x="151" y="2404"/>
                    </a:lnTo>
                    <a:lnTo>
                      <a:pt x="136" y="2400"/>
                    </a:lnTo>
                    <a:lnTo>
                      <a:pt x="121" y="2395"/>
                    </a:lnTo>
                    <a:lnTo>
                      <a:pt x="108" y="2389"/>
                    </a:lnTo>
                    <a:lnTo>
                      <a:pt x="96" y="2383"/>
                    </a:lnTo>
                    <a:lnTo>
                      <a:pt x="85" y="2376"/>
                    </a:lnTo>
                    <a:lnTo>
                      <a:pt x="75" y="2367"/>
                    </a:lnTo>
                    <a:lnTo>
                      <a:pt x="67" y="2359"/>
                    </a:lnTo>
                    <a:lnTo>
                      <a:pt x="51" y="2341"/>
                    </a:lnTo>
                    <a:lnTo>
                      <a:pt x="40" y="2321"/>
                    </a:lnTo>
                    <a:lnTo>
                      <a:pt x="32" y="2300"/>
                    </a:lnTo>
                    <a:lnTo>
                      <a:pt x="25" y="2280"/>
                    </a:lnTo>
                    <a:lnTo>
                      <a:pt x="21" y="2260"/>
                    </a:lnTo>
                    <a:lnTo>
                      <a:pt x="19" y="2242"/>
                    </a:lnTo>
                    <a:lnTo>
                      <a:pt x="18" y="2225"/>
                    </a:lnTo>
                    <a:lnTo>
                      <a:pt x="19" y="2212"/>
                    </a:lnTo>
                    <a:lnTo>
                      <a:pt x="19" y="2200"/>
                    </a:lnTo>
                    <a:lnTo>
                      <a:pt x="19" y="2196"/>
                    </a:lnTo>
                    <a:lnTo>
                      <a:pt x="20" y="2193"/>
                    </a:lnTo>
                    <a:lnTo>
                      <a:pt x="20" y="2192"/>
                    </a:lnTo>
                    <a:lnTo>
                      <a:pt x="20" y="2191"/>
                    </a:lnTo>
                    <a:lnTo>
                      <a:pt x="0" y="1972"/>
                    </a:lnTo>
                    <a:lnTo>
                      <a:pt x="73" y="1899"/>
                    </a:lnTo>
                    <a:lnTo>
                      <a:pt x="144" y="1825"/>
                    </a:lnTo>
                    <a:lnTo>
                      <a:pt x="213" y="1748"/>
                    </a:lnTo>
                    <a:lnTo>
                      <a:pt x="279" y="1671"/>
                    </a:lnTo>
                    <a:lnTo>
                      <a:pt x="302" y="1640"/>
                    </a:lnTo>
                    <a:lnTo>
                      <a:pt x="326" y="1606"/>
                    </a:lnTo>
                    <a:lnTo>
                      <a:pt x="351" y="1570"/>
                    </a:lnTo>
                    <a:lnTo>
                      <a:pt x="375" y="1531"/>
                    </a:lnTo>
                    <a:lnTo>
                      <a:pt x="401" y="1490"/>
                    </a:lnTo>
                    <a:lnTo>
                      <a:pt x="427" y="1446"/>
                    </a:lnTo>
                    <a:lnTo>
                      <a:pt x="453" y="1401"/>
                    </a:lnTo>
                    <a:lnTo>
                      <a:pt x="480" y="1354"/>
                    </a:lnTo>
                    <a:lnTo>
                      <a:pt x="506" y="1305"/>
                    </a:lnTo>
                    <a:lnTo>
                      <a:pt x="533" y="1254"/>
                    </a:lnTo>
                    <a:lnTo>
                      <a:pt x="560" y="1202"/>
                    </a:lnTo>
                    <a:lnTo>
                      <a:pt x="588" y="1149"/>
                    </a:lnTo>
                    <a:lnTo>
                      <a:pt x="615" y="1093"/>
                    </a:lnTo>
                    <a:lnTo>
                      <a:pt x="643" y="1038"/>
                    </a:lnTo>
                    <a:lnTo>
                      <a:pt x="698" y="923"/>
                    </a:lnTo>
                    <a:lnTo>
                      <a:pt x="753" y="806"/>
                    </a:lnTo>
                    <a:lnTo>
                      <a:pt x="807" y="686"/>
                    </a:lnTo>
                    <a:lnTo>
                      <a:pt x="861" y="567"/>
                    </a:lnTo>
                    <a:lnTo>
                      <a:pt x="912" y="448"/>
                    </a:lnTo>
                    <a:lnTo>
                      <a:pt x="962" y="331"/>
                    </a:lnTo>
                    <a:lnTo>
                      <a:pt x="1010" y="217"/>
                    </a:lnTo>
                    <a:lnTo>
                      <a:pt x="1033" y="161"/>
                    </a:lnTo>
                    <a:lnTo>
                      <a:pt x="1056" y="106"/>
                    </a:lnTo>
                    <a:lnTo>
                      <a:pt x="1077" y="53"/>
                    </a:lnTo>
                    <a:lnTo>
                      <a:pt x="1098" y="0"/>
                    </a:lnTo>
                    <a:lnTo>
                      <a:pt x="1132" y="47"/>
                    </a:lnTo>
                    <a:lnTo>
                      <a:pt x="1164" y="92"/>
                    </a:lnTo>
                    <a:lnTo>
                      <a:pt x="1194" y="136"/>
                    </a:lnTo>
                    <a:lnTo>
                      <a:pt x="1222" y="180"/>
                    </a:lnTo>
                    <a:lnTo>
                      <a:pt x="1249" y="223"/>
                    </a:lnTo>
                    <a:lnTo>
                      <a:pt x="1273" y="266"/>
                    </a:lnTo>
                    <a:lnTo>
                      <a:pt x="1297" y="311"/>
                    </a:lnTo>
                    <a:lnTo>
                      <a:pt x="1321" y="358"/>
                    </a:lnTo>
                    <a:lnTo>
                      <a:pt x="1344" y="406"/>
                    </a:lnTo>
                    <a:lnTo>
                      <a:pt x="1366" y="458"/>
                    </a:lnTo>
                    <a:lnTo>
                      <a:pt x="1389" y="513"/>
                    </a:lnTo>
                    <a:lnTo>
                      <a:pt x="1401" y="542"/>
                    </a:lnTo>
                    <a:lnTo>
                      <a:pt x="1413" y="572"/>
                    </a:lnTo>
                    <a:lnTo>
                      <a:pt x="1425" y="603"/>
                    </a:lnTo>
                    <a:lnTo>
                      <a:pt x="1438" y="635"/>
                    </a:lnTo>
                    <a:lnTo>
                      <a:pt x="1450" y="668"/>
                    </a:lnTo>
                    <a:lnTo>
                      <a:pt x="1463" y="703"/>
                    </a:lnTo>
                    <a:lnTo>
                      <a:pt x="1477" y="739"/>
                    </a:lnTo>
                    <a:lnTo>
                      <a:pt x="1490" y="776"/>
                    </a:lnTo>
                    <a:lnTo>
                      <a:pt x="1505" y="815"/>
                    </a:lnTo>
                    <a:lnTo>
                      <a:pt x="1519" y="855"/>
                    </a:lnTo>
                    <a:lnTo>
                      <a:pt x="1524" y="877"/>
                    </a:lnTo>
                    <a:lnTo>
                      <a:pt x="1529" y="901"/>
                    </a:lnTo>
                    <a:lnTo>
                      <a:pt x="1535" y="926"/>
                    </a:lnTo>
                    <a:lnTo>
                      <a:pt x="1538" y="954"/>
                    </a:lnTo>
                    <a:lnTo>
                      <a:pt x="1542" y="983"/>
                    </a:lnTo>
                    <a:lnTo>
                      <a:pt x="1545" y="1014"/>
                    </a:lnTo>
                    <a:lnTo>
                      <a:pt x="1547" y="1046"/>
                    </a:lnTo>
                    <a:lnTo>
                      <a:pt x="1550" y="1079"/>
                    </a:lnTo>
                    <a:lnTo>
                      <a:pt x="1553" y="1147"/>
                    </a:lnTo>
                    <a:lnTo>
                      <a:pt x="1555" y="1217"/>
                    </a:lnTo>
                    <a:lnTo>
                      <a:pt x="1556" y="1288"/>
                    </a:lnTo>
                    <a:lnTo>
                      <a:pt x="1557" y="1358"/>
                    </a:lnTo>
                    <a:lnTo>
                      <a:pt x="1556" y="1425"/>
                    </a:lnTo>
                    <a:lnTo>
                      <a:pt x="1556" y="1457"/>
                    </a:lnTo>
                    <a:lnTo>
                      <a:pt x="1555" y="1488"/>
                    </a:lnTo>
                    <a:lnTo>
                      <a:pt x="1554" y="1517"/>
                    </a:lnTo>
                    <a:lnTo>
                      <a:pt x="1554" y="1544"/>
                    </a:lnTo>
                    <a:lnTo>
                      <a:pt x="1553" y="1571"/>
                    </a:lnTo>
                    <a:lnTo>
                      <a:pt x="1552" y="1595"/>
                    </a:lnTo>
                    <a:lnTo>
                      <a:pt x="1551" y="1617"/>
                    </a:lnTo>
                    <a:lnTo>
                      <a:pt x="1551" y="1637"/>
                    </a:lnTo>
                    <a:lnTo>
                      <a:pt x="1550" y="1655"/>
                    </a:lnTo>
                    <a:lnTo>
                      <a:pt x="1549" y="1669"/>
                    </a:lnTo>
                    <a:lnTo>
                      <a:pt x="1549" y="1680"/>
                    </a:lnTo>
                    <a:lnTo>
                      <a:pt x="1548" y="1689"/>
                    </a:lnTo>
                    <a:lnTo>
                      <a:pt x="1548" y="1694"/>
                    </a:lnTo>
                    <a:lnTo>
                      <a:pt x="1548" y="1696"/>
                    </a:lnTo>
                    <a:lnTo>
                      <a:pt x="1548" y="1697"/>
                    </a:lnTo>
                    <a:lnTo>
                      <a:pt x="1550" y="1698"/>
                    </a:lnTo>
                    <a:lnTo>
                      <a:pt x="1552" y="1701"/>
                    </a:lnTo>
                    <a:lnTo>
                      <a:pt x="1555" y="1704"/>
                    </a:lnTo>
                    <a:lnTo>
                      <a:pt x="1563" y="1714"/>
                    </a:lnTo>
                    <a:lnTo>
                      <a:pt x="1573" y="1728"/>
                    </a:lnTo>
                    <a:lnTo>
                      <a:pt x="1584" y="1745"/>
                    </a:lnTo>
                    <a:lnTo>
                      <a:pt x="1598" y="1765"/>
                    </a:lnTo>
                    <a:lnTo>
                      <a:pt x="1611" y="1787"/>
                    </a:lnTo>
                    <a:lnTo>
                      <a:pt x="1625" y="1813"/>
                    </a:lnTo>
                    <a:lnTo>
                      <a:pt x="1640" y="1840"/>
                    </a:lnTo>
                    <a:lnTo>
                      <a:pt x="1654" y="1870"/>
                    </a:lnTo>
                    <a:lnTo>
                      <a:pt x="1668" y="1901"/>
                    </a:lnTo>
                    <a:lnTo>
                      <a:pt x="1679" y="1933"/>
                    </a:lnTo>
                    <a:lnTo>
                      <a:pt x="1689" y="1967"/>
                    </a:lnTo>
                    <a:lnTo>
                      <a:pt x="1697" y="2001"/>
                    </a:lnTo>
                    <a:lnTo>
                      <a:pt x="1702" y="2036"/>
                    </a:lnTo>
                    <a:lnTo>
                      <a:pt x="1703" y="2071"/>
                    </a:lnTo>
                    <a:lnTo>
                      <a:pt x="1702" y="2106"/>
                    </a:lnTo>
                    <a:lnTo>
                      <a:pt x="1697" y="2139"/>
                    </a:lnTo>
                    <a:lnTo>
                      <a:pt x="1691" y="2172"/>
                    </a:lnTo>
                    <a:lnTo>
                      <a:pt x="1680" y="2203"/>
                    </a:lnTo>
                    <a:lnTo>
                      <a:pt x="1668" y="2232"/>
                    </a:lnTo>
                    <a:lnTo>
                      <a:pt x="1653" y="2261"/>
                    </a:lnTo>
                    <a:lnTo>
                      <a:pt x="1637" y="2287"/>
                    </a:lnTo>
                    <a:lnTo>
                      <a:pt x="1617" y="2312"/>
                    </a:lnTo>
                    <a:lnTo>
                      <a:pt x="1596" y="2333"/>
                    </a:lnTo>
                    <a:lnTo>
                      <a:pt x="1572" y="2354"/>
                    </a:lnTo>
                    <a:lnTo>
                      <a:pt x="1546" y="2370"/>
                    </a:lnTo>
                    <a:lnTo>
                      <a:pt x="1519" y="2386"/>
                    </a:lnTo>
                    <a:lnTo>
                      <a:pt x="1489" y="2397"/>
                    </a:lnTo>
                    <a:lnTo>
                      <a:pt x="1458" y="2405"/>
                    </a:lnTo>
                    <a:lnTo>
                      <a:pt x="1425" y="2411"/>
                    </a:lnTo>
                    <a:lnTo>
                      <a:pt x="1391" y="2413"/>
                    </a:lnTo>
                    <a:lnTo>
                      <a:pt x="1391" y="24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grpSp>
        <p:nvGrpSpPr>
          <p:cNvPr id="40" name="Group 39">
            <a:extLst>
              <a:ext uri="{FF2B5EF4-FFF2-40B4-BE49-F238E27FC236}">
                <a16:creationId xmlns:a16="http://schemas.microsoft.com/office/drawing/2014/main" id="{F31E8FE1-EA3D-4DBA-B0C9-F2A15F395E5A}"/>
              </a:ext>
            </a:extLst>
          </p:cNvPr>
          <p:cNvGrpSpPr/>
          <p:nvPr/>
        </p:nvGrpSpPr>
        <p:grpSpPr>
          <a:xfrm>
            <a:off x="7874421" y="1779613"/>
            <a:ext cx="2353575" cy="3099053"/>
            <a:chOff x="8058285" y="1779613"/>
            <a:chExt cx="2353575" cy="3099053"/>
          </a:xfrm>
        </p:grpSpPr>
        <p:sp>
          <p:nvSpPr>
            <p:cNvPr id="19" name="Rectangle 18"/>
            <p:cNvSpPr/>
            <p:nvPr/>
          </p:nvSpPr>
          <p:spPr>
            <a:xfrm>
              <a:off x="8080683" y="1779613"/>
              <a:ext cx="2331177" cy="3099053"/>
            </a:xfrm>
            <a:prstGeom prst="rect">
              <a:avLst/>
            </a:prstGeom>
            <a:solidFill>
              <a:srgbClr val="0078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Azure Data Lake</a:t>
              </a:r>
            </a:p>
            <a:p>
              <a:pPr algn="ctr" defTabSz="777000">
                <a:defRPr/>
              </a:pPr>
              <a:r>
                <a:rPr lang="en-US" sz="2379" b="1" kern="0">
                  <a:solidFill>
                    <a:schemeClr val="tx1"/>
                  </a:solidFill>
                  <a:latin typeface="+mj-lt"/>
                </a:rPr>
                <a:t>Analytics</a:t>
              </a:r>
            </a:p>
          </p:txBody>
        </p:sp>
        <p:sp>
          <p:nvSpPr>
            <p:cNvPr id="20" name="Rectangle 19"/>
            <p:cNvSpPr/>
            <p:nvPr/>
          </p:nvSpPr>
          <p:spPr>
            <a:xfrm>
              <a:off x="8058285" y="4441802"/>
              <a:ext cx="2331177" cy="35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Big Data as a Service</a:t>
              </a:r>
            </a:p>
          </p:txBody>
        </p:sp>
        <p:pic>
          <p:nvPicPr>
            <p:cNvPr id="12" name="Graphic 11">
              <a:extLst>
                <a:ext uri="{FF2B5EF4-FFF2-40B4-BE49-F238E27FC236}">
                  <a16:creationId xmlns:a16="http://schemas.microsoft.com/office/drawing/2014/main" id="{0F9ED1CA-BC9F-410E-B9FA-A619D47268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10525" y="2961222"/>
              <a:ext cx="1002101" cy="1002101"/>
            </a:xfrm>
            <a:prstGeom prst="rect">
              <a:avLst/>
            </a:prstGeom>
          </p:spPr>
        </p:pic>
      </p:grpSp>
      <p:pic>
        <p:nvPicPr>
          <p:cNvPr id="24" name="Graphic 23">
            <a:extLst>
              <a:ext uri="{FF2B5EF4-FFF2-40B4-BE49-F238E27FC236}">
                <a16:creationId xmlns:a16="http://schemas.microsoft.com/office/drawing/2014/main" id="{FB6555E5-69CF-4EE9-ACE3-D4847B1413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79705" y="5628366"/>
            <a:ext cx="665842" cy="665842"/>
          </a:xfrm>
          <a:prstGeom prst="rect">
            <a:avLst/>
          </a:prstGeom>
        </p:spPr>
      </p:pic>
      <p:pic>
        <p:nvPicPr>
          <p:cNvPr id="30" name="Picture 29">
            <a:extLst>
              <a:ext uri="{FF2B5EF4-FFF2-40B4-BE49-F238E27FC236}">
                <a16:creationId xmlns:a16="http://schemas.microsoft.com/office/drawing/2014/main" id="{B6ADE3B7-F40D-4825-A97B-5CB1C5FAB7AC}"/>
              </a:ext>
            </a:extLst>
          </p:cNvPr>
          <p:cNvPicPr>
            <a:picLocks noChangeAspect="1"/>
          </p:cNvPicPr>
          <p:nvPr/>
        </p:nvPicPr>
        <p:blipFill>
          <a:blip r:embed="rId7"/>
          <a:stretch>
            <a:fillRect/>
          </a:stretch>
        </p:blipFill>
        <p:spPr>
          <a:xfrm>
            <a:off x="2704850" y="2664948"/>
            <a:ext cx="838219" cy="838219"/>
          </a:xfrm>
          <a:prstGeom prst="rect">
            <a:avLst/>
          </a:prstGeom>
        </p:spPr>
      </p:pic>
      <p:pic>
        <p:nvPicPr>
          <p:cNvPr id="39" name="Picture 38" descr="A picture containing thing, object&#10;&#10;Description generated with very high confidence">
            <a:extLst>
              <a:ext uri="{FF2B5EF4-FFF2-40B4-BE49-F238E27FC236}">
                <a16:creationId xmlns:a16="http://schemas.microsoft.com/office/drawing/2014/main" id="{18FE3C4A-CB9F-49F2-BA53-4CF0E776CE0A}"/>
              </a:ext>
            </a:extLst>
          </p:cNvPr>
          <p:cNvPicPr>
            <a:picLocks noChangeAspect="1"/>
          </p:cNvPicPr>
          <p:nvPr/>
        </p:nvPicPr>
        <p:blipFill rotWithShape="1">
          <a:blip r:embed="rId8"/>
          <a:srcRect l="23964" t="21105" r="24439" b="21147"/>
          <a:stretch/>
        </p:blipFill>
        <p:spPr>
          <a:xfrm>
            <a:off x="3123959" y="3017730"/>
            <a:ext cx="588585" cy="461130"/>
          </a:xfrm>
          <a:prstGeom prst="rect">
            <a:avLst/>
          </a:prstGeom>
        </p:spPr>
      </p:pic>
    </p:spTree>
    <p:extLst>
      <p:ext uri="{BB962C8B-B14F-4D97-AF65-F5344CB8AC3E}">
        <p14:creationId xmlns:p14="http://schemas.microsoft.com/office/powerpoint/2010/main" val="3149190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3FE79-FBA1-4056-9CD9-60D97B153B15}"/>
              </a:ext>
            </a:extLst>
          </p:cNvPr>
          <p:cNvSpPr>
            <a:spLocks noGrp="1"/>
          </p:cNvSpPr>
          <p:nvPr>
            <p:ph type="title" idx="4294967295"/>
          </p:nvPr>
        </p:nvSpPr>
        <p:spPr>
          <a:xfrm>
            <a:off x="2024652" y="258250"/>
            <a:ext cx="8401612" cy="693761"/>
          </a:xfrm>
        </p:spPr>
        <p:txBody>
          <a:bodyPr/>
          <a:lstStyle/>
          <a:p>
            <a:r>
              <a:rPr lang="en-US" sz="4488"/>
              <a:t>Azure Relational Database Platform</a:t>
            </a:r>
            <a:endParaRPr lang="en-US"/>
          </a:p>
        </p:txBody>
      </p:sp>
      <p:pic>
        <p:nvPicPr>
          <p:cNvPr id="3" name="Picture 2">
            <a:extLst>
              <a:ext uri="{FF2B5EF4-FFF2-40B4-BE49-F238E27FC236}">
                <a16:creationId xmlns:a16="http://schemas.microsoft.com/office/drawing/2014/main" id="{FA87409B-889C-4FFF-9F53-8AC96968E81D}"/>
              </a:ext>
            </a:extLst>
          </p:cNvPr>
          <p:cNvPicPr>
            <a:picLocks noChangeAspect="1"/>
          </p:cNvPicPr>
          <p:nvPr/>
        </p:nvPicPr>
        <p:blipFill rotWithShape="1">
          <a:blip r:embed="rId3"/>
          <a:srcRect r="3097"/>
          <a:stretch/>
        </p:blipFill>
        <p:spPr>
          <a:xfrm>
            <a:off x="85661" y="1216296"/>
            <a:ext cx="12189789" cy="5370636"/>
          </a:xfrm>
          <a:prstGeom prst="rect">
            <a:avLst/>
          </a:prstGeom>
        </p:spPr>
      </p:pic>
      <p:grpSp>
        <p:nvGrpSpPr>
          <p:cNvPr id="4" name="Group 3">
            <a:extLst>
              <a:ext uri="{FF2B5EF4-FFF2-40B4-BE49-F238E27FC236}">
                <a16:creationId xmlns:a16="http://schemas.microsoft.com/office/drawing/2014/main" id="{2553EAA8-62C2-494A-B168-F0B62D6C93F6}"/>
              </a:ext>
            </a:extLst>
          </p:cNvPr>
          <p:cNvGrpSpPr/>
          <p:nvPr/>
        </p:nvGrpSpPr>
        <p:grpSpPr>
          <a:xfrm>
            <a:off x="7876202" y="1394194"/>
            <a:ext cx="3791645" cy="1073906"/>
            <a:chOff x="7721603" y="1366982"/>
            <a:chExt cx="3717636" cy="1052945"/>
          </a:xfrm>
        </p:grpSpPr>
        <p:sp>
          <p:nvSpPr>
            <p:cNvPr id="6" name="Rectangle: Rounded Corners 5">
              <a:extLst>
                <a:ext uri="{FF2B5EF4-FFF2-40B4-BE49-F238E27FC236}">
                  <a16:creationId xmlns:a16="http://schemas.microsoft.com/office/drawing/2014/main" id="{E751DCF4-0AA0-44CE-8A06-3DF47E24A9EE}"/>
                </a:ext>
              </a:extLst>
            </p:cNvPr>
            <p:cNvSpPr/>
            <p:nvPr/>
          </p:nvSpPr>
          <p:spPr bwMode="auto">
            <a:xfrm>
              <a:off x="7721603" y="1366982"/>
              <a:ext cx="794327" cy="105294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rgbClr val="00B050"/>
                </a:solidFill>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07B541D7-52E0-4173-AD19-0933FCA73852}"/>
                </a:ext>
              </a:extLst>
            </p:cNvPr>
            <p:cNvSpPr/>
            <p:nvPr/>
          </p:nvSpPr>
          <p:spPr bwMode="auto">
            <a:xfrm>
              <a:off x="10644912" y="1366982"/>
              <a:ext cx="794327" cy="105294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rgbClr val="00B050"/>
                </a:solidFill>
                <a:ea typeface="Segoe UI" pitchFamily="34" charset="0"/>
                <a:cs typeface="Segoe UI" pitchFamily="34" charset="0"/>
              </a:endParaRPr>
            </a:p>
          </p:txBody>
        </p:sp>
      </p:grpSp>
    </p:spTree>
    <p:extLst>
      <p:ext uri="{BB962C8B-B14F-4D97-AF65-F5344CB8AC3E}">
        <p14:creationId xmlns:p14="http://schemas.microsoft.com/office/powerpoint/2010/main" val="171595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882" y="-1"/>
            <a:ext cx="12434711"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2" name="Group 31">
            <a:extLst>
              <a:ext uri="{FF2B5EF4-FFF2-40B4-BE49-F238E27FC236}">
                <a16:creationId xmlns:a16="http://schemas.microsoft.com/office/drawing/2014/main" id="{C145948E-C2FD-4834-8449-66CF8EC8D2E5}"/>
              </a:ext>
            </a:extLst>
          </p:cNvPr>
          <p:cNvGrpSpPr/>
          <p:nvPr/>
        </p:nvGrpSpPr>
        <p:grpSpPr>
          <a:xfrm>
            <a:off x="1128888" y="5439721"/>
            <a:ext cx="10116553" cy="6072798"/>
            <a:chOff x="621668" y="4852307"/>
            <a:chExt cx="2840157" cy="1396093"/>
          </a:xfrm>
          <a:solidFill>
            <a:schemeClr val="bg1">
              <a:alpha val="71000"/>
            </a:schemeClr>
          </a:solidFill>
        </p:grpSpPr>
        <p:sp>
          <p:nvSpPr>
            <p:cNvPr id="33" name="Freeform 7">
              <a:extLst>
                <a:ext uri="{FF2B5EF4-FFF2-40B4-BE49-F238E27FC236}">
                  <a16:creationId xmlns:a16="http://schemas.microsoft.com/office/drawing/2014/main" id="{936564DC-D65F-4571-8189-D7F630B03BCD}"/>
                </a:ext>
              </a:extLst>
            </p:cNvPr>
            <p:cNvSpPr>
              <a:spLocks noEditPoints="1"/>
            </p:cNvSpPr>
            <p:nvPr/>
          </p:nvSpPr>
          <p:spPr bwMode="auto">
            <a:xfrm>
              <a:off x="621668" y="4852307"/>
              <a:ext cx="1295951" cy="1396093"/>
            </a:xfrm>
            <a:custGeom>
              <a:avLst/>
              <a:gdLst>
                <a:gd name="T0" fmla="*/ 556 w 954"/>
                <a:gd name="T1" fmla="*/ 1009 h 1027"/>
                <a:gd name="T2" fmla="*/ 506 w 954"/>
                <a:gd name="T3" fmla="*/ 919 h 1027"/>
                <a:gd name="T4" fmla="*/ 400 w 954"/>
                <a:gd name="T5" fmla="*/ 627 h 1027"/>
                <a:gd name="T6" fmla="*/ 429 w 954"/>
                <a:gd name="T7" fmla="*/ 554 h 1027"/>
                <a:gd name="T8" fmla="*/ 370 w 954"/>
                <a:gd name="T9" fmla="*/ 503 h 1027"/>
                <a:gd name="T10" fmla="*/ 311 w 954"/>
                <a:gd name="T11" fmla="*/ 488 h 1027"/>
                <a:gd name="T12" fmla="*/ 247 w 954"/>
                <a:gd name="T13" fmla="*/ 410 h 1027"/>
                <a:gd name="T14" fmla="*/ 242 w 954"/>
                <a:gd name="T15" fmla="*/ 428 h 1027"/>
                <a:gd name="T16" fmla="*/ 181 w 954"/>
                <a:gd name="T17" fmla="*/ 348 h 1027"/>
                <a:gd name="T18" fmla="*/ 202 w 954"/>
                <a:gd name="T19" fmla="*/ 236 h 1027"/>
                <a:gd name="T20" fmla="*/ 150 w 954"/>
                <a:gd name="T21" fmla="*/ 164 h 1027"/>
                <a:gd name="T22" fmla="*/ 71 w 954"/>
                <a:gd name="T23" fmla="*/ 196 h 1027"/>
                <a:gd name="T24" fmla="*/ 75 w 954"/>
                <a:gd name="T25" fmla="*/ 164 h 1027"/>
                <a:gd name="T26" fmla="*/ 73 w 954"/>
                <a:gd name="T27" fmla="*/ 142 h 1027"/>
                <a:gd name="T28" fmla="*/ 100 w 954"/>
                <a:gd name="T29" fmla="*/ 112 h 1027"/>
                <a:gd name="T30" fmla="*/ 213 w 954"/>
                <a:gd name="T31" fmla="*/ 65 h 1027"/>
                <a:gd name="T32" fmla="*/ 379 w 954"/>
                <a:gd name="T33" fmla="*/ 79 h 1027"/>
                <a:gd name="T34" fmla="*/ 502 w 954"/>
                <a:gd name="T35" fmla="*/ 48 h 1027"/>
                <a:gd name="T36" fmla="*/ 553 w 954"/>
                <a:gd name="T37" fmla="*/ 71 h 1027"/>
                <a:gd name="T38" fmla="*/ 603 w 954"/>
                <a:gd name="T39" fmla="*/ 27 h 1027"/>
                <a:gd name="T40" fmla="*/ 663 w 954"/>
                <a:gd name="T41" fmla="*/ 0 h 1027"/>
                <a:gd name="T42" fmla="*/ 819 w 954"/>
                <a:gd name="T43" fmla="*/ 0 h 1027"/>
                <a:gd name="T44" fmla="*/ 948 w 954"/>
                <a:gd name="T45" fmla="*/ 12 h 1027"/>
                <a:gd name="T46" fmla="*/ 892 w 954"/>
                <a:gd name="T47" fmla="*/ 73 h 1027"/>
                <a:gd name="T48" fmla="*/ 870 w 954"/>
                <a:gd name="T49" fmla="*/ 104 h 1027"/>
                <a:gd name="T50" fmla="*/ 737 w 954"/>
                <a:gd name="T51" fmla="*/ 155 h 1027"/>
                <a:gd name="T52" fmla="*/ 729 w 954"/>
                <a:gd name="T53" fmla="*/ 80 h 1027"/>
                <a:gd name="T54" fmla="*/ 640 w 954"/>
                <a:gd name="T55" fmla="*/ 59 h 1027"/>
                <a:gd name="T56" fmla="*/ 665 w 954"/>
                <a:gd name="T57" fmla="*/ 121 h 1027"/>
                <a:gd name="T58" fmla="*/ 612 w 954"/>
                <a:gd name="T59" fmla="*/ 129 h 1027"/>
                <a:gd name="T60" fmla="*/ 589 w 954"/>
                <a:gd name="T61" fmla="*/ 107 h 1027"/>
                <a:gd name="T62" fmla="*/ 502 w 954"/>
                <a:gd name="T63" fmla="*/ 137 h 1027"/>
                <a:gd name="T64" fmla="*/ 517 w 954"/>
                <a:gd name="T65" fmla="*/ 180 h 1027"/>
                <a:gd name="T66" fmla="*/ 599 w 954"/>
                <a:gd name="T67" fmla="*/ 136 h 1027"/>
                <a:gd name="T68" fmla="*/ 662 w 954"/>
                <a:gd name="T69" fmla="*/ 201 h 1027"/>
                <a:gd name="T70" fmla="*/ 602 w 954"/>
                <a:gd name="T71" fmla="*/ 223 h 1027"/>
                <a:gd name="T72" fmla="*/ 606 w 954"/>
                <a:gd name="T73" fmla="*/ 263 h 1027"/>
                <a:gd name="T74" fmla="*/ 495 w 954"/>
                <a:gd name="T75" fmla="*/ 333 h 1027"/>
                <a:gd name="T76" fmla="*/ 441 w 954"/>
                <a:gd name="T77" fmla="*/ 410 h 1027"/>
                <a:gd name="T78" fmla="*/ 343 w 954"/>
                <a:gd name="T79" fmla="*/ 394 h 1027"/>
                <a:gd name="T80" fmla="*/ 366 w 954"/>
                <a:gd name="T81" fmla="*/ 433 h 1027"/>
                <a:gd name="T82" fmla="*/ 388 w 954"/>
                <a:gd name="T83" fmla="*/ 473 h 1027"/>
                <a:gd name="T84" fmla="*/ 436 w 954"/>
                <a:gd name="T85" fmla="*/ 517 h 1027"/>
                <a:gd name="T86" fmla="*/ 560 w 954"/>
                <a:gd name="T87" fmla="*/ 502 h 1027"/>
                <a:gd name="T88" fmla="*/ 723 w 954"/>
                <a:gd name="T89" fmla="*/ 619 h 1027"/>
                <a:gd name="T90" fmla="*/ 708 w 954"/>
                <a:gd name="T91" fmla="*/ 765 h 1027"/>
                <a:gd name="T92" fmla="*/ 618 w 954"/>
                <a:gd name="T93" fmla="*/ 1009 h 1027"/>
                <a:gd name="T94" fmla="*/ 398 w 954"/>
                <a:gd name="T95" fmla="*/ 514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1027">
                  <a:moveTo>
                    <a:pt x="611" y="1027"/>
                  </a:moveTo>
                  <a:cubicBezTo>
                    <a:pt x="610" y="1027"/>
                    <a:pt x="609" y="1027"/>
                    <a:pt x="608" y="1026"/>
                  </a:cubicBezTo>
                  <a:cubicBezTo>
                    <a:pt x="561" y="1012"/>
                    <a:pt x="561" y="1012"/>
                    <a:pt x="561" y="1012"/>
                  </a:cubicBezTo>
                  <a:cubicBezTo>
                    <a:pt x="559" y="1011"/>
                    <a:pt x="557" y="1010"/>
                    <a:pt x="556" y="1009"/>
                  </a:cubicBezTo>
                  <a:cubicBezTo>
                    <a:pt x="528" y="978"/>
                    <a:pt x="528" y="978"/>
                    <a:pt x="528" y="978"/>
                  </a:cubicBezTo>
                  <a:cubicBezTo>
                    <a:pt x="527" y="977"/>
                    <a:pt x="527" y="976"/>
                    <a:pt x="526" y="974"/>
                  </a:cubicBezTo>
                  <a:cubicBezTo>
                    <a:pt x="507" y="922"/>
                    <a:pt x="507" y="922"/>
                    <a:pt x="507" y="922"/>
                  </a:cubicBezTo>
                  <a:cubicBezTo>
                    <a:pt x="507" y="921"/>
                    <a:pt x="507" y="920"/>
                    <a:pt x="506" y="919"/>
                  </a:cubicBezTo>
                  <a:cubicBezTo>
                    <a:pt x="496" y="753"/>
                    <a:pt x="496" y="753"/>
                    <a:pt x="496" y="753"/>
                  </a:cubicBezTo>
                  <a:cubicBezTo>
                    <a:pt x="450" y="720"/>
                    <a:pt x="450" y="720"/>
                    <a:pt x="450" y="720"/>
                  </a:cubicBezTo>
                  <a:cubicBezTo>
                    <a:pt x="449" y="719"/>
                    <a:pt x="448" y="718"/>
                    <a:pt x="448" y="716"/>
                  </a:cubicBezTo>
                  <a:cubicBezTo>
                    <a:pt x="400" y="627"/>
                    <a:pt x="400" y="627"/>
                    <a:pt x="400" y="627"/>
                  </a:cubicBezTo>
                  <a:cubicBezTo>
                    <a:pt x="398" y="624"/>
                    <a:pt x="398" y="620"/>
                    <a:pt x="400" y="617"/>
                  </a:cubicBezTo>
                  <a:cubicBezTo>
                    <a:pt x="431" y="560"/>
                    <a:pt x="431" y="560"/>
                    <a:pt x="431" y="560"/>
                  </a:cubicBezTo>
                  <a:cubicBezTo>
                    <a:pt x="430" y="553"/>
                    <a:pt x="430" y="553"/>
                    <a:pt x="430" y="553"/>
                  </a:cubicBezTo>
                  <a:cubicBezTo>
                    <a:pt x="429" y="554"/>
                    <a:pt x="429" y="554"/>
                    <a:pt x="429" y="554"/>
                  </a:cubicBezTo>
                  <a:cubicBezTo>
                    <a:pt x="426" y="555"/>
                    <a:pt x="424" y="554"/>
                    <a:pt x="421" y="553"/>
                  </a:cubicBezTo>
                  <a:cubicBezTo>
                    <a:pt x="389" y="537"/>
                    <a:pt x="389" y="537"/>
                    <a:pt x="389" y="537"/>
                  </a:cubicBezTo>
                  <a:cubicBezTo>
                    <a:pt x="387" y="536"/>
                    <a:pt x="385" y="534"/>
                    <a:pt x="384" y="532"/>
                  </a:cubicBezTo>
                  <a:cubicBezTo>
                    <a:pt x="370" y="503"/>
                    <a:pt x="370" y="503"/>
                    <a:pt x="370" y="503"/>
                  </a:cubicBezTo>
                  <a:cubicBezTo>
                    <a:pt x="348" y="500"/>
                    <a:pt x="348" y="500"/>
                    <a:pt x="348" y="500"/>
                  </a:cubicBezTo>
                  <a:cubicBezTo>
                    <a:pt x="346" y="500"/>
                    <a:pt x="345" y="499"/>
                    <a:pt x="344" y="498"/>
                  </a:cubicBezTo>
                  <a:cubicBezTo>
                    <a:pt x="323" y="485"/>
                    <a:pt x="323" y="485"/>
                    <a:pt x="323" y="485"/>
                  </a:cubicBezTo>
                  <a:cubicBezTo>
                    <a:pt x="311" y="488"/>
                    <a:pt x="311" y="488"/>
                    <a:pt x="311" y="488"/>
                  </a:cubicBezTo>
                  <a:cubicBezTo>
                    <a:pt x="309" y="489"/>
                    <a:pt x="306" y="488"/>
                    <a:pt x="304" y="487"/>
                  </a:cubicBezTo>
                  <a:cubicBezTo>
                    <a:pt x="254" y="461"/>
                    <a:pt x="254" y="461"/>
                    <a:pt x="254" y="461"/>
                  </a:cubicBezTo>
                  <a:cubicBezTo>
                    <a:pt x="250" y="459"/>
                    <a:pt x="248" y="456"/>
                    <a:pt x="248" y="452"/>
                  </a:cubicBezTo>
                  <a:cubicBezTo>
                    <a:pt x="247" y="410"/>
                    <a:pt x="247" y="410"/>
                    <a:pt x="247" y="410"/>
                  </a:cubicBezTo>
                  <a:cubicBezTo>
                    <a:pt x="230" y="366"/>
                    <a:pt x="230" y="366"/>
                    <a:pt x="230" y="366"/>
                  </a:cubicBezTo>
                  <a:cubicBezTo>
                    <a:pt x="223" y="368"/>
                    <a:pt x="223" y="368"/>
                    <a:pt x="223" y="368"/>
                  </a:cubicBezTo>
                  <a:cubicBezTo>
                    <a:pt x="242" y="424"/>
                    <a:pt x="242" y="424"/>
                    <a:pt x="242" y="424"/>
                  </a:cubicBezTo>
                  <a:cubicBezTo>
                    <a:pt x="242" y="425"/>
                    <a:pt x="242" y="427"/>
                    <a:pt x="242" y="428"/>
                  </a:cubicBezTo>
                  <a:cubicBezTo>
                    <a:pt x="242" y="434"/>
                    <a:pt x="238" y="438"/>
                    <a:pt x="232" y="438"/>
                  </a:cubicBezTo>
                  <a:cubicBezTo>
                    <a:pt x="228" y="439"/>
                    <a:pt x="224" y="436"/>
                    <a:pt x="223" y="432"/>
                  </a:cubicBezTo>
                  <a:cubicBezTo>
                    <a:pt x="204" y="390"/>
                    <a:pt x="204" y="390"/>
                    <a:pt x="204" y="390"/>
                  </a:cubicBezTo>
                  <a:cubicBezTo>
                    <a:pt x="181" y="348"/>
                    <a:pt x="181" y="348"/>
                    <a:pt x="181" y="348"/>
                  </a:cubicBezTo>
                  <a:cubicBezTo>
                    <a:pt x="180" y="347"/>
                    <a:pt x="180" y="346"/>
                    <a:pt x="179" y="344"/>
                  </a:cubicBezTo>
                  <a:cubicBezTo>
                    <a:pt x="172" y="292"/>
                    <a:pt x="172" y="292"/>
                    <a:pt x="172" y="292"/>
                  </a:cubicBezTo>
                  <a:cubicBezTo>
                    <a:pt x="172" y="289"/>
                    <a:pt x="172" y="287"/>
                    <a:pt x="173" y="285"/>
                  </a:cubicBezTo>
                  <a:cubicBezTo>
                    <a:pt x="202" y="236"/>
                    <a:pt x="202" y="236"/>
                    <a:pt x="202" y="236"/>
                  </a:cubicBezTo>
                  <a:cubicBezTo>
                    <a:pt x="216" y="194"/>
                    <a:pt x="216" y="194"/>
                    <a:pt x="216" y="194"/>
                  </a:cubicBezTo>
                  <a:cubicBezTo>
                    <a:pt x="214" y="173"/>
                    <a:pt x="214" y="173"/>
                    <a:pt x="214" y="173"/>
                  </a:cubicBezTo>
                  <a:cubicBezTo>
                    <a:pt x="178" y="159"/>
                    <a:pt x="178" y="159"/>
                    <a:pt x="178" y="159"/>
                  </a:cubicBezTo>
                  <a:cubicBezTo>
                    <a:pt x="150" y="164"/>
                    <a:pt x="150" y="164"/>
                    <a:pt x="150" y="164"/>
                  </a:cubicBezTo>
                  <a:cubicBezTo>
                    <a:pt x="107" y="184"/>
                    <a:pt x="107" y="184"/>
                    <a:pt x="107" y="184"/>
                  </a:cubicBezTo>
                  <a:cubicBezTo>
                    <a:pt x="106" y="184"/>
                    <a:pt x="106" y="184"/>
                    <a:pt x="106" y="184"/>
                  </a:cubicBezTo>
                  <a:cubicBezTo>
                    <a:pt x="74" y="196"/>
                    <a:pt x="74" y="196"/>
                    <a:pt x="74" y="196"/>
                  </a:cubicBezTo>
                  <a:cubicBezTo>
                    <a:pt x="73" y="196"/>
                    <a:pt x="72" y="196"/>
                    <a:pt x="71" y="196"/>
                  </a:cubicBezTo>
                  <a:cubicBezTo>
                    <a:pt x="11" y="198"/>
                    <a:pt x="11" y="198"/>
                    <a:pt x="11" y="198"/>
                  </a:cubicBezTo>
                  <a:cubicBezTo>
                    <a:pt x="6" y="198"/>
                    <a:pt x="1" y="194"/>
                    <a:pt x="0" y="189"/>
                  </a:cubicBezTo>
                  <a:cubicBezTo>
                    <a:pt x="0" y="183"/>
                    <a:pt x="3" y="179"/>
                    <a:pt x="8" y="177"/>
                  </a:cubicBezTo>
                  <a:cubicBezTo>
                    <a:pt x="75" y="164"/>
                    <a:pt x="75" y="164"/>
                    <a:pt x="75" y="164"/>
                  </a:cubicBezTo>
                  <a:cubicBezTo>
                    <a:pt x="78" y="160"/>
                    <a:pt x="78" y="160"/>
                    <a:pt x="78" y="160"/>
                  </a:cubicBezTo>
                  <a:cubicBezTo>
                    <a:pt x="76" y="158"/>
                    <a:pt x="76" y="158"/>
                    <a:pt x="76" y="158"/>
                  </a:cubicBezTo>
                  <a:cubicBezTo>
                    <a:pt x="73" y="156"/>
                    <a:pt x="71" y="154"/>
                    <a:pt x="71" y="151"/>
                  </a:cubicBezTo>
                  <a:cubicBezTo>
                    <a:pt x="70" y="148"/>
                    <a:pt x="71" y="145"/>
                    <a:pt x="73" y="142"/>
                  </a:cubicBezTo>
                  <a:cubicBezTo>
                    <a:pt x="94" y="120"/>
                    <a:pt x="94" y="120"/>
                    <a:pt x="94" y="120"/>
                  </a:cubicBezTo>
                  <a:cubicBezTo>
                    <a:pt x="95" y="119"/>
                    <a:pt x="97" y="118"/>
                    <a:pt x="99" y="117"/>
                  </a:cubicBezTo>
                  <a:cubicBezTo>
                    <a:pt x="101" y="117"/>
                    <a:pt x="101" y="117"/>
                    <a:pt x="101" y="117"/>
                  </a:cubicBezTo>
                  <a:cubicBezTo>
                    <a:pt x="100" y="116"/>
                    <a:pt x="100" y="114"/>
                    <a:pt x="100" y="112"/>
                  </a:cubicBezTo>
                  <a:cubicBezTo>
                    <a:pt x="100" y="109"/>
                    <a:pt x="102" y="106"/>
                    <a:pt x="105" y="104"/>
                  </a:cubicBezTo>
                  <a:cubicBezTo>
                    <a:pt x="137" y="85"/>
                    <a:pt x="137" y="85"/>
                    <a:pt x="137" y="85"/>
                  </a:cubicBezTo>
                  <a:cubicBezTo>
                    <a:pt x="138" y="84"/>
                    <a:pt x="139" y="84"/>
                    <a:pt x="140" y="84"/>
                  </a:cubicBezTo>
                  <a:cubicBezTo>
                    <a:pt x="213" y="65"/>
                    <a:pt x="213" y="65"/>
                    <a:pt x="213" y="65"/>
                  </a:cubicBezTo>
                  <a:cubicBezTo>
                    <a:pt x="215" y="64"/>
                    <a:pt x="216" y="64"/>
                    <a:pt x="217" y="64"/>
                  </a:cubicBezTo>
                  <a:cubicBezTo>
                    <a:pt x="309" y="76"/>
                    <a:pt x="309" y="76"/>
                    <a:pt x="309" y="76"/>
                  </a:cubicBezTo>
                  <a:cubicBezTo>
                    <a:pt x="380" y="82"/>
                    <a:pt x="380" y="82"/>
                    <a:pt x="380" y="82"/>
                  </a:cubicBezTo>
                  <a:cubicBezTo>
                    <a:pt x="379" y="79"/>
                    <a:pt x="379" y="79"/>
                    <a:pt x="379" y="79"/>
                  </a:cubicBezTo>
                  <a:cubicBezTo>
                    <a:pt x="377" y="77"/>
                    <a:pt x="377" y="74"/>
                    <a:pt x="378" y="71"/>
                  </a:cubicBezTo>
                  <a:cubicBezTo>
                    <a:pt x="379" y="69"/>
                    <a:pt x="381" y="66"/>
                    <a:pt x="383" y="65"/>
                  </a:cubicBezTo>
                  <a:cubicBezTo>
                    <a:pt x="393" y="61"/>
                    <a:pt x="423" y="48"/>
                    <a:pt x="436" y="48"/>
                  </a:cubicBezTo>
                  <a:cubicBezTo>
                    <a:pt x="502" y="48"/>
                    <a:pt x="502" y="48"/>
                    <a:pt x="502" y="48"/>
                  </a:cubicBezTo>
                  <a:cubicBezTo>
                    <a:pt x="510" y="48"/>
                    <a:pt x="529" y="53"/>
                    <a:pt x="533" y="54"/>
                  </a:cubicBezTo>
                  <a:cubicBezTo>
                    <a:pt x="536" y="55"/>
                    <a:pt x="538" y="57"/>
                    <a:pt x="539" y="60"/>
                  </a:cubicBezTo>
                  <a:cubicBezTo>
                    <a:pt x="540" y="61"/>
                    <a:pt x="543" y="68"/>
                    <a:pt x="545" y="75"/>
                  </a:cubicBezTo>
                  <a:cubicBezTo>
                    <a:pt x="548" y="74"/>
                    <a:pt x="550" y="72"/>
                    <a:pt x="553" y="71"/>
                  </a:cubicBezTo>
                  <a:cubicBezTo>
                    <a:pt x="580" y="44"/>
                    <a:pt x="580" y="44"/>
                    <a:pt x="580" y="44"/>
                  </a:cubicBezTo>
                  <a:cubicBezTo>
                    <a:pt x="581" y="43"/>
                    <a:pt x="582" y="42"/>
                    <a:pt x="583" y="42"/>
                  </a:cubicBezTo>
                  <a:cubicBezTo>
                    <a:pt x="609" y="31"/>
                    <a:pt x="609" y="31"/>
                    <a:pt x="609" y="31"/>
                  </a:cubicBezTo>
                  <a:cubicBezTo>
                    <a:pt x="603" y="27"/>
                    <a:pt x="603" y="27"/>
                    <a:pt x="603" y="27"/>
                  </a:cubicBezTo>
                  <a:cubicBezTo>
                    <a:pt x="600" y="25"/>
                    <a:pt x="598" y="21"/>
                    <a:pt x="599" y="17"/>
                  </a:cubicBezTo>
                  <a:cubicBezTo>
                    <a:pt x="600" y="13"/>
                    <a:pt x="603" y="9"/>
                    <a:pt x="607" y="9"/>
                  </a:cubicBezTo>
                  <a:cubicBezTo>
                    <a:pt x="662" y="0"/>
                    <a:pt x="662" y="0"/>
                    <a:pt x="662" y="0"/>
                  </a:cubicBezTo>
                  <a:cubicBezTo>
                    <a:pt x="662" y="0"/>
                    <a:pt x="663" y="0"/>
                    <a:pt x="663" y="0"/>
                  </a:cubicBezTo>
                  <a:cubicBezTo>
                    <a:pt x="732" y="0"/>
                    <a:pt x="732" y="0"/>
                    <a:pt x="732" y="0"/>
                  </a:cubicBezTo>
                  <a:cubicBezTo>
                    <a:pt x="737" y="0"/>
                    <a:pt x="741" y="3"/>
                    <a:pt x="742" y="7"/>
                  </a:cubicBezTo>
                  <a:cubicBezTo>
                    <a:pt x="742" y="7"/>
                    <a:pt x="742" y="8"/>
                    <a:pt x="743" y="8"/>
                  </a:cubicBezTo>
                  <a:cubicBezTo>
                    <a:pt x="819" y="0"/>
                    <a:pt x="819" y="0"/>
                    <a:pt x="819" y="0"/>
                  </a:cubicBezTo>
                  <a:cubicBezTo>
                    <a:pt x="820" y="0"/>
                    <a:pt x="820" y="0"/>
                    <a:pt x="820" y="0"/>
                  </a:cubicBezTo>
                  <a:cubicBezTo>
                    <a:pt x="919" y="0"/>
                    <a:pt x="919" y="0"/>
                    <a:pt x="919" y="0"/>
                  </a:cubicBezTo>
                  <a:cubicBezTo>
                    <a:pt x="920" y="0"/>
                    <a:pt x="922" y="0"/>
                    <a:pt x="923" y="1"/>
                  </a:cubicBezTo>
                  <a:cubicBezTo>
                    <a:pt x="948" y="12"/>
                    <a:pt x="948" y="12"/>
                    <a:pt x="948" y="12"/>
                  </a:cubicBezTo>
                  <a:cubicBezTo>
                    <a:pt x="952" y="14"/>
                    <a:pt x="954" y="18"/>
                    <a:pt x="954" y="22"/>
                  </a:cubicBezTo>
                  <a:cubicBezTo>
                    <a:pt x="954" y="27"/>
                    <a:pt x="951" y="30"/>
                    <a:pt x="947" y="32"/>
                  </a:cubicBezTo>
                  <a:cubicBezTo>
                    <a:pt x="934" y="36"/>
                    <a:pt x="918" y="42"/>
                    <a:pt x="914" y="44"/>
                  </a:cubicBezTo>
                  <a:cubicBezTo>
                    <a:pt x="911" y="47"/>
                    <a:pt x="901" y="61"/>
                    <a:pt x="892" y="73"/>
                  </a:cubicBezTo>
                  <a:cubicBezTo>
                    <a:pt x="892" y="82"/>
                    <a:pt x="892" y="82"/>
                    <a:pt x="892" y="82"/>
                  </a:cubicBezTo>
                  <a:cubicBezTo>
                    <a:pt x="892" y="85"/>
                    <a:pt x="891" y="88"/>
                    <a:pt x="888" y="90"/>
                  </a:cubicBezTo>
                  <a:cubicBezTo>
                    <a:pt x="874" y="102"/>
                    <a:pt x="874" y="102"/>
                    <a:pt x="874" y="102"/>
                  </a:cubicBezTo>
                  <a:cubicBezTo>
                    <a:pt x="873" y="103"/>
                    <a:pt x="871" y="103"/>
                    <a:pt x="870" y="104"/>
                  </a:cubicBezTo>
                  <a:cubicBezTo>
                    <a:pt x="797" y="122"/>
                    <a:pt x="797" y="122"/>
                    <a:pt x="797" y="122"/>
                  </a:cubicBezTo>
                  <a:cubicBezTo>
                    <a:pt x="778" y="136"/>
                    <a:pt x="778" y="136"/>
                    <a:pt x="778" y="136"/>
                  </a:cubicBezTo>
                  <a:cubicBezTo>
                    <a:pt x="750" y="156"/>
                    <a:pt x="750" y="156"/>
                    <a:pt x="750" y="156"/>
                  </a:cubicBezTo>
                  <a:cubicBezTo>
                    <a:pt x="746" y="159"/>
                    <a:pt x="740" y="159"/>
                    <a:pt x="737" y="155"/>
                  </a:cubicBezTo>
                  <a:cubicBezTo>
                    <a:pt x="713" y="131"/>
                    <a:pt x="712" y="127"/>
                    <a:pt x="711" y="125"/>
                  </a:cubicBezTo>
                  <a:cubicBezTo>
                    <a:pt x="710" y="122"/>
                    <a:pt x="708" y="117"/>
                    <a:pt x="717" y="92"/>
                  </a:cubicBezTo>
                  <a:cubicBezTo>
                    <a:pt x="717" y="90"/>
                    <a:pt x="719" y="88"/>
                    <a:pt x="720" y="87"/>
                  </a:cubicBezTo>
                  <a:cubicBezTo>
                    <a:pt x="729" y="80"/>
                    <a:pt x="729" y="80"/>
                    <a:pt x="729" y="80"/>
                  </a:cubicBezTo>
                  <a:cubicBezTo>
                    <a:pt x="714" y="61"/>
                    <a:pt x="714" y="61"/>
                    <a:pt x="714" y="61"/>
                  </a:cubicBezTo>
                  <a:cubicBezTo>
                    <a:pt x="683" y="47"/>
                    <a:pt x="683" y="47"/>
                    <a:pt x="683" y="47"/>
                  </a:cubicBezTo>
                  <a:cubicBezTo>
                    <a:pt x="637" y="56"/>
                    <a:pt x="637" y="56"/>
                    <a:pt x="637" y="56"/>
                  </a:cubicBezTo>
                  <a:cubicBezTo>
                    <a:pt x="640" y="59"/>
                    <a:pt x="640" y="59"/>
                    <a:pt x="640" y="59"/>
                  </a:cubicBezTo>
                  <a:cubicBezTo>
                    <a:pt x="666" y="74"/>
                    <a:pt x="666" y="74"/>
                    <a:pt x="666" y="74"/>
                  </a:cubicBezTo>
                  <a:cubicBezTo>
                    <a:pt x="668" y="76"/>
                    <a:pt x="670" y="79"/>
                    <a:pt x="671" y="82"/>
                  </a:cubicBezTo>
                  <a:cubicBezTo>
                    <a:pt x="674" y="110"/>
                    <a:pt x="674" y="110"/>
                    <a:pt x="674" y="110"/>
                  </a:cubicBezTo>
                  <a:cubicBezTo>
                    <a:pt x="674" y="116"/>
                    <a:pt x="670" y="121"/>
                    <a:pt x="665" y="121"/>
                  </a:cubicBezTo>
                  <a:cubicBezTo>
                    <a:pt x="645" y="124"/>
                    <a:pt x="645" y="124"/>
                    <a:pt x="645" y="124"/>
                  </a:cubicBezTo>
                  <a:cubicBezTo>
                    <a:pt x="641" y="128"/>
                    <a:pt x="641" y="128"/>
                    <a:pt x="641" y="128"/>
                  </a:cubicBezTo>
                  <a:cubicBezTo>
                    <a:pt x="639" y="131"/>
                    <a:pt x="636" y="132"/>
                    <a:pt x="632" y="132"/>
                  </a:cubicBezTo>
                  <a:cubicBezTo>
                    <a:pt x="612" y="129"/>
                    <a:pt x="612" y="129"/>
                    <a:pt x="612" y="129"/>
                  </a:cubicBezTo>
                  <a:cubicBezTo>
                    <a:pt x="611" y="129"/>
                    <a:pt x="609" y="128"/>
                    <a:pt x="608" y="128"/>
                  </a:cubicBezTo>
                  <a:cubicBezTo>
                    <a:pt x="603" y="125"/>
                    <a:pt x="603" y="125"/>
                    <a:pt x="603" y="125"/>
                  </a:cubicBezTo>
                  <a:cubicBezTo>
                    <a:pt x="601" y="124"/>
                    <a:pt x="600" y="123"/>
                    <a:pt x="599" y="121"/>
                  </a:cubicBezTo>
                  <a:cubicBezTo>
                    <a:pt x="589" y="107"/>
                    <a:pt x="589" y="107"/>
                    <a:pt x="589" y="107"/>
                  </a:cubicBezTo>
                  <a:cubicBezTo>
                    <a:pt x="558" y="107"/>
                    <a:pt x="558" y="107"/>
                    <a:pt x="558" y="107"/>
                  </a:cubicBezTo>
                  <a:cubicBezTo>
                    <a:pt x="555" y="125"/>
                    <a:pt x="555" y="125"/>
                    <a:pt x="555" y="125"/>
                  </a:cubicBezTo>
                  <a:cubicBezTo>
                    <a:pt x="554" y="130"/>
                    <a:pt x="551" y="133"/>
                    <a:pt x="546" y="134"/>
                  </a:cubicBezTo>
                  <a:cubicBezTo>
                    <a:pt x="502" y="137"/>
                    <a:pt x="502" y="137"/>
                    <a:pt x="502" y="137"/>
                  </a:cubicBezTo>
                  <a:cubicBezTo>
                    <a:pt x="478" y="161"/>
                    <a:pt x="478" y="161"/>
                    <a:pt x="478" y="161"/>
                  </a:cubicBezTo>
                  <a:cubicBezTo>
                    <a:pt x="510" y="172"/>
                    <a:pt x="510" y="172"/>
                    <a:pt x="510" y="172"/>
                  </a:cubicBezTo>
                  <a:cubicBezTo>
                    <a:pt x="513" y="173"/>
                    <a:pt x="515" y="175"/>
                    <a:pt x="516" y="178"/>
                  </a:cubicBezTo>
                  <a:cubicBezTo>
                    <a:pt x="516" y="179"/>
                    <a:pt x="517" y="179"/>
                    <a:pt x="517" y="180"/>
                  </a:cubicBezTo>
                  <a:cubicBezTo>
                    <a:pt x="534" y="177"/>
                    <a:pt x="534" y="177"/>
                    <a:pt x="534" y="177"/>
                  </a:cubicBezTo>
                  <a:cubicBezTo>
                    <a:pt x="545" y="143"/>
                    <a:pt x="545" y="143"/>
                    <a:pt x="545" y="143"/>
                  </a:cubicBezTo>
                  <a:cubicBezTo>
                    <a:pt x="547" y="139"/>
                    <a:pt x="550" y="136"/>
                    <a:pt x="555" y="136"/>
                  </a:cubicBezTo>
                  <a:cubicBezTo>
                    <a:pt x="599" y="136"/>
                    <a:pt x="599" y="136"/>
                    <a:pt x="599" y="136"/>
                  </a:cubicBezTo>
                  <a:cubicBezTo>
                    <a:pt x="602" y="136"/>
                    <a:pt x="605" y="138"/>
                    <a:pt x="607" y="140"/>
                  </a:cubicBezTo>
                  <a:cubicBezTo>
                    <a:pt x="618" y="154"/>
                    <a:pt x="618" y="154"/>
                    <a:pt x="618" y="154"/>
                  </a:cubicBezTo>
                  <a:cubicBezTo>
                    <a:pt x="659" y="193"/>
                    <a:pt x="659" y="193"/>
                    <a:pt x="659" y="193"/>
                  </a:cubicBezTo>
                  <a:cubicBezTo>
                    <a:pt x="661" y="195"/>
                    <a:pt x="662" y="198"/>
                    <a:pt x="662" y="201"/>
                  </a:cubicBezTo>
                  <a:cubicBezTo>
                    <a:pt x="662" y="204"/>
                    <a:pt x="660" y="207"/>
                    <a:pt x="658" y="209"/>
                  </a:cubicBezTo>
                  <a:cubicBezTo>
                    <a:pt x="642" y="221"/>
                    <a:pt x="642" y="221"/>
                    <a:pt x="642" y="221"/>
                  </a:cubicBezTo>
                  <a:cubicBezTo>
                    <a:pt x="640" y="222"/>
                    <a:pt x="638" y="223"/>
                    <a:pt x="636" y="223"/>
                  </a:cubicBezTo>
                  <a:cubicBezTo>
                    <a:pt x="602" y="223"/>
                    <a:pt x="602" y="223"/>
                    <a:pt x="602" y="223"/>
                  </a:cubicBezTo>
                  <a:cubicBezTo>
                    <a:pt x="599" y="225"/>
                    <a:pt x="599" y="225"/>
                    <a:pt x="599" y="225"/>
                  </a:cubicBezTo>
                  <a:cubicBezTo>
                    <a:pt x="608" y="235"/>
                    <a:pt x="608" y="235"/>
                    <a:pt x="608" y="235"/>
                  </a:cubicBezTo>
                  <a:cubicBezTo>
                    <a:pt x="610" y="238"/>
                    <a:pt x="611" y="241"/>
                    <a:pt x="610" y="244"/>
                  </a:cubicBezTo>
                  <a:cubicBezTo>
                    <a:pt x="606" y="263"/>
                    <a:pt x="606" y="263"/>
                    <a:pt x="606" y="263"/>
                  </a:cubicBezTo>
                  <a:cubicBezTo>
                    <a:pt x="605" y="268"/>
                    <a:pt x="601" y="271"/>
                    <a:pt x="596" y="271"/>
                  </a:cubicBezTo>
                  <a:cubicBezTo>
                    <a:pt x="565" y="271"/>
                    <a:pt x="565" y="271"/>
                    <a:pt x="565" y="271"/>
                  </a:cubicBezTo>
                  <a:cubicBezTo>
                    <a:pt x="497" y="314"/>
                    <a:pt x="497" y="314"/>
                    <a:pt x="497" y="314"/>
                  </a:cubicBezTo>
                  <a:cubicBezTo>
                    <a:pt x="495" y="333"/>
                    <a:pt x="495" y="333"/>
                    <a:pt x="495" y="333"/>
                  </a:cubicBezTo>
                  <a:cubicBezTo>
                    <a:pt x="494" y="335"/>
                    <a:pt x="493" y="338"/>
                    <a:pt x="491" y="339"/>
                  </a:cubicBezTo>
                  <a:cubicBezTo>
                    <a:pt x="455" y="369"/>
                    <a:pt x="455" y="369"/>
                    <a:pt x="455" y="369"/>
                  </a:cubicBezTo>
                  <a:cubicBezTo>
                    <a:pt x="451" y="401"/>
                    <a:pt x="451" y="401"/>
                    <a:pt x="451" y="401"/>
                  </a:cubicBezTo>
                  <a:cubicBezTo>
                    <a:pt x="450" y="406"/>
                    <a:pt x="446" y="410"/>
                    <a:pt x="441" y="410"/>
                  </a:cubicBezTo>
                  <a:cubicBezTo>
                    <a:pt x="427" y="412"/>
                    <a:pt x="427" y="412"/>
                    <a:pt x="427" y="412"/>
                  </a:cubicBezTo>
                  <a:cubicBezTo>
                    <a:pt x="422" y="412"/>
                    <a:pt x="418" y="410"/>
                    <a:pt x="416" y="406"/>
                  </a:cubicBezTo>
                  <a:cubicBezTo>
                    <a:pt x="403" y="376"/>
                    <a:pt x="403" y="376"/>
                    <a:pt x="403" y="376"/>
                  </a:cubicBezTo>
                  <a:cubicBezTo>
                    <a:pt x="343" y="394"/>
                    <a:pt x="343" y="394"/>
                    <a:pt x="343" y="394"/>
                  </a:cubicBezTo>
                  <a:cubicBezTo>
                    <a:pt x="331" y="436"/>
                    <a:pt x="331" y="436"/>
                    <a:pt x="331" y="436"/>
                  </a:cubicBezTo>
                  <a:cubicBezTo>
                    <a:pt x="339" y="439"/>
                    <a:pt x="347" y="442"/>
                    <a:pt x="351" y="443"/>
                  </a:cubicBezTo>
                  <a:cubicBezTo>
                    <a:pt x="353" y="441"/>
                    <a:pt x="356" y="438"/>
                    <a:pt x="358" y="436"/>
                  </a:cubicBezTo>
                  <a:cubicBezTo>
                    <a:pt x="360" y="434"/>
                    <a:pt x="363" y="433"/>
                    <a:pt x="366" y="433"/>
                  </a:cubicBezTo>
                  <a:cubicBezTo>
                    <a:pt x="388" y="433"/>
                    <a:pt x="388" y="433"/>
                    <a:pt x="388" y="433"/>
                  </a:cubicBezTo>
                  <a:cubicBezTo>
                    <a:pt x="391" y="433"/>
                    <a:pt x="394" y="434"/>
                    <a:pt x="396" y="437"/>
                  </a:cubicBezTo>
                  <a:cubicBezTo>
                    <a:pt x="398" y="440"/>
                    <a:pt x="398" y="443"/>
                    <a:pt x="397" y="446"/>
                  </a:cubicBezTo>
                  <a:cubicBezTo>
                    <a:pt x="388" y="473"/>
                    <a:pt x="388" y="473"/>
                    <a:pt x="388" y="473"/>
                  </a:cubicBezTo>
                  <a:cubicBezTo>
                    <a:pt x="412" y="480"/>
                    <a:pt x="412" y="480"/>
                    <a:pt x="412" y="480"/>
                  </a:cubicBezTo>
                  <a:cubicBezTo>
                    <a:pt x="416" y="481"/>
                    <a:pt x="419" y="485"/>
                    <a:pt x="419" y="490"/>
                  </a:cubicBezTo>
                  <a:cubicBezTo>
                    <a:pt x="419" y="511"/>
                    <a:pt x="419" y="511"/>
                    <a:pt x="419" y="511"/>
                  </a:cubicBezTo>
                  <a:cubicBezTo>
                    <a:pt x="436" y="517"/>
                    <a:pt x="436" y="517"/>
                    <a:pt x="436" y="517"/>
                  </a:cubicBezTo>
                  <a:cubicBezTo>
                    <a:pt x="462" y="502"/>
                    <a:pt x="462" y="502"/>
                    <a:pt x="462" y="502"/>
                  </a:cubicBezTo>
                  <a:cubicBezTo>
                    <a:pt x="463" y="501"/>
                    <a:pt x="465" y="500"/>
                    <a:pt x="467" y="500"/>
                  </a:cubicBezTo>
                  <a:cubicBezTo>
                    <a:pt x="553" y="500"/>
                    <a:pt x="553" y="500"/>
                    <a:pt x="553" y="500"/>
                  </a:cubicBezTo>
                  <a:cubicBezTo>
                    <a:pt x="556" y="500"/>
                    <a:pt x="558" y="501"/>
                    <a:pt x="560" y="502"/>
                  </a:cubicBezTo>
                  <a:cubicBezTo>
                    <a:pt x="632" y="561"/>
                    <a:pt x="632" y="561"/>
                    <a:pt x="632" y="561"/>
                  </a:cubicBezTo>
                  <a:cubicBezTo>
                    <a:pt x="634" y="563"/>
                    <a:pt x="636" y="566"/>
                    <a:pt x="636" y="569"/>
                  </a:cubicBezTo>
                  <a:cubicBezTo>
                    <a:pt x="636" y="578"/>
                    <a:pt x="635" y="588"/>
                    <a:pt x="634" y="596"/>
                  </a:cubicBezTo>
                  <a:cubicBezTo>
                    <a:pt x="648" y="602"/>
                    <a:pt x="688" y="612"/>
                    <a:pt x="723" y="619"/>
                  </a:cubicBezTo>
                  <a:cubicBezTo>
                    <a:pt x="726" y="620"/>
                    <a:pt x="729" y="622"/>
                    <a:pt x="730" y="625"/>
                  </a:cubicBezTo>
                  <a:cubicBezTo>
                    <a:pt x="745" y="660"/>
                    <a:pt x="745" y="660"/>
                    <a:pt x="745" y="660"/>
                  </a:cubicBezTo>
                  <a:cubicBezTo>
                    <a:pt x="746" y="663"/>
                    <a:pt x="746" y="666"/>
                    <a:pt x="745" y="668"/>
                  </a:cubicBezTo>
                  <a:cubicBezTo>
                    <a:pt x="708" y="765"/>
                    <a:pt x="708" y="765"/>
                    <a:pt x="708" y="765"/>
                  </a:cubicBezTo>
                  <a:cubicBezTo>
                    <a:pt x="708" y="766"/>
                    <a:pt x="707" y="767"/>
                    <a:pt x="707" y="768"/>
                  </a:cubicBezTo>
                  <a:cubicBezTo>
                    <a:pt x="589" y="916"/>
                    <a:pt x="589" y="916"/>
                    <a:pt x="589" y="916"/>
                  </a:cubicBezTo>
                  <a:cubicBezTo>
                    <a:pt x="589" y="980"/>
                    <a:pt x="589" y="980"/>
                    <a:pt x="589" y="980"/>
                  </a:cubicBezTo>
                  <a:cubicBezTo>
                    <a:pt x="618" y="1009"/>
                    <a:pt x="618" y="1009"/>
                    <a:pt x="618" y="1009"/>
                  </a:cubicBezTo>
                  <a:cubicBezTo>
                    <a:pt x="621" y="1013"/>
                    <a:pt x="622" y="1018"/>
                    <a:pt x="619" y="1022"/>
                  </a:cubicBezTo>
                  <a:cubicBezTo>
                    <a:pt x="617" y="1025"/>
                    <a:pt x="614" y="1027"/>
                    <a:pt x="611" y="1027"/>
                  </a:cubicBezTo>
                  <a:moveTo>
                    <a:pt x="389" y="495"/>
                  </a:moveTo>
                  <a:cubicBezTo>
                    <a:pt x="398" y="514"/>
                    <a:pt x="398" y="514"/>
                    <a:pt x="398" y="514"/>
                  </a:cubicBezTo>
                  <a:cubicBezTo>
                    <a:pt x="398" y="497"/>
                    <a:pt x="398" y="497"/>
                    <a:pt x="398" y="497"/>
                  </a:cubicBezTo>
                  <a:cubicBezTo>
                    <a:pt x="389" y="495"/>
                    <a:pt x="389" y="495"/>
                    <a:pt x="389" y="495"/>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Semilight"/>
              </a:endParaRPr>
            </a:p>
          </p:txBody>
        </p:sp>
        <p:sp>
          <p:nvSpPr>
            <p:cNvPr id="34" name="Freeform 8">
              <a:extLst>
                <a:ext uri="{FF2B5EF4-FFF2-40B4-BE49-F238E27FC236}">
                  <a16:creationId xmlns:a16="http://schemas.microsoft.com/office/drawing/2014/main" id="{29114B45-B6B5-423F-AC02-594DD14DC79C}"/>
                </a:ext>
              </a:extLst>
            </p:cNvPr>
            <p:cNvSpPr>
              <a:spLocks noEditPoints="1"/>
            </p:cNvSpPr>
            <p:nvPr/>
          </p:nvSpPr>
          <p:spPr bwMode="auto">
            <a:xfrm>
              <a:off x="1796859" y="4902379"/>
              <a:ext cx="1566923" cy="1125121"/>
            </a:xfrm>
            <a:custGeom>
              <a:avLst/>
              <a:gdLst>
                <a:gd name="T0" fmla="*/ 235 w 1153"/>
                <a:gd name="T1" fmla="*/ 777 h 829"/>
                <a:gd name="T2" fmla="*/ 208 w 1153"/>
                <a:gd name="T3" fmla="*/ 607 h 829"/>
                <a:gd name="T4" fmla="*/ 184 w 1153"/>
                <a:gd name="T5" fmla="*/ 536 h 829"/>
                <a:gd name="T6" fmla="*/ 111 w 1153"/>
                <a:gd name="T7" fmla="*/ 535 h 829"/>
                <a:gd name="T8" fmla="*/ 3 w 1153"/>
                <a:gd name="T9" fmla="*/ 457 h 829"/>
                <a:gd name="T10" fmla="*/ 3 w 1153"/>
                <a:gd name="T11" fmla="*/ 389 h 829"/>
                <a:gd name="T12" fmla="*/ 146 w 1153"/>
                <a:gd name="T13" fmla="*/ 282 h 829"/>
                <a:gd name="T14" fmla="*/ 212 w 1153"/>
                <a:gd name="T15" fmla="*/ 307 h 829"/>
                <a:gd name="T16" fmla="*/ 302 w 1153"/>
                <a:gd name="T17" fmla="*/ 311 h 829"/>
                <a:gd name="T18" fmla="*/ 340 w 1153"/>
                <a:gd name="T19" fmla="*/ 299 h 829"/>
                <a:gd name="T20" fmla="*/ 297 w 1153"/>
                <a:gd name="T21" fmla="*/ 284 h 829"/>
                <a:gd name="T22" fmla="*/ 263 w 1153"/>
                <a:gd name="T23" fmla="*/ 281 h 829"/>
                <a:gd name="T24" fmla="*/ 218 w 1153"/>
                <a:gd name="T25" fmla="*/ 227 h 829"/>
                <a:gd name="T26" fmla="*/ 228 w 1153"/>
                <a:gd name="T27" fmla="*/ 291 h 829"/>
                <a:gd name="T28" fmla="*/ 150 w 1153"/>
                <a:gd name="T29" fmla="*/ 248 h 829"/>
                <a:gd name="T30" fmla="*/ 78 w 1153"/>
                <a:gd name="T31" fmla="*/ 290 h 829"/>
                <a:gd name="T32" fmla="*/ 83 w 1153"/>
                <a:gd name="T33" fmla="*/ 225 h 829"/>
                <a:gd name="T34" fmla="*/ 103 w 1153"/>
                <a:gd name="T35" fmla="*/ 203 h 829"/>
                <a:gd name="T36" fmla="*/ 110 w 1153"/>
                <a:gd name="T37" fmla="*/ 162 h 829"/>
                <a:gd name="T38" fmla="*/ 114 w 1153"/>
                <a:gd name="T39" fmla="*/ 122 h 829"/>
                <a:gd name="T40" fmla="*/ 169 w 1153"/>
                <a:gd name="T41" fmla="*/ 150 h 829"/>
                <a:gd name="T42" fmla="*/ 280 w 1153"/>
                <a:gd name="T43" fmla="*/ 120 h 829"/>
                <a:gd name="T44" fmla="*/ 233 w 1153"/>
                <a:gd name="T45" fmla="*/ 132 h 829"/>
                <a:gd name="T46" fmla="*/ 202 w 1153"/>
                <a:gd name="T47" fmla="*/ 134 h 829"/>
                <a:gd name="T48" fmla="*/ 169 w 1153"/>
                <a:gd name="T49" fmla="*/ 99 h 829"/>
                <a:gd name="T50" fmla="*/ 279 w 1153"/>
                <a:gd name="T51" fmla="*/ 30 h 829"/>
                <a:gd name="T52" fmla="*/ 355 w 1153"/>
                <a:gd name="T53" fmla="*/ 54 h 829"/>
                <a:gd name="T54" fmla="*/ 359 w 1153"/>
                <a:gd name="T55" fmla="*/ 60 h 829"/>
                <a:gd name="T56" fmla="*/ 448 w 1153"/>
                <a:gd name="T57" fmla="*/ 43 h 829"/>
                <a:gd name="T58" fmla="*/ 508 w 1153"/>
                <a:gd name="T59" fmla="*/ 13 h 829"/>
                <a:gd name="T60" fmla="*/ 681 w 1153"/>
                <a:gd name="T61" fmla="*/ 0 h 829"/>
                <a:gd name="T62" fmla="*/ 854 w 1153"/>
                <a:gd name="T63" fmla="*/ 24 h 829"/>
                <a:gd name="T64" fmla="*/ 1152 w 1153"/>
                <a:gd name="T65" fmla="*/ 75 h 829"/>
                <a:gd name="T66" fmla="*/ 1115 w 1153"/>
                <a:gd name="T67" fmla="*/ 102 h 829"/>
                <a:gd name="T68" fmla="*/ 1091 w 1153"/>
                <a:gd name="T69" fmla="*/ 161 h 829"/>
                <a:gd name="T70" fmla="*/ 1033 w 1153"/>
                <a:gd name="T71" fmla="*/ 139 h 829"/>
                <a:gd name="T72" fmla="*/ 1001 w 1153"/>
                <a:gd name="T73" fmla="*/ 128 h 829"/>
                <a:gd name="T74" fmla="*/ 978 w 1153"/>
                <a:gd name="T75" fmla="*/ 156 h 829"/>
                <a:gd name="T76" fmla="*/ 995 w 1153"/>
                <a:gd name="T77" fmla="*/ 214 h 829"/>
                <a:gd name="T78" fmla="*/ 996 w 1153"/>
                <a:gd name="T79" fmla="*/ 274 h 829"/>
                <a:gd name="T80" fmla="*/ 969 w 1153"/>
                <a:gd name="T81" fmla="*/ 307 h 829"/>
                <a:gd name="T82" fmla="*/ 913 w 1153"/>
                <a:gd name="T83" fmla="*/ 269 h 829"/>
                <a:gd name="T84" fmla="*/ 936 w 1153"/>
                <a:gd name="T85" fmla="*/ 288 h 829"/>
                <a:gd name="T86" fmla="*/ 951 w 1153"/>
                <a:gd name="T87" fmla="*/ 378 h 829"/>
                <a:gd name="T88" fmla="*/ 865 w 1153"/>
                <a:gd name="T89" fmla="*/ 416 h 829"/>
                <a:gd name="T90" fmla="*/ 891 w 1153"/>
                <a:gd name="T91" fmla="*/ 468 h 829"/>
                <a:gd name="T92" fmla="*/ 848 w 1153"/>
                <a:gd name="T93" fmla="*/ 507 h 829"/>
                <a:gd name="T94" fmla="*/ 849 w 1153"/>
                <a:gd name="T95" fmla="*/ 552 h 829"/>
                <a:gd name="T96" fmla="*/ 805 w 1153"/>
                <a:gd name="T97" fmla="*/ 486 h 829"/>
                <a:gd name="T98" fmla="*/ 768 w 1153"/>
                <a:gd name="T99" fmla="*/ 424 h 829"/>
                <a:gd name="T100" fmla="*/ 708 w 1153"/>
                <a:gd name="T101" fmla="*/ 441 h 829"/>
                <a:gd name="T102" fmla="*/ 700 w 1153"/>
                <a:gd name="T103" fmla="*/ 462 h 829"/>
                <a:gd name="T104" fmla="*/ 652 w 1153"/>
                <a:gd name="T105" fmla="*/ 499 h 829"/>
                <a:gd name="T106" fmla="*/ 602 w 1153"/>
                <a:gd name="T107" fmla="*/ 408 h 829"/>
                <a:gd name="T108" fmla="*/ 469 w 1153"/>
                <a:gd name="T109" fmla="*/ 346 h 829"/>
                <a:gd name="T110" fmla="*/ 512 w 1153"/>
                <a:gd name="T111" fmla="*/ 373 h 829"/>
                <a:gd name="T112" fmla="*/ 510 w 1153"/>
                <a:gd name="T113" fmla="*/ 442 h 829"/>
                <a:gd name="T114" fmla="*/ 379 w 1153"/>
                <a:gd name="T115" fmla="*/ 362 h 829"/>
                <a:gd name="T116" fmla="*/ 496 w 1153"/>
                <a:gd name="T117" fmla="*/ 460 h 829"/>
                <a:gd name="T118" fmla="*/ 480 w 1153"/>
                <a:gd name="T119" fmla="*/ 539 h 829"/>
                <a:gd name="T120" fmla="*/ 420 w 1153"/>
                <a:gd name="T121" fmla="*/ 631 h 829"/>
                <a:gd name="T122" fmla="*/ 394 w 1153"/>
                <a:gd name="T123" fmla="*/ 729 h 829"/>
                <a:gd name="T124" fmla="*/ 1054 w 1153"/>
                <a:gd name="T125" fmla="*/ 13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3" h="829">
                  <a:moveTo>
                    <a:pt x="306" y="829"/>
                  </a:moveTo>
                  <a:cubicBezTo>
                    <a:pt x="266" y="829"/>
                    <a:pt x="266" y="829"/>
                    <a:pt x="266" y="829"/>
                  </a:cubicBezTo>
                  <a:cubicBezTo>
                    <a:pt x="262" y="829"/>
                    <a:pt x="258" y="827"/>
                    <a:pt x="257" y="823"/>
                  </a:cubicBezTo>
                  <a:cubicBezTo>
                    <a:pt x="235" y="777"/>
                    <a:pt x="235" y="777"/>
                    <a:pt x="235" y="777"/>
                  </a:cubicBezTo>
                  <a:cubicBezTo>
                    <a:pt x="234" y="776"/>
                    <a:pt x="234" y="776"/>
                    <a:pt x="234" y="776"/>
                  </a:cubicBezTo>
                  <a:cubicBezTo>
                    <a:pt x="204" y="699"/>
                    <a:pt x="205" y="695"/>
                    <a:pt x="206" y="691"/>
                  </a:cubicBezTo>
                  <a:cubicBezTo>
                    <a:pt x="208" y="687"/>
                    <a:pt x="217" y="661"/>
                    <a:pt x="220" y="651"/>
                  </a:cubicBezTo>
                  <a:cubicBezTo>
                    <a:pt x="208" y="607"/>
                    <a:pt x="208" y="607"/>
                    <a:pt x="208" y="607"/>
                  </a:cubicBezTo>
                  <a:cubicBezTo>
                    <a:pt x="191" y="578"/>
                    <a:pt x="191" y="578"/>
                    <a:pt x="191" y="578"/>
                  </a:cubicBezTo>
                  <a:cubicBezTo>
                    <a:pt x="190" y="576"/>
                    <a:pt x="190" y="574"/>
                    <a:pt x="190" y="573"/>
                  </a:cubicBezTo>
                  <a:cubicBezTo>
                    <a:pt x="190" y="544"/>
                    <a:pt x="190" y="544"/>
                    <a:pt x="190" y="544"/>
                  </a:cubicBezTo>
                  <a:cubicBezTo>
                    <a:pt x="184" y="536"/>
                    <a:pt x="184" y="536"/>
                    <a:pt x="184" y="536"/>
                  </a:cubicBezTo>
                  <a:cubicBezTo>
                    <a:pt x="171" y="536"/>
                    <a:pt x="171" y="536"/>
                    <a:pt x="171" y="536"/>
                  </a:cubicBezTo>
                  <a:cubicBezTo>
                    <a:pt x="168" y="536"/>
                    <a:pt x="165" y="535"/>
                    <a:pt x="163" y="533"/>
                  </a:cubicBezTo>
                  <a:cubicBezTo>
                    <a:pt x="152" y="521"/>
                    <a:pt x="152" y="521"/>
                    <a:pt x="152" y="521"/>
                  </a:cubicBezTo>
                  <a:cubicBezTo>
                    <a:pt x="111" y="535"/>
                    <a:pt x="111" y="535"/>
                    <a:pt x="111" y="535"/>
                  </a:cubicBezTo>
                  <a:cubicBezTo>
                    <a:pt x="110" y="536"/>
                    <a:pt x="109" y="536"/>
                    <a:pt x="107" y="536"/>
                  </a:cubicBezTo>
                  <a:cubicBezTo>
                    <a:pt x="71" y="536"/>
                    <a:pt x="71" y="536"/>
                    <a:pt x="71" y="536"/>
                  </a:cubicBezTo>
                  <a:cubicBezTo>
                    <a:pt x="68" y="536"/>
                    <a:pt x="65" y="535"/>
                    <a:pt x="63" y="532"/>
                  </a:cubicBezTo>
                  <a:cubicBezTo>
                    <a:pt x="3" y="457"/>
                    <a:pt x="3" y="457"/>
                    <a:pt x="3" y="457"/>
                  </a:cubicBezTo>
                  <a:cubicBezTo>
                    <a:pt x="0" y="454"/>
                    <a:pt x="0" y="450"/>
                    <a:pt x="1" y="447"/>
                  </a:cubicBezTo>
                  <a:cubicBezTo>
                    <a:pt x="11" y="424"/>
                    <a:pt x="11" y="424"/>
                    <a:pt x="11" y="424"/>
                  </a:cubicBezTo>
                  <a:cubicBezTo>
                    <a:pt x="1" y="401"/>
                    <a:pt x="1" y="401"/>
                    <a:pt x="1" y="401"/>
                  </a:cubicBezTo>
                  <a:cubicBezTo>
                    <a:pt x="0" y="397"/>
                    <a:pt x="0" y="392"/>
                    <a:pt x="3" y="389"/>
                  </a:cubicBezTo>
                  <a:cubicBezTo>
                    <a:pt x="91" y="297"/>
                    <a:pt x="91" y="297"/>
                    <a:pt x="91" y="297"/>
                  </a:cubicBezTo>
                  <a:cubicBezTo>
                    <a:pt x="93" y="295"/>
                    <a:pt x="96" y="294"/>
                    <a:pt x="99" y="294"/>
                  </a:cubicBezTo>
                  <a:cubicBezTo>
                    <a:pt x="120" y="294"/>
                    <a:pt x="120" y="294"/>
                    <a:pt x="120" y="294"/>
                  </a:cubicBezTo>
                  <a:cubicBezTo>
                    <a:pt x="146" y="282"/>
                    <a:pt x="146" y="282"/>
                    <a:pt x="146" y="282"/>
                  </a:cubicBezTo>
                  <a:cubicBezTo>
                    <a:pt x="147" y="281"/>
                    <a:pt x="149" y="281"/>
                    <a:pt x="150" y="281"/>
                  </a:cubicBezTo>
                  <a:cubicBezTo>
                    <a:pt x="194" y="282"/>
                    <a:pt x="194" y="282"/>
                    <a:pt x="194" y="282"/>
                  </a:cubicBezTo>
                  <a:cubicBezTo>
                    <a:pt x="198" y="282"/>
                    <a:pt x="202" y="285"/>
                    <a:pt x="203" y="288"/>
                  </a:cubicBezTo>
                  <a:cubicBezTo>
                    <a:pt x="212" y="307"/>
                    <a:pt x="212" y="307"/>
                    <a:pt x="212" y="307"/>
                  </a:cubicBezTo>
                  <a:cubicBezTo>
                    <a:pt x="251" y="314"/>
                    <a:pt x="251" y="314"/>
                    <a:pt x="251" y="314"/>
                  </a:cubicBezTo>
                  <a:cubicBezTo>
                    <a:pt x="256" y="315"/>
                    <a:pt x="256" y="315"/>
                    <a:pt x="256" y="315"/>
                  </a:cubicBezTo>
                  <a:cubicBezTo>
                    <a:pt x="258" y="311"/>
                    <a:pt x="262" y="308"/>
                    <a:pt x="267" y="309"/>
                  </a:cubicBezTo>
                  <a:cubicBezTo>
                    <a:pt x="302" y="311"/>
                    <a:pt x="302" y="311"/>
                    <a:pt x="302" y="311"/>
                  </a:cubicBezTo>
                  <a:cubicBezTo>
                    <a:pt x="355" y="317"/>
                    <a:pt x="355" y="317"/>
                    <a:pt x="355" y="317"/>
                  </a:cubicBezTo>
                  <a:cubicBezTo>
                    <a:pt x="359" y="316"/>
                    <a:pt x="359" y="316"/>
                    <a:pt x="359" y="316"/>
                  </a:cubicBezTo>
                  <a:cubicBezTo>
                    <a:pt x="360" y="295"/>
                    <a:pt x="360" y="295"/>
                    <a:pt x="360" y="295"/>
                  </a:cubicBezTo>
                  <a:cubicBezTo>
                    <a:pt x="340" y="299"/>
                    <a:pt x="340" y="299"/>
                    <a:pt x="340" y="299"/>
                  </a:cubicBezTo>
                  <a:cubicBezTo>
                    <a:pt x="336" y="300"/>
                    <a:pt x="333" y="299"/>
                    <a:pt x="330" y="297"/>
                  </a:cubicBezTo>
                  <a:cubicBezTo>
                    <a:pt x="298" y="266"/>
                    <a:pt x="298" y="266"/>
                    <a:pt x="298" y="266"/>
                  </a:cubicBezTo>
                  <a:cubicBezTo>
                    <a:pt x="297" y="266"/>
                    <a:pt x="297" y="266"/>
                    <a:pt x="297" y="266"/>
                  </a:cubicBezTo>
                  <a:cubicBezTo>
                    <a:pt x="297" y="284"/>
                    <a:pt x="297" y="284"/>
                    <a:pt x="297" y="284"/>
                  </a:cubicBezTo>
                  <a:cubicBezTo>
                    <a:pt x="297" y="287"/>
                    <a:pt x="295" y="291"/>
                    <a:pt x="292" y="293"/>
                  </a:cubicBezTo>
                  <a:cubicBezTo>
                    <a:pt x="288" y="294"/>
                    <a:pt x="284" y="294"/>
                    <a:pt x="281" y="292"/>
                  </a:cubicBezTo>
                  <a:cubicBezTo>
                    <a:pt x="267" y="284"/>
                    <a:pt x="267" y="284"/>
                    <a:pt x="267" y="284"/>
                  </a:cubicBezTo>
                  <a:cubicBezTo>
                    <a:pt x="265" y="283"/>
                    <a:pt x="264" y="282"/>
                    <a:pt x="263" y="281"/>
                  </a:cubicBezTo>
                  <a:cubicBezTo>
                    <a:pt x="250" y="262"/>
                    <a:pt x="250" y="262"/>
                    <a:pt x="250" y="262"/>
                  </a:cubicBezTo>
                  <a:cubicBezTo>
                    <a:pt x="250" y="261"/>
                    <a:pt x="250" y="261"/>
                    <a:pt x="250" y="261"/>
                  </a:cubicBezTo>
                  <a:cubicBezTo>
                    <a:pt x="228" y="223"/>
                    <a:pt x="228" y="223"/>
                    <a:pt x="228" y="223"/>
                  </a:cubicBezTo>
                  <a:cubicBezTo>
                    <a:pt x="218" y="227"/>
                    <a:pt x="218" y="227"/>
                    <a:pt x="218" y="227"/>
                  </a:cubicBezTo>
                  <a:cubicBezTo>
                    <a:pt x="247" y="262"/>
                    <a:pt x="247" y="262"/>
                    <a:pt x="247" y="262"/>
                  </a:cubicBezTo>
                  <a:cubicBezTo>
                    <a:pt x="250" y="266"/>
                    <a:pt x="251" y="271"/>
                    <a:pt x="248" y="275"/>
                  </a:cubicBezTo>
                  <a:cubicBezTo>
                    <a:pt x="239" y="287"/>
                    <a:pt x="239" y="287"/>
                    <a:pt x="239" y="287"/>
                  </a:cubicBezTo>
                  <a:cubicBezTo>
                    <a:pt x="236" y="290"/>
                    <a:pt x="232" y="292"/>
                    <a:pt x="228" y="291"/>
                  </a:cubicBezTo>
                  <a:cubicBezTo>
                    <a:pt x="224" y="290"/>
                    <a:pt x="221" y="286"/>
                    <a:pt x="221" y="282"/>
                  </a:cubicBezTo>
                  <a:cubicBezTo>
                    <a:pt x="218" y="267"/>
                    <a:pt x="218" y="267"/>
                    <a:pt x="218" y="267"/>
                  </a:cubicBezTo>
                  <a:cubicBezTo>
                    <a:pt x="193" y="244"/>
                    <a:pt x="193" y="244"/>
                    <a:pt x="193" y="244"/>
                  </a:cubicBezTo>
                  <a:cubicBezTo>
                    <a:pt x="150" y="248"/>
                    <a:pt x="150" y="248"/>
                    <a:pt x="150" y="248"/>
                  </a:cubicBezTo>
                  <a:cubicBezTo>
                    <a:pt x="129" y="279"/>
                    <a:pt x="129" y="279"/>
                    <a:pt x="129" y="279"/>
                  </a:cubicBezTo>
                  <a:cubicBezTo>
                    <a:pt x="128" y="282"/>
                    <a:pt x="125" y="283"/>
                    <a:pt x="123" y="284"/>
                  </a:cubicBezTo>
                  <a:cubicBezTo>
                    <a:pt x="86" y="292"/>
                    <a:pt x="86" y="292"/>
                    <a:pt x="86" y="292"/>
                  </a:cubicBezTo>
                  <a:cubicBezTo>
                    <a:pt x="83" y="293"/>
                    <a:pt x="80" y="292"/>
                    <a:pt x="78" y="290"/>
                  </a:cubicBezTo>
                  <a:cubicBezTo>
                    <a:pt x="75" y="288"/>
                    <a:pt x="74" y="286"/>
                    <a:pt x="74" y="282"/>
                  </a:cubicBezTo>
                  <a:cubicBezTo>
                    <a:pt x="72" y="235"/>
                    <a:pt x="72" y="235"/>
                    <a:pt x="72" y="235"/>
                  </a:cubicBezTo>
                  <a:cubicBezTo>
                    <a:pt x="72" y="233"/>
                    <a:pt x="73" y="230"/>
                    <a:pt x="75" y="228"/>
                  </a:cubicBezTo>
                  <a:cubicBezTo>
                    <a:pt x="77" y="226"/>
                    <a:pt x="80" y="225"/>
                    <a:pt x="83" y="225"/>
                  </a:cubicBezTo>
                  <a:cubicBezTo>
                    <a:pt x="117" y="225"/>
                    <a:pt x="117" y="225"/>
                    <a:pt x="117" y="225"/>
                  </a:cubicBezTo>
                  <a:cubicBezTo>
                    <a:pt x="118" y="217"/>
                    <a:pt x="118" y="217"/>
                    <a:pt x="118" y="217"/>
                  </a:cubicBezTo>
                  <a:cubicBezTo>
                    <a:pt x="108" y="212"/>
                    <a:pt x="108" y="212"/>
                    <a:pt x="108" y="212"/>
                  </a:cubicBezTo>
                  <a:cubicBezTo>
                    <a:pt x="105" y="210"/>
                    <a:pt x="103" y="207"/>
                    <a:pt x="103" y="203"/>
                  </a:cubicBezTo>
                  <a:cubicBezTo>
                    <a:pt x="103" y="200"/>
                    <a:pt x="105" y="196"/>
                    <a:pt x="108" y="194"/>
                  </a:cubicBezTo>
                  <a:cubicBezTo>
                    <a:pt x="128" y="181"/>
                    <a:pt x="128" y="181"/>
                    <a:pt x="128" y="181"/>
                  </a:cubicBezTo>
                  <a:cubicBezTo>
                    <a:pt x="115" y="172"/>
                    <a:pt x="115" y="172"/>
                    <a:pt x="115" y="172"/>
                  </a:cubicBezTo>
                  <a:cubicBezTo>
                    <a:pt x="112" y="170"/>
                    <a:pt x="110" y="166"/>
                    <a:pt x="110" y="162"/>
                  </a:cubicBezTo>
                  <a:cubicBezTo>
                    <a:pt x="111" y="154"/>
                    <a:pt x="111" y="154"/>
                    <a:pt x="111" y="154"/>
                  </a:cubicBezTo>
                  <a:cubicBezTo>
                    <a:pt x="106" y="149"/>
                    <a:pt x="106" y="149"/>
                    <a:pt x="106" y="149"/>
                  </a:cubicBezTo>
                  <a:cubicBezTo>
                    <a:pt x="103" y="145"/>
                    <a:pt x="102" y="140"/>
                    <a:pt x="105" y="136"/>
                  </a:cubicBezTo>
                  <a:cubicBezTo>
                    <a:pt x="114" y="122"/>
                    <a:pt x="114" y="122"/>
                    <a:pt x="114" y="122"/>
                  </a:cubicBezTo>
                  <a:cubicBezTo>
                    <a:pt x="115" y="120"/>
                    <a:pt x="118" y="118"/>
                    <a:pt x="122" y="118"/>
                  </a:cubicBezTo>
                  <a:cubicBezTo>
                    <a:pt x="125" y="118"/>
                    <a:pt x="128" y="119"/>
                    <a:pt x="130" y="122"/>
                  </a:cubicBezTo>
                  <a:cubicBezTo>
                    <a:pt x="160" y="160"/>
                    <a:pt x="160" y="160"/>
                    <a:pt x="160" y="160"/>
                  </a:cubicBezTo>
                  <a:cubicBezTo>
                    <a:pt x="169" y="150"/>
                    <a:pt x="169" y="150"/>
                    <a:pt x="169" y="150"/>
                  </a:cubicBezTo>
                  <a:cubicBezTo>
                    <a:pt x="171" y="148"/>
                    <a:pt x="174" y="147"/>
                    <a:pt x="176" y="147"/>
                  </a:cubicBezTo>
                  <a:cubicBezTo>
                    <a:pt x="199" y="147"/>
                    <a:pt x="199" y="147"/>
                    <a:pt x="199" y="147"/>
                  </a:cubicBezTo>
                  <a:cubicBezTo>
                    <a:pt x="250" y="139"/>
                    <a:pt x="250" y="139"/>
                    <a:pt x="250" y="139"/>
                  </a:cubicBezTo>
                  <a:cubicBezTo>
                    <a:pt x="280" y="120"/>
                    <a:pt x="280" y="120"/>
                    <a:pt x="280" y="120"/>
                  </a:cubicBezTo>
                  <a:cubicBezTo>
                    <a:pt x="261" y="91"/>
                    <a:pt x="261" y="91"/>
                    <a:pt x="261" y="91"/>
                  </a:cubicBezTo>
                  <a:cubicBezTo>
                    <a:pt x="252" y="112"/>
                    <a:pt x="252" y="112"/>
                    <a:pt x="252" y="112"/>
                  </a:cubicBezTo>
                  <a:cubicBezTo>
                    <a:pt x="251" y="113"/>
                    <a:pt x="251" y="114"/>
                    <a:pt x="250" y="115"/>
                  </a:cubicBezTo>
                  <a:cubicBezTo>
                    <a:pt x="233" y="132"/>
                    <a:pt x="233" y="132"/>
                    <a:pt x="233" y="132"/>
                  </a:cubicBezTo>
                  <a:cubicBezTo>
                    <a:pt x="232" y="133"/>
                    <a:pt x="232" y="133"/>
                    <a:pt x="232" y="133"/>
                  </a:cubicBezTo>
                  <a:cubicBezTo>
                    <a:pt x="223" y="140"/>
                    <a:pt x="223" y="140"/>
                    <a:pt x="223" y="140"/>
                  </a:cubicBezTo>
                  <a:cubicBezTo>
                    <a:pt x="220" y="142"/>
                    <a:pt x="215" y="143"/>
                    <a:pt x="212" y="140"/>
                  </a:cubicBezTo>
                  <a:cubicBezTo>
                    <a:pt x="202" y="134"/>
                    <a:pt x="202" y="134"/>
                    <a:pt x="202" y="134"/>
                  </a:cubicBezTo>
                  <a:cubicBezTo>
                    <a:pt x="182" y="137"/>
                    <a:pt x="182" y="137"/>
                    <a:pt x="182" y="137"/>
                  </a:cubicBezTo>
                  <a:cubicBezTo>
                    <a:pt x="177" y="137"/>
                    <a:pt x="172" y="134"/>
                    <a:pt x="171" y="129"/>
                  </a:cubicBezTo>
                  <a:cubicBezTo>
                    <a:pt x="166" y="108"/>
                    <a:pt x="166" y="108"/>
                    <a:pt x="166" y="108"/>
                  </a:cubicBezTo>
                  <a:cubicBezTo>
                    <a:pt x="166" y="105"/>
                    <a:pt x="167" y="101"/>
                    <a:pt x="169" y="99"/>
                  </a:cubicBezTo>
                  <a:cubicBezTo>
                    <a:pt x="221" y="47"/>
                    <a:pt x="221" y="47"/>
                    <a:pt x="221" y="47"/>
                  </a:cubicBezTo>
                  <a:cubicBezTo>
                    <a:pt x="222" y="46"/>
                    <a:pt x="223" y="45"/>
                    <a:pt x="225" y="45"/>
                  </a:cubicBezTo>
                  <a:cubicBezTo>
                    <a:pt x="278" y="30"/>
                    <a:pt x="278" y="30"/>
                    <a:pt x="278" y="30"/>
                  </a:cubicBezTo>
                  <a:cubicBezTo>
                    <a:pt x="278" y="30"/>
                    <a:pt x="279" y="30"/>
                    <a:pt x="279" y="30"/>
                  </a:cubicBezTo>
                  <a:cubicBezTo>
                    <a:pt x="344" y="20"/>
                    <a:pt x="344" y="20"/>
                    <a:pt x="344" y="20"/>
                  </a:cubicBezTo>
                  <a:cubicBezTo>
                    <a:pt x="349" y="19"/>
                    <a:pt x="354" y="22"/>
                    <a:pt x="355" y="27"/>
                  </a:cubicBezTo>
                  <a:cubicBezTo>
                    <a:pt x="359" y="43"/>
                    <a:pt x="359" y="43"/>
                    <a:pt x="359" y="43"/>
                  </a:cubicBezTo>
                  <a:cubicBezTo>
                    <a:pt x="361" y="47"/>
                    <a:pt x="359" y="52"/>
                    <a:pt x="355" y="54"/>
                  </a:cubicBezTo>
                  <a:cubicBezTo>
                    <a:pt x="329" y="72"/>
                    <a:pt x="329" y="72"/>
                    <a:pt x="329" y="72"/>
                  </a:cubicBezTo>
                  <a:cubicBezTo>
                    <a:pt x="331" y="81"/>
                    <a:pt x="331" y="81"/>
                    <a:pt x="331" y="81"/>
                  </a:cubicBezTo>
                  <a:cubicBezTo>
                    <a:pt x="356" y="62"/>
                    <a:pt x="356" y="62"/>
                    <a:pt x="356" y="62"/>
                  </a:cubicBezTo>
                  <a:cubicBezTo>
                    <a:pt x="357" y="61"/>
                    <a:pt x="358" y="61"/>
                    <a:pt x="359" y="60"/>
                  </a:cubicBezTo>
                  <a:cubicBezTo>
                    <a:pt x="389" y="52"/>
                    <a:pt x="389" y="52"/>
                    <a:pt x="389" y="52"/>
                  </a:cubicBezTo>
                  <a:cubicBezTo>
                    <a:pt x="390" y="52"/>
                    <a:pt x="390" y="52"/>
                    <a:pt x="390" y="52"/>
                  </a:cubicBezTo>
                  <a:cubicBezTo>
                    <a:pt x="446" y="43"/>
                    <a:pt x="446" y="43"/>
                    <a:pt x="446" y="43"/>
                  </a:cubicBezTo>
                  <a:cubicBezTo>
                    <a:pt x="447" y="43"/>
                    <a:pt x="448" y="43"/>
                    <a:pt x="448" y="43"/>
                  </a:cubicBezTo>
                  <a:cubicBezTo>
                    <a:pt x="472" y="44"/>
                    <a:pt x="472" y="44"/>
                    <a:pt x="472" y="44"/>
                  </a:cubicBezTo>
                  <a:cubicBezTo>
                    <a:pt x="471" y="41"/>
                    <a:pt x="471" y="36"/>
                    <a:pt x="474" y="33"/>
                  </a:cubicBezTo>
                  <a:cubicBezTo>
                    <a:pt x="493" y="14"/>
                    <a:pt x="493" y="14"/>
                    <a:pt x="493" y="14"/>
                  </a:cubicBezTo>
                  <a:cubicBezTo>
                    <a:pt x="497" y="10"/>
                    <a:pt x="504" y="10"/>
                    <a:pt x="508" y="13"/>
                  </a:cubicBezTo>
                  <a:cubicBezTo>
                    <a:pt x="523" y="28"/>
                    <a:pt x="523" y="28"/>
                    <a:pt x="523" y="28"/>
                  </a:cubicBezTo>
                  <a:cubicBezTo>
                    <a:pt x="580" y="1"/>
                    <a:pt x="580" y="1"/>
                    <a:pt x="580" y="1"/>
                  </a:cubicBezTo>
                  <a:cubicBezTo>
                    <a:pt x="581" y="1"/>
                    <a:pt x="583" y="0"/>
                    <a:pt x="584" y="0"/>
                  </a:cubicBezTo>
                  <a:cubicBezTo>
                    <a:pt x="681" y="0"/>
                    <a:pt x="681" y="0"/>
                    <a:pt x="681" y="0"/>
                  </a:cubicBezTo>
                  <a:cubicBezTo>
                    <a:pt x="687" y="0"/>
                    <a:pt x="691" y="5"/>
                    <a:pt x="691" y="11"/>
                  </a:cubicBezTo>
                  <a:cubicBezTo>
                    <a:pt x="691" y="20"/>
                    <a:pt x="691" y="20"/>
                    <a:pt x="691" y="20"/>
                  </a:cubicBezTo>
                  <a:cubicBezTo>
                    <a:pt x="814" y="33"/>
                    <a:pt x="814" y="33"/>
                    <a:pt x="814" y="33"/>
                  </a:cubicBezTo>
                  <a:cubicBezTo>
                    <a:pt x="854" y="24"/>
                    <a:pt x="854" y="24"/>
                    <a:pt x="854" y="24"/>
                  </a:cubicBezTo>
                  <a:cubicBezTo>
                    <a:pt x="855" y="24"/>
                    <a:pt x="856" y="24"/>
                    <a:pt x="857" y="24"/>
                  </a:cubicBezTo>
                  <a:cubicBezTo>
                    <a:pt x="954" y="35"/>
                    <a:pt x="1100" y="51"/>
                    <a:pt x="1108" y="52"/>
                  </a:cubicBezTo>
                  <a:cubicBezTo>
                    <a:pt x="1110" y="52"/>
                    <a:pt x="1116" y="52"/>
                    <a:pt x="1146" y="64"/>
                  </a:cubicBezTo>
                  <a:cubicBezTo>
                    <a:pt x="1150" y="66"/>
                    <a:pt x="1153" y="71"/>
                    <a:pt x="1152" y="75"/>
                  </a:cubicBezTo>
                  <a:cubicBezTo>
                    <a:pt x="1151" y="80"/>
                    <a:pt x="1147" y="84"/>
                    <a:pt x="1142" y="84"/>
                  </a:cubicBezTo>
                  <a:cubicBezTo>
                    <a:pt x="1109" y="86"/>
                    <a:pt x="1109" y="86"/>
                    <a:pt x="1109" y="86"/>
                  </a:cubicBezTo>
                  <a:cubicBezTo>
                    <a:pt x="1114" y="93"/>
                    <a:pt x="1114" y="93"/>
                    <a:pt x="1114" y="93"/>
                  </a:cubicBezTo>
                  <a:cubicBezTo>
                    <a:pt x="1115" y="96"/>
                    <a:pt x="1116" y="99"/>
                    <a:pt x="1115" y="102"/>
                  </a:cubicBezTo>
                  <a:cubicBezTo>
                    <a:pt x="1114" y="105"/>
                    <a:pt x="1112" y="107"/>
                    <a:pt x="1109" y="108"/>
                  </a:cubicBezTo>
                  <a:cubicBezTo>
                    <a:pt x="1076" y="124"/>
                    <a:pt x="1076" y="124"/>
                    <a:pt x="1076" y="124"/>
                  </a:cubicBezTo>
                  <a:cubicBezTo>
                    <a:pt x="1092" y="149"/>
                    <a:pt x="1092" y="149"/>
                    <a:pt x="1092" y="149"/>
                  </a:cubicBezTo>
                  <a:cubicBezTo>
                    <a:pt x="1094" y="153"/>
                    <a:pt x="1094" y="157"/>
                    <a:pt x="1091" y="161"/>
                  </a:cubicBezTo>
                  <a:cubicBezTo>
                    <a:pt x="1085" y="168"/>
                    <a:pt x="1085" y="168"/>
                    <a:pt x="1085" y="168"/>
                  </a:cubicBezTo>
                  <a:cubicBezTo>
                    <a:pt x="1082" y="172"/>
                    <a:pt x="1076" y="173"/>
                    <a:pt x="1072" y="170"/>
                  </a:cubicBezTo>
                  <a:cubicBezTo>
                    <a:pt x="1038" y="148"/>
                    <a:pt x="1038" y="148"/>
                    <a:pt x="1038" y="148"/>
                  </a:cubicBezTo>
                  <a:cubicBezTo>
                    <a:pt x="1035" y="146"/>
                    <a:pt x="1033" y="143"/>
                    <a:pt x="1033" y="139"/>
                  </a:cubicBezTo>
                  <a:cubicBezTo>
                    <a:pt x="1035" y="113"/>
                    <a:pt x="1035" y="113"/>
                    <a:pt x="1035" y="113"/>
                  </a:cubicBezTo>
                  <a:cubicBezTo>
                    <a:pt x="1010" y="113"/>
                    <a:pt x="1010" y="113"/>
                    <a:pt x="1010" y="113"/>
                  </a:cubicBezTo>
                  <a:cubicBezTo>
                    <a:pt x="1012" y="116"/>
                    <a:pt x="1012" y="120"/>
                    <a:pt x="1010" y="123"/>
                  </a:cubicBezTo>
                  <a:cubicBezTo>
                    <a:pt x="1008" y="126"/>
                    <a:pt x="1005" y="128"/>
                    <a:pt x="1001" y="128"/>
                  </a:cubicBezTo>
                  <a:cubicBezTo>
                    <a:pt x="951" y="128"/>
                    <a:pt x="951" y="128"/>
                    <a:pt x="951" y="128"/>
                  </a:cubicBezTo>
                  <a:cubicBezTo>
                    <a:pt x="940" y="145"/>
                    <a:pt x="940" y="145"/>
                    <a:pt x="940" y="145"/>
                  </a:cubicBezTo>
                  <a:cubicBezTo>
                    <a:pt x="974" y="153"/>
                    <a:pt x="974" y="153"/>
                    <a:pt x="974" y="153"/>
                  </a:cubicBezTo>
                  <a:cubicBezTo>
                    <a:pt x="976" y="154"/>
                    <a:pt x="977" y="154"/>
                    <a:pt x="978" y="156"/>
                  </a:cubicBezTo>
                  <a:cubicBezTo>
                    <a:pt x="1026" y="198"/>
                    <a:pt x="1026" y="198"/>
                    <a:pt x="1026" y="198"/>
                  </a:cubicBezTo>
                  <a:cubicBezTo>
                    <a:pt x="1029" y="201"/>
                    <a:pt x="1030" y="206"/>
                    <a:pt x="1028" y="210"/>
                  </a:cubicBezTo>
                  <a:cubicBezTo>
                    <a:pt x="1027" y="214"/>
                    <a:pt x="1022" y="216"/>
                    <a:pt x="1018" y="216"/>
                  </a:cubicBezTo>
                  <a:cubicBezTo>
                    <a:pt x="995" y="214"/>
                    <a:pt x="995" y="214"/>
                    <a:pt x="995" y="214"/>
                  </a:cubicBezTo>
                  <a:cubicBezTo>
                    <a:pt x="989" y="238"/>
                    <a:pt x="989" y="238"/>
                    <a:pt x="989" y="238"/>
                  </a:cubicBezTo>
                  <a:cubicBezTo>
                    <a:pt x="989" y="238"/>
                    <a:pt x="989" y="239"/>
                    <a:pt x="988" y="239"/>
                  </a:cubicBezTo>
                  <a:cubicBezTo>
                    <a:pt x="978" y="261"/>
                    <a:pt x="978" y="261"/>
                    <a:pt x="978" y="261"/>
                  </a:cubicBezTo>
                  <a:cubicBezTo>
                    <a:pt x="996" y="274"/>
                    <a:pt x="996" y="274"/>
                    <a:pt x="996" y="274"/>
                  </a:cubicBezTo>
                  <a:cubicBezTo>
                    <a:pt x="1000" y="278"/>
                    <a:pt x="1001" y="284"/>
                    <a:pt x="997" y="288"/>
                  </a:cubicBezTo>
                  <a:cubicBezTo>
                    <a:pt x="984" y="306"/>
                    <a:pt x="984" y="306"/>
                    <a:pt x="984" y="306"/>
                  </a:cubicBezTo>
                  <a:cubicBezTo>
                    <a:pt x="982" y="308"/>
                    <a:pt x="980" y="310"/>
                    <a:pt x="977" y="310"/>
                  </a:cubicBezTo>
                  <a:cubicBezTo>
                    <a:pt x="974" y="310"/>
                    <a:pt x="971" y="309"/>
                    <a:pt x="969" y="307"/>
                  </a:cubicBezTo>
                  <a:cubicBezTo>
                    <a:pt x="942" y="281"/>
                    <a:pt x="942" y="281"/>
                    <a:pt x="942" y="281"/>
                  </a:cubicBezTo>
                  <a:cubicBezTo>
                    <a:pt x="942" y="280"/>
                    <a:pt x="942" y="280"/>
                    <a:pt x="942" y="280"/>
                  </a:cubicBezTo>
                  <a:cubicBezTo>
                    <a:pt x="934" y="270"/>
                    <a:pt x="934" y="270"/>
                    <a:pt x="934" y="270"/>
                  </a:cubicBezTo>
                  <a:cubicBezTo>
                    <a:pt x="913" y="269"/>
                    <a:pt x="913" y="269"/>
                    <a:pt x="913" y="269"/>
                  </a:cubicBezTo>
                  <a:cubicBezTo>
                    <a:pt x="911" y="271"/>
                    <a:pt x="911" y="271"/>
                    <a:pt x="911" y="271"/>
                  </a:cubicBezTo>
                  <a:cubicBezTo>
                    <a:pt x="929" y="275"/>
                    <a:pt x="929" y="275"/>
                    <a:pt x="929" y="275"/>
                  </a:cubicBezTo>
                  <a:cubicBezTo>
                    <a:pt x="931" y="276"/>
                    <a:pt x="934" y="277"/>
                    <a:pt x="935" y="280"/>
                  </a:cubicBezTo>
                  <a:cubicBezTo>
                    <a:pt x="936" y="282"/>
                    <a:pt x="937" y="285"/>
                    <a:pt x="936" y="288"/>
                  </a:cubicBezTo>
                  <a:cubicBezTo>
                    <a:pt x="933" y="299"/>
                    <a:pt x="933" y="299"/>
                    <a:pt x="933" y="299"/>
                  </a:cubicBezTo>
                  <a:cubicBezTo>
                    <a:pt x="956" y="327"/>
                    <a:pt x="956" y="327"/>
                    <a:pt x="956" y="327"/>
                  </a:cubicBezTo>
                  <a:cubicBezTo>
                    <a:pt x="958" y="329"/>
                    <a:pt x="959" y="332"/>
                    <a:pt x="958" y="335"/>
                  </a:cubicBezTo>
                  <a:cubicBezTo>
                    <a:pt x="951" y="378"/>
                    <a:pt x="951" y="378"/>
                    <a:pt x="951" y="378"/>
                  </a:cubicBezTo>
                  <a:cubicBezTo>
                    <a:pt x="950" y="381"/>
                    <a:pt x="948" y="384"/>
                    <a:pt x="945" y="385"/>
                  </a:cubicBezTo>
                  <a:cubicBezTo>
                    <a:pt x="887" y="413"/>
                    <a:pt x="887" y="413"/>
                    <a:pt x="887" y="413"/>
                  </a:cubicBezTo>
                  <a:cubicBezTo>
                    <a:pt x="885" y="414"/>
                    <a:pt x="884" y="414"/>
                    <a:pt x="883" y="414"/>
                  </a:cubicBezTo>
                  <a:cubicBezTo>
                    <a:pt x="865" y="416"/>
                    <a:pt x="865" y="416"/>
                    <a:pt x="865" y="416"/>
                  </a:cubicBezTo>
                  <a:cubicBezTo>
                    <a:pt x="865" y="423"/>
                    <a:pt x="865" y="423"/>
                    <a:pt x="865" y="423"/>
                  </a:cubicBezTo>
                  <a:cubicBezTo>
                    <a:pt x="882" y="433"/>
                    <a:pt x="882" y="433"/>
                    <a:pt x="882" y="433"/>
                  </a:cubicBezTo>
                  <a:cubicBezTo>
                    <a:pt x="884" y="435"/>
                    <a:pt x="886" y="437"/>
                    <a:pt x="886" y="440"/>
                  </a:cubicBezTo>
                  <a:cubicBezTo>
                    <a:pt x="887" y="443"/>
                    <a:pt x="891" y="460"/>
                    <a:pt x="891" y="468"/>
                  </a:cubicBezTo>
                  <a:cubicBezTo>
                    <a:pt x="891" y="481"/>
                    <a:pt x="876" y="489"/>
                    <a:pt x="867" y="493"/>
                  </a:cubicBezTo>
                  <a:cubicBezTo>
                    <a:pt x="864" y="494"/>
                    <a:pt x="860" y="494"/>
                    <a:pt x="857" y="492"/>
                  </a:cubicBezTo>
                  <a:cubicBezTo>
                    <a:pt x="843" y="481"/>
                    <a:pt x="843" y="481"/>
                    <a:pt x="843" y="481"/>
                  </a:cubicBezTo>
                  <a:cubicBezTo>
                    <a:pt x="848" y="507"/>
                    <a:pt x="848" y="507"/>
                    <a:pt x="848" y="507"/>
                  </a:cubicBezTo>
                  <a:cubicBezTo>
                    <a:pt x="859" y="537"/>
                    <a:pt x="859" y="537"/>
                    <a:pt x="859" y="537"/>
                  </a:cubicBezTo>
                  <a:cubicBezTo>
                    <a:pt x="859" y="539"/>
                    <a:pt x="860" y="540"/>
                    <a:pt x="860" y="542"/>
                  </a:cubicBezTo>
                  <a:cubicBezTo>
                    <a:pt x="860" y="547"/>
                    <a:pt x="855" y="552"/>
                    <a:pt x="849" y="552"/>
                  </a:cubicBezTo>
                  <a:cubicBezTo>
                    <a:pt x="849" y="552"/>
                    <a:pt x="849" y="552"/>
                    <a:pt x="849" y="552"/>
                  </a:cubicBezTo>
                  <a:cubicBezTo>
                    <a:pt x="847" y="552"/>
                    <a:pt x="844" y="551"/>
                    <a:pt x="842" y="549"/>
                  </a:cubicBezTo>
                  <a:cubicBezTo>
                    <a:pt x="813" y="519"/>
                    <a:pt x="813" y="519"/>
                    <a:pt x="813" y="519"/>
                  </a:cubicBezTo>
                  <a:cubicBezTo>
                    <a:pt x="812" y="518"/>
                    <a:pt x="811" y="516"/>
                    <a:pt x="811" y="514"/>
                  </a:cubicBezTo>
                  <a:cubicBezTo>
                    <a:pt x="805" y="486"/>
                    <a:pt x="805" y="486"/>
                    <a:pt x="805" y="486"/>
                  </a:cubicBezTo>
                  <a:cubicBezTo>
                    <a:pt x="792" y="446"/>
                    <a:pt x="792" y="446"/>
                    <a:pt x="792" y="446"/>
                  </a:cubicBezTo>
                  <a:cubicBezTo>
                    <a:pt x="789" y="446"/>
                    <a:pt x="789" y="446"/>
                    <a:pt x="789" y="446"/>
                  </a:cubicBezTo>
                  <a:cubicBezTo>
                    <a:pt x="785" y="447"/>
                    <a:pt x="780" y="445"/>
                    <a:pt x="778" y="441"/>
                  </a:cubicBezTo>
                  <a:cubicBezTo>
                    <a:pt x="768" y="424"/>
                    <a:pt x="768" y="424"/>
                    <a:pt x="768" y="424"/>
                  </a:cubicBezTo>
                  <a:cubicBezTo>
                    <a:pt x="767" y="423"/>
                    <a:pt x="767" y="423"/>
                    <a:pt x="767" y="423"/>
                  </a:cubicBezTo>
                  <a:cubicBezTo>
                    <a:pt x="758" y="405"/>
                    <a:pt x="758" y="405"/>
                    <a:pt x="758" y="405"/>
                  </a:cubicBezTo>
                  <a:cubicBezTo>
                    <a:pt x="736" y="405"/>
                    <a:pt x="736" y="405"/>
                    <a:pt x="736" y="405"/>
                  </a:cubicBezTo>
                  <a:cubicBezTo>
                    <a:pt x="708" y="441"/>
                    <a:pt x="708" y="441"/>
                    <a:pt x="708" y="441"/>
                  </a:cubicBezTo>
                  <a:cubicBezTo>
                    <a:pt x="708" y="442"/>
                    <a:pt x="707" y="443"/>
                    <a:pt x="705" y="444"/>
                  </a:cubicBezTo>
                  <a:cubicBezTo>
                    <a:pt x="696" y="449"/>
                    <a:pt x="696" y="449"/>
                    <a:pt x="696" y="449"/>
                  </a:cubicBezTo>
                  <a:cubicBezTo>
                    <a:pt x="699" y="453"/>
                    <a:pt x="699" y="453"/>
                    <a:pt x="699" y="453"/>
                  </a:cubicBezTo>
                  <a:cubicBezTo>
                    <a:pt x="700" y="456"/>
                    <a:pt x="701" y="459"/>
                    <a:pt x="700" y="462"/>
                  </a:cubicBezTo>
                  <a:cubicBezTo>
                    <a:pt x="685" y="504"/>
                    <a:pt x="685" y="504"/>
                    <a:pt x="685" y="504"/>
                  </a:cubicBezTo>
                  <a:cubicBezTo>
                    <a:pt x="684" y="507"/>
                    <a:pt x="682" y="509"/>
                    <a:pt x="679" y="510"/>
                  </a:cubicBezTo>
                  <a:cubicBezTo>
                    <a:pt x="676" y="511"/>
                    <a:pt x="673" y="511"/>
                    <a:pt x="670" y="510"/>
                  </a:cubicBezTo>
                  <a:cubicBezTo>
                    <a:pt x="652" y="499"/>
                    <a:pt x="652" y="499"/>
                    <a:pt x="652" y="499"/>
                  </a:cubicBezTo>
                  <a:cubicBezTo>
                    <a:pt x="650" y="498"/>
                    <a:pt x="649" y="496"/>
                    <a:pt x="648" y="493"/>
                  </a:cubicBezTo>
                  <a:cubicBezTo>
                    <a:pt x="635" y="451"/>
                    <a:pt x="635" y="451"/>
                    <a:pt x="635" y="451"/>
                  </a:cubicBezTo>
                  <a:cubicBezTo>
                    <a:pt x="623" y="428"/>
                    <a:pt x="623" y="428"/>
                    <a:pt x="623" y="428"/>
                  </a:cubicBezTo>
                  <a:cubicBezTo>
                    <a:pt x="602" y="408"/>
                    <a:pt x="602" y="408"/>
                    <a:pt x="602" y="408"/>
                  </a:cubicBezTo>
                  <a:cubicBezTo>
                    <a:pt x="602" y="408"/>
                    <a:pt x="601" y="408"/>
                    <a:pt x="601" y="407"/>
                  </a:cubicBezTo>
                  <a:cubicBezTo>
                    <a:pt x="583" y="384"/>
                    <a:pt x="583" y="384"/>
                    <a:pt x="583" y="384"/>
                  </a:cubicBezTo>
                  <a:cubicBezTo>
                    <a:pt x="534" y="359"/>
                    <a:pt x="534" y="359"/>
                    <a:pt x="534" y="359"/>
                  </a:cubicBezTo>
                  <a:cubicBezTo>
                    <a:pt x="469" y="346"/>
                    <a:pt x="469" y="346"/>
                    <a:pt x="469" y="346"/>
                  </a:cubicBezTo>
                  <a:cubicBezTo>
                    <a:pt x="464" y="350"/>
                    <a:pt x="464" y="350"/>
                    <a:pt x="464" y="350"/>
                  </a:cubicBezTo>
                  <a:cubicBezTo>
                    <a:pt x="484" y="372"/>
                    <a:pt x="484" y="372"/>
                    <a:pt x="484" y="372"/>
                  </a:cubicBezTo>
                  <a:cubicBezTo>
                    <a:pt x="508" y="372"/>
                    <a:pt x="508" y="372"/>
                    <a:pt x="508" y="372"/>
                  </a:cubicBezTo>
                  <a:cubicBezTo>
                    <a:pt x="509" y="372"/>
                    <a:pt x="511" y="372"/>
                    <a:pt x="512" y="373"/>
                  </a:cubicBezTo>
                  <a:cubicBezTo>
                    <a:pt x="542" y="386"/>
                    <a:pt x="542" y="386"/>
                    <a:pt x="542" y="386"/>
                  </a:cubicBezTo>
                  <a:cubicBezTo>
                    <a:pt x="545" y="387"/>
                    <a:pt x="547" y="390"/>
                    <a:pt x="547" y="393"/>
                  </a:cubicBezTo>
                  <a:cubicBezTo>
                    <a:pt x="548" y="396"/>
                    <a:pt x="547" y="399"/>
                    <a:pt x="545" y="402"/>
                  </a:cubicBezTo>
                  <a:cubicBezTo>
                    <a:pt x="510" y="442"/>
                    <a:pt x="510" y="442"/>
                    <a:pt x="510" y="442"/>
                  </a:cubicBezTo>
                  <a:cubicBezTo>
                    <a:pt x="508" y="443"/>
                    <a:pt x="507" y="444"/>
                    <a:pt x="505" y="445"/>
                  </a:cubicBezTo>
                  <a:cubicBezTo>
                    <a:pt x="440" y="461"/>
                    <a:pt x="440" y="461"/>
                    <a:pt x="440" y="461"/>
                  </a:cubicBezTo>
                  <a:cubicBezTo>
                    <a:pt x="436" y="462"/>
                    <a:pt x="431" y="460"/>
                    <a:pt x="428" y="456"/>
                  </a:cubicBezTo>
                  <a:cubicBezTo>
                    <a:pt x="379" y="362"/>
                    <a:pt x="379" y="362"/>
                    <a:pt x="379" y="362"/>
                  </a:cubicBezTo>
                  <a:cubicBezTo>
                    <a:pt x="366" y="370"/>
                    <a:pt x="366" y="370"/>
                    <a:pt x="366" y="370"/>
                  </a:cubicBezTo>
                  <a:cubicBezTo>
                    <a:pt x="433" y="476"/>
                    <a:pt x="433" y="476"/>
                    <a:pt x="433" y="476"/>
                  </a:cubicBezTo>
                  <a:cubicBezTo>
                    <a:pt x="487" y="459"/>
                    <a:pt x="487" y="459"/>
                    <a:pt x="487" y="459"/>
                  </a:cubicBezTo>
                  <a:cubicBezTo>
                    <a:pt x="490" y="458"/>
                    <a:pt x="494" y="458"/>
                    <a:pt x="496" y="460"/>
                  </a:cubicBezTo>
                  <a:cubicBezTo>
                    <a:pt x="499" y="462"/>
                    <a:pt x="501" y="465"/>
                    <a:pt x="501" y="468"/>
                  </a:cubicBezTo>
                  <a:cubicBezTo>
                    <a:pt x="501" y="477"/>
                    <a:pt x="501" y="477"/>
                    <a:pt x="501" y="477"/>
                  </a:cubicBezTo>
                  <a:cubicBezTo>
                    <a:pt x="501" y="478"/>
                    <a:pt x="500" y="480"/>
                    <a:pt x="500" y="481"/>
                  </a:cubicBezTo>
                  <a:cubicBezTo>
                    <a:pt x="480" y="539"/>
                    <a:pt x="480" y="539"/>
                    <a:pt x="480" y="539"/>
                  </a:cubicBezTo>
                  <a:cubicBezTo>
                    <a:pt x="479" y="542"/>
                    <a:pt x="477" y="544"/>
                    <a:pt x="475" y="545"/>
                  </a:cubicBezTo>
                  <a:cubicBezTo>
                    <a:pt x="443" y="563"/>
                    <a:pt x="443" y="563"/>
                    <a:pt x="443" y="563"/>
                  </a:cubicBezTo>
                  <a:cubicBezTo>
                    <a:pt x="417" y="610"/>
                    <a:pt x="417" y="610"/>
                    <a:pt x="417" y="610"/>
                  </a:cubicBezTo>
                  <a:cubicBezTo>
                    <a:pt x="420" y="631"/>
                    <a:pt x="420" y="631"/>
                    <a:pt x="420" y="631"/>
                  </a:cubicBezTo>
                  <a:cubicBezTo>
                    <a:pt x="429" y="676"/>
                    <a:pt x="429" y="676"/>
                    <a:pt x="429" y="676"/>
                  </a:cubicBezTo>
                  <a:cubicBezTo>
                    <a:pt x="429" y="680"/>
                    <a:pt x="428" y="683"/>
                    <a:pt x="426" y="686"/>
                  </a:cubicBezTo>
                  <a:cubicBezTo>
                    <a:pt x="389" y="720"/>
                    <a:pt x="389" y="720"/>
                    <a:pt x="389" y="720"/>
                  </a:cubicBezTo>
                  <a:cubicBezTo>
                    <a:pt x="394" y="729"/>
                    <a:pt x="394" y="729"/>
                    <a:pt x="394" y="729"/>
                  </a:cubicBezTo>
                  <a:cubicBezTo>
                    <a:pt x="396" y="733"/>
                    <a:pt x="395" y="738"/>
                    <a:pt x="392" y="741"/>
                  </a:cubicBezTo>
                  <a:cubicBezTo>
                    <a:pt x="313" y="826"/>
                    <a:pt x="313" y="826"/>
                    <a:pt x="313" y="826"/>
                  </a:cubicBezTo>
                  <a:cubicBezTo>
                    <a:pt x="311" y="828"/>
                    <a:pt x="308" y="829"/>
                    <a:pt x="306" y="829"/>
                  </a:cubicBezTo>
                  <a:moveTo>
                    <a:pt x="1054" y="135"/>
                  </a:moveTo>
                  <a:cubicBezTo>
                    <a:pt x="1062" y="139"/>
                    <a:pt x="1062" y="139"/>
                    <a:pt x="1062" y="139"/>
                  </a:cubicBezTo>
                  <a:cubicBezTo>
                    <a:pt x="1055" y="128"/>
                    <a:pt x="1055" y="128"/>
                    <a:pt x="1055" y="128"/>
                  </a:cubicBezTo>
                  <a:cubicBezTo>
                    <a:pt x="1054" y="135"/>
                    <a:pt x="1054" y="135"/>
                    <a:pt x="1054" y="135"/>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Semilight"/>
              </a:endParaRPr>
            </a:p>
          </p:txBody>
        </p:sp>
        <p:sp>
          <p:nvSpPr>
            <p:cNvPr id="35" name="Freeform 17">
              <a:extLst>
                <a:ext uri="{FF2B5EF4-FFF2-40B4-BE49-F238E27FC236}">
                  <a16:creationId xmlns:a16="http://schemas.microsoft.com/office/drawing/2014/main" id="{1E17B100-DAAD-40C3-8019-95A562258CB9}"/>
                </a:ext>
              </a:extLst>
            </p:cNvPr>
            <p:cNvSpPr>
              <a:spLocks noEditPoints="1"/>
            </p:cNvSpPr>
            <p:nvPr/>
          </p:nvSpPr>
          <p:spPr bwMode="auto">
            <a:xfrm>
              <a:off x="3095757" y="5450213"/>
              <a:ext cx="70688" cy="91307"/>
            </a:xfrm>
            <a:custGeom>
              <a:avLst/>
              <a:gdLst>
                <a:gd name="T0" fmla="*/ 43 w 53"/>
                <a:gd name="T1" fmla="*/ 66 h 66"/>
                <a:gd name="T2" fmla="*/ 42 w 53"/>
                <a:gd name="T3" fmla="*/ 66 h 66"/>
                <a:gd name="T4" fmla="*/ 9 w 53"/>
                <a:gd name="T5" fmla="*/ 64 h 66"/>
                <a:gd name="T6" fmla="*/ 2 w 53"/>
                <a:gd name="T7" fmla="*/ 60 h 66"/>
                <a:gd name="T8" fmla="*/ 0 w 53"/>
                <a:gd name="T9" fmla="*/ 53 h 66"/>
                <a:gd name="T10" fmla="*/ 4 w 53"/>
                <a:gd name="T11" fmla="*/ 10 h 66"/>
                <a:gd name="T12" fmla="*/ 12 w 53"/>
                <a:gd name="T13" fmla="*/ 1 h 66"/>
                <a:gd name="T14" fmla="*/ 23 w 53"/>
                <a:gd name="T15" fmla="*/ 5 h 66"/>
                <a:gd name="T16" fmla="*/ 51 w 53"/>
                <a:gd name="T17" fmla="*/ 50 h 66"/>
                <a:gd name="T18" fmla="*/ 53 w 53"/>
                <a:gd name="T19" fmla="*/ 56 h 66"/>
                <a:gd name="T20" fmla="*/ 43 w 53"/>
                <a:gd name="T21" fmla="*/ 66 h 66"/>
                <a:gd name="T22" fmla="*/ 21 w 53"/>
                <a:gd name="T23" fmla="*/ 44 h 66"/>
                <a:gd name="T24" fmla="*/ 23 w 53"/>
                <a:gd name="T25" fmla="*/ 44 h 66"/>
                <a:gd name="T26" fmla="*/ 22 w 53"/>
                <a:gd name="T27" fmla="*/ 42 h 66"/>
                <a:gd name="T28" fmla="*/ 21 w 53"/>
                <a:gd name="T29"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66">
                  <a:moveTo>
                    <a:pt x="43" y="66"/>
                  </a:moveTo>
                  <a:cubicBezTo>
                    <a:pt x="42" y="66"/>
                    <a:pt x="42" y="66"/>
                    <a:pt x="42" y="66"/>
                  </a:cubicBezTo>
                  <a:cubicBezTo>
                    <a:pt x="9" y="64"/>
                    <a:pt x="9" y="64"/>
                    <a:pt x="9" y="64"/>
                  </a:cubicBezTo>
                  <a:cubicBezTo>
                    <a:pt x="7" y="64"/>
                    <a:pt x="4" y="62"/>
                    <a:pt x="2" y="60"/>
                  </a:cubicBezTo>
                  <a:cubicBezTo>
                    <a:pt x="1" y="58"/>
                    <a:pt x="0" y="55"/>
                    <a:pt x="0" y="53"/>
                  </a:cubicBezTo>
                  <a:cubicBezTo>
                    <a:pt x="4" y="10"/>
                    <a:pt x="4" y="10"/>
                    <a:pt x="4" y="10"/>
                  </a:cubicBezTo>
                  <a:cubicBezTo>
                    <a:pt x="4" y="6"/>
                    <a:pt x="8" y="2"/>
                    <a:pt x="12" y="1"/>
                  </a:cubicBezTo>
                  <a:cubicBezTo>
                    <a:pt x="16" y="0"/>
                    <a:pt x="21" y="2"/>
                    <a:pt x="23" y="5"/>
                  </a:cubicBezTo>
                  <a:cubicBezTo>
                    <a:pt x="51" y="50"/>
                    <a:pt x="51" y="50"/>
                    <a:pt x="51" y="50"/>
                  </a:cubicBezTo>
                  <a:cubicBezTo>
                    <a:pt x="52" y="52"/>
                    <a:pt x="53" y="54"/>
                    <a:pt x="53" y="56"/>
                  </a:cubicBezTo>
                  <a:cubicBezTo>
                    <a:pt x="53" y="62"/>
                    <a:pt x="48" y="66"/>
                    <a:pt x="43" y="66"/>
                  </a:cubicBezTo>
                  <a:close/>
                  <a:moveTo>
                    <a:pt x="21" y="44"/>
                  </a:moveTo>
                  <a:cubicBezTo>
                    <a:pt x="23" y="44"/>
                    <a:pt x="23" y="44"/>
                    <a:pt x="23" y="44"/>
                  </a:cubicBezTo>
                  <a:cubicBezTo>
                    <a:pt x="22" y="42"/>
                    <a:pt x="22" y="42"/>
                    <a:pt x="22" y="42"/>
                  </a:cubicBezTo>
                  <a:lnTo>
                    <a:pt x="21" y="44"/>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Semilight"/>
              </a:endParaRPr>
            </a:p>
          </p:txBody>
        </p:sp>
        <p:sp>
          <p:nvSpPr>
            <p:cNvPr id="36" name="Freeform: Shape 113">
              <a:extLst>
                <a:ext uri="{FF2B5EF4-FFF2-40B4-BE49-F238E27FC236}">
                  <a16:creationId xmlns:a16="http://schemas.microsoft.com/office/drawing/2014/main" id="{4F4B19D4-A889-466F-94BA-C84D2B4F353A}"/>
                </a:ext>
              </a:extLst>
            </p:cNvPr>
            <p:cNvSpPr>
              <a:spLocks/>
            </p:cNvSpPr>
            <p:nvPr/>
          </p:nvSpPr>
          <p:spPr bwMode="auto">
            <a:xfrm>
              <a:off x="1201900" y="5144740"/>
              <a:ext cx="2259925" cy="1038862"/>
            </a:xfrm>
            <a:custGeom>
              <a:avLst/>
              <a:gdLst>
                <a:gd name="connsiteX0" fmla="*/ 1974262 w 2259925"/>
                <a:gd name="connsiteY0" fmla="*/ 960697 h 1038862"/>
                <a:gd name="connsiteX1" fmla="*/ 1995469 w 2259925"/>
                <a:gd name="connsiteY1" fmla="*/ 963415 h 1038862"/>
                <a:gd name="connsiteX2" fmla="*/ 2006072 w 2259925"/>
                <a:gd name="connsiteY2" fmla="*/ 972931 h 1038862"/>
                <a:gd name="connsiteX3" fmla="*/ 2003421 w 2259925"/>
                <a:gd name="connsiteY3" fmla="*/ 987884 h 1038862"/>
                <a:gd name="connsiteX4" fmla="*/ 1983540 w 2259925"/>
                <a:gd name="connsiteY4" fmla="*/ 1008275 h 1038862"/>
                <a:gd name="connsiteX5" fmla="*/ 1972937 w 2259925"/>
                <a:gd name="connsiteY5" fmla="*/ 1012353 h 1038862"/>
                <a:gd name="connsiteX6" fmla="*/ 1968961 w 2259925"/>
                <a:gd name="connsiteY6" fmla="*/ 1010994 h 1038862"/>
                <a:gd name="connsiteX7" fmla="*/ 1959683 w 2259925"/>
                <a:gd name="connsiteY7" fmla="*/ 1000119 h 1038862"/>
                <a:gd name="connsiteX8" fmla="*/ 1955707 w 2259925"/>
                <a:gd name="connsiteY8" fmla="*/ 977009 h 1038862"/>
                <a:gd name="connsiteX9" fmla="*/ 1961008 w 2259925"/>
                <a:gd name="connsiteY9" fmla="*/ 963415 h 1038862"/>
                <a:gd name="connsiteX10" fmla="*/ 1974262 w 2259925"/>
                <a:gd name="connsiteY10" fmla="*/ 960697 h 1038862"/>
                <a:gd name="connsiteX11" fmla="*/ 2161818 w 2259925"/>
                <a:gd name="connsiteY11" fmla="*/ 954802 h 1038862"/>
                <a:gd name="connsiteX12" fmla="*/ 2169886 w 2259925"/>
                <a:gd name="connsiteY12" fmla="*/ 962937 h 1038862"/>
                <a:gd name="connsiteX13" fmla="*/ 2173920 w 2259925"/>
                <a:gd name="connsiteY13" fmla="*/ 979207 h 1038862"/>
                <a:gd name="connsiteX14" fmla="*/ 2167197 w 2259925"/>
                <a:gd name="connsiteY14" fmla="*/ 995476 h 1038862"/>
                <a:gd name="connsiteX15" fmla="*/ 2074419 w 2259925"/>
                <a:gd name="connsiteY15" fmla="*/ 1037506 h 1038862"/>
                <a:gd name="connsiteX16" fmla="*/ 2069040 w 2259925"/>
                <a:gd name="connsiteY16" fmla="*/ 1038862 h 1038862"/>
                <a:gd name="connsiteX17" fmla="*/ 2056939 w 2259925"/>
                <a:gd name="connsiteY17" fmla="*/ 1032083 h 1038862"/>
                <a:gd name="connsiteX18" fmla="*/ 2060973 w 2259925"/>
                <a:gd name="connsiteY18" fmla="*/ 1013102 h 1038862"/>
                <a:gd name="connsiteX19" fmla="*/ 2149717 w 2259925"/>
                <a:gd name="connsiteY19" fmla="*/ 956158 h 1038862"/>
                <a:gd name="connsiteX20" fmla="*/ 2161818 w 2259925"/>
                <a:gd name="connsiteY20" fmla="*/ 954802 h 1038862"/>
                <a:gd name="connsiteX21" fmla="*/ 2226681 w 2259925"/>
                <a:gd name="connsiteY21" fmla="*/ 892949 h 1038862"/>
                <a:gd name="connsiteX22" fmla="*/ 2238730 w 2259925"/>
                <a:gd name="connsiteY22" fmla="*/ 902439 h 1038862"/>
                <a:gd name="connsiteX23" fmla="*/ 2242747 w 2259925"/>
                <a:gd name="connsiteY23" fmla="*/ 917353 h 1038862"/>
                <a:gd name="connsiteX24" fmla="*/ 2254796 w 2259925"/>
                <a:gd name="connsiteY24" fmla="*/ 926844 h 1038862"/>
                <a:gd name="connsiteX25" fmla="*/ 2249441 w 2259925"/>
                <a:gd name="connsiteY25" fmla="*/ 943114 h 1038862"/>
                <a:gd name="connsiteX26" fmla="*/ 2205260 w 2259925"/>
                <a:gd name="connsiteY26" fmla="*/ 974298 h 1038862"/>
                <a:gd name="connsiteX27" fmla="*/ 2197227 w 2259925"/>
                <a:gd name="connsiteY27" fmla="*/ 977009 h 1038862"/>
                <a:gd name="connsiteX28" fmla="*/ 2189194 w 2259925"/>
                <a:gd name="connsiteY28" fmla="*/ 974298 h 1038862"/>
                <a:gd name="connsiteX29" fmla="*/ 2185178 w 2259925"/>
                <a:gd name="connsiteY29" fmla="*/ 956672 h 1038862"/>
                <a:gd name="connsiteX30" fmla="*/ 2213293 w 2259925"/>
                <a:gd name="connsiteY30" fmla="*/ 899728 h 1038862"/>
                <a:gd name="connsiteX31" fmla="*/ 2226681 w 2259925"/>
                <a:gd name="connsiteY31" fmla="*/ 892949 h 1038862"/>
                <a:gd name="connsiteX32" fmla="*/ 1932483 w 2259925"/>
                <a:gd name="connsiteY32" fmla="*/ 653021 h 1038862"/>
                <a:gd name="connsiteX33" fmla="*/ 1984111 w 2259925"/>
                <a:gd name="connsiteY33" fmla="*/ 657093 h 1038862"/>
                <a:gd name="connsiteX34" fmla="*/ 1993621 w 2259925"/>
                <a:gd name="connsiteY34" fmla="*/ 663879 h 1038862"/>
                <a:gd name="connsiteX35" fmla="*/ 1996338 w 2259925"/>
                <a:gd name="connsiteY35" fmla="*/ 676095 h 1038862"/>
                <a:gd name="connsiteX36" fmla="*/ 1992263 w 2259925"/>
                <a:gd name="connsiteY36" fmla="*/ 685596 h 1038862"/>
                <a:gd name="connsiteX37" fmla="*/ 2011283 w 2259925"/>
                <a:gd name="connsiteY37" fmla="*/ 692382 h 1038862"/>
                <a:gd name="connsiteX38" fmla="*/ 2028946 w 2259925"/>
                <a:gd name="connsiteY38" fmla="*/ 659807 h 1038862"/>
                <a:gd name="connsiteX39" fmla="*/ 2039815 w 2259925"/>
                <a:gd name="connsiteY39" fmla="*/ 653021 h 1038862"/>
                <a:gd name="connsiteX40" fmla="*/ 2050684 w 2259925"/>
                <a:gd name="connsiteY40" fmla="*/ 657093 h 1038862"/>
                <a:gd name="connsiteX41" fmla="*/ 2073780 w 2259925"/>
                <a:gd name="connsiteY41" fmla="*/ 677452 h 1038862"/>
                <a:gd name="connsiteX42" fmla="*/ 2079215 w 2259925"/>
                <a:gd name="connsiteY42" fmla="*/ 684239 h 1038862"/>
                <a:gd name="connsiteX43" fmla="*/ 2088725 w 2259925"/>
                <a:gd name="connsiteY43" fmla="*/ 734459 h 1038862"/>
                <a:gd name="connsiteX44" fmla="*/ 2125408 w 2259925"/>
                <a:gd name="connsiteY44" fmla="*/ 791465 h 1038862"/>
                <a:gd name="connsiteX45" fmla="*/ 2126767 w 2259925"/>
                <a:gd name="connsiteY45" fmla="*/ 806396 h 1038862"/>
                <a:gd name="connsiteX46" fmla="*/ 2087367 w 2259925"/>
                <a:gd name="connsiteY46" fmla="*/ 883762 h 1038862"/>
                <a:gd name="connsiteX47" fmla="*/ 2083291 w 2259925"/>
                <a:gd name="connsiteY47" fmla="*/ 887834 h 1038862"/>
                <a:gd name="connsiteX48" fmla="*/ 2034380 w 2259925"/>
                <a:gd name="connsiteY48" fmla="*/ 929910 h 1038862"/>
                <a:gd name="connsiteX49" fmla="*/ 2028946 w 2259925"/>
                <a:gd name="connsiteY49" fmla="*/ 932625 h 1038862"/>
                <a:gd name="connsiteX50" fmla="*/ 1982752 w 2259925"/>
                <a:gd name="connsiteY50" fmla="*/ 947555 h 1038862"/>
                <a:gd name="connsiteX51" fmla="*/ 1978676 w 2259925"/>
                <a:gd name="connsiteY51" fmla="*/ 947555 h 1038862"/>
                <a:gd name="connsiteX52" fmla="*/ 1973242 w 2259925"/>
                <a:gd name="connsiteY52" fmla="*/ 946198 h 1038862"/>
                <a:gd name="connsiteX53" fmla="*/ 1933841 w 2259925"/>
                <a:gd name="connsiteY53" fmla="*/ 919052 h 1038862"/>
                <a:gd name="connsiteX54" fmla="*/ 1917538 w 2259925"/>
                <a:gd name="connsiteY54" fmla="*/ 891905 h 1038862"/>
                <a:gd name="connsiteX55" fmla="*/ 1883572 w 2259925"/>
                <a:gd name="connsiteY55" fmla="*/ 864759 h 1038862"/>
                <a:gd name="connsiteX56" fmla="*/ 1814282 w 2259925"/>
                <a:gd name="connsiteY56" fmla="*/ 900050 h 1038862"/>
                <a:gd name="connsiteX57" fmla="*/ 1808847 w 2259925"/>
                <a:gd name="connsiteY57" fmla="*/ 901407 h 1038862"/>
                <a:gd name="connsiteX58" fmla="*/ 1740916 w 2259925"/>
                <a:gd name="connsiteY58" fmla="*/ 905479 h 1038862"/>
                <a:gd name="connsiteX59" fmla="*/ 1728688 w 2259925"/>
                <a:gd name="connsiteY59" fmla="*/ 898692 h 1038862"/>
                <a:gd name="connsiteX60" fmla="*/ 1727330 w 2259925"/>
                <a:gd name="connsiteY60" fmla="*/ 885119 h 1038862"/>
                <a:gd name="connsiteX61" fmla="*/ 1736840 w 2259925"/>
                <a:gd name="connsiteY61" fmla="*/ 867474 h 1038862"/>
                <a:gd name="connsiteX62" fmla="*/ 1743633 w 2259925"/>
                <a:gd name="connsiteY62" fmla="*/ 762962 h 1038862"/>
                <a:gd name="connsiteX63" fmla="*/ 1754502 w 2259925"/>
                <a:gd name="connsiteY63" fmla="*/ 750746 h 1038862"/>
                <a:gd name="connsiteX64" fmla="*/ 1810206 w 2259925"/>
                <a:gd name="connsiteY64" fmla="*/ 735816 h 1038862"/>
                <a:gd name="connsiteX65" fmla="*/ 1827868 w 2259925"/>
                <a:gd name="connsiteY65" fmla="*/ 716814 h 1038862"/>
                <a:gd name="connsiteX66" fmla="*/ 1829227 w 2259925"/>
                <a:gd name="connsiteY66" fmla="*/ 715457 h 1038862"/>
                <a:gd name="connsiteX67" fmla="*/ 1882213 w 2259925"/>
                <a:gd name="connsiteY67" fmla="*/ 676095 h 1038862"/>
                <a:gd name="connsiteX68" fmla="*/ 1897158 w 2259925"/>
                <a:gd name="connsiteY68" fmla="*/ 674738 h 1038862"/>
                <a:gd name="connsiteX69" fmla="*/ 1909386 w 2259925"/>
                <a:gd name="connsiteY69" fmla="*/ 681524 h 1038862"/>
                <a:gd name="connsiteX70" fmla="*/ 1917538 w 2259925"/>
                <a:gd name="connsiteY70" fmla="*/ 661165 h 1038862"/>
                <a:gd name="connsiteX71" fmla="*/ 1932483 w 2259925"/>
                <a:gd name="connsiteY71" fmla="*/ 653021 h 1038862"/>
                <a:gd name="connsiteX72" fmla="*/ 1240163 w 2259925"/>
                <a:gd name="connsiteY72" fmla="*/ 639645 h 1038862"/>
                <a:gd name="connsiteX73" fmla="*/ 1249426 w 2259925"/>
                <a:gd name="connsiteY73" fmla="*/ 650445 h 1038862"/>
                <a:gd name="connsiteX74" fmla="*/ 1254719 w 2259925"/>
                <a:gd name="connsiteY74" fmla="*/ 677444 h 1038862"/>
                <a:gd name="connsiteX75" fmla="*/ 1253396 w 2259925"/>
                <a:gd name="connsiteY75" fmla="*/ 684194 h 1038862"/>
                <a:gd name="connsiteX76" fmla="*/ 1220314 w 2259925"/>
                <a:gd name="connsiteY76" fmla="*/ 790841 h 1038862"/>
                <a:gd name="connsiteX77" fmla="*/ 1212374 w 2259925"/>
                <a:gd name="connsiteY77" fmla="*/ 800290 h 1038862"/>
                <a:gd name="connsiteX78" fmla="*/ 1207081 w 2259925"/>
                <a:gd name="connsiteY78" fmla="*/ 800290 h 1038862"/>
                <a:gd name="connsiteX79" fmla="*/ 1200464 w 2259925"/>
                <a:gd name="connsiteY79" fmla="*/ 798940 h 1038862"/>
                <a:gd name="connsiteX80" fmla="*/ 1171352 w 2259925"/>
                <a:gd name="connsiteY80" fmla="*/ 780041 h 1038862"/>
                <a:gd name="connsiteX81" fmla="*/ 1167382 w 2259925"/>
                <a:gd name="connsiteY81" fmla="*/ 762491 h 1038862"/>
                <a:gd name="connsiteX82" fmla="*/ 1173998 w 2259925"/>
                <a:gd name="connsiteY82" fmla="*/ 747642 h 1038862"/>
                <a:gd name="connsiteX83" fmla="*/ 1177968 w 2259925"/>
                <a:gd name="connsiteY83" fmla="*/ 708493 h 1038862"/>
                <a:gd name="connsiteX84" fmla="*/ 1180615 w 2259925"/>
                <a:gd name="connsiteY84" fmla="*/ 703093 h 1038862"/>
                <a:gd name="connsiteX85" fmla="*/ 1193848 w 2259925"/>
                <a:gd name="connsiteY85" fmla="*/ 681494 h 1038862"/>
                <a:gd name="connsiteX86" fmla="*/ 1195171 w 2259925"/>
                <a:gd name="connsiteY86" fmla="*/ 680144 h 1038862"/>
                <a:gd name="connsiteX87" fmla="*/ 1225607 w 2259925"/>
                <a:gd name="connsiteY87" fmla="*/ 643695 h 1038862"/>
                <a:gd name="connsiteX88" fmla="*/ 1240163 w 2259925"/>
                <a:gd name="connsiteY88" fmla="*/ 639645 h 1038862"/>
                <a:gd name="connsiteX89" fmla="*/ 1873160 w 2259925"/>
                <a:gd name="connsiteY89" fmla="*/ 595523 h 1038862"/>
                <a:gd name="connsiteX90" fmla="*/ 1892106 w 2259925"/>
                <a:gd name="connsiteY90" fmla="*/ 598340 h 1038862"/>
                <a:gd name="connsiteX91" fmla="*/ 1904286 w 2259925"/>
                <a:gd name="connsiteY91" fmla="*/ 613836 h 1038862"/>
                <a:gd name="connsiteX92" fmla="*/ 1890753 w 2259925"/>
                <a:gd name="connsiteY92" fmla="*/ 626514 h 1038862"/>
                <a:gd name="connsiteX93" fmla="*/ 1889399 w 2259925"/>
                <a:gd name="connsiteY93" fmla="*/ 626514 h 1038862"/>
                <a:gd name="connsiteX94" fmla="*/ 1869100 w 2259925"/>
                <a:gd name="connsiteY94" fmla="*/ 623697 h 1038862"/>
                <a:gd name="connsiteX95" fmla="*/ 1856920 w 2259925"/>
                <a:gd name="connsiteY95" fmla="*/ 608201 h 1038862"/>
                <a:gd name="connsiteX96" fmla="*/ 1873160 w 2259925"/>
                <a:gd name="connsiteY96" fmla="*/ 595523 h 1038862"/>
                <a:gd name="connsiteX97" fmla="*/ 1786237 w 2259925"/>
                <a:gd name="connsiteY97" fmla="*/ 576258 h 1038862"/>
                <a:gd name="connsiteX98" fmla="*/ 1843331 w 2259925"/>
                <a:gd name="connsiteY98" fmla="*/ 590064 h 1038862"/>
                <a:gd name="connsiteX99" fmla="*/ 1854206 w 2259925"/>
                <a:gd name="connsiteY99" fmla="*/ 606632 h 1038862"/>
                <a:gd name="connsiteX100" fmla="*/ 1840613 w 2259925"/>
                <a:gd name="connsiteY100" fmla="*/ 617677 h 1038862"/>
                <a:gd name="connsiteX101" fmla="*/ 1836534 w 2259925"/>
                <a:gd name="connsiteY101" fmla="*/ 617677 h 1038862"/>
                <a:gd name="connsiteX102" fmla="*/ 1779440 w 2259925"/>
                <a:gd name="connsiteY102" fmla="*/ 603871 h 1038862"/>
                <a:gd name="connsiteX103" fmla="*/ 1768565 w 2259925"/>
                <a:gd name="connsiteY103" fmla="*/ 585922 h 1038862"/>
                <a:gd name="connsiteX104" fmla="*/ 1786237 w 2259925"/>
                <a:gd name="connsiteY104" fmla="*/ 576258 h 1038862"/>
                <a:gd name="connsiteX105" fmla="*/ 2161884 w 2259925"/>
                <a:gd name="connsiteY105" fmla="*/ 536749 h 1038862"/>
                <a:gd name="connsiteX106" fmla="*/ 2172106 w 2259925"/>
                <a:gd name="connsiteY106" fmla="*/ 540687 h 1038862"/>
                <a:gd name="connsiteX107" fmla="*/ 2187353 w 2259925"/>
                <a:gd name="connsiteY107" fmla="*/ 553017 h 1038862"/>
                <a:gd name="connsiteX108" fmla="*/ 2190125 w 2259925"/>
                <a:gd name="connsiteY108" fmla="*/ 570826 h 1038862"/>
                <a:gd name="connsiteX109" fmla="*/ 2186633 w 2259925"/>
                <a:gd name="connsiteY109" fmla="*/ 577154 h 1038862"/>
                <a:gd name="connsiteX110" fmla="*/ 2196384 w 2259925"/>
                <a:gd name="connsiteY110" fmla="*/ 571875 h 1038862"/>
                <a:gd name="connsiteX111" fmla="*/ 2207181 w 2259925"/>
                <a:gd name="connsiteY111" fmla="*/ 574519 h 1038862"/>
                <a:gd name="connsiteX112" fmla="*/ 2253799 w 2259925"/>
                <a:gd name="connsiteY112" fmla="*/ 611547 h 1038862"/>
                <a:gd name="connsiteX113" fmla="*/ 2256542 w 2259925"/>
                <a:gd name="connsiteY113" fmla="*/ 630061 h 1038862"/>
                <a:gd name="connsiteX114" fmla="*/ 2245573 w 2259925"/>
                <a:gd name="connsiteY114" fmla="*/ 635350 h 1038862"/>
                <a:gd name="connsiteX115" fmla="*/ 2237346 w 2259925"/>
                <a:gd name="connsiteY115" fmla="*/ 632705 h 1038862"/>
                <a:gd name="connsiteX116" fmla="*/ 2189357 w 2259925"/>
                <a:gd name="connsiteY116" fmla="*/ 595678 h 1038862"/>
                <a:gd name="connsiteX117" fmla="*/ 2184386 w 2259925"/>
                <a:gd name="connsiteY117" fmla="*/ 586917 h 1038862"/>
                <a:gd name="connsiteX118" fmla="*/ 2186605 w 2259925"/>
                <a:gd name="connsiteY118" fmla="*/ 577204 h 1038862"/>
                <a:gd name="connsiteX119" fmla="*/ 2182848 w 2259925"/>
                <a:gd name="connsiteY119" fmla="*/ 584012 h 1038862"/>
                <a:gd name="connsiteX120" fmla="*/ 2181808 w 2259925"/>
                <a:gd name="connsiteY120" fmla="*/ 585896 h 1038862"/>
                <a:gd name="connsiteX121" fmla="*/ 2169334 w 2259925"/>
                <a:gd name="connsiteY121" fmla="*/ 594115 h 1038862"/>
                <a:gd name="connsiteX122" fmla="*/ 2162404 w 2259925"/>
                <a:gd name="connsiteY122" fmla="*/ 591375 h 1038862"/>
                <a:gd name="connsiteX123" fmla="*/ 2156859 w 2259925"/>
                <a:gd name="connsiteY123" fmla="*/ 572196 h 1038862"/>
                <a:gd name="connsiteX124" fmla="*/ 2159631 w 2259925"/>
                <a:gd name="connsiteY124" fmla="*/ 566716 h 1038862"/>
                <a:gd name="connsiteX125" fmla="*/ 2154087 w 2259925"/>
                <a:gd name="connsiteY125" fmla="*/ 561236 h 1038862"/>
                <a:gd name="connsiteX126" fmla="*/ 2152701 w 2259925"/>
                <a:gd name="connsiteY126" fmla="*/ 542057 h 1038862"/>
                <a:gd name="connsiteX127" fmla="*/ 2161884 w 2259925"/>
                <a:gd name="connsiteY127" fmla="*/ 536749 h 1038862"/>
                <a:gd name="connsiteX128" fmla="*/ 2000032 w 2259925"/>
                <a:gd name="connsiteY128" fmla="*/ 518887 h 1038862"/>
                <a:gd name="connsiteX129" fmla="*/ 2013736 w 2259925"/>
                <a:gd name="connsiteY129" fmla="*/ 522945 h 1038862"/>
                <a:gd name="connsiteX130" fmla="*/ 2024700 w 2259925"/>
                <a:gd name="connsiteY130" fmla="*/ 537822 h 1038862"/>
                <a:gd name="connsiteX131" fmla="*/ 2039774 w 2259925"/>
                <a:gd name="connsiteY131" fmla="*/ 531059 h 1038862"/>
                <a:gd name="connsiteX132" fmla="*/ 2052108 w 2259925"/>
                <a:gd name="connsiteY132" fmla="*/ 531059 h 1038862"/>
                <a:gd name="connsiteX133" fmla="*/ 2128851 w 2259925"/>
                <a:gd name="connsiteY133" fmla="*/ 570281 h 1038862"/>
                <a:gd name="connsiteX134" fmla="*/ 2132962 w 2259925"/>
                <a:gd name="connsiteY134" fmla="*/ 574339 h 1038862"/>
                <a:gd name="connsiteX135" fmla="*/ 2175445 w 2259925"/>
                <a:gd name="connsiteY135" fmla="*/ 628437 h 1038862"/>
                <a:gd name="connsiteX136" fmla="*/ 2174074 w 2259925"/>
                <a:gd name="connsiteY136" fmla="*/ 646019 h 1038862"/>
                <a:gd name="connsiteX137" fmla="*/ 2163111 w 2259925"/>
                <a:gd name="connsiteY137" fmla="*/ 650076 h 1038862"/>
                <a:gd name="connsiteX138" fmla="*/ 2156259 w 2259925"/>
                <a:gd name="connsiteY138" fmla="*/ 647371 h 1038862"/>
                <a:gd name="connsiteX139" fmla="*/ 2104183 w 2259925"/>
                <a:gd name="connsiteY139" fmla="*/ 613560 h 1038862"/>
                <a:gd name="connsiteX140" fmla="*/ 2093220 w 2259925"/>
                <a:gd name="connsiteY140" fmla="*/ 624380 h 1038862"/>
                <a:gd name="connsiteX141" fmla="*/ 2076775 w 2259925"/>
                <a:gd name="connsiteY141" fmla="*/ 627084 h 1038862"/>
                <a:gd name="connsiteX142" fmla="*/ 2038404 w 2259925"/>
                <a:gd name="connsiteY142" fmla="*/ 608150 h 1038862"/>
                <a:gd name="connsiteX143" fmla="*/ 2030181 w 2259925"/>
                <a:gd name="connsiteY143" fmla="*/ 593273 h 1038862"/>
                <a:gd name="connsiteX144" fmla="*/ 2031552 w 2259925"/>
                <a:gd name="connsiteY144" fmla="*/ 589216 h 1038862"/>
                <a:gd name="connsiteX145" fmla="*/ 1991810 w 2259925"/>
                <a:gd name="connsiteY145" fmla="*/ 572986 h 1038862"/>
                <a:gd name="connsiteX146" fmla="*/ 1983587 w 2259925"/>
                <a:gd name="connsiteY146" fmla="*/ 556756 h 1038862"/>
                <a:gd name="connsiteX147" fmla="*/ 1989069 w 2259925"/>
                <a:gd name="connsiteY147" fmla="*/ 529707 h 1038862"/>
                <a:gd name="connsiteX148" fmla="*/ 2000032 w 2259925"/>
                <a:gd name="connsiteY148" fmla="*/ 518887 h 1038862"/>
                <a:gd name="connsiteX149" fmla="*/ 1925562 w 2259925"/>
                <a:gd name="connsiteY149" fmla="*/ 502808 h 1038862"/>
                <a:gd name="connsiteX150" fmla="*/ 1947738 w 2259925"/>
                <a:gd name="connsiteY150" fmla="*/ 502808 h 1038862"/>
                <a:gd name="connsiteX151" fmla="*/ 1961599 w 2259925"/>
                <a:gd name="connsiteY151" fmla="*/ 516444 h 1038862"/>
                <a:gd name="connsiteX152" fmla="*/ 1947738 w 2259925"/>
                <a:gd name="connsiteY152" fmla="*/ 531444 h 1038862"/>
                <a:gd name="connsiteX153" fmla="*/ 1935264 w 2259925"/>
                <a:gd name="connsiteY153" fmla="*/ 531444 h 1038862"/>
                <a:gd name="connsiteX154" fmla="*/ 1920018 w 2259925"/>
                <a:gd name="connsiteY154" fmla="*/ 568261 h 1038862"/>
                <a:gd name="connsiteX155" fmla="*/ 1906157 w 2259925"/>
                <a:gd name="connsiteY155" fmla="*/ 576443 h 1038862"/>
                <a:gd name="connsiteX156" fmla="*/ 1900613 w 2259925"/>
                <a:gd name="connsiteY156" fmla="*/ 575080 h 1038862"/>
                <a:gd name="connsiteX157" fmla="*/ 1893683 w 2259925"/>
                <a:gd name="connsiteY157" fmla="*/ 557352 h 1038862"/>
                <a:gd name="connsiteX158" fmla="*/ 1911701 w 2259925"/>
                <a:gd name="connsiteY158" fmla="*/ 510989 h 1038862"/>
                <a:gd name="connsiteX159" fmla="*/ 1925562 w 2259925"/>
                <a:gd name="connsiteY159" fmla="*/ 502808 h 1038862"/>
                <a:gd name="connsiteX160" fmla="*/ 1690287 w 2259925"/>
                <a:gd name="connsiteY160" fmla="*/ 469187 h 1038862"/>
                <a:gd name="connsiteX161" fmla="*/ 1698783 w 2259925"/>
                <a:gd name="connsiteY161" fmla="*/ 472973 h 1038862"/>
                <a:gd name="connsiteX162" fmla="*/ 1757237 w 2259925"/>
                <a:gd name="connsiteY162" fmla="*/ 534922 h 1038862"/>
                <a:gd name="connsiteX163" fmla="*/ 1761315 w 2259925"/>
                <a:gd name="connsiteY163" fmla="*/ 547311 h 1038862"/>
                <a:gd name="connsiteX164" fmla="*/ 1754518 w 2259925"/>
                <a:gd name="connsiteY164" fmla="*/ 583104 h 1038862"/>
                <a:gd name="connsiteX165" fmla="*/ 1743643 w 2259925"/>
                <a:gd name="connsiteY165" fmla="*/ 594117 h 1038862"/>
                <a:gd name="connsiteX166" fmla="*/ 1740924 w 2259925"/>
                <a:gd name="connsiteY166" fmla="*/ 594117 h 1038862"/>
                <a:gd name="connsiteX167" fmla="*/ 1730049 w 2259925"/>
                <a:gd name="connsiteY167" fmla="*/ 589987 h 1038862"/>
                <a:gd name="connsiteX168" fmla="*/ 1713737 w 2259925"/>
                <a:gd name="connsiteY168" fmla="*/ 572091 h 1038862"/>
                <a:gd name="connsiteX169" fmla="*/ 1709659 w 2259925"/>
                <a:gd name="connsiteY169" fmla="*/ 566584 h 1038862"/>
                <a:gd name="connsiteX170" fmla="*/ 1697424 w 2259925"/>
                <a:gd name="connsiteY170" fmla="*/ 522532 h 1038862"/>
                <a:gd name="connsiteX171" fmla="*/ 1677033 w 2259925"/>
                <a:gd name="connsiteY171" fmla="*/ 490869 h 1038862"/>
                <a:gd name="connsiteX172" fmla="*/ 1679752 w 2259925"/>
                <a:gd name="connsiteY172" fmla="*/ 471596 h 1038862"/>
                <a:gd name="connsiteX173" fmla="*/ 1690287 w 2259925"/>
                <a:gd name="connsiteY173" fmla="*/ 469187 h 1038862"/>
                <a:gd name="connsiteX174" fmla="*/ 1876320 w 2259925"/>
                <a:gd name="connsiteY174" fmla="*/ 438012 h 1038862"/>
                <a:gd name="connsiteX175" fmla="*/ 1907467 w 2259925"/>
                <a:gd name="connsiteY175" fmla="*/ 468343 h 1038862"/>
                <a:gd name="connsiteX176" fmla="*/ 1910175 w 2259925"/>
                <a:gd name="connsiteY176" fmla="*/ 480751 h 1038862"/>
                <a:gd name="connsiteX177" fmla="*/ 1884445 w 2259925"/>
                <a:gd name="connsiteY177" fmla="*/ 557957 h 1038862"/>
                <a:gd name="connsiteX178" fmla="*/ 1870904 w 2259925"/>
                <a:gd name="connsiteY178" fmla="*/ 567607 h 1038862"/>
                <a:gd name="connsiteX179" fmla="*/ 1868195 w 2259925"/>
                <a:gd name="connsiteY179" fmla="*/ 567607 h 1038862"/>
                <a:gd name="connsiteX180" fmla="*/ 1815382 w 2259925"/>
                <a:gd name="connsiteY180" fmla="*/ 552442 h 1038862"/>
                <a:gd name="connsiteX181" fmla="*/ 1805903 w 2259925"/>
                <a:gd name="connsiteY181" fmla="*/ 544170 h 1038862"/>
                <a:gd name="connsiteX182" fmla="*/ 1795069 w 2259925"/>
                <a:gd name="connsiteY182" fmla="*/ 515218 h 1038862"/>
                <a:gd name="connsiteX183" fmla="*/ 1795069 w 2259925"/>
                <a:gd name="connsiteY183" fmla="*/ 504188 h 1038862"/>
                <a:gd name="connsiteX184" fmla="*/ 1803194 w 2259925"/>
                <a:gd name="connsiteY184" fmla="*/ 495916 h 1038862"/>
                <a:gd name="connsiteX185" fmla="*/ 1824861 w 2259925"/>
                <a:gd name="connsiteY185" fmla="*/ 487644 h 1038862"/>
                <a:gd name="connsiteX186" fmla="*/ 1843820 w 2259925"/>
                <a:gd name="connsiteY186" fmla="*/ 465585 h 1038862"/>
                <a:gd name="connsiteX187" fmla="*/ 1876320 w 2259925"/>
                <a:gd name="connsiteY187" fmla="*/ 438012 h 1038862"/>
                <a:gd name="connsiteX188" fmla="*/ 2043368 w 2259925"/>
                <a:gd name="connsiteY188" fmla="*/ 420340 h 1038862"/>
                <a:gd name="connsiteX189" fmla="*/ 2058796 w 2259925"/>
                <a:gd name="connsiteY189" fmla="*/ 433934 h 1038862"/>
                <a:gd name="connsiteX190" fmla="*/ 2058796 w 2259925"/>
                <a:gd name="connsiteY190" fmla="*/ 442090 h 1038862"/>
                <a:gd name="connsiteX191" fmla="*/ 2043368 w 2259925"/>
                <a:gd name="connsiteY191" fmla="*/ 455684 h 1038862"/>
                <a:gd name="connsiteX192" fmla="*/ 2029343 w 2259925"/>
                <a:gd name="connsiteY192" fmla="*/ 442090 h 1038862"/>
                <a:gd name="connsiteX193" fmla="*/ 2029343 w 2259925"/>
                <a:gd name="connsiteY193" fmla="*/ 433934 h 1038862"/>
                <a:gd name="connsiteX194" fmla="*/ 2043368 w 2259925"/>
                <a:gd name="connsiteY194" fmla="*/ 420340 h 1038862"/>
                <a:gd name="connsiteX195" fmla="*/ 1953568 w 2259925"/>
                <a:gd name="connsiteY195" fmla="*/ 411331 h 1038862"/>
                <a:gd name="connsiteX196" fmla="*/ 1969633 w 2259925"/>
                <a:gd name="connsiteY196" fmla="*/ 412717 h 1038862"/>
                <a:gd name="connsiteX197" fmla="*/ 1974988 w 2259925"/>
                <a:gd name="connsiteY197" fmla="*/ 427963 h 1038862"/>
                <a:gd name="connsiteX198" fmla="*/ 1962939 w 2259925"/>
                <a:gd name="connsiteY198" fmla="*/ 469545 h 1038862"/>
                <a:gd name="connsiteX199" fmla="*/ 1952229 w 2259925"/>
                <a:gd name="connsiteY199" fmla="*/ 479247 h 1038862"/>
                <a:gd name="connsiteX200" fmla="*/ 1949551 w 2259925"/>
                <a:gd name="connsiteY200" fmla="*/ 479247 h 1038862"/>
                <a:gd name="connsiteX201" fmla="*/ 1938841 w 2259925"/>
                <a:gd name="connsiteY201" fmla="*/ 475089 h 1038862"/>
                <a:gd name="connsiteX202" fmla="*/ 1921437 w 2259925"/>
                <a:gd name="connsiteY202" fmla="*/ 454298 h 1038862"/>
                <a:gd name="connsiteX203" fmla="*/ 1917420 w 2259925"/>
                <a:gd name="connsiteY203" fmla="*/ 443210 h 1038862"/>
                <a:gd name="connsiteX204" fmla="*/ 1924114 w 2259925"/>
                <a:gd name="connsiteY204" fmla="*/ 432121 h 1038862"/>
                <a:gd name="connsiteX205" fmla="*/ 1953568 w 2259925"/>
                <a:gd name="connsiteY205" fmla="*/ 411331 h 1038862"/>
                <a:gd name="connsiteX206" fmla="*/ 1905534 w 2259925"/>
                <a:gd name="connsiteY206" fmla="*/ 398157 h 1038862"/>
                <a:gd name="connsiteX207" fmla="*/ 1916407 w 2259925"/>
                <a:gd name="connsiteY207" fmla="*/ 400919 h 1038862"/>
                <a:gd name="connsiteX208" fmla="*/ 1917788 w 2259925"/>
                <a:gd name="connsiteY208" fmla="*/ 421629 h 1038862"/>
                <a:gd name="connsiteX209" fmla="*/ 1906742 w 2259925"/>
                <a:gd name="connsiteY209" fmla="*/ 435435 h 1038862"/>
                <a:gd name="connsiteX210" fmla="*/ 1895697 w 2259925"/>
                <a:gd name="connsiteY210" fmla="*/ 440958 h 1038862"/>
                <a:gd name="connsiteX211" fmla="*/ 1887413 w 2259925"/>
                <a:gd name="connsiteY211" fmla="*/ 436816 h 1038862"/>
                <a:gd name="connsiteX212" fmla="*/ 1884652 w 2259925"/>
                <a:gd name="connsiteY212" fmla="*/ 417487 h 1038862"/>
                <a:gd name="connsiteX213" fmla="*/ 1895697 w 2259925"/>
                <a:gd name="connsiteY213" fmla="*/ 403680 h 1038862"/>
                <a:gd name="connsiteX214" fmla="*/ 1905534 w 2259925"/>
                <a:gd name="connsiteY214" fmla="*/ 398157 h 1038862"/>
                <a:gd name="connsiteX215" fmla="*/ 225483 w 2259925"/>
                <a:gd name="connsiteY215" fmla="*/ 352344 h 1038862"/>
                <a:gd name="connsiteX216" fmla="*/ 242501 w 2259925"/>
                <a:gd name="connsiteY216" fmla="*/ 361769 h 1038862"/>
                <a:gd name="connsiteX217" fmla="*/ 249046 w 2259925"/>
                <a:gd name="connsiteY217" fmla="*/ 379273 h 1038862"/>
                <a:gd name="connsiteX218" fmla="*/ 239883 w 2259925"/>
                <a:gd name="connsiteY218" fmla="*/ 396777 h 1038862"/>
                <a:gd name="connsiteX219" fmla="*/ 235956 w 2259925"/>
                <a:gd name="connsiteY219" fmla="*/ 396777 h 1038862"/>
                <a:gd name="connsiteX220" fmla="*/ 222865 w 2259925"/>
                <a:gd name="connsiteY220" fmla="*/ 387352 h 1038862"/>
                <a:gd name="connsiteX221" fmla="*/ 217629 w 2259925"/>
                <a:gd name="connsiteY221" fmla="*/ 369848 h 1038862"/>
                <a:gd name="connsiteX222" fmla="*/ 225483 w 2259925"/>
                <a:gd name="connsiteY222" fmla="*/ 352344 h 1038862"/>
                <a:gd name="connsiteX223" fmla="*/ 161487 w 2259925"/>
                <a:gd name="connsiteY223" fmla="*/ 315725 h 1038862"/>
                <a:gd name="connsiteX224" fmla="*/ 209019 w 2259925"/>
                <a:gd name="connsiteY224" fmla="*/ 322816 h 1038862"/>
                <a:gd name="connsiteX225" fmla="*/ 219582 w 2259925"/>
                <a:gd name="connsiteY225" fmla="*/ 339834 h 1038862"/>
                <a:gd name="connsiteX226" fmla="*/ 206378 w 2259925"/>
                <a:gd name="connsiteY226" fmla="*/ 352597 h 1038862"/>
                <a:gd name="connsiteX227" fmla="*/ 205058 w 2259925"/>
                <a:gd name="connsiteY227" fmla="*/ 352597 h 1038862"/>
                <a:gd name="connsiteX228" fmla="*/ 157526 w 2259925"/>
                <a:gd name="connsiteY228" fmla="*/ 344088 h 1038862"/>
                <a:gd name="connsiteX229" fmla="*/ 145643 w 2259925"/>
                <a:gd name="connsiteY229" fmla="*/ 328489 h 1038862"/>
                <a:gd name="connsiteX230" fmla="*/ 161487 w 2259925"/>
                <a:gd name="connsiteY230" fmla="*/ 315725 h 1038862"/>
                <a:gd name="connsiteX231" fmla="*/ 13723 w 2259925"/>
                <a:gd name="connsiteY231" fmla="*/ 287800 h 1038862"/>
                <a:gd name="connsiteX232" fmla="*/ 56263 w 2259925"/>
                <a:gd name="connsiteY232" fmla="*/ 287800 h 1038862"/>
                <a:gd name="connsiteX233" fmla="*/ 63124 w 2259925"/>
                <a:gd name="connsiteY233" fmla="*/ 289165 h 1038862"/>
                <a:gd name="connsiteX234" fmla="*/ 82336 w 2259925"/>
                <a:gd name="connsiteY234" fmla="*/ 300085 h 1038862"/>
                <a:gd name="connsiteX235" fmla="*/ 111154 w 2259925"/>
                <a:gd name="connsiteY235" fmla="*/ 311004 h 1038862"/>
                <a:gd name="connsiteX236" fmla="*/ 119388 w 2259925"/>
                <a:gd name="connsiteY236" fmla="*/ 326018 h 1038862"/>
                <a:gd name="connsiteX237" fmla="*/ 107037 w 2259925"/>
                <a:gd name="connsiteY237" fmla="*/ 338303 h 1038862"/>
                <a:gd name="connsiteX238" fmla="*/ 53519 w 2259925"/>
                <a:gd name="connsiteY238" fmla="*/ 343762 h 1038862"/>
                <a:gd name="connsiteX239" fmla="*/ 52146 w 2259925"/>
                <a:gd name="connsiteY239" fmla="*/ 343762 h 1038862"/>
                <a:gd name="connsiteX240" fmla="*/ 38424 w 2259925"/>
                <a:gd name="connsiteY240" fmla="*/ 331478 h 1038862"/>
                <a:gd name="connsiteX241" fmla="*/ 50774 w 2259925"/>
                <a:gd name="connsiteY241" fmla="*/ 316464 h 1038862"/>
                <a:gd name="connsiteX242" fmla="*/ 53519 w 2259925"/>
                <a:gd name="connsiteY242" fmla="*/ 316464 h 1038862"/>
                <a:gd name="connsiteX243" fmla="*/ 52146 w 2259925"/>
                <a:gd name="connsiteY243" fmla="*/ 315099 h 1038862"/>
                <a:gd name="connsiteX244" fmla="*/ 13723 w 2259925"/>
                <a:gd name="connsiteY244" fmla="*/ 315099 h 1038862"/>
                <a:gd name="connsiteX245" fmla="*/ 0 w 2259925"/>
                <a:gd name="connsiteY245" fmla="*/ 301450 h 1038862"/>
                <a:gd name="connsiteX246" fmla="*/ 13723 w 2259925"/>
                <a:gd name="connsiteY246" fmla="*/ 287800 h 1038862"/>
                <a:gd name="connsiteX247" fmla="*/ 2026643 w 2259925"/>
                <a:gd name="connsiteY247" fmla="*/ 116970 h 1038862"/>
                <a:gd name="connsiteX248" fmla="*/ 2037770 w 2259925"/>
                <a:gd name="connsiteY248" fmla="*/ 125232 h 1038862"/>
                <a:gd name="connsiteX249" fmla="*/ 2054460 w 2259925"/>
                <a:gd name="connsiteY249" fmla="*/ 155527 h 1038862"/>
                <a:gd name="connsiteX250" fmla="*/ 2055851 w 2259925"/>
                <a:gd name="connsiteY250" fmla="*/ 161035 h 1038862"/>
                <a:gd name="connsiteX251" fmla="*/ 2030816 w 2259925"/>
                <a:gd name="connsiteY251" fmla="*/ 203724 h 1038862"/>
                <a:gd name="connsiteX252" fmla="*/ 1975181 w 2259925"/>
                <a:gd name="connsiteY252" fmla="*/ 223002 h 1038862"/>
                <a:gd name="connsiteX253" fmla="*/ 1971009 w 2259925"/>
                <a:gd name="connsiteY253" fmla="*/ 223002 h 1038862"/>
                <a:gd name="connsiteX254" fmla="*/ 1958491 w 2259925"/>
                <a:gd name="connsiteY254" fmla="*/ 217494 h 1038862"/>
                <a:gd name="connsiteX255" fmla="*/ 1959882 w 2259925"/>
                <a:gd name="connsiteY255" fmla="*/ 200970 h 1038862"/>
                <a:gd name="connsiteX256" fmla="*/ 1986308 w 2259925"/>
                <a:gd name="connsiteY256" fmla="*/ 169298 h 1038862"/>
                <a:gd name="connsiteX257" fmla="*/ 2012734 w 2259925"/>
                <a:gd name="connsiteY257" fmla="*/ 123855 h 1038862"/>
                <a:gd name="connsiteX258" fmla="*/ 2026643 w 2259925"/>
                <a:gd name="connsiteY258" fmla="*/ 116970 h 1038862"/>
                <a:gd name="connsiteX259" fmla="*/ 1998723 w 2259925"/>
                <a:gd name="connsiteY259" fmla="*/ 59433 h 1038862"/>
                <a:gd name="connsiteX260" fmla="*/ 2043182 w 2259925"/>
                <a:gd name="connsiteY260" fmla="*/ 74502 h 1038862"/>
                <a:gd name="connsiteX261" fmla="*/ 2052907 w 2259925"/>
                <a:gd name="connsiteY261" fmla="*/ 86831 h 1038862"/>
                <a:gd name="connsiteX262" fmla="*/ 2043182 w 2259925"/>
                <a:gd name="connsiteY262" fmla="*/ 100531 h 1038862"/>
                <a:gd name="connsiteX263" fmla="*/ 2009838 w 2259925"/>
                <a:gd name="connsiteY263" fmla="*/ 115600 h 1038862"/>
                <a:gd name="connsiteX264" fmla="*/ 2004280 w 2259925"/>
                <a:gd name="connsiteY264" fmla="*/ 116970 h 1038862"/>
                <a:gd name="connsiteX265" fmla="*/ 1998723 w 2259925"/>
                <a:gd name="connsiteY265" fmla="*/ 115600 h 1038862"/>
                <a:gd name="connsiteX266" fmla="*/ 1990387 w 2259925"/>
                <a:gd name="connsiteY266" fmla="*/ 106010 h 1038862"/>
                <a:gd name="connsiteX267" fmla="*/ 1980661 w 2259925"/>
                <a:gd name="connsiteY267" fmla="*/ 77242 h 1038862"/>
                <a:gd name="connsiteX268" fmla="*/ 1984829 w 2259925"/>
                <a:gd name="connsiteY268" fmla="*/ 63542 h 1038862"/>
                <a:gd name="connsiteX269" fmla="*/ 1998723 w 2259925"/>
                <a:gd name="connsiteY269" fmla="*/ 59433 h 1038862"/>
                <a:gd name="connsiteX270" fmla="*/ 365788 w 2259925"/>
                <a:gd name="connsiteY270" fmla="*/ 1938 h 1038862"/>
                <a:gd name="connsiteX271" fmla="*/ 371303 w 2259925"/>
                <a:gd name="connsiteY271" fmla="*/ 20020 h 1038862"/>
                <a:gd name="connsiteX272" fmla="*/ 365788 w 2259925"/>
                <a:gd name="connsiteY272" fmla="*/ 31147 h 1038862"/>
                <a:gd name="connsiteX273" fmla="*/ 371303 w 2259925"/>
                <a:gd name="connsiteY273" fmla="*/ 42274 h 1038862"/>
                <a:gd name="connsiteX274" fmla="*/ 371303 w 2259925"/>
                <a:gd name="connsiteY274" fmla="*/ 49228 h 1038862"/>
                <a:gd name="connsiteX275" fmla="*/ 312019 w 2259925"/>
                <a:gd name="connsiteY275" fmla="*/ 49228 h 1038862"/>
                <a:gd name="connsiteX276" fmla="*/ 310641 w 2259925"/>
                <a:gd name="connsiteY276" fmla="*/ 45056 h 1038862"/>
                <a:gd name="connsiteX277" fmla="*/ 316155 w 2259925"/>
                <a:gd name="connsiteY277" fmla="*/ 29756 h 1038862"/>
                <a:gd name="connsiteX278" fmla="*/ 349244 w 2259925"/>
                <a:gd name="connsiteY278" fmla="*/ 3329 h 1038862"/>
                <a:gd name="connsiteX279" fmla="*/ 365788 w 2259925"/>
                <a:gd name="connsiteY279" fmla="*/ 1938 h 103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2259925" h="1038862">
                  <a:moveTo>
                    <a:pt x="1974262" y="960697"/>
                  </a:moveTo>
                  <a:cubicBezTo>
                    <a:pt x="1976913" y="962056"/>
                    <a:pt x="1987516" y="962056"/>
                    <a:pt x="1995469" y="963415"/>
                  </a:cubicBezTo>
                  <a:cubicBezTo>
                    <a:pt x="2000770" y="963415"/>
                    <a:pt x="2004747" y="967494"/>
                    <a:pt x="2006072" y="972931"/>
                  </a:cubicBezTo>
                  <a:cubicBezTo>
                    <a:pt x="2008723" y="978369"/>
                    <a:pt x="2007397" y="983806"/>
                    <a:pt x="2003421" y="987884"/>
                  </a:cubicBezTo>
                  <a:cubicBezTo>
                    <a:pt x="1983540" y="1008275"/>
                    <a:pt x="1983540" y="1008275"/>
                    <a:pt x="1983540" y="1008275"/>
                  </a:cubicBezTo>
                  <a:cubicBezTo>
                    <a:pt x="1980889" y="1010994"/>
                    <a:pt x="1976913" y="1012353"/>
                    <a:pt x="1972937" y="1012353"/>
                  </a:cubicBezTo>
                  <a:cubicBezTo>
                    <a:pt x="1971612" y="1012353"/>
                    <a:pt x="1970286" y="1012353"/>
                    <a:pt x="1968961" y="1010994"/>
                  </a:cubicBezTo>
                  <a:cubicBezTo>
                    <a:pt x="1964985" y="1009634"/>
                    <a:pt x="1961008" y="1005556"/>
                    <a:pt x="1959683" y="1000119"/>
                  </a:cubicBezTo>
                  <a:cubicBezTo>
                    <a:pt x="1955707" y="977009"/>
                    <a:pt x="1955707" y="977009"/>
                    <a:pt x="1955707" y="977009"/>
                  </a:cubicBezTo>
                  <a:cubicBezTo>
                    <a:pt x="1955707" y="971572"/>
                    <a:pt x="1957032" y="966134"/>
                    <a:pt x="1961008" y="963415"/>
                  </a:cubicBezTo>
                  <a:cubicBezTo>
                    <a:pt x="1964985" y="960697"/>
                    <a:pt x="1970286" y="959337"/>
                    <a:pt x="1974262" y="960697"/>
                  </a:cubicBezTo>
                  <a:close/>
                  <a:moveTo>
                    <a:pt x="2161818" y="954802"/>
                  </a:moveTo>
                  <a:cubicBezTo>
                    <a:pt x="2165852" y="956158"/>
                    <a:pt x="2168541" y="958869"/>
                    <a:pt x="2169886" y="962937"/>
                  </a:cubicBezTo>
                  <a:cubicBezTo>
                    <a:pt x="2173920" y="979207"/>
                    <a:pt x="2173920" y="979207"/>
                    <a:pt x="2173920" y="979207"/>
                  </a:cubicBezTo>
                  <a:cubicBezTo>
                    <a:pt x="2176609" y="984630"/>
                    <a:pt x="2173920" y="992765"/>
                    <a:pt x="2167197" y="995476"/>
                  </a:cubicBezTo>
                  <a:cubicBezTo>
                    <a:pt x="2074419" y="1037506"/>
                    <a:pt x="2074419" y="1037506"/>
                    <a:pt x="2074419" y="1037506"/>
                  </a:cubicBezTo>
                  <a:cubicBezTo>
                    <a:pt x="2073074" y="1038862"/>
                    <a:pt x="2070385" y="1038862"/>
                    <a:pt x="2069040" y="1038862"/>
                  </a:cubicBezTo>
                  <a:cubicBezTo>
                    <a:pt x="2063662" y="1038862"/>
                    <a:pt x="2059628" y="1036151"/>
                    <a:pt x="2056939" y="1032083"/>
                  </a:cubicBezTo>
                  <a:cubicBezTo>
                    <a:pt x="2052905" y="1025304"/>
                    <a:pt x="2055594" y="1017169"/>
                    <a:pt x="2060973" y="1013102"/>
                  </a:cubicBezTo>
                  <a:cubicBezTo>
                    <a:pt x="2149717" y="956158"/>
                    <a:pt x="2149717" y="956158"/>
                    <a:pt x="2149717" y="956158"/>
                  </a:cubicBezTo>
                  <a:cubicBezTo>
                    <a:pt x="2152406" y="953446"/>
                    <a:pt x="2157785" y="953446"/>
                    <a:pt x="2161818" y="954802"/>
                  </a:cubicBezTo>
                  <a:close/>
                  <a:moveTo>
                    <a:pt x="2226681" y="892949"/>
                  </a:moveTo>
                  <a:cubicBezTo>
                    <a:pt x="2232036" y="892949"/>
                    <a:pt x="2237392" y="897016"/>
                    <a:pt x="2238730" y="902439"/>
                  </a:cubicBezTo>
                  <a:cubicBezTo>
                    <a:pt x="2242747" y="917353"/>
                    <a:pt x="2242747" y="917353"/>
                    <a:pt x="2242747" y="917353"/>
                  </a:cubicBezTo>
                  <a:cubicBezTo>
                    <a:pt x="2248102" y="917353"/>
                    <a:pt x="2252119" y="921421"/>
                    <a:pt x="2254796" y="926844"/>
                  </a:cubicBezTo>
                  <a:cubicBezTo>
                    <a:pt x="2256135" y="932267"/>
                    <a:pt x="2254796" y="939046"/>
                    <a:pt x="2249441" y="943114"/>
                  </a:cubicBezTo>
                  <a:cubicBezTo>
                    <a:pt x="2205260" y="974298"/>
                    <a:pt x="2205260" y="974298"/>
                    <a:pt x="2205260" y="974298"/>
                  </a:cubicBezTo>
                  <a:cubicBezTo>
                    <a:pt x="2202582" y="975653"/>
                    <a:pt x="2199905" y="977009"/>
                    <a:pt x="2197227" y="977009"/>
                  </a:cubicBezTo>
                  <a:cubicBezTo>
                    <a:pt x="2194549" y="977009"/>
                    <a:pt x="2190533" y="975653"/>
                    <a:pt x="2189194" y="974298"/>
                  </a:cubicBezTo>
                  <a:cubicBezTo>
                    <a:pt x="2183839" y="970230"/>
                    <a:pt x="2182500" y="963451"/>
                    <a:pt x="2185178" y="956672"/>
                  </a:cubicBezTo>
                  <a:cubicBezTo>
                    <a:pt x="2213293" y="899728"/>
                    <a:pt x="2213293" y="899728"/>
                    <a:pt x="2213293" y="899728"/>
                  </a:cubicBezTo>
                  <a:cubicBezTo>
                    <a:pt x="2214632" y="894304"/>
                    <a:pt x="2221326" y="891593"/>
                    <a:pt x="2226681" y="892949"/>
                  </a:cubicBezTo>
                  <a:close/>
                  <a:moveTo>
                    <a:pt x="1932483" y="653021"/>
                  </a:moveTo>
                  <a:cubicBezTo>
                    <a:pt x="1984111" y="657093"/>
                    <a:pt x="1984111" y="657093"/>
                    <a:pt x="1984111" y="657093"/>
                  </a:cubicBezTo>
                  <a:cubicBezTo>
                    <a:pt x="1988187" y="658450"/>
                    <a:pt x="1992263" y="659807"/>
                    <a:pt x="1993621" y="663879"/>
                  </a:cubicBezTo>
                  <a:cubicBezTo>
                    <a:pt x="1996338" y="667951"/>
                    <a:pt x="1997697" y="672023"/>
                    <a:pt x="1996338" y="676095"/>
                  </a:cubicBezTo>
                  <a:cubicBezTo>
                    <a:pt x="1992263" y="685596"/>
                    <a:pt x="1992263" y="685596"/>
                    <a:pt x="1992263" y="685596"/>
                  </a:cubicBezTo>
                  <a:cubicBezTo>
                    <a:pt x="2011283" y="692382"/>
                    <a:pt x="2011283" y="692382"/>
                    <a:pt x="2011283" y="692382"/>
                  </a:cubicBezTo>
                  <a:cubicBezTo>
                    <a:pt x="2028946" y="659807"/>
                    <a:pt x="2028946" y="659807"/>
                    <a:pt x="2028946" y="659807"/>
                  </a:cubicBezTo>
                  <a:cubicBezTo>
                    <a:pt x="2031663" y="655735"/>
                    <a:pt x="2035739" y="654378"/>
                    <a:pt x="2039815" y="653021"/>
                  </a:cubicBezTo>
                  <a:cubicBezTo>
                    <a:pt x="2043890" y="653021"/>
                    <a:pt x="2047966" y="653021"/>
                    <a:pt x="2050684" y="657093"/>
                  </a:cubicBezTo>
                  <a:cubicBezTo>
                    <a:pt x="2073780" y="677452"/>
                    <a:pt x="2073780" y="677452"/>
                    <a:pt x="2073780" y="677452"/>
                  </a:cubicBezTo>
                  <a:cubicBezTo>
                    <a:pt x="2076498" y="678809"/>
                    <a:pt x="2077856" y="681524"/>
                    <a:pt x="2079215" y="684239"/>
                  </a:cubicBezTo>
                  <a:cubicBezTo>
                    <a:pt x="2088725" y="734459"/>
                    <a:pt x="2088725" y="734459"/>
                    <a:pt x="2088725" y="734459"/>
                  </a:cubicBezTo>
                  <a:cubicBezTo>
                    <a:pt x="2125408" y="791465"/>
                    <a:pt x="2125408" y="791465"/>
                    <a:pt x="2125408" y="791465"/>
                  </a:cubicBezTo>
                  <a:cubicBezTo>
                    <a:pt x="2128126" y="795537"/>
                    <a:pt x="2129484" y="800966"/>
                    <a:pt x="2126767" y="806396"/>
                  </a:cubicBezTo>
                  <a:cubicBezTo>
                    <a:pt x="2087367" y="883762"/>
                    <a:pt x="2087367" y="883762"/>
                    <a:pt x="2087367" y="883762"/>
                  </a:cubicBezTo>
                  <a:cubicBezTo>
                    <a:pt x="2086008" y="885119"/>
                    <a:pt x="2084649" y="886476"/>
                    <a:pt x="2083291" y="887834"/>
                  </a:cubicBezTo>
                  <a:cubicBezTo>
                    <a:pt x="2034380" y="929910"/>
                    <a:pt x="2034380" y="929910"/>
                    <a:pt x="2034380" y="929910"/>
                  </a:cubicBezTo>
                  <a:cubicBezTo>
                    <a:pt x="2033021" y="931268"/>
                    <a:pt x="2031663" y="931268"/>
                    <a:pt x="2028946" y="932625"/>
                  </a:cubicBezTo>
                  <a:cubicBezTo>
                    <a:pt x="1982752" y="947555"/>
                    <a:pt x="1982752" y="947555"/>
                    <a:pt x="1982752" y="947555"/>
                  </a:cubicBezTo>
                  <a:cubicBezTo>
                    <a:pt x="1981394" y="947555"/>
                    <a:pt x="1980035" y="947555"/>
                    <a:pt x="1978676" y="947555"/>
                  </a:cubicBezTo>
                  <a:cubicBezTo>
                    <a:pt x="1977318" y="947555"/>
                    <a:pt x="1974600" y="947555"/>
                    <a:pt x="1973242" y="946198"/>
                  </a:cubicBezTo>
                  <a:cubicBezTo>
                    <a:pt x="1946069" y="935340"/>
                    <a:pt x="1935200" y="928553"/>
                    <a:pt x="1933841" y="919052"/>
                  </a:cubicBezTo>
                  <a:cubicBezTo>
                    <a:pt x="1931124" y="914980"/>
                    <a:pt x="1924331" y="902764"/>
                    <a:pt x="1917538" y="891905"/>
                  </a:cubicBezTo>
                  <a:cubicBezTo>
                    <a:pt x="1883572" y="864759"/>
                    <a:pt x="1883572" y="864759"/>
                    <a:pt x="1883572" y="864759"/>
                  </a:cubicBezTo>
                  <a:cubicBezTo>
                    <a:pt x="1814282" y="900050"/>
                    <a:pt x="1814282" y="900050"/>
                    <a:pt x="1814282" y="900050"/>
                  </a:cubicBezTo>
                  <a:cubicBezTo>
                    <a:pt x="1812923" y="901407"/>
                    <a:pt x="1811565" y="901407"/>
                    <a:pt x="1808847" y="901407"/>
                  </a:cubicBezTo>
                  <a:cubicBezTo>
                    <a:pt x="1740916" y="905479"/>
                    <a:pt x="1740916" y="905479"/>
                    <a:pt x="1740916" y="905479"/>
                  </a:cubicBezTo>
                  <a:cubicBezTo>
                    <a:pt x="1735481" y="905479"/>
                    <a:pt x="1731405" y="902764"/>
                    <a:pt x="1728688" y="898692"/>
                  </a:cubicBezTo>
                  <a:cubicBezTo>
                    <a:pt x="1725971" y="894621"/>
                    <a:pt x="1725971" y="889191"/>
                    <a:pt x="1727330" y="885119"/>
                  </a:cubicBezTo>
                  <a:cubicBezTo>
                    <a:pt x="1736840" y="867474"/>
                    <a:pt x="1736840" y="867474"/>
                    <a:pt x="1736840" y="867474"/>
                  </a:cubicBezTo>
                  <a:cubicBezTo>
                    <a:pt x="1743633" y="762962"/>
                    <a:pt x="1743633" y="762962"/>
                    <a:pt x="1743633" y="762962"/>
                  </a:cubicBezTo>
                  <a:cubicBezTo>
                    <a:pt x="1743633" y="756176"/>
                    <a:pt x="1747709" y="752104"/>
                    <a:pt x="1754502" y="750746"/>
                  </a:cubicBezTo>
                  <a:cubicBezTo>
                    <a:pt x="1810206" y="735816"/>
                    <a:pt x="1810206" y="735816"/>
                    <a:pt x="1810206" y="735816"/>
                  </a:cubicBezTo>
                  <a:cubicBezTo>
                    <a:pt x="1827868" y="716814"/>
                    <a:pt x="1827868" y="716814"/>
                    <a:pt x="1827868" y="716814"/>
                  </a:cubicBezTo>
                  <a:cubicBezTo>
                    <a:pt x="1827868" y="716814"/>
                    <a:pt x="1827868" y="715457"/>
                    <a:pt x="1829227" y="715457"/>
                  </a:cubicBezTo>
                  <a:cubicBezTo>
                    <a:pt x="1882213" y="676095"/>
                    <a:pt x="1882213" y="676095"/>
                    <a:pt x="1882213" y="676095"/>
                  </a:cubicBezTo>
                  <a:cubicBezTo>
                    <a:pt x="1886289" y="672023"/>
                    <a:pt x="1891724" y="672023"/>
                    <a:pt x="1897158" y="674738"/>
                  </a:cubicBezTo>
                  <a:cubicBezTo>
                    <a:pt x="1909386" y="681524"/>
                    <a:pt x="1909386" y="681524"/>
                    <a:pt x="1909386" y="681524"/>
                  </a:cubicBezTo>
                  <a:cubicBezTo>
                    <a:pt x="1917538" y="661165"/>
                    <a:pt x="1917538" y="661165"/>
                    <a:pt x="1917538" y="661165"/>
                  </a:cubicBezTo>
                  <a:cubicBezTo>
                    <a:pt x="1920255" y="655735"/>
                    <a:pt x="1925689" y="653021"/>
                    <a:pt x="1932483" y="653021"/>
                  </a:cubicBezTo>
                  <a:close/>
                  <a:moveTo>
                    <a:pt x="1240163" y="639645"/>
                  </a:moveTo>
                  <a:cubicBezTo>
                    <a:pt x="1245456" y="640995"/>
                    <a:pt x="1248103" y="645045"/>
                    <a:pt x="1249426" y="650445"/>
                  </a:cubicBezTo>
                  <a:cubicBezTo>
                    <a:pt x="1254719" y="677444"/>
                    <a:pt x="1254719" y="677444"/>
                    <a:pt x="1254719" y="677444"/>
                  </a:cubicBezTo>
                  <a:cubicBezTo>
                    <a:pt x="1254719" y="680144"/>
                    <a:pt x="1254719" y="681494"/>
                    <a:pt x="1253396" y="684194"/>
                  </a:cubicBezTo>
                  <a:cubicBezTo>
                    <a:pt x="1220314" y="790841"/>
                    <a:pt x="1220314" y="790841"/>
                    <a:pt x="1220314" y="790841"/>
                  </a:cubicBezTo>
                  <a:cubicBezTo>
                    <a:pt x="1218990" y="794890"/>
                    <a:pt x="1216344" y="798940"/>
                    <a:pt x="1212374" y="800290"/>
                  </a:cubicBezTo>
                  <a:cubicBezTo>
                    <a:pt x="1209727" y="800290"/>
                    <a:pt x="1208404" y="800290"/>
                    <a:pt x="1207081" y="800290"/>
                  </a:cubicBezTo>
                  <a:cubicBezTo>
                    <a:pt x="1204434" y="800290"/>
                    <a:pt x="1201788" y="800290"/>
                    <a:pt x="1200464" y="798940"/>
                  </a:cubicBezTo>
                  <a:cubicBezTo>
                    <a:pt x="1171352" y="780041"/>
                    <a:pt x="1171352" y="780041"/>
                    <a:pt x="1171352" y="780041"/>
                  </a:cubicBezTo>
                  <a:cubicBezTo>
                    <a:pt x="1166059" y="777341"/>
                    <a:pt x="1163412" y="769241"/>
                    <a:pt x="1167382" y="762491"/>
                  </a:cubicBezTo>
                  <a:cubicBezTo>
                    <a:pt x="1173998" y="747642"/>
                    <a:pt x="1173998" y="747642"/>
                    <a:pt x="1173998" y="747642"/>
                  </a:cubicBezTo>
                  <a:cubicBezTo>
                    <a:pt x="1177968" y="708493"/>
                    <a:pt x="1177968" y="708493"/>
                    <a:pt x="1177968" y="708493"/>
                  </a:cubicBezTo>
                  <a:cubicBezTo>
                    <a:pt x="1177968" y="707143"/>
                    <a:pt x="1179292" y="704443"/>
                    <a:pt x="1180615" y="703093"/>
                  </a:cubicBezTo>
                  <a:cubicBezTo>
                    <a:pt x="1193848" y="681494"/>
                    <a:pt x="1193848" y="681494"/>
                    <a:pt x="1193848" y="681494"/>
                  </a:cubicBezTo>
                  <a:cubicBezTo>
                    <a:pt x="1195171" y="680144"/>
                    <a:pt x="1195171" y="680144"/>
                    <a:pt x="1195171" y="680144"/>
                  </a:cubicBezTo>
                  <a:cubicBezTo>
                    <a:pt x="1225607" y="643695"/>
                    <a:pt x="1225607" y="643695"/>
                    <a:pt x="1225607" y="643695"/>
                  </a:cubicBezTo>
                  <a:cubicBezTo>
                    <a:pt x="1229577" y="639645"/>
                    <a:pt x="1234870" y="638295"/>
                    <a:pt x="1240163" y="639645"/>
                  </a:cubicBezTo>
                  <a:close/>
                  <a:moveTo>
                    <a:pt x="1873160" y="595523"/>
                  </a:moveTo>
                  <a:cubicBezTo>
                    <a:pt x="1892106" y="598340"/>
                    <a:pt x="1892106" y="598340"/>
                    <a:pt x="1892106" y="598340"/>
                  </a:cubicBezTo>
                  <a:cubicBezTo>
                    <a:pt x="1900226" y="598340"/>
                    <a:pt x="1905639" y="606793"/>
                    <a:pt x="1904286" y="613836"/>
                  </a:cubicBezTo>
                  <a:cubicBezTo>
                    <a:pt x="1904286" y="620879"/>
                    <a:pt x="1897519" y="626514"/>
                    <a:pt x="1890753" y="626514"/>
                  </a:cubicBezTo>
                  <a:cubicBezTo>
                    <a:pt x="1890753" y="626514"/>
                    <a:pt x="1889399" y="626514"/>
                    <a:pt x="1889399" y="626514"/>
                  </a:cubicBezTo>
                  <a:cubicBezTo>
                    <a:pt x="1869100" y="623697"/>
                    <a:pt x="1869100" y="623697"/>
                    <a:pt x="1869100" y="623697"/>
                  </a:cubicBezTo>
                  <a:cubicBezTo>
                    <a:pt x="1860980" y="622288"/>
                    <a:pt x="1855567" y="615245"/>
                    <a:pt x="1856920" y="608201"/>
                  </a:cubicBezTo>
                  <a:cubicBezTo>
                    <a:pt x="1858273" y="599749"/>
                    <a:pt x="1865040" y="594114"/>
                    <a:pt x="1873160" y="595523"/>
                  </a:cubicBezTo>
                  <a:close/>
                  <a:moveTo>
                    <a:pt x="1786237" y="576258"/>
                  </a:moveTo>
                  <a:cubicBezTo>
                    <a:pt x="1843331" y="590064"/>
                    <a:pt x="1843331" y="590064"/>
                    <a:pt x="1843331" y="590064"/>
                  </a:cubicBezTo>
                  <a:cubicBezTo>
                    <a:pt x="1851488" y="591445"/>
                    <a:pt x="1855566" y="599729"/>
                    <a:pt x="1854206" y="606632"/>
                  </a:cubicBezTo>
                  <a:cubicBezTo>
                    <a:pt x="1852847" y="613535"/>
                    <a:pt x="1846050" y="617677"/>
                    <a:pt x="1840613" y="617677"/>
                  </a:cubicBezTo>
                  <a:cubicBezTo>
                    <a:pt x="1839253" y="617677"/>
                    <a:pt x="1837894" y="617677"/>
                    <a:pt x="1836534" y="617677"/>
                  </a:cubicBezTo>
                  <a:cubicBezTo>
                    <a:pt x="1779440" y="603871"/>
                    <a:pt x="1779440" y="603871"/>
                    <a:pt x="1779440" y="603871"/>
                  </a:cubicBezTo>
                  <a:cubicBezTo>
                    <a:pt x="1771284" y="601109"/>
                    <a:pt x="1767206" y="594206"/>
                    <a:pt x="1768565" y="585922"/>
                  </a:cubicBezTo>
                  <a:cubicBezTo>
                    <a:pt x="1771284" y="579019"/>
                    <a:pt x="1778081" y="573496"/>
                    <a:pt x="1786237" y="576258"/>
                  </a:cubicBezTo>
                  <a:close/>
                  <a:moveTo>
                    <a:pt x="2161884" y="536749"/>
                  </a:moveTo>
                  <a:cubicBezTo>
                    <a:pt x="2165522" y="536578"/>
                    <a:pt x="2169334" y="537948"/>
                    <a:pt x="2172106" y="540687"/>
                  </a:cubicBezTo>
                  <a:cubicBezTo>
                    <a:pt x="2187353" y="553017"/>
                    <a:pt x="2187353" y="553017"/>
                    <a:pt x="2187353" y="553017"/>
                  </a:cubicBezTo>
                  <a:cubicBezTo>
                    <a:pt x="2192897" y="557127"/>
                    <a:pt x="2194283" y="563976"/>
                    <a:pt x="2190125" y="570826"/>
                  </a:cubicBezTo>
                  <a:lnTo>
                    <a:pt x="2186633" y="577154"/>
                  </a:lnTo>
                  <a:lnTo>
                    <a:pt x="2196384" y="571875"/>
                  </a:lnTo>
                  <a:cubicBezTo>
                    <a:pt x="2199983" y="571544"/>
                    <a:pt x="2203753" y="572536"/>
                    <a:pt x="2207181" y="574519"/>
                  </a:cubicBezTo>
                  <a:cubicBezTo>
                    <a:pt x="2253799" y="611547"/>
                    <a:pt x="2253799" y="611547"/>
                    <a:pt x="2253799" y="611547"/>
                  </a:cubicBezTo>
                  <a:cubicBezTo>
                    <a:pt x="2260655" y="615514"/>
                    <a:pt x="2262026" y="624771"/>
                    <a:pt x="2256542" y="630061"/>
                  </a:cubicBezTo>
                  <a:cubicBezTo>
                    <a:pt x="2253799" y="634028"/>
                    <a:pt x="2249686" y="635350"/>
                    <a:pt x="2245573" y="635350"/>
                  </a:cubicBezTo>
                  <a:cubicBezTo>
                    <a:pt x="2242830" y="635350"/>
                    <a:pt x="2240088" y="634028"/>
                    <a:pt x="2237346" y="632705"/>
                  </a:cubicBezTo>
                  <a:cubicBezTo>
                    <a:pt x="2189357" y="595678"/>
                    <a:pt x="2189357" y="595678"/>
                    <a:pt x="2189357" y="595678"/>
                  </a:cubicBezTo>
                  <a:cubicBezTo>
                    <a:pt x="2186614" y="593695"/>
                    <a:pt x="2184900" y="590388"/>
                    <a:pt x="2184386" y="586917"/>
                  </a:cubicBezTo>
                  <a:lnTo>
                    <a:pt x="2186605" y="577204"/>
                  </a:lnTo>
                  <a:lnTo>
                    <a:pt x="2182848" y="584012"/>
                  </a:lnTo>
                  <a:cubicBezTo>
                    <a:pt x="2181808" y="585896"/>
                    <a:pt x="2181808" y="585896"/>
                    <a:pt x="2181808" y="585896"/>
                  </a:cubicBezTo>
                  <a:cubicBezTo>
                    <a:pt x="2179036" y="591375"/>
                    <a:pt x="2173492" y="594115"/>
                    <a:pt x="2169334" y="594115"/>
                  </a:cubicBezTo>
                  <a:cubicBezTo>
                    <a:pt x="2166562" y="594115"/>
                    <a:pt x="2163790" y="592745"/>
                    <a:pt x="2162404" y="591375"/>
                  </a:cubicBezTo>
                  <a:cubicBezTo>
                    <a:pt x="2155473" y="588636"/>
                    <a:pt x="2152701" y="579046"/>
                    <a:pt x="2156859" y="572196"/>
                  </a:cubicBezTo>
                  <a:cubicBezTo>
                    <a:pt x="2159631" y="566716"/>
                    <a:pt x="2159631" y="566716"/>
                    <a:pt x="2159631" y="566716"/>
                  </a:cubicBezTo>
                  <a:cubicBezTo>
                    <a:pt x="2154087" y="561236"/>
                    <a:pt x="2154087" y="561236"/>
                    <a:pt x="2154087" y="561236"/>
                  </a:cubicBezTo>
                  <a:cubicBezTo>
                    <a:pt x="2147157" y="555757"/>
                    <a:pt x="2147157" y="547537"/>
                    <a:pt x="2152701" y="542057"/>
                  </a:cubicBezTo>
                  <a:cubicBezTo>
                    <a:pt x="2154780" y="538633"/>
                    <a:pt x="2158245" y="536920"/>
                    <a:pt x="2161884" y="536749"/>
                  </a:cubicBezTo>
                  <a:close/>
                  <a:moveTo>
                    <a:pt x="2000032" y="518887"/>
                  </a:moveTo>
                  <a:cubicBezTo>
                    <a:pt x="2005514" y="517535"/>
                    <a:pt x="2010995" y="518887"/>
                    <a:pt x="2013736" y="522945"/>
                  </a:cubicBezTo>
                  <a:cubicBezTo>
                    <a:pt x="2024700" y="537822"/>
                    <a:pt x="2024700" y="537822"/>
                    <a:pt x="2024700" y="537822"/>
                  </a:cubicBezTo>
                  <a:cubicBezTo>
                    <a:pt x="2039774" y="531059"/>
                    <a:pt x="2039774" y="531059"/>
                    <a:pt x="2039774" y="531059"/>
                  </a:cubicBezTo>
                  <a:cubicBezTo>
                    <a:pt x="2043885" y="529707"/>
                    <a:pt x="2047997" y="529707"/>
                    <a:pt x="2052108" y="531059"/>
                  </a:cubicBezTo>
                  <a:cubicBezTo>
                    <a:pt x="2128851" y="570281"/>
                    <a:pt x="2128851" y="570281"/>
                    <a:pt x="2128851" y="570281"/>
                  </a:cubicBezTo>
                  <a:cubicBezTo>
                    <a:pt x="2130221" y="570281"/>
                    <a:pt x="2131592" y="571634"/>
                    <a:pt x="2132962" y="574339"/>
                  </a:cubicBezTo>
                  <a:cubicBezTo>
                    <a:pt x="2175445" y="628437"/>
                    <a:pt x="2175445" y="628437"/>
                    <a:pt x="2175445" y="628437"/>
                  </a:cubicBezTo>
                  <a:cubicBezTo>
                    <a:pt x="2179556" y="633847"/>
                    <a:pt x="2178185" y="640609"/>
                    <a:pt x="2174074" y="646019"/>
                  </a:cubicBezTo>
                  <a:cubicBezTo>
                    <a:pt x="2171333" y="648724"/>
                    <a:pt x="2167222" y="650076"/>
                    <a:pt x="2163111" y="650076"/>
                  </a:cubicBezTo>
                  <a:cubicBezTo>
                    <a:pt x="2160370" y="650076"/>
                    <a:pt x="2157629" y="650076"/>
                    <a:pt x="2156259" y="647371"/>
                  </a:cubicBezTo>
                  <a:cubicBezTo>
                    <a:pt x="2104183" y="613560"/>
                    <a:pt x="2104183" y="613560"/>
                    <a:pt x="2104183" y="613560"/>
                  </a:cubicBezTo>
                  <a:cubicBezTo>
                    <a:pt x="2093220" y="624380"/>
                    <a:pt x="2093220" y="624380"/>
                    <a:pt x="2093220" y="624380"/>
                  </a:cubicBezTo>
                  <a:cubicBezTo>
                    <a:pt x="2089109" y="628437"/>
                    <a:pt x="2082257" y="629789"/>
                    <a:pt x="2076775" y="627084"/>
                  </a:cubicBezTo>
                  <a:cubicBezTo>
                    <a:pt x="2038404" y="608150"/>
                    <a:pt x="2038404" y="608150"/>
                    <a:pt x="2038404" y="608150"/>
                  </a:cubicBezTo>
                  <a:cubicBezTo>
                    <a:pt x="2032922" y="605445"/>
                    <a:pt x="2028811" y="598683"/>
                    <a:pt x="2030181" y="593273"/>
                  </a:cubicBezTo>
                  <a:cubicBezTo>
                    <a:pt x="2031552" y="589216"/>
                    <a:pt x="2031552" y="589216"/>
                    <a:pt x="2031552" y="589216"/>
                  </a:cubicBezTo>
                  <a:cubicBezTo>
                    <a:pt x="1991810" y="572986"/>
                    <a:pt x="1991810" y="572986"/>
                    <a:pt x="1991810" y="572986"/>
                  </a:cubicBezTo>
                  <a:cubicBezTo>
                    <a:pt x="1984958" y="570281"/>
                    <a:pt x="1982217" y="563518"/>
                    <a:pt x="1983587" y="556756"/>
                  </a:cubicBezTo>
                  <a:cubicBezTo>
                    <a:pt x="1989069" y="529707"/>
                    <a:pt x="1989069" y="529707"/>
                    <a:pt x="1989069" y="529707"/>
                  </a:cubicBezTo>
                  <a:cubicBezTo>
                    <a:pt x="1990439" y="524297"/>
                    <a:pt x="1994551" y="520240"/>
                    <a:pt x="2000032" y="518887"/>
                  </a:cubicBezTo>
                  <a:close/>
                  <a:moveTo>
                    <a:pt x="1925562" y="502808"/>
                  </a:moveTo>
                  <a:cubicBezTo>
                    <a:pt x="1947738" y="502808"/>
                    <a:pt x="1947738" y="502808"/>
                    <a:pt x="1947738" y="502808"/>
                  </a:cubicBezTo>
                  <a:cubicBezTo>
                    <a:pt x="1954669" y="502808"/>
                    <a:pt x="1961599" y="509626"/>
                    <a:pt x="1961599" y="516444"/>
                  </a:cubicBezTo>
                  <a:cubicBezTo>
                    <a:pt x="1961599" y="524626"/>
                    <a:pt x="1954669" y="531444"/>
                    <a:pt x="1947738" y="531444"/>
                  </a:cubicBezTo>
                  <a:cubicBezTo>
                    <a:pt x="1935264" y="531444"/>
                    <a:pt x="1935264" y="531444"/>
                    <a:pt x="1935264" y="531444"/>
                  </a:cubicBezTo>
                  <a:cubicBezTo>
                    <a:pt x="1920018" y="568261"/>
                    <a:pt x="1920018" y="568261"/>
                    <a:pt x="1920018" y="568261"/>
                  </a:cubicBezTo>
                  <a:cubicBezTo>
                    <a:pt x="1917246" y="573716"/>
                    <a:pt x="1911701" y="576443"/>
                    <a:pt x="1906157" y="576443"/>
                  </a:cubicBezTo>
                  <a:cubicBezTo>
                    <a:pt x="1904771" y="576443"/>
                    <a:pt x="1903385" y="576443"/>
                    <a:pt x="1900613" y="575080"/>
                  </a:cubicBezTo>
                  <a:cubicBezTo>
                    <a:pt x="1893683" y="572352"/>
                    <a:pt x="1890911" y="564170"/>
                    <a:pt x="1893683" y="557352"/>
                  </a:cubicBezTo>
                  <a:cubicBezTo>
                    <a:pt x="1911701" y="510989"/>
                    <a:pt x="1911701" y="510989"/>
                    <a:pt x="1911701" y="510989"/>
                  </a:cubicBezTo>
                  <a:cubicBezTo>
                    <a:pt x="1914474" y="506899"/>
                    <a:pt x="1920018" y="502808"/>
                    <a:pt x="1925562" y="502808"/>
                  </a:cubicBezTo>
                  <a:close/>
                  <a:moveTo>
                    <a:pt x="1690287" y="469187"/>
                  </a:moveTo>
                  <a:cubicBezTo>
                    <a:pt x="1693686" y="469531"/>
                    <a:pt x="1696744" y="470908"/>
                    <a:pt x="1698783" y="472973"/>
                  </a:cubicBezTo>
                  <a:cubicBezTo>
                    <a:pt x="1757237" y="534922"/>
                    <a:pt x="1757237" y="534922"/>
                    <a:pt x="1757237" y="534922"/>
                  </a:cubicBezTo>
                  <a:cubicBezTo>
                    <a:pt x="1759956" y="539052"/>
                    <a:pt x="1761315" y="543182"/>
                    <a:pt x="1761315" y="547311"/>
                  </a:cubicBezTo>
                  <a:cubicBezTo>
                    <a:pt x="1754518" y="583104"/>
                    <a:pt x="1754518" y="583104"/>
                    <a:pt x="1754518" y="583104"/>
                  </a:cubicBezTo>
                  <a:cubicBezTo>
                    <a:pt x="1753159" y="588611"/>
                    <a:pt x="1749081" y="592741"/>
                    <a:pt x="1743643" y="594117"/>
                  </a:cubicBezTo>
                  <a:cubicBezTo>
                    <a:pt x="1742284" y="594117"/>
                    <a:pt x="1740924" y="594117"/>
                    <a:pt x="1740924" y="594117"/>
                  </a:cubicBezTo>
                  <a:cubicBezTo>
                    <a:pt x="1736846" y="594117"/>
                    <a:pt x="1732768" y="592741"/>
                    <a:pt x="1730049" y="589987"/>
                  </a:cubicBezTo>
                  <a:cubicBezTo>
                    <a:pt x="1713737" y="572091"/>
                    <a:pt x="1713737" y="572091"/>
                    <a:pt x="1713737" y="572091"/>
                  </a:cubicBezTo>
                  <a:cubicBezTo>
                    <a:pt x="1712377" y="570714"/>
                    <a:pt x="1711018" y="569338"/>
                    <a:pt x="1709659" y="566584"/>
                  </a:cubicBezTo>
                  <a:cubicBezTo>
                    <a:pt x="1705580" y="551441"/>
                    <a:pt x="1698783" y="528038"/>
                    <a:pt x="1697424" y="522532"/>
                  </a:cubicBezTo>
                  <a:cubicBezTo>
                    <a:pt x="1694705" y="518402"/>
                    <a:pt x="1685190" y="503259"/>
                    <a:pt x="1677033" y="490869"/>
                  </a:cubicBezTo>
                  <a:cubicBezTo>
                    <a:pt x="1672955" y="485363"/>
                    <a:pt x="1674315" y="477103"/>
                    <a:pt x="1679752" y="471596"/>
                  </a:cubicBezTo>
                  <a:cubicBezTo>
                    <a:pt x="1683151" y="469531"/>
                    <a:pt x="1686889" y="468843"/>
                    <a:pt x="1690287" y="469187"/>
                  </a:cubicBezTo>
                  <a:close/>
                  <a:moveTo>
                    <a:pt x="1876320" y="438012"/>
                  </a:moveTo>
                  <a:cubicBezTo>
                    <a:pt x="1883091" y="438012"/>
                    <a:pt x="1887154" y="439390"/>
                    <a:pt x="1907467" y="468343"/>
                  </a:cubicBezTo>
                  <a:cubicBezTo>
                    <a:pt x="1910175" y="471100"/>
                    <a:pt x="1911529" y="476615"/>
                    <a:pt x="1910175" y="480751"/>
                  </a:cubicBezTo>
                  <a:cubicBezTo>
                    <a:pt x="1884445" y="557957"/>
                    <a:pt x="1884445" y="557957"/>
                    <a:pt x="1884445" y="557957"/>
                  </a:cubicBezTo>
                  <a:cubicBezTo>
                    <a:pt x="1883091" y="563471"/>
                    <a:pt x="1877675" y="567607"/>
                    <a:pt x="1870904" y="567607"/>
                  </a:cubicBezTo>
                  <a:cubicBezTo>
                    <a:pt x="1870904" y="567607"/>
                    <a:pt x="1869549" y="567607"/>
                    <a:pt x="1868195" y="567607"/>
                  </a:cubicBezTo>
                  <a:cubicBezTo>
                    <a:pt x="1815382" y="552442"/>
                    <a:pt x="1815382" y="552442"/>
                    <a:pt x="1815382" y="552442"/>
                  </a:cubicBezTo>
                  <a:cubicBezTo>
                    <a:pt x="1809965" y="552442"/>
                    <a:pt x="1807257" y="548306"/>
                    <a:pt x="1805903" y="544170"/>
                  </a:cubicBezTo>
                  <a:cubicBezTo>
                    <a:pt x="1795069" y="515218"/>
                    <a:pt x="1795069" y="515218"/>
                    <a:pt x="1795069" y="515218"/>
                  </a:cubicBezTo>
                  <a:cubicBezTo>
                    <a:pt x="1793715" y="511082"/>
                    <a:pt x="1793715" y="506946"/>
                    <a:pt x="1795069" y="504188"/>
                  </a:cubicBezTo>
                  <a:cubicBezTo>
                    <a:pt x="1796423" y="500052"/>
                    <a:pt x="1799132" y="497295"/>
                    <a:pt x="1803194" y="495916"/>
                  </a:cubicBezTo>
                  <a:cubicBezTo>
                    <a:pt x="1811320" y="493159"/>
                    <a:pt x="1820799" y="490402"/>
                    <a:pt x="1824861" y="487644"/>
                  </a:cubicBezTo>
                  <a:cubicBezTo>
                    <a:pt x="1828924" y="482130"/>
                    <a:pt x="1838403" y="471100"/>
                    <a:pt x="1843820" y="465585"/>
                  </a:cubicBezTo>
                  <a:cubicBezTo>
                    <a:pt x="1865487" y="439390"/>
                    <a:pt x="1869549" y="438012"/>
                    <a:pt x="1876320" y="438012"/>
                  </a:cubicBezTo>
                  <a:close/>
                  <a:moveTo>
                    <a:pt x="2043368" y="420340"/>
                  </a:moveTo>
                  <a:cubicBezTo>
                    <a:pt x="2051784" y="420340"/>
                    <a:pt x="2058796" y="427137"/>
                    <a:pt x="2058796" y="433934"/>
                  </a:cubicBezTo>
                  <a:cubicBezTo>
                    <a:pt x="2058796" y="442090"/>
                    <a:pt x="2058796" y="442090"/>
                    <a:pt x="2058796" y="442090"/>
                  </a:cubicBezTo>
                  <a:cubicBezTo>
                    <a:pt x="2058796" y="450246"/>
                    <a:pt x="2051784" y="455684"/>
                    <a:pt x="2043368" y="455684"/>
                  </a:cubicBezTo>
                  <a:cubicBezTo>
                    <a:pt x="2036356" y="455684"/>
                    <a:pt x="2029343" y="450246"/>
                    <a:pt x="2029343" y="442090"/>
                  </a:cubicBezTo>
                  <a:cubicBezTo>
                    <a:pt x="2029343" y="433934"/>
                    <a:pt x="2029343" y="433934"/>
                    <a:pt x="2029343" y="433934"/>
                  </a:cubicBezTo>
                  <a:cubicBezTo>
                    <a:pt x="2029343" y="427137"/>
                    <a:pt x="2036356" y="420340"/>
                    <a:pt x="2043368" y="420340"/>
                  </a:cubicBezTo>
                  <a:close/>
                  <a:moveTo>
                    <a:pt x="1953568" y="411331"/>
                  </a:moveTo>
                  <a:cubicBezTo>
                    <a:pt x="1958923" y="408559"/>
                    <a:pt x="1964278" y="408559"/>
                    <a:pt x="1969633" y="412717"/>
                  </a:cubicBezTo>
                  <a:cubicBezTo>
                    <a:pt x="1973650" y="415489"/>
                    <a:pt x="1976327" y="422419"/>
                    <a:pt x="1974988" y="427963"/>
                  </a:cubicBezTo>
                  <a:cubicBezTo>
                    <a:pt x="1962939" y="469545"/>
                    <a:pt x="1962939" y="469545"/>
                    <a:pt x="1962939" y="469545"/>
                  </a:cubicBezTo>
                  <a:cubicBezTo>
                    <a:pt x="1961600" y="473703"/>
                    <a:pt x="1957584" y="477861"/>
                    <a:pt x="1952229" y="479247"/>
                  </a:cubicBezTo>
                  <a:cubicBezTo>
                    <a:pt x="1952229" y="479247"/>
                    <a:pt x="1950890" y="479247"/>
                    <a:pt x="1949551" y="479247"/>
                  </a:cubicBezTo>
                  <a:cubicBezTo>
                    <a:pt x="1945535" y="479247"/>
                    <a:pt x="1941518" y="477861"/>
                    <a:pt x="1938841" y="475089"/>
                  </a:cubicBezTo>
                  <a:cubicBezTo>
                    <a:pt x="1921437" y="454298"/>
                    <a:pt x="1921437" y="454298"/>
                    <a:pt x="1921437" y="454298"/>
                  </a:cubicBezTo>
                  <a:cubicBezTo>
                    <a:pt x="1918759" y="451526"/>
                    <a:pt x="1917420" y="447368"/>
                    <a:pt x="1917420" y="443210"/>
                  </a:cubicBezTo>
                  <a:cubicBezTo>
                    <a:pt x="1918759" y="439052"/>
                    <a:pt x="1920098" y="434893"/>
                    <a:pt x="1924114" y="432121"/>
                  </a:cubicBezTo>
                  <a:cubicBezTo>
                    <a:pt x="1953568" y="411331"/>
                    <a:pt x="1953568" y="411331"/>
                    <a:pt x="1953568" y="411331"/>
                  </a:cubicBezTo>
                  <a:close/>
                  <a:moveTo>
                    <a:pt x="1905534" y="398157"/>
                  </a:moveTo>
                  <a:cubicBezTo>
                    <a:pt x="1909158" y="397812"/>
                    <a:pt x="1912955" y="398848"/>
                    <a:pt x="1916407" y="400919"/>
                  </a:cubicBezTo>
                  <a:cubicBezTo>
                    <a:pt x="1921929" y="406441"/>
                    <a:pt x="1923310" y="414725"/>
                    <a:pt x="1917788" y="421629"/>
                  </a:cubicBezTo>
                  <a:cubicBezTo>
                    <a:pt x="1906742" y="435435"/>
                    <a:pt x="1906742" y="435435"/>
                    <a:pt x="1906742" y="435435"/>
                  </a:cubicBezTo>
                  <a:cubicBezTo>
                    <a:pt x="1903981" y="438196"/>
                    <a:pt x="1899839" y="440958"/>
                    <a:pt x="1895697" y="440958"/>
                  </a:cubicBezTo>
                  <a:cubicBezTo>
                    <a:pt x="1892936" y="440958"/>
                    <a:pt x="1888794" y="439577"/>
                    <a:pt x="1887413" y="436816"/>
                  </a:cubicBezTo>
                  <a:cubicBezTo>
                    <a:pt x="1880510" y="432674"/>
                    <a:pt x="1879129" y="423009"/>
                    <a:pt x="1884652" y="417487"/>
                  </a:cubicBezTo>
                  <a:cubicBezTo>
                    <a:pt x="1895697" y="403680"/>
                    <a:pt x="1895697" y="403680"/>
                    <a:pt x="1895697" y="403680"/>
                  </a:cubicBezTo>
                  <a:cubicBezTo>
                    <a:pt x="1898458" y="400229"/>
                    <a:pt x="1901910" y="398503"/>
                    <a:pt x="1905534" y="398157"/>
                  </a:cubicBezTo>
                  <a:close/>
                  <a:moveTo>
                    <a:pt x="225483" y="352344"/>
                  </a:moveTo>
                  <a:cubicBezTo>
                    <a:pt x="233337" y="349651"/>
                    <a:pt x="239883" y="353691"/>
                    <a:pt x="242501" y="361769"/>
                  </a:cubicBezTo>
                  <a:cubicBezTo>
                    <a:pt x="249046" y="379273"/>
                    <a:pt x="249046" y="379273"/>
                    <a:pt x="249046" y="379273"/>
                  </a:cubicBezTo>
                  <a:cubicBezTo>
                    <a:pt x="250355" y="386006"/>
                    <a:pt x="246428" y="394084"/>
                    <a:pt x="239883" y="396777"/>
                  </a:cubicBezTo>
                  <a:cubicBezTo>
                    <a:pt x="238574" y="396777"/>
                    <a:pt x="237265" y="396777"/>
                    <a:pt x="235956" y="396777"/>
                  </a:cubicBezTo>
                  <a:cubicBezTo>
                    <a:pt x="229410" y="396777"/>
                    <a:pt x="224174" y="394084"/>
                    <a:pt x="222865" y="387352"/>
                  </a:cubicBezTo>
                  <a:cubicBezTo>
                    <a:pt x="217629" y="369848"/>
                    <a:pt x="217629" y="369848"/>
                    <a:pt x="217629" y="369848"/>
                  </a:cubicBezTo>
                  <a:cubicBezTo>
                    <a:pt x="215011" y="363116"/>
                    <a:pt x="218938" y="355037"/>
                    <a:pt x="225483" y="352344"/>
                  </a:cubicBezTo>
                  <a:close/>
                  <a:moveTo>
                    <a:pt x="161487" y="315725"/>
                  </a:moveTo>
                  <a:cubicBezTo>
                    <a:pt x="209019" y="322816"/>
                    <a:pt x="209019" y="322816"/>
                    <a:pt x="209019" y="322816"/>
                  </a:cubicBezTo>
                  <a:cubicBezTo>
                    <a:pt x="215621" y="324234"/>
                    <a:pt x="220902" y="331325"/>
                    <a:pt x="219582" y="339834"/>
                  </a:cubicBezTo>
                  <a:cubicBezTo>
                    <a:pt x="219582" y="346925"/>
                    <a:pt x="212980" y="352597"/>
                    <a:pt x="206378" y="352597"/>
                  </a:cubicBezTo>
                  <a:cubicBezTo>
                    <a:pt x="206378" y="352597"/>
                    <a:pt x="205058" y="352597"/>
                    <a:pt x="205058" y="352597"/>
                  </a:cubicBezTo>
                  <a:cubicBezTo>
                    <a:pt x="157526" y="344088"/>
                    <a:pt x="157526" y="344088"/>
                    <a:pt x="157526" y="344088"/>
                  </a:cubicBezTo>
                  <a:cubicBezTo>
                    <a:pt x="149604" y="344088"/>
                    <a:pt x="144323" y="335579"/>
                    <a:pt x="145643" y="328489"/>
                  </a:cubicBezTo>
                  <a:cubicBezTo>
                    <a:pt x="146964" y="319980"/>
                    <a:pt x="153565" y="314307"/>
                    <a:pt x="161487" y="315725"/>
                  </a:cubicBezTo>
                  <a:close/>
                  <a:moveTo>
                    <a:pt x="13723" y="287800"/>
                  </a:moveTo>
                  <a:cubicBezTo>
                    <a:pt x="56263" y="287800"/>
                    <a:pt x="56263" y="287800"/>
                    <a:pt x="56263" y="287800"/>
                  </a:cubicBezTo>
                  <a:cubicBezTo>
                    <a:pt x="57635" y="287800"/>
                    <a:pt x="60380" y="287800"/>
                    <a:pt x="63124" y="289165"/>
                  </a:cubicBezTo>
                  <a:cubicBezTo>
                    <a:pt x="82336" y="300085"/>
                    <a:pt x="82336" y="300085"/>
                    <a:pt x="82336" y="300085"/>
                  </a:cubicBezTo>
                  <a:cubicBezTo>
                    <a:pt x="111154" y="311004"/>
                    <a:pt x="111154" y="311004"/>
                    <a:pt x="111154" y="311004"/>
                  </a:cubicBezTo>
                  <a:cubicBezTo>
                    <a:pt x="116643" y="313734"/>
                    <a:pt x="120760" y="320558"/>
                    <a:pt x="119388" y="326018"/>
                  </a:cubicBezTo>
                  <a:cubicBezTo>
                    <a:pt x="118015" y="332843"/>
                    <a:pt x="113899" y="338303"/>
                    <a:pt x="107037" y="338303"/>
                  </a:cubicBezTo>
                  <a:cubicBezTo>
                    <a:pt x="53519" y="343762"/>
                    <a:pt x="53519" y="343762"/>
                    <a:pt x="53519" y="343762"/>
                  </a:cubicBezTo>
                  <a:cubicBezTo>
                    <a:pt x="53519" y="343762"/>
                    <a:pt x="52146" y="343762"/>
                    <a:pt x="52146" y="343762"/>
                  </a:cubicBezTo>
                  <a:cubicBezTo>
                    <a:pt x="45285" y="343762"/>
                    <a:pt x="38424" y="339667"/>
                    <a:pt x="38424" y="331478"/>
                  </a:cubicBezTo>
                  <a:cubicBezTo>
                    <a:pt x="37051" y="324653"/>
                    <a:pt x="42540" y="317829"/>
                    <a:pt x="50774" y="316464"/>
                  </a:cubicBezTo>
                  <a:cubicBezTo>
                    <a:pt x="53519" y="316464"/>
                    <a:pt x="53519" y="316464"/>
                    <a:pt x="53519" y="316464"/>
                  </a:cubicBezTo>
                  <a:cubicBezTo>
                    <a:pt x="52146" y="315099"/>
                    <a:pt x="52146" y="315099"/>
                    <a:pt x="52146" y="315099"/>
                  </a:cubicBezTo>
                  <a:cubicBezTo>
                    <a:pt x="13723" y="315099"/>
                    <a:pt x="13723" y="315099"/>
                    <a:pt x="13723" y="315099"/>
                  </a:cubicBezTo>
                  <a:cubicBezTo>
                    <a:pt x="5489" y="315099"/>
                    <a:pt x="0" y="309639"/>
                    <a:pt x="0" y="301450"/>
                  </a:cubicBezTo>
                  <a:cubicBezTo>
                    <a:pt x="0" y="293260"/>
                    <a:pt x="5489" y="287800"/>
                    <a:pt x="13723" y="287800"/>
                  </a:cubicBezTo>
                  <a:close/>
                  <a:moveTo>
                    <a:pt x="2026643" y="116970"/>
                  </a:moveTo>
                  <a:cubicBezTo>
                    <a:pt x="2030816" y="116970"/>
                    <a:pt x="2036379" y="119724"/>
                    <a:pt x="2037770" y="125232"/>
                  </a:cubicBezTo>
                  <a:cubicBezTo>
                    <a:pt x="2054460" y="155527"/>
                    <a:pt x="2054460" y="155527"/>
                    <a:pt x="2054460" y="155527"/>
                  </a:cubicBezTo>
                  <a:cubicBezTo>
                    <a:pt x="2054460" y="156904"/>
                    <a:pt x="2055851" y="159658"/>
                    <a:pt x="2055851" y="161035"/>
                  </a:cubicBezTo>
                  <a:cubicBezTo>
                    <a:pt x="2055851" y="165167"/>
                    <a:pt x="2054460" y="194084"/>
                    <a:pt x="2030816" y="203724"/>
                  </a:cubicBezTo>
                  <a:cubicBezTo>
                    <a:pt x="2015516" y="210609"/>
                    <a:pt x="1976572" y="223002"/>
                    <a:pt x="1975181" y="223002"/>
                  </a:cubicBezTo>
                  <a:cubicBezTo>
                    <a:pt x="1973790" y="223002"/>
                    <a:pt x="1972399" y="223002"/>
                    <a:pt x="1971009" y="223002"/>
                  </a:cubicBezTo>
                  <a:cubicBezTo>
                    <a:pt x="1966836" y="223002"/>
                    <a:pt x="1961273" y="221625"/>
                    <a:pt x="1958491" y="217494"/>
                  </a:cubicBezTo>
                  <a:cubicBezTo>
                    <a:pt x="1955709" y="211986"/>
                    <a:pt x="1955709" y="205101"/>
                    <a:pt x="1959882" y="200970"/>
                  </a:cubicBezTo>
                  <a:cubicBezTo>
                    <a:pt x="1986308" y="169298"/>
                    <a:pt x="1986308" y="169298"/>
                    <a:pt x="1986308" y="169298"/>
                  </a:cubicBezTo>
                  <a:cubicBezTo>
                    <a:pt x="2012734" y="123855"/>
                    <a:pt x="2012734" y="123855"/>
                    <a:pt x="2012734" y="123855"/>
                  </a:cubicBezTo>
                  <a:cubicBezTo>
                    <a:pt x="2015516" y="119724"/>
                    <a:pt x="2021080" y="116970"/>
                    <a:pt x="2026643" y="116970"/>
                  </a:cubicBezTo>
                  <a:close/>
                  <a:moveTo>
                    <a:pt x="1998723" y="59433"/>
                  </a:moveTo>
                  <a:cubicBezTo>
                    <a:pt x="2043182" y="74502"/>
                    <a:pt x="2043182" y="74502"/>
                    <a:pt x="2043182" y="74502"/>
                  </a:cubicBezTo>
                  <a:cubicBezTo>
                    <a:pt x="2048739" y="75872"/>
                    <a:pt x="2051518" y="81352"/>
                    <a:pt x="2052907" y="86831"/>
                  </a:cubicBezTo>
                  <a:cubicBezTo>
                    <a:pt x="2052907" y="93681"/>
                    <a:pt x="2048739" y="97791"/>
                    <a:pt x="2043182" y="100531"/>
                  </a:cubicBezTo>
                  <a:cubicBezTo>
                    <a:pt x="2009838" y="115600"/>
                    <a:pt x="2009838" y="115600"/>
                    <a:pt x="2009838" y="115600"/>
                  </a:cubicBezTo>
                  <a:cubicBezTo>
                    <a:pt x="2008448" y="115600"/>
                    <a:pt x="2005670" y="116970"/>
                    <a:pt x="2004280" y="116970"/>
                  </a:cubicBezTo>
                  <a:cubicBezTo>
                    <a:pt x="2001502" y="116970"/>
                    <a:pt x="2000112" y="115600"/>
                    <a:pt x="1998723" y="115600"/>
                  </a:cubicBezTo>
                  <a:cubicBezTo>
                    <a:pt x="1994555" y="112860"/>
                    <a:pt x="1991776" y="110120"/>
                    <a:pt x="1990387" y="106010"/>
                  </a:cubicBezTo>
                  <a:cubicBezTo>
                    <a:pt x="1980661" y="77242"/>
                    <a:pt x="1980661" y="77242"/>
                    <a:pt x="1980661" y="77242"/>
                  </a:cubicBezTo>
                  <a:cubicBezTo>
                    <a:pt x="1979272" y="73132"/>
                    <a:pt x="1980661" y="67652"/>
                    <a:pt x="1984829" y="63542"/>
                  </a:cubicBezTo>
                  <a:cubicBezTo>
                    <a:pt x="1988998" y="59433"/>
                    <a:pt x="1994555" y="58063"/>
                    <a:pt x="1998723" y="59433"/>
                  </a:cubicBezTo>
                  <a:close/>
                  <a:moveTo>
                    <a:pt x="365788" y="1938"/>
                  </a:moveTo>
                  <a:cubicBezTo>
                    <a:pt x="371303" y="6111"/>
                    <a:pt x="374060" y="13065"/>
                    <a:pt x="371303" y="20020"/>
                  </a:cubicBezTo>
                  <a:cubicBezTo>
                    <a:pt x="371303" y="20020"/>
                    <a:pt x="371303" y="20020"/>
                    <a:pt x="365788" y="31147"/>
                  </a:cubicBezTo>
                  <a:cubicBezTo>
                    <a:pt x="365788" y="31147"/>
                    <a:pt x="365788" y="31147"/>
                    <a:pt x="371303" y="42274"/>
                  </a:cubicBezTo>
                  <a:cubicBezTo>
                    <a:pt x="371303" y="43665"/>
                    <a:pt x="372681" y="46446"/>
                    <a:pt x="371303" y="49228"/>
                  </a:cubicBezTo>
                  <a:cubicBezTo>
                    <a:pt x="371303" y="49228"/>
                    <a:pt x="371303" y="49228"/>
                    <a:pt x="312019" y="49228"/>
                  </a:cubicBezTo>
                  <a:cubicBezTo>
                    <a:pt x="312019" y="47837"/>
                    <a:pt x="310641" y="46446"/>
                    <a:pt x="310641" y="45056"/>
                  </a:cubicBezTo>
                  <a:cubicBezTo>
                    <a:pt x="309262" y="39492"/>
                    <a:pt x="310641" y="33928"/>
                    <a:pt x="316155" y="29756"/>
                  </a:cubicBezTo>
                  <a:cubicBezTo>
                    <a:pt x="316155" y="29756"/>
                    <a:pt x="316155" y="29756"/>
                    <a:pt x="349244" y="3329"/>
                  </a:cubicBezTo>
                  <a:cubicBezTo>
                    <a:pt x="353380" y="-844"/>
                    <a:pt x="361652" y="-844"/>
                    <a:pt x="365788" y="1938"/>
                  </a:cubicBezTo>
                  <a:close/>
                </a:path>
              </a:pathLst>
            </a:custGeom>
            <a:grp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a:solidFill>
                  <a:srgbClr val="505050"/>
                </a:solidFill>
                <a:latin typeface="Segoe UI Semilight"/>
              </a:endParaRPr>
            </a:p>
          </p:txBody>
        </p:sp>
      </p:grpSp>
      <p:sp>
        <p:nvSpPr>
          <p:cNvPr id="9" name="Freeform: Shape 99"/>
          <p:cNvSpPr/>
          <p:nvPr/>
        </p:nvSpPr>
        <p:spPr>
          <a:xfrm>
            <a:off x="2258" y="5214201"/>
            <a:ext cx="12431959" cy="178032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31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grpSp>
        <p:nvGrpSpPr>
          <p:cNvPr id="12" name="Group 11">
            <a:extLst>
              <a:ext uri="{FF2B5EF4-FFF2-40B4-BE49-F238E27FC236}">
                <a16:creationId xmlns:a16="http://schemas.microsoft.com/office/drawing/2014/main" id="{077A2346-E711-49EA-BD8F-F81EC99B99BD}"/>
              </a:ext>
            </a:extLst>
          </p:cNvPr>
          <p:cNvGrpSpPr/>
          <p:nvPr/>
        </p:nvGrpSpPr>
        <p:grpSpPr>
          <a:xfrm>
            <a:off x="9463762" y="6277374"/>
            <a:ext cx="227684" cy="442267"/>
            <a:chOff x="9576336" y="6019901"/>
            <a:chExt cx="223240" cy="433634"/>
          </a:xfrm>
        </p:grpSpPr>
        <p:grpSp>
          <p:nvGrpSpPr>
            <p:cNvPr id="14" name="Group 13">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5" name="Oval 903"/>
              <p:cNvSpPr/>
              <p:nvPr/>
            </p:nvSpPr>
            <p:spPr>
              <a:xfrm>
                <a:off x="9591504" y="5905106"/>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16"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13"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17" name="Group 16">
            <a:extLst>
              <a:ext uri="{FF2B5EF4-FFF2-40B4-BE49-F238E27FC236}">
                <a16:creationId xmlns:a16="http://schemas.microsoft.com/office/drawing/2014/main" id="{E5A7D07E-75FB-4559-875F-262AB2467085}"/>
              </a:ext>
            </a:extLst>
          </p:cNvPr>
          <p:cNvGrpSpPr/>
          <p:nvPr/>
        </p:nvGrpSpPr>
        <p:grpSpPr>
          <a:xfrm>
            <a:off x="7617605" y="6509574"/>
            <a:ext cx="227684" cy="440196"/>
            <a:chOff x="7468054" y="6382515"/>
            <a:chExt cx="223240" cy="431604"/>
          </a:xfrm>
        </p:grpSpPr>
        <p:grpSp>
          <p:nvGrpSpPr>
            <p:cNvPr id="19" name="Group 18">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20" name="Oval 17"/>
              <p:cNvSpPr/>
              <p:nvPr/>
            </p:nvSpPr>
            <p:spPr>
              <a:xfrm>
                <a:off x="7483222" y="6265690"/>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21"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18"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22" name="Group 21">
            <a:extLst>
              <a:ext uri="{FF2B5EF4-FFF2-40B4-BE49-F238E27FC236}">
                <a16:creationId xmlns:a16="http://schemas.microsoft.com/office/drawing/2014/main" id="{C182DA2D-3B7F-4476-B9EE-CEE70342A7F7}"/>
              </a:ext>
            </a:extLst>
          </p:cNvPr>
          <p:cNvGrpSpPr/>
          <p:nvPr/>
        </p:nvGrpSpPr>
        <p:grpSpPr>
          <a:xfrm>
            <a:off x="6331939" y="5918608"/>
            <a:ext cx="227684" cy="442267"/>
            <a:chOff x="6393022" y="6019901"/>
            <a:chExt cx="223240" cy="433634"/>
          </a:xfrm>
        </p:grpSpPr>
        <p:grpSp>
          <p:nvGrpSpPr>
            <p:cNvPr id="24" name="Group 23">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25" name="Oval 27"/>
              <p:cNvSpPr/>
              <p:nvPr/>
            </p:nvSpPr>
            <p:spPr>
              <a:xfrm>
                <a:off x="6408190" y="5905106"/>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26"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23"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27" name="Group 26">
            <a:extLst>
              <a:ext uri="{FF2B5EF4-FFF2-40B4-BE49-F238E27FC236}">
                <a16:creationId xmlns:a16="http://schemas.microsoft.com/office/drawing/2014/main" id="{81905357-76B3-46A9-A2AA-C02068C8EEDB}"/>
              </a:ext>
            </a:extLst>
          </p:cNvPr>
          <p:cNvGrpSpPr/>
          <p:nvPr/>
        </p:nvGrpSpPr>
        <p:grpSpPr>
          <a:xfrm>
            <a:off x="2227912" y="6310581"/>
            <a:ext cx="227684" cy="459287"/>
            <a:chOff x="2418475" y="6242316"/>
            <a:chExt cx="223240" cy="450322"/>
          </a:xfrm>
        </p:grpSpPr>
        <p:grpSp>
          <p:nvGrpSpPr>
            <p:cNvPr id="29" name="Group 28">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30" name="Oval 6"/>
              <p:cNvSpPr/>
              <p:nvPr/>
            </p:nvSpPr>
            <p:spPr>
              <a:xfrm>
                <a:off x="2433643" y="6144209"/>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31"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28"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sp>
        <p:nvSpPr>
          <p:cNvPr id="37" name="Freeform: Shape 99"/>
          <p:cNvSpPr/>
          <p:nvPr/>
        </p:nvSpPr>
        <p:spPr>
          <a:xfrm>
            <a:off x="-443595" y="4069575"/>
            <a:ext cx="13316261"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8" name="Freeform: Shape 99"/>
          <p:cNvSpPr/>
          <p:nvPr/>
        </p:nvSpPr>
        <p:spPr>
          <a:xfrm>
            <a:off x="-776814" y="2644876"/>
            <a:ext cx="13982700"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7" name="TextBox 6"/>
          <p:cNvSpPr txBox="1"/>
          <p:nvPr/>
        </p:nvSpPr>
        <p:spPr>
          <a:xfrm>
            <a:off x="1459781" y="3228183"/>
            <a:ext cx="9520632" cy="898418"/>
          </a:xfrm>
          <a:prstGeom prst="rect">
            <a:avLst/>
          </a:prstGeom>
          <a:noFill/>
        </p:spPr>
        <p:txBody>
          <a:bodyPr wrap="none" lIns="186521" tIns="149217" rIns="186521" bIns="149217" rtlCol="0">
            <a:spAutoFit/>
          </a:bodyPr>
          <a:lstStyle/>
          <a:p>
            <a:pPr algn="ctr" defTabSz="932597">
              <a:lnSpc>
                <a:spcPct val="90000"/>
              </a:lnSpc>
              <a:spcAft>
                <a:spcPts val="612"/>
              </a:spcAft>
              <a:defRPr/>
            </a:pPr>
            <a:r>
              <a:rPr lang="en-US" sz="1836" dirty="0">
                <a:solidFill>
                  <a:srgbClr val="FFFFFF"/>
                </a:solidFill>
                <a:latin typeface="Segoe UI Semilight" charset="0"/>
                <a:ea typeface="Segoe UI Semilight" charset="0"/>
                <a:cs typeface="Segoe UI Semilight" charset="0"/>
              </a:rPr>
              <a:t>A FULLY-MANAGED GLOBALLY DISTRIBUTED DATABASE SERVICE BUILT TO GUARANTEE </a:t>
            </a:r>
          </a:p>
          <a:p>
            <a:pPr algn="ctr" defTabSz="932597">
              <a:lnSpc>
                <a:spcPct val="90000"/>
              </a:lnSpc>
              <a:spcAft>
                <a:spcPts val="612"/>
              </a:spcAft>
              <a:defRPr/>
            </a:pPr>
            <a:r>
              <a:rPr lang="en-US" sz="1836" dirty="0">
                <a:solidFill>
                  <a:srgbClr val="FFFFFF"/>
                </a:solidFill>
                <a:latin typeface="Segoe UI Semilight" charset="0"/>
                <a:ea typeface="Segoe UI Semilight" charset="0"/>
                <a:cs typeface="Segoe UI Semilight" charset="0"/>
              </a:rPr>
              <a:t>EXTREMELY LOW LATENCY AND MASSIVE SCALE FOR MODERN APPS </a:t>
            </a:r>
          </a:p>
        </p:txBody>
      </p:sp>
      <p:sp>
        <p:nvSpPr>
          <p:cNvPr id="4" name="Title 3">
            <a:extLst>
              <a:ext uri="{FF2B5EF4-FFF2-40B4-BE49-F238E27FC236}">
                <a16:creationId xmlns:a16="http://schemas.microsoft.com/office/drawing/2014/main" id="{F65548C1-CF4F-45CD-BCD2-3E7D9ACE3612}"/>
              </a:ext>
            </a:extLst>
          </p:cNvPr>
          <p:cNvSpPr>
            <a:spLocks noGrp="1"/>
          </p:cNvSpPr>
          <p:nvPr>
            <p:ph type="title"/>
          </p:nvPr>
        </p:nvSpPr>
        <p:spPr>
          <a:xfrm>
            <a:off x="1594088" y="2766363"/>
            <a:ext cx="9252017" cy="678712"/>
          </a:xfrm>
        </p:spPr>
        <p:txBody>
          <a:bodyPr/>
          <a:lstStyle/>
          <a:p>
            <a:r>
              <a:rPr lang="en-US" dirty="0">
                <a:solidFill>
                  <a:schemeClr val="bg1"/>
                </a:solidFill>
                <a:ea typeface="Segoe UI Semilight" charset="0"/>
              </a:rPr>
              <a:t>Azure Cosmos </a:t>
            </a:r>
            <a:r>
              <a:rPr lang="en-US" dirty="0" err="1">
                <a:solidFill>
                  <a:schemeClr val="bg1"/>
                </a:solidFill>
                <a:ea typeface="Segoe UI Semilight" charset="0"/>
              </a:rPr>
              <a:t>db</a:t>
            </a:r>
            <a:br>
              <a:rPr lang="en-US" dirty="0">
                <a:solidFill>
                  <a:schemeClr val="bg1"/>
                </a:solidFill>
                <a:ea typeface="Segoe UI Semilight" charset="0"/>
              </a:rPr>
            </a:br>
            <a:r>
              <a:rPr lang="en-US" spc="255" dirty="0">
                <a:solidFill>
                  <a:schemeClr val="bg1"/>
                </a:solidFill>
                <a:ea typeface="Segoe UI Semilight" charset="0"/>
              </a:rPr>
              <a:t> </a:t>
            </a:r>
            <a:br>
              <a:rPr lang="en-US" spc="255" dirty="0">
                <a:solidFill>
                  <a:schemeClr val="bg1"/>
                </a:solidFill>
                <a:ea typeface="Segoe UI Semilight" charset="0"/>
              </a:rPr>
            </a:br>
            <a:br>
              <a:rPr lang="en-US" sz="1836" b="1" dirty="0">
                <a:solidFill>
                  <a:schemeClr val="bg1"/>
                </a:solidFill>
              </a:rPr>
            </a:br>
            <a:br>
              <a:rPr lang="en-US" sz="1836" b="1" dirty="0">
                <a:solidFill>
                  <a:schemeClr val="bg1"/>
                </a:solidFill>
              </a:rPr>
            </a:br>
            <a:endParaRPr lang="en-US" sz="1836" cap="none" dirty="0">
              <a:solidFill>
                <a:schemeClr val="bg1"/>
              </a:solidFill>
            </a:endParaRPr>
          </a:p>
        </p:txBody>
      </p:sp>
      <p:sp>
        <p:nvSpPr>
          <p:cNvPr id="40" name="Freeform: Shape 99"/>
          <p:cNvSpPr/>
          <p:nvPr/>
        </p:nvSpPr>
        <p:spPr>
          <a:xfrm>
            <a:off x="-977986" y="1167343"/>
            <a:ext cx="14385041"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41" name="Freeform: Shape 99"/>
          <p:cNvSpPr/>
          <p:nvPr/>
        </p:nvSpPr>
        <p:spPr>
          <a:xfrm>
            <a:off x="-1261100" y="-162884"/>
            <a:ext cx="14951267"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1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Tree>
    <p:extLst>
      <p:ext uri="{BB962C8B-B14F-4D97-AF65-F5344CB8AC3E}">
        <p14:creationId xmlns:p14="http://schemas.microsoft.com/office/powerpoint/2010/main" val="1294177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anim calcmode="lin" valueType="num">
                                      <p:cBhvr>
                                        <p:cTn id="13" dur="500" fill="hold"/>
                                        <p:tgtEl>
                                          <p:spTgt spid="4"/>
                                        </p:tgtEl>
                                        <p:attrNameLst>
                                          <p:attrName>ppt_x</p:attrName>
                                        </p:attrNameLst>
                                      </p:cBhvr>
                                      <p:tavLst>
                                        <p:tav tm="0">
                                          <p:val>
                                            <p:strVal val="#ppt_x"/>
                                          </p:val>
                                        </p:tav>
                                        <p:tav tm="100000">
                                          <p:val>
                                            <p:strVal val="#ppt_x"/>
                                          </p:val>
                                        </p:tav>
                                      </p:tavLst>
                                    </p:anim>
                                    <p:anim calcmode="lin" valueType="num">
                                      <p:cBhvr>
                                        <p:cTn id="14"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882" y="-1"/>
            <a:ext cx="12434711"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solidFill>
                <a:srgbClr val="FFFFFF"/>
              </a:solidFill>
              <a:latin typeface="Segoe UI Semilight"/>
              <a:ea typeface="Segoe UI" pitchFamily="34" charset="0"/>
              <a:cs typeface="Segoe UI" pitchFamily="34" charset="0"/>
            </a:endParaRPr>
          </a:p>
        </p:txBody>
      </p:sp>
      <p:grpSp>
        <p:nvGrpSpPr>
          <p:cNvPr id="32" name="Group 31">
            <a:extLst>
              <a:ext uri="{FF2B5EF4-FFF2-40B4-BE49-F238E27FC236}">
                <a16:creationId xmlns:a16="http://schemas.microsoft.com/office/drawing/2014/main" id="{C145948E-C2FD-4834-8449-66CF8EC8D2E5}"/>
              </a:ext>
            </a:extLst>
          </p:cNvPr>
          <p:cNvGrpSpPr/>
          <p:nvPr/>
        </p:nvGrpSpPr>
        <p:grpSpPr>
          <a:xfrm>
            <a:off x="1128888" y="5439721"/>
            <a:ext cx="10116553" cy="6072798"/>
            <a:chOff x="621668" y="4852307"/>
            <a:chExt cx="2840157" cy="1396093"/>
          </a:xfrm>
          <a:solidFill>
            <a:schemeClr val="bg1">
              <a:alpha val="71000"/>
            </a:schemeClr>
          </a:solidFill>
        </p:grpSpPr>
        <p:sp>
          <p:nvSpPr>
            <p:cNvPr id="33" name="Freeform 7">
              <a:extLst>
                <a:ext uri="{FF2B5EF4-FFF2-40B4-BE49-F238E27FC236}">
                  <a16:creationId xmlns:a16="http://schemas.microsoft.com/office/drawing/2014/main" id="{936564DC-D65F-4571-8189-D7F630B03BCD}"/>
                </a:ext>
              </a:extLst>
            </p:cNvPr>
            <p:cNvSpPr>
              <a:spLocks noEditPoints="1"/>
            </p:cNvSpPr>
            <p:nvPr/>
          </p:nvSpPr>
          <p:spPr bwMode="auto">
            <a:xfrm>
              <a:off x="621668" y="4852307"/>
              <a:ext cx="1295951" cy="1396093"/>
            </a:xfrm>
            <a:custGeom>
              <a:avLst/>
              <a:gdLst>
                <a:gd name="T0" fmla="*/ 556 w 954"/>
                <a:gd name="T1" fmla="*/ 1009 h 1027"/>
                <a:gd name="T2" fmla="*/ 506 w 954"/>
                <a:gd name="T3" fmla="*/ 919 h 1027"/>
                <a:gd name="T4" fmla="*/ 400 w 954"/>
                <a:gd name="T5" fmla="*/ 627 h 1027"/>
                <a:gd name="T6" fmla="*/ 429 w 954"/>
                <a:gd name="T7" fmla="*/ 554 h 1027"/>
                <a:gd name="T8" fmla="*/ 370 w 954"/>
                <a:gd name="T9" fmla="*/ 503 h 1027"/>
                <a:gd name="T10" fmla="*/ 311 w 954"/>
                <a:gd name="T11" fmla="*/ 488 h 1027"/>
                <a:gd name="T12" fmla="*/ 247 w 954"/>
                <a:gd name="T13" fmla="*/ 410 h 1027"/>
                <a:gd name="T14" fmla="*/ 242 w 954"/>
                <a:gd name="T15" fmla="*/ 428 h 1027"/>
                <a:gd name="T16" fmla="*/ 181 w 954"/>
                <a:gd name="T17" fmla="*/ 348 h 1027"/>
                <a:gd name="T18" fmla="*/ 202 w 954"/>
                <a:gd name="T19" fmla="*/ 236 h 1027"/>
                <a:gd name="T20" fmla="*/ 150 w 954"/>
                <a:gd name="T21" fmla="*/ 164 h 1027"/>
                <a:gd name="T22" fmla="*/ 71 w 954"/>
                <a:gd name="T23" fmla="*/ 196 h 1027"/>
                <a:gd name="T24" fmla="*/ 75 w 954"/>
                <a:gd name="T25" fmla="*/ 164 h 1027"/>
                <a:gd name="T26" fmla="*/ 73 w 954"/>
                <a:gd name="T27" fmla="*/ 142 h 1027"/>
                <a:gd name="T28" fmla="*/ 100 w 954"/>
                <a:gd name="T29" fmla="*/ 112 h 1027"/>
                <a:gd name="T30" fmla="*/ 213 w 954"/>
                <a:gd name="T31" fmla="*/ 65 h 1027"/>
                <a:gd name="T32" fmla="*/ 379 w 954"/>
                <a:gd name="T33" fmla="*/ 79 h 1027"/>
                <a:gd name="T34" fmla="*/ 502 w 954"/>
                <a:gd name="T35" fmla="*/ 48 h 1027"/>
                <a:gd name="T36" fmla="*/ 553 w 954"/>
                <a:gd name="T37" fmla="*/ 71 h 1027"/>
                <a:gd name="T38" fmla="*/ 603 w 954"/>
                <a:gd name="T39" fmla="*/ 27 h 1027"/>
                <a:gd name="T40" fmla="*/ 663 w 954"/>
                <a:gd name="T41" fmla="*/ 0 h 1027"/>
                <a:gd name="T42" fmla="*/ 819 w 954"/>
                <a:gd name="T43" fmla="*/ 0 h 1027"/>
                <a:gd name="T44" fmla="*/ 948 w 954"/>
                <a:gd name="T45" fmla="*/ 12 h 1027"/>
                <a:gd name="T46" fmla="*/ 892 w 954"/>
                <a:gd name="T47" fmla="*/ 73 h 1027"/>
                <a:gd name="T48" fmla="*/ 870 w 954"/>
                <a:gd name="T49" fmla="*/ 104 h 1027"/>
                <a:gd name="T50" fmla="*/ 737 w 954"/>
                <a:gd name="T51" fmla="*/ 155 h 1027"/>
                <a:gd name="T52" fmla="*/ 729 w 954"/>
                <a:gd name="T53" fmla="*/ 80 h 1027"/>
                <a:gd name="T54" fmla="*/ 640 w 954"/>
                <a:gd name="T55" fmla="*/ 59 h 1027"/>
                <a:gd name="T56" fmla="*/ 665 w 954"/>
                <a:gd name="T57" fmla="*/ 121 h 1027"/>
                <a:gd name="T58" fmla="*/ 612 w 954"/>
                <a:gd name="T59" fmla="*/ 129 h 1027"/>
                <a:gd name="T60" fmla="*/ 589 w 954"/>
                <a:gd name="T61" fmla="*/ 107 h 1027"/>
                <a:gd name="T62" fmla="*/ 502 w 954"/>
                <a:gd name="T63" fmla="*/ 137 h 1027"/>
                <a:gd name="T64" fmla="*/ 517 w 954"/>
                <a:gd name="T65" fmla="*/ 180 h 1027"/>
                <a:gd name="T66" fmla="*/ 599 w 954"/>
                <a:gd name="T67" fmla="*/ 136 h 1027"/>
                <a:gd name="T68" fmla="*/ 662 w 954"/>
                <a:gd name="T69" fmla="*/ 201 h 1027"/>
                <a:gd name="T70" fmla="*/ 602 w 954"/>
                <a:gd name="T71" fmla="*/ 223 h 1027"/>
                <a:gd name="T72" fmla="*/ 606 w 954"/>
                <a:gd name="T73" fmla="*/ 263 h 1027"/>
                <a:gd name="T74" fmla="*/ 495 w 954"/>
                <a:gd name="T75" fmla="*/ 333 h 1027"/>
                <a:gd name="T76" fmla="*/ 441 w 954"/>
                <a:gd name="T77" fmla="*/ 410 h 1027"/>
                <a:gd name="T78" fmla="*/ 343 w 954"/>
                <a:gd name="T79" fmla="*/ 394 h 1027"/>
                <a:gd name="T80" fmla="*/ 366 w 954"/>
                <a:gd name="T81" fmla="*/ 433 h 1027"/>
                <a:gd name="T82" fmla="*/ 388 w 954"/>
                <a:gd name="T83" fmla="*/ 473 h 1027"/>
                <a:gd name="T84" fmla="*/ 436 w 954"/>
                <a:gd name="T85" fmla="*/ 517 h 1027"/>
                <a:gd name="T86" fmla="*/ 560 w 954"/>
                <a:gd name="T87" fmla="*/ 502 h 1027"/>
                <a:gd name="T88" fmla="*/ 723 w 954"/>
                <a:gd name="T89" fmla="*/ 619 h 1027"/>
                <a:gd name="T90" fmla="*/ 708 w 954"/>
                <a:gd name="T91" fmla="*/ 765 h 1027"/>
                <a:gd name="T92" fmla="*/ 618 w 954"/>
                <a:gd name="T93" fmla="*/ 1009 h 1027"/>
                <a:gd name="T94" fmla="*/ 398 w 954"/>
                <a:gd name="T95" fmla="*/ 514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4" h="1027">
                  <a:moveTo>
                    <a:pt x="611" y="1027"/>
                  </a:moveTo>
                  <a:cubicBezTo>
                    <a:pt x="610" y="1027"/>
                    <a:pt x="609" y="1027"/>
                    <a:pt x="608" y="1026"/>
                  </a:cubicBezTo>
                  <a:cubicBezTo>
                    <a:pt x="561" y="1012"/>
                    <a:pt x="561" y="1012"/>
                    <a:pt x="561" y="1012"/>
                  </a:cubicBezTo>
                  <a:cubicBezTo>
                    <a:pt x="559" y="1011"/>
                    <a:pt x="557" y="1010"/>
                    <a:pt x="556" y="1009"/>
                  </a:cubicBezTo>
                  <a:cubicBezTo>
                    <a:pt x="528" y="978"/>
                    <a:pt x="528" y="978"/>
                    <a:pt x="528" y="978"/>
                  </a:cubicBezTo>
                  <a:cubicBezTo>
                    <a:pt x="527" y="977"/>
                    <a:pt x="527" y="976"/>
                    <a:pt x="526" y="974"/>
                  </a:cubicBezTo>
                  <a:cubicBezTo>
                    <a:pt x="507" y="922"/>
                    <a:pt x="507" y="922"/>
                    <a:pt x="507" y="922"/>
                  </a:cubicBezTo>
                  <a:cubicBezTo>
                    <a:pt x="507" y="921"/>
                    <a:pt x="507" y="920"/>
                    <a:pt x="506" y="919"/>
                  </a:cubicBezTo>
                  <a:cubicBezTo>
                    <a:pt x="496" y="753"/>
                    <a:pt x="496" y="753"/>
                    <a:pt x="496" y="753"/>
                  </a:cubicBezTo>
                  <a:cubicBezTo>
                    <a:pt x="450" y="720"/>
                    <a:pt x="450" y="720"/>
                    <a:pt x="450" y="720"/>
                  </a:cubicBezTo>
                  <a:cubicBezTo>
                    <a:pt x="449" y="719"/>
                    <a:pt x="448" y="718"/>
                    <a:pt x="448" y="716"/>
                  </a:cubicBezTo>
                  <a:cubicBezTo>
                    <a:pt x="400" y="627"/>
                    <a:pt x="400" y="627"/>
                    <a:pt x="400" y="627"/>
                  </a:cubicBezTo>
                  <a:cubicBezTo>
                    <a:pt x="398" y="624"/>
                    <a:pt x="398" y="620"/>
                    <a:pt x="400" y="617"/>
                  </a:cubicBezTo>
                  <a:cubicBezTo>
                    <a:pt x="431" y="560"/>
                    <a:pt x="431" y="560"/>
                    <a:pt x="431" y="560"/>
                  </a:cubicBezTo>
                  <a:cubicBezTo>
                    <a:pt x="430" y="553"/>
                    <a:pt x="430" y="553"/>
                    <a:pt x="430" y="553"/>
                  </a:cubicBezTo>
                  <a:cubicBezTo>
                    <a:pt x="429" y="554"/>
                    <a:pt x="429" y="554"/>
                    <a:pt x="429" y="554"/>
                  </a:cubicBezTo>
                  <a:cubicBezTo>
                    <a:pt x="426" y="555"/>
                    <a:pt x="424" y="554"/>
                    <a:pt x="421" y="553"/>
                  </a:cubicBezTo>
                  <a:cubicBezTo>
                    <a:pt x="389" y="537"/>
                    <a:pt x="389" y="537"/>
                    <a:pt x="389" y="537"/>
                  </a:cubicBezTo>
                  <a:cubicBezTo>
                    <a:pt x="387" y="536"/>
                    <a:pt x="385" y="534"/>
                    <a:pt x="384" y="532"/>
                  </a:cubicBezTo>
                  <a:cubicBezTo>
                    <a:pt x="370" y="503"/>
                    <a:pt x="370" y="503"/>
                    <a:pt x="370" y="503"/>
                  </a:cubicBezTo>
                  <a:cubicBezTo>
                    <a:pt x="348" y="500"/>
                    <a:pt x="348" y="500"/>
                    <a:pt x="348" y="500"/>
                  </a:cubicBezTo>
                  <a:cubicBezTo>
                    <a:pt x="346" y="500"/>
                    <a:pt x="345" y="499"/>
                    <a:pt x="344" y="498"/>
                  </a:cubicBezTo>
                  <a:cubicBezTo>
                    <a:pt x="323" y="485"/>
                    <a:pt x="323" y="485"/>
                    <a:pt x="323" y="485"/>
                  </a:cubicBezTo>
                  <a:cubicBezTo>
                    <a:pt x="311" y="488"/>
                    <a:pt x="311" y="488"/>
                    <a:pt x="311" y="488"/>
                  </a:cubicBezTo>
                  <a:cubicBezTo>
                    <a:pt x="309" y="489"/>
                    <a:pt x="306" y="488"/>
                    <a:pt x="304" y="487"/>
                  </a:cubicBezTo>
                  <a:cubicBezTo>
                    <a:pt x="254" y="461"/>
                    <a:pt x="254" y="461"/>
                    <a:pt x="254" y="461"/>
                  </a:cubicBezTo>
                  <a:cubicBezTo>
                    <a:pt x="250" y="459"/>
                    <a:pt x="248" y="456"/>
                    <a:pt x="248" y="452"/>
                  </a:cubicBezTo>
                  <a:cubicBezTo>
                    <a:pt x="247" y="410"/>
                    <a:pt x="247" y="410"/>
                    <a:pt x="247" y="410"/>
                  </a:cubicBezTo>
                  <a:cubicBezTo>
                    <a:pt x="230" y="366"/>
                    <a:pt x="230" y="366"/>
                    <a:pt x="230" y="366"/>
                  </a:cubicBezTo>
                  <a:cubicBezTo>
                    <a:pt x="223" y="368"/>
                    <a:pt x="223" y="368"/>
                    <a:pt x="223" y="368"/>
                  </a:cubicBezTo>
                  <a:cubicBezTo>
                    <a:pt x="242" y="424"/>
                    <a:pt x="242" y="424"/>
                    <a:pt x="242" y="424"/>
                  </a:cubicBezTo>
                  <a:cubicBezTo>
                    <a:pt x="242" y="425"/>
                    <a:pt x="242" y="427"/>
                    <a:pt x="242" y="428"/>
                  </a:cubicBezTo>
                  <a:cubicBezTo>
                    <a:pt x="242" y="434"/>
                    <a:pt x="238" y="438"/>
                    <a:pt x="232" y="438"/>
                  </a:cubicBezTo>
                  <a:cubicBezTo>
                    <a:pt x="228" y="439"/>
                    <a:pt x="224" y="436"/>
                    <a:pt x="223" y="432"/>
                  </a:cubicBezTo>
                  <a:cubicBezTo>
                    <a:pt x="204" y="390"/>
                    <a:pt x="204" y="390"/>
                    <a:pt x="204" y="390"/>
                  </a:cubicBezTo>
                  <a:cubicBezTo>
                    <a:pt x="181" y="348"/>
                    <a:pt x="181" y="348"/>
                    <a:pt x="181" y="348"/>
                  </a:cubicBezTo>
                  <a:cubicBezTo>
                    <a:pt x="180" y="347"/>
                    <a:pt x="180" y="346"/>
                    <a:pt x="179" y="344"/>
                  </a:cubicBezTo>
                  <a:cubicBezTo>
                    <a:pt x="172" y="292"/>
                    <a:pt x="172" y="292"/>
                    <a:pt x="172" y="292"/>
                  </a:cubicBezTo>
                  <a:cubicBezTo>
                    <a:pt x="172" y="289"/>
                    <a:pt x="172" y="287"/>
                    <a:pt x="173" y="285"/>
                  </a:cubicBezTo>
                  <a:cubicBezTo>
                    <a:pt x="202" y="236"/>
                    <a:pt x="202" y="236"/>
                    <a:pt x="202" y="236"/>
                  </a:cubicBezTo>
                  <a:cubicBezTo>
                    <a:pt x="216" y="194"/>
                    <a:pt x="216" y="194"/>
                    <a:pt x="216" y="194"/>
                  </a:cubicBezTo>
                  <a:cubicBezTo>
                    <a:pt x="214" y="173"/>
                    <a:pt x="214" y="173"/>
                    <a:pt x="214" y="173"/>
                  </a:cubicBezTo>
                  <a:cubicBezTo>
                    <a:pt x="178" y="159"/>
                    <a:pt x="178" y="159"/>
                    <a:pt x="178" y="159"/>
                  </a:cubicBezTo>
                  <a:cubicBezTo>
                    <a:pt x="150" y="164"/>
                    <a:pt x="150" y="164"/>
                    <a:pt x="150" y="164"/>
                  </a:cubicBezTo>
                  <a:cubicBezTo>
                    <a:pt x="107" y="184"/>
                    <a:pt x="107" y="184"/>
                    <a:pt x="107" y="184"/>
                  </a:cubicBezTo>
                  <a:cubicBezTo>
                    <a:pt x="106" y="184"/>
                    <a:pt x="106" y="184"/>
                    <a:pt x="106" y="184"/>
                  </a:cubicBezTo>
                  <a:cubicBezTo>
                    <a:pt x="74" y="196"/>
                    <a:pt x="74" y="196"/>
                    <a:pt x="74" y="196"/>
                  </a:cubicBezTo>
                  <a:cubicBezTo>
                    <a:pt x="73" y="196"/>
                    <a:pt x="72" y="196"/>
                    <a:pt x="71" y="196"/>
                  </a:cubicBezTo>
                  <a:cubicBezTo>
                    <a:pt x="11" y="198"/>
                    <a:pt x="11" y="198"/>
                    <a:pt x="11" y="198"/>
                  </a:cubicBezTo>
                  <a:cubicBezTo>
                    <a:pt x="6" y="198"/>
                    <a:pt x="1" y="194"/>
                    <a:pt x="0" y="189"/>
                  </a:cubicBezTo>
                  <a:cubicBezTo>
                    <a:pt x="0" y="183"/>
                    <a:pt x="3" y="179"/>
                    <a:pt x="8" y="177"/>
                  </a:cubicBezTo>
                  <a:cubicBezTo>
                    <a:pt x="75" y="164"/>
                    <a:pt x="75" y="164"/>
                    <a:pt x="75" y="164"/>
                  </a:cubicBezTo>
                  <a:cubicBezTo>
                    <a:pt x="78" y="160"/>
                    <a:pt x="78" y="160"/>
                    <a:pt x="78" y="160"/>
                  </a:cubicBezTo>
                  <a:cubicBezTo>
                    <a:pt x="76" y="158"/>
                    <a:pt x="76" y="158"/>
                    <a:pt x="76" y="158"/>
                  </a:cubicBezTo>
                  <a:cubicBezTo>
                    <a:pt x="73" y="156"/>
                    <a:pt x="71" y="154"/>
                    <a:pt x="71" y="151"/>
                  </a:cubicBezTo>
                  <a:cubicBezTo>
                    <a:pt x="70" y="148"/>
                    <a:pt x="71" y="145"/>
                    <a:pt x="73" y="142"/>
                  </a:cubicBezTo>
                  <a:cubicBezTo>
                    <a:pt x="94" y="120"/>
                    <a:pt x="94" y="120"/>
                    <a:pt x="94" y="120"/>
                  </a:cubicBezTo>
                  <a:cubicBezTo>
                    <a:pt x="95" y="119"/>
                    <a:pt x="97" y="118"/>
                    <a:pt x="99" y="117"/>
                  </a:cubicBezTo>
                  <a:cubicBezTo>
                    <a:pt x="101" y="117"/>
                    <a:pt x="101" y="117"/>
                    <a:pt x="101" y="117"/>
                  </a:cubicBezTo>
                  <a:cubicBezTo>
                    <a:pt x="100" y="116"/>
                    <a:pt x="100" y="114"/>
                    <a:pt x="100" y="112"/>
                  </a:cubicBezTo>
                  <a:cubicBezTo>
                    <a:pt x="100" y="109"/>
                    <a:pt x="102" y="106"/>
                    <a:pt x="105" y="104"/>
                  </a:cubicBezTo>
                  <a:cubicBezTo>
                    <a:pt x="137" y="85"/>
                    <a:pt x="137" y="85"/>
                    <a:pt x="137" y="85"/>
                  </a:cubicBezTo>
                  <a:cubicBezTo>
                    <a:pt x="138" y="84"/>
                    <a:pt x="139" y="84"/>
                    <a:pt x="140" y="84"/>
                  </a:cubicBezTo>
                  <a:cubicBezTo>
                    <a:pt x="213" y="65"/>
                    <a:pt x="213" y="65"/>
                    <a:pt x="213" y="65"/>
                  </a:cubicBezTo>
                  <a:cubicBezTo>
                    <a:pt x="215" y="64"/>
                    <a:pt x="216" y="64"/>
                    <a:pt x="217" y="64"/>
                  </a:cubicBezTo>
                  <a:cubicBezTo>
                    <a:pt x="309" y="76"/>
                    <a:pt x="309" y="76"/>
                    <a:pt x="309" y="76"/>
                  </a:cubicBezTo>
                  <a:cubicBezTo>
                    <a:pt x="380" y="82"/>
                    <a:pt x="380" y="82"/>
                    <a:pt x="380" y="82"/>
                  </a:cubicBezTo>
                  <a:cubicBezTo>
                    <a:pt x="379" y="79"/>
                    <a:pt x="379" y="79"/>
                    <a:pt x="379" y="79"/>
                  </a:cubicBezTo>
                  <a:cubicBezTo>
                    <a:pt x="377" y="77"/>
                    <a:pt x="377" y="74"/>
                    <a:pt x="378" y="71"/>
                  </a:cubicBezTo>
                  <a:cubicBezTo>
                    <a:pt x="379" y="69"/>
                    <a:pt x="381" y="66"/>
                    <a:pt x="383" y="65"/>
                  </a:cubicBezTo>
                  <a:cubicBezTo>
                    <a:pt x="393" y="61"/>
                    <a:pt x="423" y="48"/>
                    <a:pt x="436" y="48"/>
                  </a:cubicBezTo>
                  <a:cubicBezTo>
                    <a:pt x="502" y="48"/>
                    <a:pt x="502" y="48"/>
                    <a:pt x="502" y="48"/>
                  </a:cubicBezTo>
                  <a:cubicBezTo>
                    <a:pt x="510" y="48"/>
                    <a:pt x="529" y="53"/>
                    <a:pt x="533" y="54"/>
                  </a:cubicBezTo>
                  <a:cubicBezTo>
                    <a:pt x="536" y="55"/>
                    <a:pt x="538" y="57"/>
                    <a:pt x="539" y="60"/>
                  </a:cubicBezTo>
                  <a:cubicBezTo>
                    <a:pt x="540" y="61"/>
                    <a:pt x="543" y="68"/>
                    <a:pt x="545" y="75"/>
                  </a:cubicBezTo>
                  <a:cubicBezTo>
                    <a:pt x="548" y="74"/>
                    <a:pt x="550" y="72"/>
                    <a:pt x="553" y="71"/>
                  </a:cubicBezTo>
                  <a:cubicBezTo>
                    <a:pt x="580" y="44"/>
                    <a:pt x="580" y="44"/>
                    <a:pt x="580" y="44"/>
                  </a:cubicBezTo>
                  <a:cubicBezTo>
                    <a:pt x="581" y="43"/>
                    <a:pt x="582" y="42"/>
                    <a:pt x="583" y="42"/>
                  </a:cubicBezTo>
                  <a:cubicBezTo>
                    <a:pt x="609" y="31"/>
                    <a:pt x="609" y="31"/>
                    <a:pt x="609" y="31"/>
                  </a:cubicBezTo>
                  <a:cubicBezTo>
                    <a:pt x="603" y="27"/>
                    <a:pt x="603" y="27"/>
                    <a:pt x="603" y="27"/>
                  </a:cubicBezTo>
                  <a:cubicBezTo>
                    <a:pt x="600" y="25"/>
                    <a:pt x="598" y="21"/>
                    <a:pt x="599" y="17"/>
                  </a:cubicBezTo>
                  <a:cubicBezTo>
                    <a:pt x="600" y="13"/>
                    <a:pt x="603" y="9"/>
                    <a:pt x="607" y="9"/>
                  </a:cubicBezTo>
                  <a:cubicBezTo>
                    <a:pt x="662" y="0"/>
                    <a:pt x="662" y="0"/>
                    <a:pt x="662" y="0"/>
                  </a:cubicBezTo>
                  <a:cubicBezTo>
                    <a:pt x="662" y="0"/>
                    <a:pt x="663" y="0"/>
                    <a:pt x="663" y="0"/>
                  </a:cubicBezTo>
                  <a:cubicBezTo>
                    <a:pt x="732" y="0"/>
                    <a:pt x="732" y="0"/>
                    <a:pt x="732" y="0"/>
                  </a:cubicBezTo>
                  <a:cubicBezTo>
                    <a:pt x="737" y="0"/>
                    <a:pt x="741" y="3"/>
                    <a:pt x="742" y="7"/>
                  </a:cubicBezTo>
                  <a:cubicBezTo>
                    <a:pt x="742" y="7"/>
                    <a:pt x="742" y="8"/>
                    <a:pt x="743" y="8"/>
                  </a:cubicBezTo>
                  <a:cubicBezTo>
                    <a:pt x="819" y="0"/>
                    <a:pt x="819" y="0"/>
                    <a:pt x="819" y="0"/>
                  </a:cubicBezTo>
                  <a:cubicBezTo>
                    <a:pt x="820" y="0"/>
                    <a:pt x="820" y="0"/>
                    <a:pt x="820" y="0"/>
                  </a:cubicBezTo>
                  <a:cubicBezTo>
                    <a:pt x="919" y="0"/>
                    <a:pt x="919" y="0"/>
                    <a:pt x="919" y="0"/>
                  </a:cubicBezTo>
                  <a:cubicBezTo>
                    <a:pt x="920" y="0"/>
                    <a:pt x="922" y="0"/>
                    <a:pt x="923" y="1"/>
                  </a:cubicBezTo>
                  <a:cubicBezTo>
                    <a:pt x="948" y="12"/>
                    <a:pt x="948" y="12"/>
                    <a:pt x="948" y="12"/>
                  </a:cubicBezTo>
                  <a:cubicBezTo>
                    <a:pt x="952" y="14"/>
                    <a:pt x="954" y="18"/>
                    <a:pt x="954" y="22"/>
                  </a:cubicBezTo>
                  <a:cubicBezTo>
                    <a:pt x="954" y="27"/>
                    <a:pt x="951" y="30"/>
                    <a:pt x="947" y="32"/>
                  </a:cubicBezTo>
                  <a:cubicBezTo>
                    <a:pt x="934" y="36"/>
                    <a:pt x="918" y="42"/>
                    <a:pt x="914" y="44"/>
                  </a:cubicBezTo>
                  <a:cubicBezTo>
                    <a:pt x="911" y="47"/>
                    <a:pt x="901" y="61"/>
                    <a:pt x="892" y="73"/>
                  </a:cubicBezTo>
                  <a:cubicBezTo>
                    <a:pt x="892" y="82"/>
                    <a:pt x="892" y="82"/>
                    <a:pt x="892" y="82"/>
                  </a:cubicBezTo>
                  <a:cubicBezTo>
                    <a:pt x="892" y="85"/>
                    <a:pt x="891" y="88"/>
                    <a:pt x="888" y="90"/>
                  </a:cubicBezTo>
                  <a:cubicBezTo>
                    <a:pt x="874" y="102"/>
                    <a:pt x="874" y="102"/>
                    <a:pt x="874" y="102"/>
                  </a:cubicBezTo>
                  <a:cubicBezTo>
                    <a:pt x="873" y="103"/>
                    <a:pt x="871" y="103"/>
                    <a:pt x="870" y="104"/>
                  </a:cubicBezTo>
                  <a:cubicBezTo>
                    <a:pt x="797" y="122"/>
                    <a:pt x="797" y="122"/>
                    <a:pt x="797" y="122"/>
                  </a:cubicBezTo>
                  <a:cubicBezTo>
                    <a:pt x="778" y="136"/>
                    <a:pt x="778" y="136"/>
                    <a:pt x="778" y="136"/>
                  </a:cubicBezTo>
                  <a:cubicBezTo>
                    <a:pt x="750" y="156"/>
                    <a:pt x="750" y="156"/>
                    <a:pt x="750" y="156"/>
                  </a:cubicBezTo>
                  <a:cubicBezTo>
                    <a:pt x="746" y="159"/>
                    <a:pt x="740" y="159"/>
                    <a:pt x="737" y="155"/>
                  </a:cubicBezTo>
                  <a:cubicBezTo>
                    <a:pt x="713" y="131"/>
                    <a:pt x="712" y="127"/>
                    <a:pt x="711" y="125"/>
                  </a:cubicBezTo>
                  <a:cubicBezTo>
                    <a:pt x="710" y="122"/>
                    <a:pt x="708" y="117"/>
                    <a:pt x="717" y="92"/>
                  </a:cubicBezTo>
                  <a:cubicBezTo>
                    <a:pt x="717" y="90"/>
                    <a:pt x="719" y="88"/>
                    <a:pt x="720" y="87"/>
                  </a:cubicBezTo>
                  <a:cubicBezTo>
                    <a:pt x="729" y="80"/>
                    <a:pt x="729" y="80"/>
                    <a:pt x="729" y="80"/>
                  </a:cubicBezTo>
                  <a:cubicBezTo>
                    <a:pt x="714" y="61"/>
                    <a:pt x="714" y="61"/>
                    <a:pt x="714" y="61"/>
                  </a:cubicBezTo>
                  <a:cubicBezTo>
                    <a:pt x="683" y="47"/>
                    <a:pt x="683" y="47"/>
                    <a:pt x="683" y="47"/>
                  </a:cubicBezTo>
                  <a:cubicBezTo>
                    <a:pt x="637" y="56"/>
                    <a:pt x="637" y="56"/>
                    <a:pt x="637" y="56"/>
                  </a:cubicBezTo>
                  <a:cubicBezTo>
                    <a:pt x="640" y="59"/>
                    <a:pt x="640" y="59"/>
                    <a:pt x="640" y="59"/>
                  </a:cubicBezTo>
                  <a:cubicBezTo>
                    <a:pt x="666" y="74"/>
                    <a:pt x="666" y="74"/>
                    <a:pt x="666" y="74"/>
                  </a:cubicBezTo>
                  <a:cubicBezTo>
                    <a:pt x="668" y="76"/>
                    <a:pt x="670" y="79"/>
                    <a:pt x="671" y="82"/>
                  </a:cubicBezTo>
                  <a:cubicBezTo>
                    <a:pt x="674" y="110"/>
                    <a:pt x="674" y="110"/>
                    <a:pt x="674" y="110"/>
                  </a:cubicBezTo>
                  <a:cubicBezTo>
                    <a:pt x="674" y="116"/>
                    <a:pt x="670" y="121"/>
                    <a:pt x="665" y="121"/>
                  </a:cubicBezTo>
                  <a:cubicBezTo>
                    <a:pt x="645" y="124"/>
                    <a:pt x="645" y="124"/>
                    <a:pt x="645" y="124"/>
                  </a:cubicBezTo>
                  <a:cubicBezTo>
                    <a:pt x="641" y="128"/>
                    <a:pt x="641" y="128"/>
                    <a:pt x="641" y="128"/>
                  </a:cubicBezTo>
                  <a:cubicBezTo>
                    <a:pt x="639" y="131"/>
                    <a:pt x="636" y="132"/>
                    <a:pt x="632" y="132"/>
                  </a:cubicBezTo>
                  <a:cubicBezTo>
                    <a:pt x="612" y="129"/>
                    <a:pt x="612" y="129"/>
                    <a:pt x="612" y="129"/>
                  </a:cubicBezTo>
                  <a:cubicBezTo>
                    <a:pt x="611" y="129"/>
                    <a:pt x="609" y="128"/>
                    <a:pt x="608" y="128"/>
                  </a:cubicBezTo>
                  <a:cubicBezTo>
                    <a:pt x="603" y="125"/>
                    <a:pt x="603" y="125"/>
                    <a:pt x="603" y="125"/>
                  </a:cubicBezTo>
                  <a:cubicBezTo>
                    <a:pt x="601" y="124"/>
                    <a:pt x="600" y="123"/>
                    <a:pt x="599" y="121"/>
                  </a:cubicBezTo>
                  <a:cubicBezTo>
                    <a:pt x="589" y="107"/>
                    <a:pt x="589" y="107"/>
                    <a:pt x="589" y="107"/>
                  </a:cubicBezTo>
                  <a:cubicBezTo>
                    <a:pt x="558" y="107"/>
                    <a:pt x="558" y="107"/>
                    <a:pt x="558" y="107"/>
                  </a:cubicBezTo>
                  <a:cubicBezTo>
                    <a:pt x="555" y="125"/>
                    <a:pt x="555" y="125"/>
                    <a:pt x="555" y="125"/>
                  </a:cubicBezTo>
                  <a:cubicBezTo>
                    <a:pt x="554" y="130"/>
                    <a:pt x="551" y="133"/>
                    <a:pt x="546" y="134"/>
                  </a:cubicBezTo>
                  <a:cubicBezTo>
                    <a:pt x="502" y="137"/>
                    <a:pt x="502" y="137"/>
                    <a:pt x="502" y="137"/>
                  </a:cubicBezTo>
                  <a:cubicBezTo>
                    <a:pt x="478" y="161"/>
                    <a:pt x="478" y="161"/>
                    <a:pt x="478" y="161"/>
                  </a:cubicBezTo>
                  <a:cubicBezTo>
                    <a:pt x="510" y="172"/>
                    <a:pt x="510" y="172"/>
                    <a:pt x="510" y="172"/>
                  </a:cubicBezTo>
                  <a:cubicBezTo>
                    <a:pt x="513" y="173"/>
                    <a:pt x="515" y="175"/>
                    <a:pt x="516" y="178"/>
                  </a:cubicBezTo>
                  <a:cubicBezTo>
                    <a:pt x="516" y="179"/>
                    <a:pt x="517" y="179"/>
                    <a:pt x="517" y="180"/>
                  </a:cubicBezTo>
                  <a:cubicBezTo>
                    <a:pt x="534" y="177"/>
                    <a:pt x="534" y="177"/>
                    <a:pt x="534" y="177"/>
                  </a:cubicBezTo>
                  <a:cubicBezTo>
                    <a:pt x="545" y="143"/>
                    <a:pt x="545" y="143"/>
                    <a:pt x="545" y="143"/>
                  </a:cubicBezTo>
                  <a:cubicBezTo>
                    <a:pt x="547" y="139"/>
                    <a:pt x="550" y="136"/>
                    <a:pt x="555" y="136"/>
                  </a:cubicBezTo>
                  <a:cubicBezTo>
                    <a:pt x="599" y="136"/>
                    <a:pt x="599" y="136"/>
                    <a:pt x="599" y="136"/>
                  </a:cubicBezTo>
                  <a:cubicBezTo>
                    <a:pt x="602" y="136"/>
                    <a:pt x="605" y="138"/>
                    <a:pt x="607" y="140"/>
                  </a:cubicBezTo>
                  <a:cubicBezTo>
                    <a:pt x="618" y="154"/>
                    <a:pt x="618" y="154"/>
                    <a:pt x="618" y="154"/>
                  </a:cubicBezTo>
                  <a:cubicBezTo>
                    <a:pt x="659" y="193"/>
                    <a:pt x="659" y="193"/>
                    <a:pt x="659" y="193"/>
                  </a:cubicBezTo>
                  <a:cubicBezTo>
                    <a:pt x="661" y="195"/>
                    <a:pt x="662" y="198"/>
                    <a:pt x="662" y="201"/>
                  </a:cubicBezTo>
                  <a:cubicBezTo>
                    <a:pt x="662" y="204"/>
                    <a:pt x="660" y="207"/>
                    <a:pt x="658" y="209"/>
                  </a:cubicBezTo>
                  <a:cubicBezTo>
                    <a:pt x="642" y="221"/>
                    <a:pt x="642" y="221"/>
                    <a:pt x="642" y="221"/>
                  </a:cubicBezTo>
                  <a:cubicBezTo>
                    <a:pt x="640" y="222"/>
                    <a:pt x="638" y="223"/>
                    <a:pt x="636" y="223"/>
                  </a:cubicBezTo>
                  <a:cubicBezTo>
                    <a:pt x="602" y="223"/>
                    <a:pt x="602" y="223"/>
                    <a:pt x="602" y="223"/>
                  </a:cubicBezTo>
                  <a:cubicBezTo>
                    <a:pt x="599" y="225"/>
                    <a:pt x="599" y="225"/>
                    <a:pt x="599" y="225"/>
                  </a:cubicBezTo>
                  <a:cubicBezTo>
                    <a:pt x="608" y="235"/>
                    <a:pt x="608" y="235"/>
                    <a:pt x="608" y="235"/>
                  </a:cubicBezTo>
                  <a:cubicBezTo>
                    <a:pt x="610" y="238"/>
                    <a:pt x="611" y="241"/>
                    <a:pt x="610" y="244"/>
                  </a:cubicBezTo>
                  <a:cubicBezTo>
                    <a:pt x="606" y="263"/>
                    <a:pt x="606" y="263"/>
                    <a:pt x="606" y="263"/>
                  </a:cubicBezTo>
                  <a:cubicBezTo>
                    <a:pt x="605" y="268"/>
                    <a:pt x="601" y="271"/>
                    <a:pt x="596" y="271"/>
                  </a:cubicBezTo>
                  <a:cubicBezTo>
                    <a:pt x="565" y="271"/>
                    <a:pt x="565" y="271"/>
                    <a:pt x="565" y="271"/>
                  </a:cubicBezTo>
                  <a:cubicBezTo>
                    <a:pt x="497" y="314"/>
                    <a:pt x="497" y="314"/>
                    <a:pt x="497" y="314"/>
                  </a:cubicBezTo>
                  <a:cubicBezTo>
                    <a:pt x="495" y="333"/>
                    <a:pt x="495" y="333"/>
                    <a:pt x="495" y="333"/>
                  </a:cubicBezTo>
                  <a:cubicBezTo>
                    <a:pt x="494" y="335"/>
                    <a:pt x="493" y="338"/>
                    <a:pt x="491" y="339"/>
                  </a:cubicBezTo>
                  <a:cubicBezTo>
                    <a:pt x="455" y="369"/>
                    <a:pt x="455" y="369"/>
                    <a:pt x="455" y="369"/>
                  </a:cubicBezTo>
                  <a:cubicBezTo>
                    <a:pt x="451" y="401"/>
                    <a:pt x="451" y="401"/>
                    <a:pt x="451" y="401"/>
                  </a:cubicBezTo>
                  <a:cubicBezTo>
                    <a:pt x="450" y="406"/>
                    <a:pt x="446" y="410"/>
                    <a:pt x="441" y="410"/>
                  </a:cubicBezTo>
                  <a:cubicBezTo>
                    <a:pt x="427" y="412"/>
                    <a:pt x="427" y="412"/>
                    <a:pt x="427" y="412"/>
                  </a:cubicBezTo>
                  <a:cubicBezTo>
                    <a:pt x="422" y="412"/>
                    <a:pt x="418" y="410"/>
                    <a:pt x="416" y="406"/>
                  </a:cubicBezTo>
                  <a:cubicBezTo>
                    <a:pt x="403" y="376"/>
                    <a:pt x="403" y="376"/>
                    <a:pt x="403" y="376"/>
                  </a:cubicBezTo>
                  <a:cubicBezTo>
                    <a:pt x="343" y="394"/>
                    <a:pt x="343" y="394"/>
                    <a:pt x="343" y="394"/>
                  </a:cubicBezTo>
                  <a:cubicBezTo>
                    <a:pt x="331" y="436"/>
                    <a:pt x="331" y="436"/>
                    <a:pt x="331" y="436"/>
                  </a:cubicBezTo>
                  <a:cubicBezTo>
                    <a:pt x="339" y="439"/>
                    <a:pt x="347" y="442"/>
                    <a:pt x="351" y="443"/>
                  </a:cubicBezTo>
                  <a:cubicBezTo>
                    <a:pt x="353" y="441"/>
                    <a:pt x="356" y="438"/>
                    <a:pt x="358" y="436"/>
                  </a:cubicBezTo>
                  <a:cubicBezTo>
                    <a:pt x="360" y="434"/>
                    <a:pt x="363" y="433"/>
                    <a:pt x="366" y="433"/>
                  </a:cubicBezTo>
                  <a:cubicBezTo>
                    <a:pt x="388" y="433"/>
                    <a:pt x="388" y="433"/>
                    <a:pt x="388" y="433"/>
                  </a:cubicBezTo>
                  <a:cubicBezTo>
                    <a:pt x="391" y="433"/>
                    <a:pt x="394" y="434"/>
                    <a:pt x="396" y="437"/>
                  </a:cubicBezTo>
                  <a:cubicBezTo>
                    <a:pt x="398" y="440"/>
                    <a:pt x="398" y="443"/>
                    <a:pt x="397" y="446"/>
                  </a:cubicBezTo>
                  <a:cubicBezTo>
                    <a:pt x="388" y="473"/>
                    <a:pt x="388" y="473"/>
                    <a:pt x="388" y="473"/>
                  </a:cubicBezTo>
                  <a:cubicBezTo>
                    <a:pt x="412" y="480"/>
                    <a:pt x="412" y="480"/>
                    <a:pt x="412" y="480"/>
                  </a:cubicBezTo>
                  <a:cubicBezTo>
                    <a:pt x="416" y="481"/>
                    <a:pt x="419" y="485"/>
                    <a:pt x="419" y="490"/>
                  </a:cubicBezTo>
                  <a:cubicBezTo>
                    <a:pt x="419" y="511"/>
                    <a:pt x="419" y="511"/>
                    <a:pt x="419" y="511"/>
                  </a:cubicBezTo>
                  <a:cubicBezTo>
                    <a:pt x="436" y="517"/>
                    <a:pt x="436" y="517"/>
                    <a:pt x="436" y="517"/>
                  </a:cubicBezTo>
                  <a:cubicBezTo>
                    <a:pt x="462" y="502"/>
                    <a:pt x="462" y="502"/>
                    <a:pt x="462" y="502"/>
                  </a:cubicBezTo>
                  <a:cubicBezTo>
                    <a:pt x="463" y="501"/>
                    <a:pt x="465" y="500"/>
                    <a:pt x="467" y="500"/>
                  </a:cubicBezTo>
                  <a:cubicBezTo>
                    <a:pt x="553" y="500"/>
                    <a:pt x="553" y="500"/>
                    <a:pt x="553" y="500"/>
                  </a:cubicBezTo>
                  <a:cubicBezTo>
                    <a:pt x="556" y="500"/>
                    <a:pt x="558" y="501"/>
                    <a:pt x="560" y="502"/>
                  </a:cubicBezTo>
                  <a:cubicBezTo>
                    <a:pt x="632" y="561"/>
                    <a:pt x="632" y="561"/>
                    <a:pt x="632" y="561"/>
                  </a:cubicBezTo>
                  <a:cubicBezTo>
                    <a:pt x="634" y="563"/>
                    <a:pt x="636" y="566"/>
                    <a:pt x="636" y="569"/>
                  </a:cubicBezTo>
                  <a:cubicBezTo>
                    <a:pt x="636" y="578"/>
                    <a:pt x="635" y="588"/>
                    <a:pt x="634" y="596"/>
                  </a:cubicBezTo>
                  <a:cubicBezTo>
                    <a:pt x="648" y="602"/>
                    <a:pt x="688" y="612"/>
                    <a:pt x="723" y="619"/>
                  </a:cubicBezTo>
                  <a:cubicBezTo>
                    <a:pt x="726" y="620"/>
                    <a:pt x="729" y="622"/>
                    <a:pt x="730" y="625"/>
                  </a:cubicBezTo>
                  <a:cubicBezTo>
                    <a:pt x="745" y="660"/>
                    <a:pt x="745" y="660"/>
                    <a:pt x="745" y="660"/>
                  </a:cubicBezTo>
                  <a:cubicBezTo>
                    <a:pt x="746" y="663"/>
                    <a:pt x="746" y="666"/>
                    <a:pt x="745" y="668"/>
                  </a:cubicBezTo>
                  <a:cubicBezTo>
                    <a:pt x="708" y="765"/>
                    <a:pt x="708" y="765"/>
                    <a:pt x="708" y="765"/>
                  </a:cubicBezTo>
                  <a:cubicBezTo>
                    <a:pt x="708" y="766"/>
                    <a:pt x="707" y="767"/>
                    <a:pt x="707" y="768"/>
                  </a:cubicBezTo>
                  <a:cubicBezTo>
                    <a:pt x="589" y="916"/>
                    <a:pt x="589" y="916"/>
                    <a:pt x="589" y="916"/>
                  </a:cubicBezTo>
                  <a:cubicBezTo>
                    <a:pt x="589" y="980"/>
                    <a:pt x="589" y="980"/>
                    <a:pt x="589" y="980"/>
                  </a:cubicBezTo>
                  <a:cubicBezTo>
                    <a:pt x="618" y="1009"/>
                    <a:pt x="618" y="1009"/>
                    <a:pt x="618" y="1009"/>
                  </a:cubicBezTo>
                  <a:cubicBezTo>
                    <a:pt x="621" y="1013"/>
                    <a:pt x="622" y="1018"/>
                    <a:pt x="619" y="1022"/>
                  </a:cubicBezTo>
                  <a:cubicBezTo>
                    <a:pt x="617" y="1025"/>
                    <a:pt x="614" y="1027"/>
                    <a:pt x="611" y="1027"/>
                  </a:cubicBezTo>
                  <a:moveTo>
                    <a:pt x="389" y="495"/>
                  </a:moveTo>
                  <a:cubicBezTo>
                    <a:pt x="398" y="514"/>
                    <a:pt x="398" y="514"/>
                    <a:pt x="398" y="514"/>
                  </a:cubicBezTo>
                  <a:cubicBezTo>
                    <a:pt x="398" y="497"/>
                    <a:pt x="398" y="497"/>
                    <a:pt x="398" y="497"/>
                  </a:cubicBezTo>
                  <a:cubicBezTo>
                    <a:pt x="389" y="495"/>
                    <a:pt x="389" y="495"/>
                    <a:pt x="389" y="495"/>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FFFFFF"/>
                </a:solidFill>
                <a:latin typeface="Segoe UI Semilight"/>
              </a:endParaRPr>
            </a:p>
          </p:txBody>
        </p:sp>
        <p:sp>
          <p:nvSpPr>
            <p:cNvPr id="34" name="Freeform 8">
              <a:extLst>
                <a:ext uri="{FF2B5EF4-FFF2-40B4-BE49-F238E27FC236}">
                  <a16:creationId xmlns:a16="http://schemas.microsoft.com/office/drawing/2014/main" id="{29114B45-B6B5-423F-AC02-594DD14DC79C}"/>
                </a:ext>
              </a:extLst>
            </p:cNvPr>
            <p:cNvSpPr>
              <a:spLocks noEditPoints="1"/>
            </p:cNvSpPr>
            <p:nvPr/>
          </p:nvSpPr>
          <p:spPr bwMode="auto">
            <a:xfrm>
              <a:off x="1796859" y="4902379"/>
              <a:ext cx="1566923" cy="1125121"/>
            </a:xfrm>
            <a:custGeom>
              <a:avLst/>
              <a:gdLst>
                <a:gd name="T0" fmla="*/ 235 w 1153"/>
                <a:gd name="T1" fmla="*/ 777 h 829"/>
                <a:gd name="T2" fmla="*/ 208 w 1153"/>
                <a:gd name="T3" fmla="*/ 607 h 829"/>
                <a:gd name="T4" fmla="*/ 184 w 1153"/>
                <a:gd name="T5" fmla="*/ 536 h 829"/>
                <a:gd name="T6" fmla="*/ 111 w 1153"/>
                <a:gd name="T7" fmla="*/ 535 h 829"/>
                <a:gd name="T8" fmla="*/ 3 w 1153"/>
                <a:gd name="T9" fmla="*/ 457 h 829"/>
                <a:gd name="T10" fmla="*/ 3 w 1153"/>
                <a:gd name="T11" fmla="*/ 389 h 829"/>
                <a:gd name="T12" fmla="*/ 146 w 1153"/>
                <a:gd name="T13" fmla="*/ 282 h 829"/>
                <a:gd name="T14" fmla="*/ 212 w 1153"/>
                <a:gd name="T15" fmla="*/ 307 h 829"/>
                <a:gd name="T16" fmla="*/ 302 w 1153"/>
                <a:gd name="T17" fmla="*/ 311 h 829"/>
                <a:gd name="T18" fmla="*/ 340 w 1153"/>
                <a:gd name="T19" fmla="*/ 299 h 829"/>
                <a:gd name="T20" fmla="*/ 297 w 1153"/>
                <a:gd name="T21" fmla="*/ 284 h 829"/>
                <a:gd name="T22" fmla="*/ 263 w 1153"/>
                <a:gd name="T23" fmla="*/ 281 h 829"/>
                <a:gd name="T24" fmla="*/ 218 w 1153"/>
                <a:gd name="T25" fmla="*/ 227 h 829"/>
                <a:gd name="T26" fmla="*/ 228 w 1153"/>
                <a:gd name="T27" fmla="*/ 291 h 829"/>
                <a:gd name="T28" fmla="*/ 150 w 1153"/>
                <a:gd name="T29" fmla="*/ 248 h 829"/>
                <a:gd name="T30" fmla="*/ 78 w 1153"/>
                <a:gd name="T31" fmla="*/ 290 h 829"/>
                <a:gd name="T32" fmla="*/ 83 w 1153"/>
                <a:gd name="T33" fmla="*/ 225 h 829"/>
                <a:gd name="T34" fmla="*/ 103 w 1153"/>
                <a:gd name="T35" fmla="*/ 203 h 829"/>
                <a:gd name="T36" fmla="*/ 110 w 1153"/>
                <a:gd name="T37" fmla="*/ 162 h 829"/>
                <a:gd name="T38" fmla="*/ 114 w 1153"/>
                <a:gd name="T39" fmla="*/ 122 h 829"/>
                <a:gd name="T40" fmla="*/ 169 w 1153"/>
                <a:gd name="T41" fmla="*/ 150 h 829"/>
                <a:gd name="T42" fmla="*/ 280 w 1153"/>
                <a:gd name="T43" fmla="*/ 120 h 829"/>
                <a:gd name="T44" fmla="*/ 233 w 1153"/>
                <a:gd name="T45" fmla="*/ 132 h 829"/>
                <a:gd name="T46" fmla="*/ 202 w 1153"/>
                <a:gd name="T47" fmla="*/ 134 h 829"/>
                <a:gd name="T48" fmla="*/ 169 w 1153"/>
                <a:gd name="T49" fmla="*/ 99 h 829"/>
                <a:gd name="T50" fmla="*/ 279 w 1153"/>
                <a:gd name="T51" fmla="*/ 30 h 829"/>
                <a:gd name="T52" fmla="*/ 355 w 1153"/>
                <a:gd name="T53" fmla="*/ 54 h 829"/>
                <a:gd name="T54" fmla="*/ 359 w 1153"/>
                <a:gd name="T55" fmla="*/ 60 h 829"/>
                <a:gd name="T56" fmla="*/ 448 w 1153"/>
                <a:gd name="T57" fmla="*/ 43 h 829"/>
                <a:gd name="T58" fmla="*/ 508 w 1153"/>
                <a:gd name="T59" fmla="*/ 13 h 829"/>
                <a:gd name="T60" fmla="*/ 681 w 1153"/>
                <a:gd name="T61" fmla="*/ 0 h 829"/>
                <a:gd name="T62" fmla="*/ 854 w 1153"/>
                <a:gd name="T63" fmla="*/ 24 h 829"/>
                <a:gd name="T64" fmla="*/ 1152 w 1153"/>
                <a:gd name="T65" fmla="*/ 75 h 829"/>
                <a:gd name="T66" fmla="*/ 1115 w 1153"/>
                <a:gd name="T67" fmla="*/ 102 h 829"/>
                <a:gd name="T68" fmla="*/ 1091 w 1153"/>
                <a:gd name="T69" fmla="*/ 161 h 829"/>
                <a:gd name="T70" fmla="*/ 1033 w 1153"/>
                <a:gd name="T71" fmla="*/ 139 h 829"/>
                <a:gd name="T72" fmla="*/ 1001 w 1153"/>
                <a:gd name="T73" fmla="*/ 128 h 829"/>
                <a:gd name="T74" fmla="*/ 978 w 1153"/>
                <a:gd name="T75" fmla="*/ 156 h 829"/>
                <a:gd name="T76" fmla="*/ 995 w 1153"/>
                <a:gd name="T77" fmla="*/ 214 h 829"/>
                <a:gd name="T78" fmla="*/ 996 w 1153"/>
                <a:gd name="T79" fmla="*/ 274 h 829"/>
                <a:gd name="T80" fmla="*/ 969 w 1153"/>
                <a:gd name="T81" fmla="*/ 307 h 829"/>
                <a:gd name="T82" fmla="*/ 913 w 1153"/>
                <a:gd name="T83" fmla="*/ 269 h 829"/>
                <a:gd name="T84" fmla="*/ 936 w 1153"/>
                <a:gd name="T85" fmla="*/ 288 h 829"/>
                <a:gd name="T86" fmla="*/ 951 w 1153"/>
                <a:gd name="T87" fmla="*/ 378 h 829"/>
                <a:gd name="T88" fmla="*/ 865 w 1153"/>
                <a:gd name="T89" fmla="*/ 416 h 829"/>
                <a:gd name="T90" fmla="*/ 891 w 1153"/>
                <a:gd name="T91" fmla="*/ 468 h 829"/>
                <a:gd name="T92" fmla="*/ 848 w 1153"/>
                <a:gd name="T93" fmla="*/ 507 h 829"/>
                <a:gd name="T94" fmla="*/ 849 w 1153"/>
                <a:gd name="T95" fmla="*/ 552 h 829"/>
                <a:gd name="T96" fmla="*/ 805 w 1153"/>
                <a:gd name="T97" fmla="*/ 486 h 829"/>
                <a:gd name="T98" fmla="*/ 768 w 1153"/>
                <a:gd name="T99" fmla="*/ 424 h 829"/>
                <a:gd name="T100" fmla="*/ 708 w 1153"/>
                <a:gd name="T101" fmla="*/ 441 h 829"/>
                <a:gd name="T102" fmla="*/ 700 w 1153"/>
                <a:gd name="T103" fmla="*/ 462 h 829"/>
                <a:gd name="T104" fmla="*/ 652 w 1153"/>
                <a:gd name="T105" fmla="*/ 499 h 829"/>
                <a:gd name="T106" fmla="*/ 602 w 1153"/>
                <a:gd name="T107" fmla="*/ 408 h 829"/>
                <a:gd name="T108" fmla="*/ 469 w 1153"/>
                <a:gd name="T109" fmla="*/ 346 h 829"/>
                <a:gd name="T110" fmla="*/ 512 w 1153"/>
                <a:gd name="T111" fmla="*/ 373 h 829"/>
                <a:gd name="T112" fmla="*/ 510 w 1153"/>
                <a:gd name="T113" fmla="*/ 442 h 829"/>
                <a:gd name="T114" fmla="*/ 379 w 1153"/>
                <a:gd name="T115" fmla="*/ 362 h 829"/>
                <a:gd name="T116" fmla="*/ 496 w 1153"/>
                <a:gd name="T117" fmla="*/ 460 h 829"/>
                <a:gd name="T118" fmla="*/ 480 w 1153"/>
                <a:gd name="T119" fmla="*/ 539 h 829"/>
                <a:gd name="T120" fmla="*/ 420 w 1153"/>
                <a:gd name="T121" fmla="*/ 631 h 829"/>
                <a:gd name="T122" fmla="*/ 394 w 1153"/>
                <a:gd name="T123" fmla="*/ 729 h 829"/>
                <a:gd name="T124" fmla="*/ 1054 w 1153"/>
                <a:gd name="T125" fmla="*/ 13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3" h="829">
                  <a:moveTo>
                    <a:pt x="306" y="829"/>
                  </a:moveTo>
                  <a:cubicBezTo>
                    <a:pt x="266" y="829"/>
                    <a:pt x="266" y="829"/>
                    <a:pt x="266" y="829"/>
                  </a:cubicBezTo>
                  <a:cubicBezTo>
                    <a:pt x="262" y="829"/>
                    <a:pt x="258" y="827"/>
                    <a:pt x="257" y="823"/>
                  </a:cubicBezTo>
                  <a:cubicBezTo>
                    <a:pt x="235" y="777"/>
                    <a:pt x="235" y="777"/>
                    <a:pt x="235" y="777"/>
                  </a:cubicBezTo>
                  <a:cubicBezTo>
                    <a:pt x="234" y="776"/>
                    <a:pt x="234" y="776"/>
                    <a:pt x="234" y="776"/>
                  </a:cubicBezTo>
                  <a:cubicBezTo>
                    <a:pt x="204" y="699"/>
                    <a:pt x="205" y="695"/>
                    <a:pt x="206" y="691"/>
                  </a:cubicBezTo>
                  <a:cubicBezTo>
                    <a:pt x="208" y="687"/>
                    <a:pt x="217" y="661"/>
                    <a:pt x="220" y="651"/>
                  </a:cubicBezTo>
                  <a:cubicBezTo>
                    <a:pt x="208" y="607"/>
                    <a:pt x="208" y="607"/>
                    <a:pt x="208" y="607"/>
                  </a:cubicBezTo>
                  <a:cubicBezTo>
                    <a:pt x="191" y="578"/>
                    <a:pt x="191" y="578"/>
                    <a:pt x="191" y="578"/>
                  </a:cubicBezTo>
                  <a:cubicBezTo>
                    <a:pt x="190" y="576"/>
                    <a:pt x="190" y="574"/>
                    <a:pt x="190" y="573"/>
                  </a:cubicBezTo>
                  <a:cubicBezTo>
                    <a:pt x="190" y="544"/>
                    <a:pt x="190" y="544"/>
                    <a:pt x="190" y="544"/>
                  </a:cubicBezTo>
                  <a:cubicBezTo>
                    <a:pt x="184" y="536"/>
                    <a:pt x="184" y="536"/>
                    <a:pt x="184" y="536"/>
                  </a:cubicBezTo>
                  <a:cubicBezTo>
                    <a:pt x="171" y="536"/>
                    <a:pt x="171" y="536"/>
                    <a:pt x="171" y="536"/>
                  </a:cubicBezTo>
                  <a:cubicBezTo>
                    <a:pt x="168" y="536"/>
                    <a:pt x="165" y="535"/>
                    <a:pt x="163" y="533"/>
                  </a:cubicBezTo>
                  <a:cubicBezTo>
                    <a:pt x="152" y="521"/>
                    <a:pt x="152" y="521"/>
                    <a:pt x="152" y="521"/>
                  </a:cubicBezTo>
                  <a:cubicBezTo>
                    <a:pt x="111" y="535"/>
                    <a:pt x="111" y="535"/>
                    <a:pt x="111" y="535"/>
                  </a:cubicBezTo>
                  <a:cubicBezTo>
                    <a:pt x="110" y="536"/>
                    <a:pt x="109" y="536"/>
                    <a:pt x="107" y="536"/>
                  </a:cubicBezTo>
                  <a:cubicBezTo>
                    <a:pt x="71" y="536"/>
                    <a:pt x="71" y="536"/>
                    <a:pt x="71" y="536"/>
                  </a:cubicBezTo>
                  <a:cubicBezTo>
                    <a:pt x="68" y="536"/>
                    <a:pt x="65" y="535"/>
                    <a:pt x="63" y="532"/>
                  </a:cubicBezTo>
                  <a:cubicBezTo>
                    <a:pt x="3" y="457"/>
                    <a:pt x="3" y="457"/>
                    <a:pt x="3" y="457"/>
                  </a:cubicBezTo>
                  <a:cubicBezTo>
                    <a:pt x="0" y="454"/>
                    <a:pt x="0" y="450"/>
                    <a:pt x="1" y="447"/>
                  </a:cubicBezTo>
                  <a:cubicBezTo>
                    <a:pt x="11" y="424"/>
                    <a:pt x="11" y="424"/>
                    <a:pt x="11" y="424"/>
                  </a:cubicBezTo>
                  <a:cubicBezTo>
                    <a:pt x="1" y="401"/>
                    <a:pt x="1" y="401"/>
                    <a:pt x="1" y="401"/>
                  </a:cubicBezTo>
                  <a:cubicBezTo>
                    <a:pt x="0" y="397"/>
                    <a:pt x="0" y="392"/>
                    <a:pt x="3" y="389"/>
                  </a:cubicBezTo>
                  <a:cubicBezTo>
                    <a:pt x="91" y="297"/>
                    <a:pt x="91" y="297"/>
                    <a:pt x="91" y="297"/>
                  </a:cubicBezTo>
                  <a:cubicBezTo>
                    <a:pt x="93" y="295"/>
                    <a:pt x="96" y="294"/>
                    <a:pt x="99" y="294"/>
                  </a:cubicBezTo>
                  <a:cubicBezTo>
                    <a:pt x="120" y="294"/>
                    <a:pt x="120" y="294"/>
                    <a:pt x="120" y="294"/>
                  </a:cubicBezTo>
                  <a:cubicBezTo>
                    <a:pt x="146" y="282"/>
                    <a:pt x="146" y="282"/>
                    <a:pt x="146" y="282"/>
                  </a:cubicBezTo>
                  <a:cubicBezTo>
                    <a:pt x="147" y="281"/>
                    <a:pt x="149" y="281"/>
                    <a:pt x="150" y="281"/>
                  </a:cubicBezTo>
                  <a:cubicBezTo>
                    <a:pt x="194" y="282"/>
                    <a:pt x="194" y="282"/>
                    <a:pt x="194" y="282"/>
                  </a:cubicBezTo>
                  <a:cubicBezTo>
                    <a:pt x="198" y="282"/>
                    <a:pt x="202" y="285"/>
                    <a:pt x="203" y="288"/>
                  </a:cubicBezTo>
                  <a:cubicBezTo>
                    <a:pt x="212" y="307"/>
                    <a:pt x="212" y="307"/>
                    <a:pt x="212" y="307"/>
                  </a:cubicBezTo>
                  <a:cubicBezTo>
                    <a:pt x="251" y="314"/>
                    <a:pt x="251" y="314"/>
                    <a:pt x="251" y="314"/>
                  </a:cubicBezTo>
                  <a:cubicBezTo>
                    <a:pt x="256" y="315"/>
                    <a:pt x="256" y="315"/>
                    <a:pt x="256" y="315"/>
                  </a:cubicBezTo>
                  <a:cubicBezTo>
                    <a:pt x="258" y="311"/>
                    <a:pt x="262" y="308"/>
                    <a:pt x="267" y="309"/>
                  </a:cubicBezTo>
                  <a:cubicBezTo>
                    <a:pt x="302" y="311"/>
                    <a:pt x="302" y="311"/>
                    <a:pt x="302" y="311"/>
                  </a:cubicBezTo>
                  <a:cubicBezTo>
                    <a:pt x="355" y="317"/>
                    <a:pt x="355" y="317"/>
                    <a:pt x="355" y="317"/>
                  </a:cubicBezTo>
                  <a:cubicBezTo>
                    <a:pt x="359" y="316"/>
                    <a:pt x="359" y="316"/>
                    <a:pt x="359" y="316"/>
                  </a:cubicBezTo>
                  <a:cubicBezTo>
                    <a:pt x="360" y="295"/>
                    <a:pt x="360" y="295"/>
                    <a:pt x="360" y="295"/>
                  </a:cubicBezTo>
                  <a:cubicBezTo>
                    <a:pt x="340" y="299"/>
                    <a:pt x="340" y="299"/>
                    <a:pt x="340" y="299"/>
                  </a:cubicBezTo>
                  <a:cubicBezTo>
                    <a:pt x="336" y="300"/>
                    <a:pt x="333" y="299"/>
                    <a:pt x="330" y="297"/>
                  </a:cubicBezTo>
                  <a:cubicBezTo>
                    <a:pt x="298" y="266"/>
                    <a:pt x="298" y="266"/>
                    <a:pt x="298" y="266"/>
                  </a:cubicBezTo>
                  <a:cubicBezTo>
                    <a:pt x="297" y="266"/>
                    <a:pt x="297" y="266"/>
                    <a:pt x="297" y="266"/>
                  </a:cubicBezTo>
                  <a:cubicBezTo>
                    <a:pt x="297" y="284"/>
                    <a:pt x="297" y="284"/>
                    <a:pt x="297" y="284"/>
                  </a:cubicBezTo>
                  <a:cubicBezTo>
                    <a:pt x="297" y="287"/>
                    <a:pt x="295" y="291"/>
                    <a:pt x="292" y="293"/>
                  </a:cubicBezTo>
                  <a:cubicBezTo>
                    <a:pt x="288" y="294"/>
                    <a:pt x="284" y="294"/>
                    <a:pt x="281" y="292"/>
                  </a:cubicBezTo>
                  <a:cubicBezTo>
                    <a:pt x="267" y="284"/>
                    <a:pt x="267" y="284"/>
                    <a:pt x="267" y="284"/>
                  </a:cubicBezTo>
                  <a:cubicBezTo>
                    <a:pt x="265" y="283"/>
                    <a:pt x="264" y="282"/>
                    <a:pt x="263" y="281"/>
                  </a:cubicBezTo>
                  <a:cubicBezTo>
                    <a:pt x="250" y="262"/>
                    <a:pt x="250" y="262"/>
                    <a:pt x="250" y="262"/>
                  </a:cubicBezTo>
                  <a:cubicBezTo>
                    <a:pt x="250" y="261"/>
                    <a:pt x="250" y="261"/>
                    <a:pt x="250" y="261"/>
                  </a:cubicBezTo>
                  <a:cubicBezTo>
                    <a:pt x="228" y="223"/>
                    <a:pt x="228" y="223"/>
                    <a:pt x="228" y="223"/>
                  </a:cubicBezTo>
                  <a:cubicBezTo>
                    <a:pt x="218" y="227"/>
                    <a:pt x="218" y="227"/>
                    <a:pt x="218" y="227"/>
                  </a:cubicBezTo>
                  <a:cubicBezTo>
                    <a:pt x="247" y="262"/>
                    <a:pt x="247" y="262"/>
                    <a:pt x="247" y="262"/>
                  </a:cubicBezTo>
                  <a:cubicBezTo>
                    <a:pt x="250" y="266"/>
                    <a:pt x="251" y="271"/>
                    <a:pt x="248" y="275"/>
                  </a:cubicBezTo>
                  <a:cubicBezTo>
                    <a:pt x="239" y="287"/>
                    <a:pt x="239" y="287"/>
                    <a:pt x="239" y="287"/>
                  </a:cubicBezTo>
                  <a:cubicBezTo>
                    <a:pt x="236" y="290"/>
                    <a:pt x="232" y="292"/>
                    <a:pt x="228" y="291"/>
                  </a:cubicBezTo>
                  <a:cubicBezTo>
                    <a:pt x="224" y="290"/>
                    <a:pt x="221" y="286"/>
                    <a:pt x="221" y="282"/>
                  </a:cubicBezTo>
                  <a:cubicBezTo>
                    <a:pt x="218" y="267"/>
                    <a:pt x="218" y="267"/>
                    <a:pt x="218" y="267"/>
                  </a:cubicBezTo>
                  <a:cubicBezTo>
                    <a:pt x="193" y="244"/>
                    <a:pt x="193" y="244"/>
                    <a:pt x="193" y="244"/>
                  </a:cubicBezTo>
                  <a:cubicBezTo>
                    <a:pt x="150" y="248"/>
                    <a:pt x="150" y="248"/>
                    <a:pt x="150" y="248"/>
                  </a:cubicBezTo>
                  <a:cubicBezTo>
                    <a:pt x="129" y="279"/>
                    <a:pt x="129" y="279"/>
                    <a:pt x="129" y="279"/>
                  </a:cubicBezTo>
                  <a:cubicBezTo>
                    <a:pt x="128" y="282"/>
                    <a:pt x="125" y="283"/>
                    <a:pt x="123" y="284"/>
                  </a:cubicBezTo>
                  <a:cubicBezTo>
                    <a:pt x="86" y="292"/>
                    <a:pt x="86" y="292"/>
                    <a:pt x="86" y="292"/>
                  </a:cubicBezTo>
                  <a:cubicBezTo>
                    <a:pt x="83" y="293"/>
                    <a:pt x="80" y="292"/>
                    <a:pt x="78" y="290"/>
                  </a:cubicBezTo>
                  <a:cubicBezTo>
                    <a:pt x="75" y="288"/>
                    <a:pt x="74" y="286"/>
                    <a:pt x="74" y="282"/>
                  </a:cubicBezTo>
                  <a:cubicBezTo>
                    <a:pt x="72" y="235"/>
                    <a:pt x="72" y="235"/>
                    <a:pt x="72" y="235"/>
                  </a:cubicBezTo>
                  <a:cubicBezTo>
                    <a:pt x="72" y="233"/>
                    <a:pt x="73" y="230"/>
                    <a:pt x="75" y="228"/>
                  </a:cubicBezTo>
                  <a:cubicBezTo>
                    <a:pt x="77" y="226"/>
                    <a:pt x="80" y="225"/>
                    <a:pt x="83" y="225"/>
                  </a:cubicBezTo>
                  <a:cubicBezTo>
                    <a:pt x="117" y="225"/>
                    <a:pt x="117" y="225"/>
                    <a:pt x="117" y="225"/>
                  </a:cubicBezTo>
                  <a:cubicBezTo>
                    <a:pt x="118" y="217"/>
                    <a:pt x="118" y="217"/>
                    <a:pt x="118" y="217"/>
                  </a:cubicBezTo>
                  <a:cubicBezTo>
                    <a:pt x="108" y="212"/>
                    <a:pt x="108" y="212"/>
                    <a:pt x="108" y="212"/>
                  </a:cubicBezTo>
                  <a:cubicBezTo>
                    <a:pt x="105" y="210"/>
                    <a:pt x="103" y="207"/>
                    <a:pt x="103" y="203"/>
                  </a:cubicBezTo>
                  <a:cubicBezTo>
                    <a:pt x="103" y="200"/>
                    <a:pt x="105" y="196"/>
                    <a:pt x="108" y="194"/>
                  </a:cubicBezTo>
                  <a:cubicBezTo>
                    <a:pt x="128" y="181"/>
                    <a:pt x="128" y="181"/>
                    <a:pt x="128" y="181"/>
                  </a:cubicBezTo>
                  <a:cubicBezTo>
                    <a:pt x="115" y="172"/>
                    <a:pt x="115" y="172"/>
                    <a:pt x="115" y="172"/>
                  </a:cubicBezTo>
                  <a:cubicBezTo>
                    <a:pt x="112" y="170"/>
                    <a:pt x="110" y="166"/>
                    <a:pt x="110" y="162"/>
                  </a:cubicBezTo>
                  <a:cubicBezTo>
                    <a:pt x="111" y="154"/>
                    <a:pt x="111" y="154"/>
                    <a:pt x="111" y="154"/>
                  </a:cubicBezTo>
                  <a:cubicBezTo>
                    <a:pt x="106" y="149"/>
                    <a:pt x="106" y="149"/>
                    <a:pt x="106" y="149"/>
                  </a:cubicBezTo>
                  <a:cubicBezTo>
                    <a:pt x="103" y="145"/>
                    <a:pt x="102" y="140"/>
                    <a:pt x="105" y="136"/>
                  </a:cubicBezTo>
                  <a:cubicBezTo>
                    <a:pt x="114" y="122"/>
                    <a:pt x="114" y="122"/>
                    <a:pt x="114" y="122"/>
                  </a:cubicBezTo>
                  <a:cubicBezTo>
                    <a:pt x="115" y="120"/>
                    <a:pt x="118" y="118"/>
                    <a:pt x="122" y="118"/>
                  </a:cubicBezTo>
                  <a:cubicBezTo>
                    <a:pt x="125" y="118"/>
                    <a:pt x="128" y="119"/>
                    <a:pt x="130" y="122"/>
                  </a:cubicBezTo>
                  <a:cubicBezTo>
                    <a:pt x="160" y="160"/>
                    <a:pt x="160" y="160"/>
                    <a:pt x="160" y="160"/>
                  </a:cubicBezTo>
                  <a:cubicBezTo>
                    <a:pt x="169" y="150"/>
                    <a:pt x="169" y="150"/>
                    <a:pt x="169" y="150"/>
                  </a:cubicBezTo>
                  <a:cubicBezTo>
                    <a:pt x="171" y="148"/>
                    <a:pt x="174" y="147"/>
                    <a:pt x="176" y="147"/>
                  </a:cubicBezTo>
                  <a:cubicBezTo>
                    <a:pt x="199" y="147"/>
                    <a:pt x="199" y="147"/>
                    <a:pt x="199" y="147"/>
                  </a:cubicBezTo>
                  <a:cubicBezTo>
                    <a:pt x="250" y="139"/>
                    <a:pt x="250" y="139"/>
                    <a:pt x="250" y="139"/>
                  </a:cubicBezTo>
                  <a:cubicBezTo>
                    <a:pt x="280" y="120"/>
                    <a:pt x="280" y="120"/>
                    <a:pt x="280" y="120"/>
                  </a:cubicBezTo>
                  <a:cubicBezTo>
                    <a:pt x="261" y="91"/>
                    <a:pt x="261" y="91"/>
                    <a:pt x="261" y="91"/>
                  </a:cubicBezTo>
                  <a:cubicBezTo>
                    <a:pt x="252" y="112"/>
                    <a:pt x="252" y="112"/>
                    <a:pt x="252" y="112"/>
                  </a:cubicBezTo>
                  <a:cubicBezTo>
                    <a:pt x="251" y="113"/>
                    <a:pt x="251" y="114"/>
                    <a:pt x="250" y="115"/>
                  </a:cubicBezTo>
                  <a:cubicBezTo>
                    <a:pt x="233" y="132"/>
                    <a:pt x="233" y="132"/>
                    <a:pt x="233" y="132"/>
                  </a:cubicBezTo>
                  <a:cubicBezTo>
                    <a:pt x="232" y="133"/>
                    <a:pt x="232" y="133"/>
                    <a:pt x="232" y="133"/>
                  </a:cubicBezTo>
                  <a:cubicBezTo>
                    <a:pt x="223" y="140"/>
                    <a:pt x="223" y="140"/>
                    <a:pt x="223" y="140"/>
                  </a:cubicBezTo>
                  <a:cubicBezTo>
                    <a:pt x="220" y="142"/>
                    <a:pt x="215" y="143"/>
                    <a:pt x="212" y="140"/>
                  </a:cubicBezTo>
                  <a:cubicBezTo>
                    <a:pt x="202" y="134"/>
                    <a:pt x="202" y="134"/>
                    <a:pt x="202" y="134"/>
                  </a:cubicBezTo>
                  <a:cubicBezTo>
                    <a:pt x="182" y="137"/>
                    <a:pt x="182" y="137"/>
                    <a:pt x="182" y="137"/>
                  </a:cubicBezTo>
                  <a:cubicBezTo>
                    <a:pt x="177" y="137"/>
                    <a:pt x="172" y="134"/>
                    <a:pt x="171" y="129"/>
                  </a:cubicBezTo>
                  <a:cubicBezTo>
                    <a:pt x="166" y="108"/>
                    <a:pt x="166" y="108"/>
                    <a:pt x="166" y="108"/>
                  </a:cubicBezTo>
                  <a:cubicBezTo>
                    <a:pt x="166" y="105"/>
                    <a:pt x="167" y="101"/>
                    <a:pt x="169" y="99"/>
                  </a:cubicBezTo>
                  <a:cubicBezTo>
                    <a:pt x="221" y="47"/>
                    <a:pt x="221" y="47"/>
                    <a:pt x="221" y="47"/>
                  </a:cubicBezTo>
                  <a:cubicBezTo>
                    <a:pt x="222" y="46"/>
                    <a:pt x="223" y="45"/>
                    <a:pt x="225" y="45"/>
                  </a:cubicBezTo>
                  <a:cubicBezTo>
                    <a:pt x="278" y="30"/>
                    <a:pt x="278" y="30"/>
                    <a:pt x="278" y="30"/>
                  </a:cubicBezTo>
                  <a:cubicBezTo>
                    <a:pt x="278" y="30"/>
                    <a:pt x="279" y="30"/>
                    <a:pt x="279" y="30"/>
                  </a:cubicBezTo>
                  <a:cubicBezTo>
                    <a:pt x="344" y="20"/>
                    <a:pt x="344" y="20"/>
                    <a:pt x="344" y="20"/>
                  </a:cubicBezTo>
                  <a:cubicBezTo>
                    <a:pt x="349" y="19"/>
                    <a:pt x="354" y="22"/>
                    <a:pt x="355" y="27"/>
                  </a:cubicBezTo>
                  <a:cubicBezTo>
                    <a:pt x="359" y="43"/>
                    <a:pt x="359" y="43"/>
                    <a:pt x="359" y="43"/>
                  </a:cubicBezTo>
                  <a:cubicBezTo>
                    <a:pt x="361" y="47"/>
                    <a:pt x="359" y="52"/>
                    <a:pt x="355" y="54"/>
                  </a:cubicBezTo>
                  <a:cubicBezTo>
                    <a:pt x="329" y="72"/>
                    <a:pt x="329" y="72"/>
                    <a:pt x="329" y="72"/>
                  </a:cubicBezTo>
                  <a:cubicBezTo>
                    <a:pt x="331" y="81"/>
                    <a:pt x="331" y="81"/>
                    <a:pt x="331" y="81"/>
                  </a:cubicBezTo>
                  <a:cubicBezTo>
                    <a:pt x="356" y="62"/>
                    <a:pt x="356" y="62"/>
                    <a:pt x="356" y="62"/>
                  </a:cubicBezTo>
                  <a:cubicBezTo>
                    <a:pt x="357" y="61"/>
                    <a:pt x="358" y="61"/>
                    <a:pt x="359" y="60"/>
                  </a:cubicBezTo>
                  <a:cubicBezTo>
                    <a:pt x="389" y="52"/>
                    <a:pt x="389" y="52"/>
                    <a:pt x="389" y="52"/>
                  </a:cubicBezTo>
                  <a:cubicBezTo>
                    <a:pt x="390" y="52"/>
                    <a:pt x="390" y="52"/>
                    <a:pt x="390" y="52"/>
                  </a:cubicBezTo>
                  <a:cubicBezTo>
                    <a:pt x="446" y="43"/>
                    <a:pt x="446" y="43"/>
                    <a:pt x="446" y="43"/>
                  </a:cubicBezTo>
                  <a:cubicBezTo>
                    <a:pt x="447" y="43"/>
                    <a:pt x="448" y="43"/>
                    <a:pt x="448" y="43"/>
                  </a:cubicBezTo>
                  <a:cubicBezTo>
                    <a:pt x="472" y="44"/>
                    <a:pt x="472" y="44"/>
                    <a:pt x="472" y="44"/>
                  </a:cubicBezTo>
                  <a:cubicBezTo>
                    <a:pt x="471" y="41"/>
                    <a:pt x="471" y="36"/>
                    <a:pt x="474" y="33"/>
                  </a:cubicBezTo>
                  <a:cubicBezTo>
                    <a:pt x="493" y="14"/>
                    <a:pt x="493" y="14"/>
                    <a:pt x="493" y="14"/>
                  </a:cubicBezTo>
                  <a:cubicBezTo>
                    <a:pt x="497" y="10"/>
                    <a:pt x="504" y="10"/>
                    <a:pt x="508" y="13"/>
                  </a:cubicBezTo>
                  <a:cubicBezTo>
                    <a:pt x="523" y="28"/>
                    <a:pt x="523" y="28"/>
                    <a:pt x="523" y="28"/>
                  </a:cubicBezTo>
                  <a:cubicBezTo>
                    <a:pt x="580" y="1"/>
                    <a:pt x="580" y="1"/>
                    <a:pt x="580" y="1"/>
                  </a:cubicBezTo>
                  <a:cubicBezTo>
                    <a:pt x="581" y="1"/>
                    <a:pt x="583" y="0"/>
                    <a:pt x="584" y="0"/>
                  </a:cubicBezTo>
                  <a:cubicBezTo>
                    <a:pt x="681" y="0"/>
                    <a:pt x="681" y="0"/>
                    <a:pt x="681" y="0"/>
                  </a:cubicBezTo>
                  <a:cubicBezTo>
                    <a:pt x="687" y="0"/>
                    <a:pt x="691" y="5"/>
                    <a:pt x="691" y="11"/>
                  </a:cubicBezTo>
                  <a:cubicBezTo>
                    <a:pt x="691" y="20"/>
                    <a:pt x="691" y="20"/>
                    <a:pt x="691" y="20"/>
                  </a:cubicBezTo>
                  <a:cubicBezTo>
                    <a:pt x="814" y="33"/>
                    <a:pt x="814" y="33"/>
                    <a:pt x="814" y="33"/>
                  </a:cubicBezTo>
                  <a:cubicBezTo>
                    <a:pt x="854" y="24"/>
                    <a:pt x="854" y="24"/>
                    <a:pt x="854" y="24"/>
                  </a:cubicBezTo>
                  <a:cubicBezTo>
                    <a:pt x="855" y="24"/>
                    <a:pt x="856" y="24"/>
                    <a:pt x="857" y="24"/>
                  </a:cubicBezTo>
                  <a:cubicBezTo>
                    <a:pt x="954" y="35"/>
                    <a:pt x="1100" y="51"/>
                    <a:pt x="1108" y="52"/>
                  </a:cubicBezTo>
                  <a:cubicBezTo>
                    <a:pt x="1110" y="52"/>
                    <a:pt x="1116" y="52"/>
                    <a:pt x="1146" y="64"/>
                  </a:cubicBezTo>
                  <a:cubicBezTo>
                    <a:pt x="1150" y="66"/>
                    <a:pt x="1153" y="71"/>
                    <a:pt x="1152" y="75"/>
                  </a:cubicBezTo>
                  <a:cubicBezTo>
                    <a:pt x="1151" y="80"/>
                    <a:pt x="1147" y="84"/>
                    <a:pt x="1142" y="84"/>
                  </a:cubicBezTo>
                  <a:cubicBezTo>
                    <a:pt x="1109" y="86"/>
                    <a:pt x="1109" y="86"/>
                    <a:pt x="1109" y="86"/>
                  </a:cubicBezTo>
                  <a:cubicBezTo>
                    <a:pt x="1114" y="93"/>
                    <a:pt x="1114" y="93"/>
                    <a:pt x="1114" y="93"/>
                  </a:cubicBezTo>
                  <a:cubicBezTo>
                    <a:pt x="1115" y="96"/>
                    <a:pt x="1116" y="99"/>
                    <a:pt x="1115" y="102"/>
                  </a:cubicBezTo>
                  <a:cubicBezTo>
                    <a:pt x="1114" y="105"/>
                    <a:pt x="1112" y="107"/>
                    <a:pt x="1109" y="108"/>
                  </a:cubicBezTo>
                  <a:cubicBezTo>
                    <a:pt x="1076" y="124"/>
                    <a:pt x="1076" y="124"/>
                    <a:pt x="1076" y="124"/>
                  </a:cubicBezTo>
                  <a:cubicBezTo>
                    <a:pt x="1092" y="149"/>
                    <a:pt x="1092" y="149"/>
                    <a:pt x="1092" y="149"/>
                  </a:cubicBezTo>
                  <a:cubicBezTo>
                    <a:pt x="1094" y="153"/>
                    <a:pt x="1094" y="157"/>
                    <a:pt x="1091" y="161"/>
                  </a:cubicBezTo>
                  <a:cubicBezTo>
                    <a:pt x="1085" y="168"/>
                    <a:pt x="1085" y="168"/>
                    <a:pt x="1085" y="168"/>
                  </a:cubicBezTo>
                  <a:cubicBezTo>
                    <a:pt x="1082" y="172"/>
                    <a:pt x="1076" y="173"/>
                    <a:pt x="1072" y="170"/>
                  </a:cubicBezTo>
                  <a:cubicBezTo>
                    <a:pt x="1038" y="148"/>
                    <a:pt x="1038" y="148"/>
                    <a:pt x="1038" y="148"/>
                  </a:cubicBezTo>
                  <a:cubicBezTo>
                    <a:pt x="1035" y="146"/>
                    <a:pt x="1033" y="143"/>
                    <a:pt x="1033" y="139"/>
                  </a:cubicBezTo>
                  <a:cubicBezTo>
                    <a:pt x="1035" y="113"/>
                    <a:pt x="1035" y="113"/>
                    <a:pt x="1035" y="113"/>
                  </a:cubicBezTo>
                  <a:cubicBezTo>
                    <a:pt x="1010" y="113"/>
                    <a:pt x="1010" y="113"/>
                    <a:pt x="1010" y="113"/>
                  </a:cubicBezTo>
                  <a:cubicBezTo>
                    <a:pt x="1012" y="116"/>
                    <a:pt x="1012" y="120"/>
                    <a:pt x="1010" y="123"/>
                  </a:cubicBezTo>
                  <a:cubicBezTo>
                    <a:pt x="1008" y="126"/>
                    <a:pt x="1005" y="128"/>
                    <a:pt x="1001" y="128"/>
                  </a:cubicBezTo>
                  <a:cubicBezTo>
                    <a:pt x="951" y="128"/>
                    <a:pt x="951" y="128"/>
                    <a:pt x="951" y="128"/>
                  </a:cubicBezTo>
                  <a:cubicBezTo>
                    <a:pt x="940" y="145"/>
                    <a:pt x="940" y="145"/>
                    <a:pt x="940" y="145"/>
                  </a:cubicBezTo>
                  <a:cubicBezTo>
                    <a:pt x="974" y="153"/>
                    <a:pt x="974" y="153"/>
                    <a:pt x="974" y="153"/>
                  </a:cubicBezTo>
                  <a:cubicBezTo>
                    <a:pt x="976" y="154"/>
                    <a:pt x="977" y="154"/>
                    <a:pt x="978" y="156"/>
                  </a:cubicBezTo>
                  <a:cubicBezTo>
                    <a:pt x="1026" y="198"/>
                    <a:pt x="1026" y="198"/>
                    <a:pt x="1026" y="198"/>
                  </a:cubicBezTo>
                  <a:cubicBezTo>
                    <a:pt x="1029" y="201"/>
                    <a:pt x="1030" y="206"/>
                    <a:pt x="1028" y="210"/>
                  </a:cubicBezTo>
                  <a:cubicBezTo>
                    <a:pt x="1027" y="214"/>
                    <a:pt x="1022" y="216"/>
                    <a:pt x="1018" y="216"/>
                  </a:cubicBezTo>
                  <a:cubicBezTo>
                    <a:pt x="995" y="214"/>
                    <a:pt x="995" y="214"/>
                    <a:pt x="995" y="214"/>
                  </a:cubicBezTo>
                  <a:cubicBezTo>
                    <a:pt x="989" y="238"/>
                    <a:pt x="989" y="238"/>
                    <a:pt x="989" y="238"/>
                  </a:cubicBezTo>
                  <a:cubicBezTo>
                    <a:pt x="989" y="238"/>
                    <a:pt x="989" y="239"/>
                    <a:pt x="988" y="239"/>
                  </a:cubicBezTo>
                  <a:cubicBezTo>
                    <a:pt x="978" y="261"/>
                    <a:pt x="978" y="261"/>
                    <a:pt x="978" y="261"/>
                  </a:cubicBezTo>
                  <a:cubicBezTo>
                    <a:pt x="996" y="274"/>
                    <a:pt x="996" y="274"/>
                    <a:pt x="996" y="274"/>
                  </a:cubicBezTo>
                  <a:cubicBezTo>
                    <a:pt x="1000" y="278"/>
                    <a:pt x="1001" y="284"/>
                    <a:pt x="997" y="288"/>
                  </a:cubicBezTo>
                  <a:cubicBezTo>
                    <a:pt x="984" y="306"/>
                    <a:pt x="984" y="306"/>
                    <a:pt x="984" y="306"/>
                  </a:cubicBezTo>
                  <a:cubicBezTo>
                    <a:pt x="982" y="308"/>
                    <a:pt x="980" y="310"/>
                    <a:pt x="977" y="310"/>
                  </a:cubicBezTo>
                  <a:cubicBezTo>
                    <a:pt x="974" y="310"/>
                    <a:pt x="971" y="309"/>
                    <a:pt x="969" y="307"/>
                  </a:cubicBezTo>
                  <a:cubicBezTo>
                    <a:pt x="942" y="281"/>
                    <a:pt x="942" y="281"/>
                    <a:pt x="942" y="281"/>
                  </a:cubicBezTo>
                  <a:cubicBezTo>
                    <a:pt x="942" y="280"/>
                    <a:pt x="942" y="280"/>
                    <a:pt x="942" y="280"/>
                  </a:cubicBezTo>
                  <a:cubicBezTo>
                    <a:pt x="934" y="270"/>
                    <a:pt x="934" y="270"/>
                    <a:pt x="934" y="270"/>
                  </a:cubicBezTo>
                  <a:cubicBezTo>
                    <a:pt x="913" y="269"/>
                    <a:pt x="913" y="269"/>
                    <a:pt x="913" y="269"/>
                  </a:cubicBezTo>
                  <a:cubicBezTo>
                    <a:pt x="911" y="271"/>
                    <a:pt x="911" y="271"/>
                    <a:pt x="911" y="271"/>
                  </a:cubicBezTo>
                  <a:cubicBezTo>
                    <a:pt x="929" y="275"/>
                    <a:pt x="929" y="275"/>
                    <a:pt x="929" y="275"/>
                  </a:cubicBezTo>
                  <a:cubicBezTo>
                    <a:pt x="931" y="276"/>
                    <a:pt x="934" y="277"/>
                    <a:pt x="935" y="280"/>
                  </a:cubicBezTo>
                  <a:cubicBezTo>
                    <a:pt x="936" y="282"/>
                    <a:pt x="937" y="285"/>
                    <a:pt x="936" y="288"/>
                  </a:cubicBezTo>
                  <a:cubicBezTo>
                    <a:pt x="933" y="299"/>
                    <a:pt x="933" y="299"/>
                    <a:pt x="933" y="299"/>
                  </a:cubicBezTo>
                  <a:cubicBezTo>
                    <a:pt x="956" y="327"/>
                    <a:pt x="956" y="327"/>
                    <a:pt x="956" y="327"/>
                  </a:cubicBezTo>
                  <a:cubicBezTo>
                    <a:pt x="958" y="329"/>
                    <a:pt x="959" y="332"/>
                    <a:pt x="958" y="335"/>
                  </a:cubicBezTo>
                  <a:cubicBezTo>
                    <a:pt x="951" y="378"/>
                    <a:pt x="951" y="378"/>
                    <a:pt x="951" y="378"/>
                  </a:cubicBezTo>
                  <a:cubicBezTo>
                    <a:pt x="950" y="381"/>
                    <a:pt x="948" y="384"/>
                    <a:pt x="945" y="385"/>
                  </a:cubicBezTo>
                  <a:cubicBezTo>
                    <a:pt x="887" y="413"/>
                    <a:pt x="887" y="413"/>
                    <a:pt x="887" y="413"/>
                  </a:cubicBezTo>
                  <a:cubicBezTo>
                    <a:pt x="885" y="414"/>
                    <a:pt x="884" y="414"/>
                    <a:pt x="883" y="414"/>
                  </a:cubicBezTo>
                  <a:cubicBezTo>
                    <a:pt x="865" y="416"/>
                    <a:pt x="865" y="416"/>
                    <a:pt x="865" y="416"/>
                  </a:cubicBezTo>
                  <a:cubicBezTo>
                    <a:pt x="865" y="423"/>
                    <a:pt x="865" y="423"/>
                    <a:pt x="865" y="423"/>
                  </a:cubicBezTo>
                  <a:cubicBezTo>
                    <a:pt x="882" y="433"/>
                    <a:pt x="882" y="433"/>
                    <a:pt x="882" y="433"/>
                  </a:cubicBezTo>
                  <a:cubicBezTo>
                    <a:pt x="884" y="435"/>
                    <a:pt x="886" y="437"/>
                    <a:pt x="886" y="440"/>
                  </a:cubicBezTo>
                  <a:cubicBezTo>
                    <a:pt x="887" y="443"/>
                    <a:pt x="891" y="460"/>
                    <a:pt x="891" y="468"/>
                  </a:cubicBezTo>
                  <a:cubicBezTo>
                    <a:pt x="891" y="481"/>
                    <a:pt x="876" y="489"/>
                    <a:pt x="867" y="493"/>
                  </a:cubicBezTo>
                  <a:cubicBezTo>
                    <a:pt x="864" y="494"/>
                    <a:pt x="860" y="494"/>
                    <a:pt x="857" y="492"/>
                  </a:cubicBezTo>
                  <a:cubicBezTo>
                    <a:pt x="843" y="481"/>
                    <a:pt x="843" y="481"/>
                    <a:pt x="843" y="481"/>
                  </a:cubicBezTo>
                  <a:cubicBezTo>
                    <a:pt x="848" y="507"/>
                    <a:pt x="848" y="507"/>
                    <a:pt x="848" y="507"/>
                  </a:cubicBezTo>
                  <a:cubicBezTo>
                    <a:pt x="859" y="537"/>
                    <a:pt x="859" y="537"/>
                    <a:pt x="859" y="537"/>
                  </a:cubicBezTo>
                  <a:cubicBezTo>
                    <a:pt x="859" y="539"/>
                    <a:pt x="860" y="540"/>
                    <a:pt x="860" y="542"/>
                  </a:cubicBezTo>
                  <a:cubicBezTo>
                    <a:pt x="860" y="547"/>
                    <a:pt x="855" y="552"/>
                    <a:pt x="849" y="552"/>
                  </a:cubicBezTo>
                  <a:cubicBezTo>
                    <a:pt x="849" y="552"/>
                    <a:pt x="849" y="552"/>
                    <a:pt x="849" y="552"/>
                  </a:cubicBezTo>
                  <a:cubicBezTo>
                    <a:pt x="847" y="552"/>
                    <a:pt x="844" y="551"/>
                    <a:pt x="842" y="549"/>
                  </a:cubicBezTo>
                  <a:cubicBezTo>
                    <a:pt x="813" y="519"/>
                    <a:pt x="813" y="519"/>
                    <a:pt x="813" y="519"/>
                  </a:cubicBezTo>
                  <a:cubicBezTo>
                    <a:pt x="812" y="518"/>
                    <a:pt x="811" y="516"/>
                    <a:pt x="811" y="514"/>
                  </a:cubicBezTo>
                  <a:cubicBezTo>
                    <a:pt x="805" y="486"/>
                    <a:pt x="805" y="486"/>
                    <a:pt x="805" y="486"/>
                  </a:cubicBezTo>
                  <a:cubicBezTo>
                    <a:pt x="792" y="446"/>
                    <a:pt x="792" y="446"/>
                    <a:pt x="792" y="446"/>
                  </a:cubicBezTo>
                  <a:cubicBezTo>
                    <a:pt x="789" y="446"/>
                    <a:pt x="789" y="446"/>
                    <a:pt x="789" y="446"/>
                  </a:cubicBezTo>
                  <a:cubicBezTo>
                    <a:pt x="785" y="447"/>
                    <a:pt x="780" y="445"/>
                    <a:pt x="778" y="441"/>
                  </a:cubicBezTo>
                  <a:cubicBezTo>
                    <a:pt x="768" y="424"/>
                    <a:pt x="768" y="424"/>
                    <a:pt x="768" y="424"/>
                  </a:cubicBezTo>
                  <a:cubicBezTo>
                    <a:pt x="767" y="423"/>
                    <a:pt x="767" y="423"/>
                    <a:pt x="767" y="423"/>
                  </a:cubicBezTo>
                  <a:cubicBezTo>
                    <a:pt x="758" y="405"/>
                    <a:pt x="758" y="405"/>
                    <a:pt x="758" y="405"/>
                  </a:cubicBezTo>
                  <a:cubicBezTo>
                    <a:pt x="736" y="405"/>
                    <a:pt x="736" y="405"/>
                    <a:pt x="736" y="405"/>
                  </a:cubicBezTo>
                  <a:cubicBezTo>
                    <a:pt x="708" y="441"/>
                    <a:pt x="708" y="441"/>
                    <a:pt x="708" y="441"/>
                  </a:cubicBezTo>
                  <a:cubicBezTo>
                    <a:pt x="708" y="442"/>
                    <a:pt x="707" y="443"/>
                    <a:pt x="705" y="444"/>
                  </a:cubicBezTo>
                  <a:cubicBezTo>
                    <a:pt x="696" y="449"/>
                    <a:pt x="696" y="449"/>
                    <a:pt x="696" y="449"/>
                  </a:cubicBezTo>
                  <a:cubicBezTo>
                    <a:pt x="699" y="453"/>
                    <a:pt x="699" y="453"/>
                    <a:pt x="699" y="453"/>
                  </a:cubicBezTo>
                  <a:cubicBezTo>
                    <a:pt x="700" y="456"/>
                    <a:pt x="701" y="459"/>
                    <a:pt x="700" y="462"/>
                  </a:cubicBezTo>
                  <a:cubicBezTo>
                    <a:pt x="685" y="504"/>
                    <a:pt x="685" y="504"/>
                    <a:pt x="685" y="504"/>
                  </a:cubicBezTo>
                  <a:cubicBezTo>
                    <a:pt x="684" y="507"/>
                    <a:pt x="682" y="509"/>
                    <a:pt x="679" y="510"/>
                  </a:cubicBezTo>
                  <a:cubicBezTo>
                    <a:pt x="676" y="511"/>
                    <a:pt x="673" y="511"/>
                    <a:pt x="670" y="510"/>
                  </a:cubicBezTo>
                  <a:cubicBezTo>
                    <a:pt x="652" y="499"/>
                    <a:pt x="652" y="499"/>
                    <a:pt x="652" y="499"/>
                  </a:cubicBezTo>
                  <a:cubicBezTo>
                    <a:pt x="650" y="498"/>
                    <a:pt x="649" y="496"/>
                    <a:pt x="648" y="493"/>
                  </a:cubicBezTo>
                  <a:cubicBezTo>
                    <a:pt x="635" y="451"/>
                    <a:pt x="635" y="451"/>
                    <a:pt x="635" y="451"/>
                  </a:cubicBezTo>
                  <a:cubicBezTo>
                    <a:pt x="623" y="428"/>
                    <a:pt x="623" y="428"/>
                    <a:pt x="623" y="428"/>
                  </a:cubicBezTo>
                  <a:cubicBezTo>
                    <a:pt x="602" y="408"/>
                    <a:pt x="602" y="408"/>
                    <a:pt x="602" y="408"/>
                  </a:cubicBezTo>
                  <a:cubicBezTo>
                    <a:pt x="602" y="408"/>
                    <a:pt x="601" y="408"/>
                    <a:pt x="601" y="407"/>
                  </a:cubicBezTo>
                  <a:cubicBezTo>
                    <a:pt x="583" y="384"/>
                    <a:pt x="583" y="384"/>
                    <a:pt x="583" y="384"/>
                  </a:cubicBezTo>
                  <a:cubicBezTo>
                    <a:pt x="534" y="359"/>
                    <a:pt x="534" y="359"/>
                    <a:pt x="534" y="359"/>
                  </a:cubicBezTo>
                  <a:cubicBezTo>
                    <a:pt x="469" y="346"/>
                    <a:pt x="469" y="346"/>
                    <a:pt x="469" y="346"/>
                  </a:cubicBezTo>
                  <a:cubicBezTo>
                    <a:pt x="464" y="350"/>
                    <a:pt x="464" y="350"/>
                    <a:pt x="464" y="350"/>
                  </a:cubicBezTo>
                  <a:cubicBezTo>
                    <a:pt x="484" y="372"/>
                    <a:pt x="484" y="372"/>
                    <a:pt x="484" y="372"/>
                  </a:cubicBezTo>
                  <a:cubicBezTo>
                    <a:pt x="508" y="372"/>
                    <a:pt x="508" y="372"/>
                    <a:pt x="508" y="372"/>
                  </a:cubicBezTo>
                  <a:cubicBezTo>
                    <a:pt x="509" y="372"/>
                    <a:pt x="511" y="372"/>
                    <a:pt x="512" y="373"/>
                  </a:cubicBezTo>
                  <a:cubicBezTo>
                    <a:pt x="542" y="386"/>
                    <a:pt x="542" y="386"/>
                    <a:pt x="542" y="386"/>
                  </a:cubicBezTo>
                  <a:cubicBezTo>
                    <a:pt x="545" y="387"/>
                    <a:pt x="547" y="390"/>
                    <a:pt x="547" y="393"/>
                  </a:cubicBezTo>
                  <a:cubicBezTo>
                    <a:pt x="548" y="396"/>
                    <a:pt x="547" y="399"/>
                    <a:pt x="545" y="402"/>
                  </a:cubicBezTo>
                  <a:cubicBezTo>
                    <a:pt x="510" y="442"/>
                    <a:pt x="510" y="442"/>
                    <a:pt x="510" y="442"/>
                  </a:cubicBezTo>
                  <a:cubicBezTo>
                    <a:pt x="508" y="443"/>
                    <a:pt x="507" y="444"/>
                    <a:pt x="505" y="445"/>
                  </a:cubicBezTo>
                  <a:cubicBezTo>
                    <a:pt x="440" y="461"/>
                    <a:pt x="440" y="461"/>
                    <a:pt x="440" y="461"/>
                  </a:cubicBezTo>
                  <a:cubicBezTo>
                    <a:pt x="436" y="462"/>
                    <a:pt x="431" y="460"/>
                    <a:pt x="428" y="456"/>
                  </a:cubicBezTo>
                  <a:cubicBezTo>
                    <a:pt x="379" y="362"/>
                    <a:pt x="379" y="362"/>
                    <a:pt x="379" y="362"/>
                  </a:cubicBezTo>
                  <a:cubicBezTo>
                    <a:pt x="366" y="370"/>
                    <a:pt x="366" y="370"/>
                    <a:pt x="366" y="370"/>
                  </a:cubicBezTo>
                  <a:cubicBezTo>
                    <a:pt x="433" y="476"/>
                    <a:pt x="433" y="476"/>
                    <a:pt x="433" y="476"/>
                  </a:cubicBezTo>
                  <a:cubicBezTo>
                    <a:pt x="487" y="459"/>
                    <a:pt x="487" y="459"/>
                    <a:pt x="487" y="459"/>
                  </a:cubicBezTo>
                  <a:cubicBezTo>
                    <a:pt x="490" y="458"/>
                    <a:pt x="494" y="458"/>
                    <a:pt x="496" y="460"/>
                  </a:cubicBezTo>
                  <a:cubicBezTo>
                    <a:pt x="499" y="462"/>
                    <a:pt x="501" y="465"/>
                    <a:pt x="501" y="468"/>
                  </a:cubicBezTo>
                  <a:cubicBezTo>
                    <a:pt x="501" y="477"/>
                    <a:pt x="501" y="477"/>
                    <a:pt x="501" y="477"/>
                  </a:cubicBezTo>
                  <a:cubicBezTo>
                    <a:pt x="501" y="478"/>
                    <a:pt x="500" y="480"/>
                    <a:pt x="500" y="481"/>
                  </a:cubicBezTo>
                  <a:cubicBezTo>
                    <a:pt x="480" y="539"/>
                    <a:pt x="480" y="539"/>
                    <a:pt x="480" y="539"/>
                  </a:cubicBezTo>
                  <a:cubicBezTo>
                    <a:pt x="479" y="542"/>
                    <a:pt x="477" y="544"/>
                    <a:pt x="475" y="545"/>
                  </a:cubicBezTo>
                  <a:cubicBezTo>
                    <a:pt x="443" y="563"/>
                    <a:pt x="443" y="563"/>
                    <a:pt x="443" y="563"/>
                  </a:cubicBezTo>
                  <a:cubicBezTo>
                    <a:pt x="417" y="610"/>
                    <a:pt x="417" y="610"/>
                    <a:pt x="417" y="610"/>
                  </a:cubicBezTo>
                  <a:cubicBezTo>
                    <a:pt x="420" y="631"/>
                    <a:pt x="420" y="631"/>
                    <a:pt x="420" y="631"/>
                  </a:cubicBezTo>
                  <a:cubicBezTo>
                    <a:pt x="429" y="676"/>
                    <a:pt x="429" y="676"/>
                    <a:pt x="429" y="676"/>
                  </a:cubicBezTo>
                  <a:cubicBezTo>
                    <a:pt x="429" y="680"/>
                    <a:pt x="428" y="683"/>
                    <a:pt x="426" y="686"/>
                  </a:cubicBezTo>
                  <a:cubicBezTo>
                    <a:pt x="389" y="720"/>
                    <a:pt x="389" y="720"/>
                    <a:pt x="389" y="720"/>
                  </a:cubicBezTo>
                  <a:cubicBezTo>
                    <a:pt x="394" y="729"/>
                    <a:pt x="394" y="729"/>
                    <a:pt x="394" y="729"/>
                  </a:cubicBezTo>
                  <a:cubicBezTo>
                    <a:pt x="396" y="733"/>
                    <a:pt x="395" y="738"/>
                    <a:pt x="392" y="741"/>
                  </a:cubicBezTo>
                  <a:cubicBezTo>
                    <a:pt x="313" y="826"/>
                    <a:pt x="313" y="826"/>
                    <a:pt x="313" y="826"/>
                  </a:cubicBezTo>
                  <a:cubicBezTo>
                    <a:pt x="311" y="828"/>
                    <a:pt x="308" y="829"/>
                    <a:pt x="306" y="829"/>
                  </a:cubicBezTo>
                  <a:moveTo>
                    <a:pt x="1054" y="135"/>
                  </a:moveTo>
                  <a:cubicBezTo>
                    <a:pt x="1062" y="139"/>
                    <a:pt x="1062" y="139"/>
                    <a:pt x="1062" y="139"/>
                  </a:cubicBezTo>
                  <a:cubicBezTo>
                    <a:pt x="1055" y="128"/>
                    <a:pt x="1055" y="128"/>
                    <a:pt x="1055" y="128"/>
                  </a:cubicBezTo>
                  <a:cubicBezTo>
                    <a:pt x="1054" y="135"/>
                    <a:pt x="1054" y="135"/>
                    <a:pt x="1054" y="135"/>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Semilight"/>
              </a:endParaRPr>
            </a:p>
          </p:txBody>
        </p:sp>
        <p:sp>
          <p:nvSpPr>
            <p:cNvPr id="35" name="Freeform 17">
              <a:extLst>
                <a:ext uri="{FF2B5EF4-FFF2-40B4-BE49-F238E27FC236}">
                  <a16:creationId xmlns:a16="http://schemas.microsoft.com/office/drawing/2014/main" id="{1E17B100-DAAD-40C3-8019-95A562258CB9}"/>
                </a:ext>
              </a:extLst>
            </p:cNvPr>
            <p:cNvSpPr>
              <a:spLocks noEditPoints="1"/>
            </p:cNvSpPr>
            <p:nvPr/>
          </p:nvSpPr>
          <p:spPr bwMode="auto">
            <a:xfrm>
              <a:off x="3095757" y="5450213"/>
              <a:ext cx="70688" cy="91307"/>
            </a:xfrm>
            <a:custGeom>
              <a:avLst/>
              <a:gdLst>
                <a:gd name="T0" fmla="*/ 43 w 53"/>
                <a:gd name="T1" fmla="*/ 66 h 66"/>
                <a:gd name="T2" fmla="*/ 42 w 53"/>
                <a:gd name="T3" fmla="*/ 66 h 66"/>
                <a:gd name="T4" fmla="*/ 9 w 53"/>
                <a:gd name="T5" fmla="*/ 64 h 66"/>
                <a:gd name="T6" fmla="*/ 2 w 53"/>
                <a:gd name="T7" fmla="*/ 60 h 66"/>
                <a:gd name="T8" fmla="*/ 0 w 53"/>
                <a:gd name="T9" fmla="*/ 53 h 66"/>
                <a:gd name="T10" fmla="*/ 4 w 53"/>
                <a:gd name="T11" fmla="*/ 10 h 66"/>
                <a:gd name="T12" fmla="*/ 12 w 53"/>
                <a:gd name="T13" fmla="*/ 1 h 66"/>
                <a:gd name="T14" fmla="*/ 23 w 53"/>
                <a:gd name="T15" fmla="*/ 5 h 66"/>
                <a:gd name="T16" fmla="*/ 51 w 53"/>
                <a:gd name="T17" fmla="*/ 50 h 66"/>
                <a:gd name="T18" fmla="*/ 53 w 53"/>
                <a:gd name="T19" fmla="*/ 56 h 66"/>
                <a:gd name="T20" fmla="*/ 43 w 53"/>
                <a:gd name="T21" fmla="*/ 66 h 66"/>
                <a:gd name="T22" fmla="*/ 21 w 53"/>
                <a:gd name="T23" fmla="*/ 44 h 66"/>
                <a:gd name="T24" fmla="*/ 23 w 53"/>
                <a:gd name="T25" fmla="*/ 44 h 66"/>
                <a:gd name="T26" fmla="*/ 22 w 53"/>
                <a:gd name="T27" fmla="*/ 42 h 66"/>
                <a:gd name="T28" fmla="*/ 21 w 53"/>
                <a:gd name="T29"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66">
                  <a:moveTo>
                    <a:pt x="43" y="66"/>
                  </a:moveTo>
                  <a:cubicBezTo>
                    <a:pt x="42" y="66"/>
                    <a:pt x="42" y="66"/>
                    <a:pt x="42" y="66"/>
                  </a:cubicBezTo>
                  <a:cubicBezTo>
                    <a:pt x="9" y="64"/>
                    <a:pt x="9" y="64"/>
                    <a:pt x="9" y="64"/>
                  </a:cubicBezTo>
                  <a:cubicBezTo>
                    <a:pt x="7" y="64"/>
                    <a:pt x="4" y="62"/>
                    <a:pt x="2" y="60"/>
                  </a:cubicBezTo>
                  <a:cubicBezTo>
                    <a:pt x="1" y="58"/>
                    <a:pt x="0" y="55"/>
                    <a:pt x="0" y="53"/>
                  </a:cubicBezTo>
                  <a:cubicBezTo>
                    <a:pt x="4" y="10"/>
                    <a:pt x="4" y="10"/>
                    <a:pt x="4" y="10"/>
                  </a:cubicBezTo>
                  <a:cubicBezTo>
                    <a:pt x="4" y="6"/>
                    <a:pt x="8" y="2"/>
                    <a:pt x="12" y="1"/>
                  </a:cubicBezTo>
                  <a:cubicBezTo>
                    <a:pt x="16" y="0"/>
                    <a:pt x="21" y="2"/>
                    <a:pt x="23" y="5"/>
                  </a:cubicBezTo>
                  <a:cubicBezTo>
                    <a:pt x="51" y="50"/>
                    <a:pt x="51" y="50"/>
                    <a:pt x="51" y="50"/>
                  </a:cubicBezTo>
                  <a:cubicBezTo>
                    <a:pt x="52" y="52"/>
                    <a:pt x="53" y="54"/>
                    <a:pt x="53" y="56"/>
                  </a:cubicBezTo>
                  <a:cubicBezTo>
                    <a:pt x="53" y="62"/>
                    <a:pt x="48" y="66"/>
                    <a:pt x="43" y="66"/>
                  </a:cubicBezTo>
                  <a:close/>
                  <a:moveTo>
                    <a:pt x="21" y="44"/>
                  </a:moveTo>
                  <a:cubicBezTo>
                    <a:pt x="23" y="44"/>
                    <a:pt x="23" y="44"/>
                    <a:pt x="23" y="44"/>
                  </a:cubicBezTo>
                  <a:cubicBezTo>
                    <a:pt x="22" y="42"/>
                    <a:pt x="22" y="42"/>
                    <a:pt x="22" y="42"/>
                  </a:cubicBezTo>
                  <a:lnTo>
                    <a:pt x="21" y="44"/>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Semilight"/>
              </a:endParaRPr>
            </a:p>
          </p:txBody>
        </p:sp>
        <p:sp>
          <p:nvSpPr>
            <p:cNvPr id="36" name="Freeform: Shape 113">
              <a:extLst>
                <a:ext uri="{FF2B5EF4-FFF2-40B4-BE49-F238E27FC236}">
                  <a16:creationId xmlns:a16="http://schemas.microsoft.com/office/drawing/2014/main" id="{4F4B19D4-A889-466F-94BA-C84D2B4F353A}"/>
                </a:ext>
              </a:extLst>
            </p:cNvPr>
            <p:cNvSpPr>
              <a:spLocks/>
            </p:cNvSpPr>
            <p:nvPr/>
          </p:nvSpPr>
          <p:spPr bwMode="auto">
            <a:xfrm>
              <a:off x="1201900" y="5144740"/>
              <a:ext cx="2259925" cy="1038862"/>
            </a:xfrm>
            <a:custGeom>
              <a:avLst/>
              <a:gdLst>
                <a:gd name="connsiteX0" fmla="*/ 1974262 w 2259925"/>
                <a:gd name="connsiteY0" fmla="*/ 960697 h 1038862"/>
                <a:gd name="connsiteX1" fmla="*/ 1995469 w 2259925"/>
                <a:gd name="connsiteY1" fmla="*/ 963415 h 1038862"/>
                <a:gd name="connsiteX2" fmla="*/ 2006072 w 2259925"/>
                <a:gd name="connsiteY2" fmla="*/ 972931 h 1038862"/>
                <a:gd name="connsiteX3" fmla="*/ 2003421 w 2259925"/>
                <a:gd name="connsiteY3" fmla="*/ 987884 h 1038862"/>
                <a:gd name="connsiteX4" fmla="*/ 1983540 w 2259925"/>
                <a:gd name="connsiteY4" fmla="*/ 1008275 h 1038862"/>
                <a:gd name="connsiteX5" fmla="*/ 1972937 w 2259925"/>
                <a:gd name="connsiteY5" fmla="*/ 1012353 h 1038862"/>
                <a:gd name="connsiteX6" fmla="*/ 1968961 w 2259925"/>
                <a:gd name="connsiteY6" fmla="*/ 1010994 h 1038862"/>
                <a:gd name="connsiteX7" fmla="*/ 1959683 w 2259925"/>
                <a:gd name="connsiteY7" fmla="*/ 1000119 h 1038862"/>
                <a:gd name="connsiteX8" fmla="*/ 1955707 w 2259925"/>
                <a:gd name="connsiteY8" fmla="*/ 977009 h 1038862"/>
                <a:gd name="connsiteX9" fmla="*/ 1961008 w 2259925"/>
                <a:gd name="connsiteY9" fmla="*/ 963415 h 1038862"/>
                <a:gd name="connsiteX10" fmla="*/ 1974262 w 2259925"/>
                <a:gd name="connsiteY10" fmla="*/ 960697 h 1038862"/>
                <a:gd name="connsiteX11" fmla="*/ 2161818 w 2259925"/>
                <a:gd name="connsiteY11" fmla="*/ 954802 h 1038862"/>
                <a:gd name="connsiteX12" fmla="*/ 2169886 w 2259925"/>
                <a:gd name="connsiteY12" fmla="*/ 962937 h 1038862"/>
                <a:gd name="connsiteX13" fmla="*/ 2173920 w 2259925"/>
                <a:gd name="connsiteY13" fmla="*/ 979207 h 1038862"/>
                <a:gd name="connsiteX14" fmla="*/ 2167197 w 2259925"/>
                <a:gd name="connsiteY14" fmla="*/ 995476 h 1038862"/>
                <a:gd name="connsiteX15" fmla="*/ 2074419 w 2259925"/>
                <a:gd name="connsiteY15" fmla="*/ 1037506 h 1038862"/>
                <a:gd name="connsiteX16" fmla="*/ 2069040 w 2259925"/>
                <a:gd name="connsiteY16" fmla="*/ 1038862 h 1038862"/>
                <a:gd name="connsiteX17" fmla="*/ 2056939 w 2259925"/>
                <a:gd name="connsiteY17" fmla="*/ 1032083 h 1038862"/>
                <a:gd name="connsiteX18" fmla="*/ 2060973 w 2259925"/>
                <a:gd name="connsiteY18" fmla="*/ 1013102 h 1038862"/>
                <a:gd name="connsiteX19" fmla="*/ 2149717 w 2259925"/>
                <a:gd name="connsiteY19" fmla="*/ 956158 h 1038862"/>
                <a:gd name="connsiteX20" fmla="*/ 2161818 w 2259925"/>
                <a:gd name="connsiteY20" fmla="*/ 954802 h 1038862"/>
                <a:gd name="connsiteX21" fmla="*/ 2226681 w 2259925"/>
                <a:gd name="connsiteY21" fmla="*/ 892949 h 1038862"/>
                <a:gd name="connsiteX22" fmla="*/ 2238730 w 2259925"/>
                <a:gd name="connsiteY22" fmla="*/ 902439 h 1038862"/>
                <a:gd name="connsiteX23" fmla="*/ 2242747 w 2259925"/>
                <a:gd name="connsiteY23" fmla="*/ 917353 h 1038862"/>
                <a:gd name="connsiteX24" fmla="*/ 2254796 w 2259925"/>
                <a:gd name="connsiteY24" fmla="*/ 926844 h 1038862"/>
                <a:gd name="connsiteX25" fmla="*/ 2249441 w 2259925"/>
                <a:gd name="connsiteY25" fmla="*/ 943114 h 1038862"/>
                <a:gd name="connsiteX26" fmla="*/ 2205260 w 2259925"/>
                <a:gd name="connsiteY26" fmla="*/ 974298 h 1038862"/>
                <a:gd name="connsiteX27" fmla="*/ 2197227 w 2259925"/>
                <a:gd name="connsiteY27" fmla="*/ 977009 h 1038862"/>
                <a:gd name="connsiteX28" fmla="*/ 2189194 w 2259925"/>
                <a:gd name="connsiteY28" fmla="*/ 974298 h 1038862"/>
                <a:gd name="connsiteX29" fmla="*/ 2185178 w 2259925"/>
                <a:gd name="connsiteY29" fmla="*/ 956672 h 1038862"/>
                <a:gd name="connsiteX30" fmla="*/ 2213293 w 2259925"/>
                <a:gd name="connsiteY30" fmla="*/ 899728 h 1038862"/>
                <a:gd name="connsiteX31" fmla="*/ 2226681 w 2259925"/>
                <a:gd name="connsiteY31" fmla="*/ 892949 h 1038862"/>
                <a:gd name="connsiteX32" fmla="*/ 1932483 w 2259925"/>
                <a:gd name="connsiteY32" fmla="*/ 653021 h 1038862"/>
                <a:gd name="connsiteX33" fmla="*/ 1984111 w 2259925"/>
                <a:gd name="connsiteY33" fmla="*/ 657093 h 1038862"/>
                <a:gd name="connsiteX34" fmla="*/ 1993621 w 2259925"/>
                <a:gd name="connsiteY34" fmla="*/ 663879 h 1038862"/>
                <a:gd name="connsiteX35" fmla="*/ 1996338 w 2259925"/>
                <a:gd name="connsiteY35" fmla="*/ 676095 h 1038862"/>
                <a:gd name="connsiteX36" fmla="*/ 1992263 w 2259925"/>
                <a:gd name="connsiteY36" fmla="*/ 685596 h 1038862"/>
                <a:gd name="connsiteX37" fmla="*/ 2011283 w 2259925"/>
                <a:gd name="connsiteY37" fmla="*/ 692382 h 1038862"/>
                <a:gd name="connsiteX38" fmla="*/ 2028946 w 2259925"/>
                <a:gd name="connsiteY38" fmla="*/ 659807 h 1038862"/>
                <a:gd name="connsiteX39" fmla="*/ 2039815 w 2259925"/>
                <a:gd name="connsiteY39" fmla="*/ 653021 h 1038862"/>
                <a:gd name="connsiteX40" fmla="*/ 2050684 w 2259925"/>
                <a:gd name="connsiteY40" fmla="*/ 657093 h 1038862"/>
                <a:gd name="connsiteX41" fmla="*/ 2073780 w 2259925"/>
                <a:gd name="connsiteY41" fmla="*/ 677452 h 1038862"/>
                <a:gd name="connsiteX42" fmla="*/ 2079215 w 2259925"/>
                <a:gd name="connsiteY42" fmla="*/ 684239 h 1038862"/>
                <a:gd name="connsiteX43" fmla="*/ 2088725 w 2259925"/>
                <a:gd name="connsiteY43" fmla="*/ 734459 h 1038862"/>
                <a:gd name="connsiteX44" fmla="*/ 2125408 w 2259925"/>
                <a:gd name="connsiteY44" fmla="*/ 791465 h 1038862"/>
                <a:gd name="connsiteX45" fmla="*/ 2126767 w 2259925"/>
                <a:gd name="connsiteY45" fmla="*/ 806396 h 1038862"/>
                <a:gd name="connsiteX46" fmla="*/ 2087367 w 2259925"/>
                <a:gd name="connsiteY46" fmla="*/ 883762 h 1038862"/>
                <a:gd name="connsiteX47" fmla="*/ 2083291 w 2259925"/>
                <a:gd name="connsiteY47" fmla="*/ 887834 h 1038862"/>
                <a:gd name="connsiteX48" fmla="*/ 2034380 w 2259925"/>
                <a:gd name="connsiteY48" fmla="*/ 929910 h 1038862"/>
                <a:gd name="connsiteX49" fmla="*/ 2028946 w 2259925"/>
                <a:gd name="connsiteY49" fmla="*/ 932625 h 1038862"/>
                <a:gd name="connsiteX50" fmla="*/ 1982752 w 2259925"/>
                <a:gd name="connsiteY50" fmla="*/ 947555 h 1038862"/>
                <a:gd name="connsiteX51" fmla="*/ 1978676 w 2259925"/>
                <a:gd name="connsiteY51" fmla="*/ 947555 h 1038862"/>
                <a:gd name="connsiteX52" fmla="*/ 1973242 w 2259925"/>
                <a:gd name="connsiteY52" fmla="*/ 946198 h 1038862"/>
                <a:gd name="connsiteX53" fmla="*/ 1933841 w 2259925"/>
                <a:gd name="connsiteY53" fmla="*/ 919052 h 1038862"/>
                <a:gd name="connsiteX54" fmla="*/ 1917538 w 2259925"/>
                <a:gd name="connsiteY54" fmla="*/ 891905 h 1038862"/>
                <a:gd name="connsiteX55" fmla="*/ 1883572 w 2259925"/>
                <a:gd name="connsiteY55" fmla="*/ 864759 h 1038862"/>
                <a:gd name="connsiteX56" fmla="*/ 1814282 w 2259925"/>
                <a:gd name="connsiteY56" fmla="*/ 900050 h 1038862"/>
                <a:gd name="connsiteX57" fmla="*/ 1808847 w 2259925"/>
                <a:gd name="connsiteY57" fmla="*/ 901407 h 1038862"/>
                <a:gd name="connsiteX58" fmla="*/ 1740916 w 2259925"/>
                <a:gd name="connsiteY58" fmla="*/ 905479 h 1038862"/>
                <a:gd name="connsiteX59" fmla="*/ 1728688 w 2259925"/>
                <a:gd name="connsiteY59" fmla="*/ 898692 h 1038862"/>
                <a:gd name="connsiteX60" fmla="*/ 1727330 w 2259925"/>
                <a:gd name="connsiteY60" fmla="*/ 885119 h 1038862"/>
                <a:gd name="connsiteX61" fmla="*/ 1736840 w 2259925"/>
                <a:gd name="connsiteY61" fmla="*/ 867474 h 1038862"/>
                <a:gd name="connsiteX62" fmla="*/ 1743633 w 2259925"/>
                <a:gd name="connsiteY62" fmla="*/ 762962 h 1038862"/>
                <a:gd name="connsiteX63" fmla="*/ 1754502 w 2259925"/>
                <a:gd name="connsiteY63" fmla="*/ 750746 h 1038862"/>
                <a:gd name="connsiteX64" fmla="*/ 1810206 w 2259925"/>
                <a:gd name="connsiteY64" fmla="*/ 735816 h 1038862"/>
                <a:gd name="connsiteX65" fmla="*/ 1827868 w 2259925"/>
                <a:gd name="connsiteY65" fmla="*/ 716814 h 1038862"/>
                <a:gd name="connsiteX66" fmla="*/ 1829227 w 2259925"/>
                <a:gd name="connsiteY66" fmla="*/ 715457 h 1038862"/>
                <a:gd name="connsiteX67" fmla="*/ 1882213 w 2259925"/>
                <a:gd name="connsiteY67" fmla="*/ 676095 h 1038862"/>
                <a:gd name="connsiteX68" fmla="*/ 1897158 w 2259925"/>
                <a:gd name="connsiteY68" fmla="*/ 674738 h 1038862"/>
                <a:gd name="connsiteX69" fmla="*/ 1909386 w 2259925"/>
                <a:gd name="connsiteY69" fmla="*/ 681524 h 1038862"/>
                <a:gd name="connsiteX70" fmla="*/ 1917538 w 2259925"/>
                <a:gd name="connsiteY70" fmla="*/ 661165 h 1038862"/>
                <a:gd name="connsiteX71" fmla="*/ 1932483 w 2259925"/>
                <a:gd name="connsiteY71" fmla="*/ 653021 h 1038862"/>
                <a:gd name="connsiteX72" fmla="*/ 1240163 w 2259925"/>
                <a:gd name="connsiteY72" fmla="*/ 639645 h 1038862"/>
                <a:gd name="connsiteX73" fmla="*/ 1249426 w 2259925"/>
                <a:gd name="connsiteY73" fmla="*/ 650445 h 1038862"/>
                <a:gd name="connsiteX74" fmla="*/ 1254719 w 2259925"/>
                <a:gd name="connsiteY74" fmla="*/ 677444 h 1038862"/>
                <a:gd name="connsiteX75" fmla="*/ 1253396 w 2259925"/>
                <a:gd name="connsiteY75" fmla="*/ 684194 h 1038862"/>
                <a:gd name="connsiteX76" fmla="*/ 1220314 w 2259925"/>
                <a:gd name="connsiteY76" fmla="*/ 790841 h 1038862"/>
                <a:gd name="connsiteX77" fmla="*/ 1212374 w 2259925"/>
                <a:gd name="connsiteY77" fmla="*/ 800290 h 1038862"/>
                <a:gd name="connsiteX78" fmla="*/ 1207081 w 2259925"/>
                <a:gd name="connsiteY78" fmla="*/ 800290 h 1038862"/>
                <a:gd name="connsiteX79" fmla="*/ 1200464 w 2259925"/>
                <a:gd name="connsiteY79" fmla="*/ 798940 h 1038862"/>
                <a:gd name="connsiteX80" fmla="*/ 1171352 w 2259925"/>
                <a:gd name="connsiteY80" fmla="*/ 780041 h 1038862"/>
                <a:gd name="connsiteX81" fmla="*/ 1167382 w 2259925"/>
                <a:gd name="connsiteY81" fmla="*/ 762491 h 1038862"/>
                <a:gd name="connsiteX82" fmla="*/ 1173998 w 2259925"/>
                <a:gd name="connsiteY82" fmla="*/ 747642 h 1038862"/>
                <a:gd name="connsiteX83" fmla="*/ 1177968 w 2259925"/>
                <a:gd name="connsiteY83" fmla="*/ 708493 h 1038862"/>
                <a:gd name="connsiteX84" fmla="*/ 1180615 w 2259925"/>
                <a:gd name="connsiteY84" fmla="*/ 703093 h 1038862"/>
                <a:gd name="connsiteX85" fmla="*/ 1193848 w 2259925"/>
                <a:gd name="connsiteY85" fmla="*/ 681494 h 1038862"/>
                <a:gd name="connsiteX86" fmla="*/ 1195171 w 2259925"/>
                <a:gd name="connsiteY86" fmla="*/ 680144 h 1038862"/>
                <a:gd name="connsiteX87" fmla="*/ 1225607 w 2259925"/>
                <a:gd name="connsiteY87" fmla="*/ 643695 h 1038862"/>
                <a:gd name="connsiteX88" fmla="*/ 1240163 w 2259925"/>
                <a:gd name="connsiteY88" fmla="*/ 639645 h 1038862"/>
                <a:gd name="connsiteX89" fmla="*/ 1873160 w 2259925"/>
                <a:gd name="connsiteY89" fmla="*/ 595523 h 1038862"/>
                <a:gd name="connsiteX90" fmla="*/ 1892106 w 2259925"/>
                <a:gd name="connsiteY90" fmla="*/ 598340 h 1038862"/>
                <a:gd name="connsiteX91" fmla="*/ 1904286 w 2259925"/>
                <a:gd name="connsiteY91" fmla="*/ 613836 h 1038862"/>
                <a:gd name="connsiteX92" fmla="*/ 1890753 w 2259925"/>
                <a:gd name="connsiteY92" fmla="*/ 626514 h 1038862"/>
                <a:gd name="connsiteX93" fmla="*/ 1889399 w 2259925"/>
                <a:gd name="connsiteY93" fmla="*/ 626514 h 1038862"/>
                <a:gd name="connsiteX94" fmla="*/ 1869100 w 2259925"/>
                <a:gd name="connsiteY94" fmla="*/ 623697 h 1038862"/>
                <a:gd name="connsiteX95" fmla="*/ 1856920 w 2259925"/>
                <a:gd name="connsiteY95" fmla="*/ 608201 h 1038862"/>
                <a:gd name="connsiteX96" fmla="*/ 1873160 w 2259925"/>
                <a:gd name="connsiteY96" fmla="*/ 595523 h 1038862"/>
                <a:gd name="connsiteX97" fmla="*/ 1786237 w 2259925"/>
                <a:gd name="connsiteY97" fmla="*/ 576258 h 1038862"/>
                <a:gd name="connsiteX98" fmla="*/ 1843331 w 2259925"/>
                <a:gd name="connsiteY98" fmla="*/ 590064 h 1038862"/>
                <a:gd name="connsiteX99" fmla="*/ 1854206 w 2259925"/>
                <a:gd name="connsiteY99" fmla="*/ 606632 h 1038862"/>
                <a:gd name="connsiteX100" fmla="*/ 1840613 w 2259925"/>
                <a:gd name="connsiteY100" fmla="*/ 617677 h 1038862"/>
                <a:gd name="connsiteX101" fmla="*/ 1836534 w 2259925"/>
                <a:gd name="connsiteY101" fmla="*/ 617677 h 1038862"/>
                <a:gd name="connsiteX102" fmla="*/ 1779440 w 2259925"/>
                <a:gd name="connsiteY102" fmla="*/ 603871 h 1038862"/>
                <a:gd name="connsiteX103" fmla="*/ 1768565 w 2259925"/>
                <a:gd name="connsiteY103" fmla="*/ 585922 h 1038862"/>
                <a:gd name="connsiteX104" fmla="*/ 1786237 w 2259925"/>
                <a:gd name="connsiteY104" fmla="*/ 576258 h 1038862"/>
                <a:gd name="connsiteX105" fmla="*/ 2161884 w 2259925"/>
                <a:gd name="connsiteY105" fmla="*/ 536749 h 1038862"/>
                <a:gd name="connsiteX106" fmla="*/ 2172106 w 2259925"/>
                <a:gd name="connsiteY106" fmla="*/ 540687 h 1038862"/>
                <a:gd name="connsiteX107" fmla="*/ 2187353 w 2259925"/>
                <a:gd name="connsiteY107" fmla="*/ 553017 h 1038862"/>
                <a:gd name="connsiteX108" fmla="*/ 2190125 w 2259925"/>
                <a:gd name="connsiteY108" fmla="*/ 570826 h 1038862"/>
                <a:gd name="connsiteX109" fmla="*/ 2186633 w 2259925"/>
                <a:gd name="connsiteY109" fmla="*/ 577154 h 1038862"/>
                <a:gd name="connsiteX110" fmla="*/ 2196384 w 2259925"/>
                <a:gd name="connsiteY110" fmla="*/ 571875 h 1038862"/>
                <a:gd name="connsiteX111" fmla="*/ 2207181 w 2259925"/>
                <a:gd name="connsiteY111" fmla="*/ 574519 h 1038862"/>
                <a:gd name="connsiteX112" fmla="*/ 2253799 w 2259925"/>
                <a:gd name="connsiteY112" fmla="*/ 611547 h 1038862"/>
                <a:gd name="connsiteX113" fmla="*/ 2256542 w 2259925"/>
                <a:gd name="connsiteY113" fmla="*/ 630061 h 1038862"/>
                <a:gd name="connsiteX114" fmla="*/ 2245573 w 2259925"/>
                <a:gd name="connsiteY114" fmla="*/ 635350 h 1038862"/>
                <a:gd name="connsiteX115" fmla="*/ 2237346 w 2259925"/>
                <a:gd name="connsiteY115" fmla="*/ 632705 h 1038862"/>
                <a:gd name="connsiteX116" fmla="*/ 2189357 w 2259925"/>
                <a:gd name="connsiteY116" fmla="*/ 595678 h 1038862"/>
                <a:gd name="connsiteX117" fmla="*/ 2184386 w 2259925"/>
                <a:gd name="connsiteY117" fmla="*/ 586917 h 1038862"/>
                <a:gd name="connsiteX118" fmla="*/ 2186605 w 2259925"/>
                <a:gd name="connsiteY118" fmla="*/ 577204 h 1038862"/>
                <a:gd name="connsiteX119" fmla="*/ 2182848 w 2259925"/>
                <a:gd name="connsiteY119" fmla="*/ 584012 h 1038862"/>
                <a:gd name="connsiteX120" fmla="*/ 2181808 w 2259925"/>
                <a:gd name="connsiteY120" fmla="*/ 585896 h 1038862"/>
                <a:gd name="connsiteX121" fmla="*/ 2169334 w 2259925"/>
                <a:gd name="connsiteY121" fmla="*/ 594115 h 1038862"/>
                <a:gd name="connsiteX122" fmla="*/ 2162404 w 2259925"/>
                <a:gd name="connsiteY122" fmla="*/ 591375 h 1038862"/>
                <a:gd name="connsiteX123" fmla="*/ 2156859 w 2259925"/>
                <a:gd name="connsiteY123" fmla="*/ 572196 h 1038862"/>
                <a:gd name="connsiteX124" fmla="*/ 2159631 w 2259925"/>
                <a:gd name="connsiteY124" fmla="*/ 566716 h 1038862"/>
                <a:gd name="connsiteX125" fmla="*/ 2154087 w 2259925"/>
                <a:gd name="connsiteY125" fmla="*/ 561236 h 1038862"/>
                <a:gd name="connsiteX126" fmla="*/ 2152701 w 2259925"/>
                <a:gd name="connsiteY126" fmla="*/ 542057 h 1038862"/>
                <a:gd name="connsiteX127" fmla="*/ 2161884 w 2259925"/>
                <a:gd name="connsiteY127" fmla="*/ 536749 h 1038862"/>
                <a:gd name="connsiteX128" fmla="*/ 2000032 w 2259925"/>
                <a:gd name="connsiteY128" fmla="*/ 518887 h 1038862"/>
                <a:gd name="connsiteX129" fmla="*/ 2013736 w 2259925"/>
                <a:gd name="connsiteY129" fmla="*/ 522945 h 1038862"/>
                <a:gd name="connsiteX130" fmla="*/ 2024700 w 2259925"/>
                <a:gd name="connsiteY130" fmla="*/ 537822 h 1038862"/>
                <a:gd name="connsiteX131" fmla="*/ 2039774 w 2259925"/>
                <a:gd name="connsiteY131" fmla="*/ 531059 h 1038862"/>
                <a:gd name="connsiteX132" fmla="*/ 2052108 w 2259925"/>
                <a:gd name="connsiteY132" fmla="*/ 531059 h 1038862"/>
                <a:gd name="connsiteX133" fmla="*/ 2128851 w 2259925"/>
                <a:gd name="connsiteY133" fmla="*/ 570281 h 1038862"/>
                <a:gd name="connsiteX134" fmla="*/ 2132962 w 2259925"/>
                <a:gd name="connsiteY134" fmla="*/ 574339 h 1038862"/>
                <a:gd name="connsiteX135" fmla="*/ 2175445 w 2259925"/>
                <a:gd name="connsiteY135" fmla="*/ 628437 h 1038862"/>
                <a:gd name="connsiteX136" fmla="*/ 2174074 w 2259925"/>
                <a:gd name="connsiteY136" fmla="*/ 646019 h 1038862"/>
                <a:gd name="connsiteX137" fmla="*/ 2163111 w 2259925"/>
                <a:gd name="connsiteY137" fmla="*/ 650076 h 1038862"/>
                <a:gd name="connsiteX138" fmla="*/ 2156259 w 2259925"/>
                <a:gd name="connsiteY138" fmla="*/ 647371 h 1038862"/>
                <a:gd name="connsiteX139" fmla="*/ 2104183 w 2259925"/>
                <a:gd name="connsiteY139" fmla="*/ 613560 h 1038862"/>
                <a:gd name="connsiteX140" fmla="*/ 2093220 w 2259925"/>
                <a:gd name="connsiteY140" fmla="*/ 624380 h 1038862"/>
                <a:gd name="connsiteX141" fmla="*/ 2076775 w 2259925"/>
                <a:gd name="connsiteY141" fmla="*/ 627084 h 1038862"/>
                <a:gd name="connsiteX142" fmla="*/ 2038404 w 2259925"/>
                <a:gd name="connsiteY142" fmla="*/ 608150 h 1038862"/>
                <a:gd name="connsiteX143" fmla="*/ 2030181 w 2259925"/>
                <a:gd name="connsiteY143" fmla="*/ 593273 h 1038862"/>
                <a:gd name="connsiteX144" fmla="*/ 2031552 w 2259925"/>
                <a:gd name="connsiteY144" fmla="*/ 589216 h 1038862"/>
                <a:gd name="connsiteX145" fmla="*/ 1991810 w 2259925"/>
                <a:gd name="connsiteY145" fmla="*/ 572986 h 1038862"/>
                <a:gd name="connsiteX146" fmla="*/ 1983587 w 2259925"/>
                <a:gd name="connsiteY146" fmla="*/ 556756 h 1038862"/>
                <a:gd name="connsiteX147" fmla="*/ 1989069 w 2259925"/>
                <a:gd name="connsiteY147" fmla="*/ 529707 h 1038862"/>
                <a:gd name="connsiteX148" fmla="*/ 2000032 w 2259925"/>
                <a:gd name="connsiteY148" fmla="*/ 518887 h 1038862"/>
                <a:gd name="connsiteX149" fmla="*/ 1925562 w 2259925"/>
                <a:gd name="connsiteY149" fmla="*/ 502808 h 1038862"/>
                <a:gd name="connsiteX150" fmla="*/ 1947738 w 2259925"/>
                <a:gd name="connsiteY150" fmla="*/ 502808 h 1038862"/>
                <a:gd name="connsiteX151" fmla="*/ 1961599 w 2259925"/>
                <a:gd name="connsiteY151" fmla="*/ 516444 h 1038862"/>
                <a:gd name="connsiteX152" fmla="*/ 1947738 w 2259925"/>
                <a:gd name="connsiteY152" fmla="*/ 531444 h 1038862"/>
                <a:gd name="connsiteX153" fmla="*/ 1935264 w 2259925"/>
                <a:gd name="connsiteY153" fmla="*/ 531444 h 1038862"/>
                <a:gd name="connsiteX154" fmla="*/ 1920018 w 2259925"/>
                <a:gd name="connsiteY154" fmla="*/ 568261 h 1038862"/>
                <a:gd name="connsiteX155" fmla="*/ 1906157 w 2259925"/>
                <a:gd name="connsiteY155" fmla="*/ 576443 h 1038862"/>
                <a:gd name="connsiteX156" fmla="*/ 1900613 w 2259925"/>
                <a:gd name="connsiteY156" fmla="*/ 575080 h 1038862"/>
                <a:gd name="connsiteX157" fmla="*/ 1893683 w 2259925"/>
                <a:gd name="connsiteY157" fmla="*/ 557352 h 1038862"/>
                <a:gd name="connsiteX158" fmla="*/ 1911701 w 2259925"/>
                <a:gd name="connsiteY158" fmla="*/ 510989 h 1038862"/>
                <a:gd name="connsiteX159" fmla="*/ 1925562 w 2259925"/>
                <a:gd name="connsiteY159" fmla="*/ 502808 h 1038862"/>
                <a:gd name="connsiteX160" fmla="*/ 1690287 w 2259925"/>
                <a:gd name="connsiteY160" fmla="*/ 469187 h 1038862"/>
                <a:gd name="connsiteX161" fmla="*/ 1698783 w 2259925"/>
                <a:gd name="connsiteY161" fmla="*/ 472973 h 1038862"/>
                <a:gd name="connsiteX162" fmla="*/ 1757237 w 2259925"/>
                <a:gd name="connsiteY162" fmla="*/ 534922 h 1038862"/>
                <a:gd name="connsiteX163" fmla="*/ 1761315 w 2259925"/>
                <a:gd name="connsiteY163" fmla="*/ 547311 h 1038862"/>
                <a:gd name="connsiteX164" fmla="*/ 1754518 w 2259925"/>
                <a:gd name="connsiteY164" fmla="*/ 583104 h 1038862"/>
                <a:gd name="connsiteX165" fmla="*/ 1743643 w 2259925"/>
                <a:gd name="connsiteY165" fmla="*/ 594117 h 1038862"/>
                <a:gd name="connsiteX166" fmla="*/ 1740924 w 2259925"/>
                <a:gd name="connsiteY166" fmla="*/ 594117 h 1038862"/>
                <a:gd name="connsiteX167" fmla="*/ 1730049 w 2259925"/>
                <a:gd name="connsiteY167" fmla="*/ 589987 h 1038862"/>
                <a:gd name="connsiteX168" fmla="*/ 1713737 w 2259925"/>
                <a:gd name="connsiteY168" fmla="*/ 572091 h 1038862"/>
                <a:gd name="connsiteX169" fmla="*/ 1709659 w 2259925"/>
                <a:gd name="connsiteY169" fmla="*/ 566584 h 1038862"/>
                <a:gd name="connsiteX170" fmla="*/ 1697424 w 2259925"/>
                <a:gd name="connsiteY170" fmla="*/ 522532 h 1038862"/>
                <a:gd name="connsiteX171" fmla="*/ 1677033 w 2259925"/>
                <a:gd name="connsiteY171" fmla="*/ 490869 h 1038862"/>
                <a:gd name="connsiteX172" fmla="*/ 1679752 w 2259925"/>
                <a:gd name="connsiteY172" fmla="*/ 471596 h 1038862"/>
                <a:gd name="connsiteX173" fmla="*/ 1690287 w 2259925"/>
                <a:gd name="connsiteY173" fmla="*/ 469187 h 1038862"/>
                <a:gd name="connsiteX174" fmla="*/ 1876320 w 2259925"/>
                <a:gd name="connsiteY174" fmla="*/ 438012 h 1038862"/>
                <a:gd name="connsiteX175" fmla="*/ 1907467 w 2259925"/>
                <a:gd name="connsiteY175" fmla="*/ 468343 h 1038862"/>
                <a:gd name="connsiteX176" fmla="*/ 1910175 w 2259925"/>
                <a:gd name="connsiteY176" fmla="*/ 480751 h 1038862"/>
                <a:gd name="connsiteX177" fmla="*/ 1884445 w 2259925"/>
                <a:gd name="connsiteY177" fmla="*/ 557957 h 1038862"/>
                <a:gd name="connsiteX178" fmla="*/ 1870904 w 2259925"/>
                <a:gd name="connsiteY178" fmla="*/ 567607 h 1038862"/>
                <a:gd name="connsiteX179" fmla="*/ 1868195 w 2259925"/>
                <a:gd name="connsiteY179" fmla="*/ 567607 h 1038862"/>
                <a:gd name="connsiteX180" fmla="*/ 1815382 w 2259925"/>
                <a:gd name="connsiteY180" fmla="*/ 552442 h 1038862"/>
                <a:gd name="connsiteX181" fmla="*/ 1805903 w 2259925"/>
                <a:gd name="connsiteY181" fmla="*/ 544170 h 1038862"/>
                <a:gd name="connsiteX182" fmla="*/ 1795069 w 2259925"/>
                <a:gd name="connsiteY182" fmla="*/ 515218 h 1038862"/>
                <a:gd name="connsiteX183" fmla="*/ 1795069 w 2259925"/>
                <a:gd name="connsiteY183" fmla="*/ 504188 h 1038862"/>
                <a:gd name="connsiteX184" fmla="*/ 1803194 w 2259925"/>
                <a:gd name="connsiteY184" fmla="*/ 495916 h 1038862"/>
                <a:gd name="connsiteX185" fmla="*/ 1824861 w 2259925"/>
                <a:gd name="connsiteY185" fmla="*/ 487644 h 1038862"/>
                <a:gd name="connsiteX186" fmla="*/ 1843820 w 2259925"/>
                <a:gd name="connsiteY186" fmla="*/ 465585 h 1038862"/>
                <a:gd name="connsiteX187" fmla="*/ 1876320 w 2259925"/>
                <a:gd name="connsiteY187" fmla="*/ 438012 h 1038862"/>
                <a:gd name="connsiteX188" fmla="*/ 2043368 w 2259925"/>
                <a:gd name="connsiteY188" fmla="*/ 420340 h 1038862"/>
                <a:gd name="connsiteX189" fmla="*/ 2058796 w 2259925"/>
                <a:gd name="connsiteY189" fmla="*/ 433934 h 1038862"/>
                <a:gd name="connsiteX190" fmla="*/ 2058796 w 2259925"/>
                <a:gd name="connsiteY190" fmla="*/ 442090 h 1038862"/>
                <a:gd name="connsiteX191" fmla="*/ 2043368 w 2259925"/>
                <a:gd name="connsiteY191" fmla="*/ 455684 h 1038862"/>
                <a:gd name="connsiteX192" fmla="*/ 2029343 w 2259925"/>
                <a:gd name="connsiteY192" fmla="*/ 442090 h 1038862"/>
                <a:gd name="connsiteX193" fmla="*/ 2029343 w 2259925"/>
                <a:gd name="connsiteY193" fmla="*/ 433934 h 1038862"/>
                <a:gd name="connsiteX194" fmla="*/ 2043368 w 2259925"/>
                <a:gd name="connsiteY194" fmla="*/ 420340 h 1038862"/>
                <a:gd name="connsiteX195" fmla="*/ 1953568 w 2259925"/>
                <a:gd name="connsiteY195" fmla="*/ 411331 h 1038862"/>
                <a:gd name="connsiteX196" fmla="*/ 1969633 w 2259925"/>
                <a:gd name="connsiteY196" fmla="*/ 412717 h 1038862"/>
                <a:gd name="connsiteX197" fmla="*/ 1974988 w 2259925"/>
                <a:gd name="connsiteY197" fmla="*/ 427963 h 1038862"/>
                <a:gd name="connsiteX198" fmla="*/ 1962939 w 2259925"/>
                <a:gd name="connsiteY198" fmla="*/ 469545 h 1038862"/>
                <a:gd name="connsiteX199" fmla="*/ 1952229 w 2259925"/>
                <a:gd name="connsiteY199" fmla="*/ 479247 h 1038862"/>
                <a:gd name="connsiteX200" fmla="*/ 1949551 w 2259925"/>
                <a:gd name="connsiteY200" fmla="*/ 479247 h 1038862"/>
                <a:gd name="connsiteX201" fmla="*/ 1938841 w 2259925"/>
                <a:gd name="connsiteY201" fmla="*/ 475089 h 1038862"/>
                <a:gd name="connsiteX202" fmla="*/ 1921437 w 2259925"/>
                <a:gd name="connsiteY202" fmla="*/ 454298 h 1038862"/>
                <a:gd name="connsiteX203" fmla="*/ 1917420 w 2259925"/>
                <a:gd name="connsiteY203" fmla="*/ 443210 h 1038862"/>
                <a:gd name="connsiteX204" fmla="*/ 1924114 w 2259925"/>
                <a:gd name="connsiteY204" fmla="*/ 432121 h 1038862"/>
                <a:gd name="connsiteX205" fmla="*/ 1953568 w 2259925"/>
                <a:gd name="connsiteY205" fmla="*/ 411331 h 1038862"/>
                <a:gd name="connsiteX206" fmla="*/ 1905534 w 2259925"/>
                <a:gd name="connsiteY206" fmla="*/ 398157 h 1038862"/>
                <a:gd name="connsiteX207" fmla="*/ 1916407 w 2259925"/>
                <a:gd name="connsiteY207" fmla="*/ 400919 h 1038862"/>
                <a:gd name="connsiteX208" fmla="*/ 1917788 w 2259925"/>
                <a:gd name="connsiteY208" fmla="*/ 421629 h 1038862"/>
                <a:gd name="connsiteX209" fmla="*/ 1906742 w 2259925"/>
                <a:gd name="connsiteY209" fmla="*/ 435435 h 1038862"/>
                <a:gd name="connsiteX210" fmla="*/ 1895697 w 2259925"/>
                <a:gd name="connsiteY210" fmla="*/ 440958 h 1038862"/>
                <a:gd name="connsiteX211" fmla="*/ 1887413 w 2259925"/>
                <a:gd name="connsiteY211" fmla="*/ 436816 h 1038862"/>
                <a:gd name="connsiteX212" fmla="*/ 1884652 w 2259925"/>
                <a:gd name="connsiteY212" fmla="*/ 417487 h 1038862"/>
                <a:gd name="connsiteX213" fmla="*/ 1895697 w 2259925"/>
                <a:gd name="connsiteY213" fmla="*/ 403680 h 1038862"/>
                <a:gd name="connsiteX214" fmla="*/ 1905534 w 2259925"/>
                <a:gd name="connsiteY214" fmla="*/ 398157 h 1038862"/>
                <a:gd name="connsiteX215" fmla="*/ 225483 w 2259925"/>
                <a:gd name="connsiteY215" fmla="*/ 352344 h 1038862"/>
                <a:gd name="connsiteX216" fmla="*/ 242501 w 2259925"/>
                <a:gd name="connsiteY216" fmla="*/ 361769 h 1038862"/>
                <a:gd name="connsiteX217" fmla="*/ 249046 w 2259925"/>
                <a:gd name="connsiteY217" fmla="*/ 379273 h 1038862"/>
                <a:gd name="connsiteX218" fmla="*/ 239883 w 2259925"/>
                <a:gd name="connsiteY218" fmla="*/ 396777 h 1038862"/>
                <a:gd name="connsiteX219" fmla="*/ 235956 w 2259925"/>
                <a:gd name="connsiteY219" fmla="*/ 396777 h 1038862"/>
                <a:gd name="connsiteX220" fmla="*/ 222865 w 2259925"/>
                <a:gd name="connsiteY220" fmla="*/ 387352 h 1038862"/>
                <a:gd name="connsiteX221" fmla="*/ 217629 w 2259925"/>
                <a:gd name="connsiteY221" fmla="*/ 369848 h 1038862"/>
                <a:gd name="connsiteX222" fmla="*/ 225483 w 2259925"/>
                <a:gd name="connsiteY222" fmla="*/ 352344 h 1038862"/>
                <a:gd name="connsiteX223" fmla="*/ 161487 w 2259925"/>
                <a:gd name="connsiteY223" fmla="*/ 315725 h 1038862"/>
                <a:gd name="connsiteX224" fmla="*/ 209019 w 2259925"/>
                <a:gd name="connsiteY224" fmla="*/ 322816 h 1038862"/>
                <a:gd name="connsiteX225" fmla="*/ 219582 w 2259925"/>
                <a:gd name="connsiteY225" fmla="*/ 339834 h 1038862"/>
                <a:gd name="connsiteX226" fmla="*/ 206378 w 2259925"/>
                <a:gd name="connsiteY226" fmla="*/ 352597 h 1038862"/>
                <a:gd name="connsiteX227" fmla="*/ 205058 w 2259925"/>
                <a:gd name="connsiteY227" fmla="*/ 352597 h 1038862"/>
                <a:gd name="connsiteX228" fmla="*/ 157526 w 2259925"/>
                <a:gd name="connsiteY228" fmla="*/ 344088 h 1038862"/>
                <a:gd name="connsiteX229" fmla="*/ 145643 w 2259925"/>
                <a:gd name="connsiteY229" fmla="*/ 328489 h 1038862"/>
                <a:gd name="connsiteX230" fmla="*/ 161487 w 2259925"/>
                <a:gd name="connsiteY230" fmla="*/ 315725 h 1038862"/>
                <a:gd name="connsiteX231" fmla="*/ 13723 w 2259925"/>
                <a:gd name="connsiteY231" fmla="*/ 287800 h 1038862"/>
                <a:gd name="connsiteX232" fmla="*/ 56263 w 2259925"/>
                <a:gd name="connsiteY232" fmla="*/ 287800 h 1038862"/>
                <a:gd name="connsiteX233" fmla="*/ 63124 w 2259925"/>
                <a:gd name="connsiteY233" fmla="*/ 289165 h 1038862"/>
                <a:gd name="connsiteX234" fmla="*/ 82336 w 2259925"/>
                <a:gd name="connsiteY234" fmla="*/ 300085 h 1038862"/>
                <a:gd name="connsiteX235" fmla="*/ 111154 w 2259925"/>
                <a:gd name="connsiteY235" fmla="*/ 311004 h 1038862"/>
                <a:gd name="connsiteX236" fmla="*/ 119388 w 2259925"/>
                <a:gd name="connsiteY236" fmla="*/ 326018 h 1038862"/>
                <a:gd name="connsiteX237" fmla="*/ 107037 w 2259925"/>
                <a:gd name="connsiteY237" fmla="*/ 338303 h 1038862"/>
                <a:gd name="connsiteX238" fmla="*/ 53519 w 2259925"/>
                <a:gd name="connsiteY238" fmla="*/ 343762 h 1038862"/>
                <a:gd name="connsiteX239" fmla="*/ 52146 w 2259925"/>
                <a:gd name="connsiteY239" fmla="*/ 343762 h 1038862"/>
                <a:gd name="connsiteX240" fmla="*/ 38424 w 2259925"/>
                <a:gd name="connsiteY240" fmla="*/ 331478 h 1038862"/>
                <a:gd name="connsiteX241" fmla="*/ 50774 w 2259925"/>
                <a:gd name="connsiteY241" fmla="*/ 316464 h 1038862"/>
                <a:gd name="connsiteX242" fmla="*/ 53519 w 2259925"/>
                <a:gd name="connsiteY242" fmla="*/ 316464 h 1038862"/>
                <a:gd name="connsiteX243" fmla="*/ 52146 w 2259925"/>
                <a:gd name="connsiteY243" fmla="*/ 315099 h 1038862"/>
                <a:gd name="connsiteX244" fmla="*/ 13723 w 2259925"/>
                <a:gd name="connsiteY244" fmla="*/ 315099 h 1038862"/>
                <a:gd name="connsiteX245" fmla="*/ 0 w 2259925"/>
                <a:gd name="connsiteY245" fmla="*/ 301450 h 1038862"/>
                <a:gd name="connsiteX246" fmla="*/ 13723 w 2259925"/>
                <a:gd name="connsiteY246" fmla="*/ 287800 h 1038862"/>
                <a:gd name="connsiteX247" fmla="*/ 2026643 w 2259925"/>
                <a:gd name="connsiteY247" fmla="*/ 116970 h 1038862"/>
                <a:gd name="connsiteX248" fmla="*/ 2037770 w 2259925"/>
                <a:gd name="connsiteY248" fmla="*/ 125232 h 1038862"/>
                <a:gd name="connsiteX249" fmla="*/ 2054460 w 2259925"/>
                <a:gd name="connsiteY249" fmla="*/ 155527 h 1038862"/>
                <a:gd name="connsiteX250" fmla="*/ 2055851 w 2259925"/>
                <a:gd name="connsiteY250" fmla="*/ 161035 h 1038862"/>
                <a:gd name="connsiteX251" fmla="*/ 2030816 w 2259925"/>
                <a:gd name="connsiteY251" fmla="*/ 203724 h 1038862"/>
                <a:gd name="connsiteX252" fmla="*/ 1975181 w 2259925"/>
                <a:gd name="connsiteY252" fmla="*/ 223002 h 1038862"/>
                <a:gd name="connsiteX253" fmla="*/ 1971009 w 2259925"/>
                <a:gd name="connsiteY253" fmla="*/ 223002 h 1038862"/>
                <a:gd name="connsiteX254" fmla="*/ 1958491 w 2259925"/>
                <a:gd name="connsiteY254" fmla="*/ 217494 h 1038862"/>
                <a:gd name="connsiteX255" fmla="*/ 1959882 w 2259925"/>
                <a:gd name="connsiteY255" fmla="*/ 200970 h 1038862"/>
                <a:gd name="connsiteX256" fmla="*/ 1986308 w 2259925"/>
                <a:gd name="connsiteY256" fmla="*/ 169298 h 1038862"/>
                <a:gd name="connsiteX257" fmla="*/ 2012734 w 2259925"/>
                <a:gd name="connsiteY257" fmla="*/ 123855 h 1038862"/>
                <a:gd name="connsiteX258" fmla="*/ 2026643 w 2259925"/>
                <a:gd name="connsiteY258" fmla="*/ 116970 h 1038862"/>
                <a:gd name="connsiteX259" fmla="*/ 1998723 w 2259925"/>
                <a:gd name="connsiteY259" fmla="*/ 59433 h 1038862"/>
                <a:gd name="connsiteX260" fmla="*/ 2043182 w 2259925"/>
                <a:gd name="connsiteY260" fmla="*/ 74502 h 1038862"/>
                <a:gd name="connsiteX261" fmla="*/ 2052907 w 2259925"/>
                <a:gd name="connsiteY261" fmla="*/ 86831 h 1038862"/>
                <a:gd name="connsiteX262" fmla="*/ 2043182 w 2259925"/>
                <a:gd name="connsiteY262" fmla="*/ 100531 h 1038862"/>
                <a:gd name="connsiteX263" fmla="*/ 2009838 w 2259925"/>
                <a:gd name="connsiteY263" fmla="*/ 115600 h 1038862"/>
                <a:gd name="connsiteX264" fmla="*/ 2004280 w 2259925"/>
                <a:gd name="connsiteY264" fmla="*/ 116970 h 1038862"/>
                <a:gd name="connsiteX265" fmla="*/ 1998723 w 2259925"/>
                <a:gd name="connsiteY265" fmla="*/ 115600 h 1038862"/>
                <a:gd name="connsiteX266" fmla="*/ 1990387 w 2259925"/>
                <a:gd name="connsiteY266" fmla="*/ 106010 h 1038862"/>
                <a:gd name="connsiteX267" fmla="*/ 1980661 w 2259925"/>
                <a:gd name="connsiteY267" fmla="*/ 77242 h 1038862"/>
                <a:gd name="connsiteX268" fmla="*/ 1984829 w 2259925"/>
                <a:gd name="connsiteY268" fmla="*/ 63542 h 1038862"/>
                <a:gd name="connsiteX269" fmla="*/ 1998723 w 2259925"/>
                <a:gd name="connsiteY269" fmla="*/ 59433 h 1038862"/>
                <a:gd name="connsiteX270" fmla="*/ 365788 w 2259925"/>
                <a:gd name="connsiteY270" fmla="*/ 1938 h 1038862"/>
                <a:gd name="connsiteX271" fmla="*/ 371303 w 2259925"/>
                <a:gd name="connsiteY271" fmla="*/ 20020 h 1038862"/>
                <a:gd name="connsiteX272" fmla="*/ 365788 w 2259925"/>
                <a:gd name="connsiteY272" fmla="*/ 31147 h 1038862"/>
                <a:gd name="connsiteX273" fmla="*/ 371303 w 2259925"/>
                <a:gd name="connsiteY273" fmla="*/ 42274 h 1038862"/>
                <a:gd name="connsiteX274" fmla="*/ 371303 w 2259925"/>
                <a:gd name="connsiteY274" fmla="*/ 49228 h 1038862"/>
                <a:gd name="connsiteX275" fmla="*/ 312019 w 2259925"/>
                <a:gd name="connsiteY275" fmla="*/ 49228 h 1038862"/>
                <a:gd name="connsiteX276" fmla="*/ 310641 w 2259925"/>
                <a:gd name="connsiteY276" fmla="*/ 45056 h 1038862"/>
                <a:gd name="connsiteX277" fmla="*/ 316155 w 2259925"/>
                <a:gd name="connsiteY277" fmla="*/ 29756 h 1038862"/>
                <a:gd name="connsiteX278" fmla="*/ 349244 w 2259925"/>
                <a:gd name="connsiteY278" fmla="*/ 3329 h 1038862"/>
                <a:gd name="connsiteX279" fmla="*/ 365788 w 2259925"/>
                <a:gd name="connsiteY279" fmla="*/ 1938 h 103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2259925" h="1038862">
                  <a:moveTo>
                    <a:pt x="1974262" y="960697"/>
                  </a:moveTo>
                  <a:cubicBezTo>
                    <a:pt x="1976913" y="962056"/>
                    <a:pt x="1987516" y="962056"/>
                    <a:pt x="1995469" y="963415"/>
                  </a:cubicBezTo>
                  <a:cubicBezTo>
                    <a:pt x="2000770" y="963415"/>
                    <a:pt x="2004747" y="967494"/>
                    <a:pt x="2006072" y="972931"/>
                  </a:cubicBezTo>
                  <a:cubicBezTo>
                    <a:pt x="2008723" y="978369"/>
                    <a:pt x="2007397" y="983806"/>
                    <a:pt x="2003421" y="987884"/>
                  </a:cubicBezTo>
                  <a:cubicBezTo>
                    <a:pt x="1983540" y="1008275"/>
                    <a:pt x="1983540" y="1008275"/>
                    <a:pt x="1983540" y="1008275"/>
                  </a:cubicBezTo>
                  <a:cubicBezTo>
                    <a:pt x="1980889" y="1010994"/>
                    <a:pt x="1976913" y="1012353"/>
                    <a:pt x="1972937" y="1012353"/>
                  </a:cubicBezTo>
                  <a:cubicBezTo>
                    <a:pt x="1971612" y="1012353"/>
                    <a:pt x="1970286" y="1012353"/>
                    <a:pt x="1968961" y="1010994"/>
                  </a:cubicBezTo>
                  <a:cubicBezTo>
                    <a:pt x="1964985" y="1009634"/>
                    <a:pt x="1961008" y="1005556"/>
                    <a:pt x="1959683" y="1000119"/>
                  </a:cubicBezTo>
                  <a:cubicBezTo>
                    <a:pt x="1955707" y="977009"/>
                    <a:pt x="1955707" y="977009"/>
                    <a:pt x="1955707" y="977009"/>
                  </a:cubicBezTo>
                  <a:cubicBezTo>
                    <a:pt x="1955707" y="971572"/>
                    <a:pt x="1957032" y="966134"/>
                    <a:pt x="1961008" y="963415"/>
                  </a:cubicBezTo>
                  <a:cubicBezTo>
                    <a:pt x="1964985" y="960697"/>
                    <a:pt x="1970286" y="959337"/>
                    <a:pt x="1974262" y="960697"/>
                  </a:cubicBezTo>
                  <a:close/>
                  <a:moveTo>
                    <a:pt x="2161818" y="954802"/>
                  </a:moveTo>
                  <a:cubicBezTo>
                    <a:pt x="2165852" y="956158"/>
                    <a:pt x="2168541" y="958869"/>
                    <a:pt x="2169886" y="962937"/>
                  </a:cubicBezTo>
                  <a:cubicBezTo>
                    <a:pt x="2173920" y="979207"/>
                    <a:pt x="2173920" y="979207"/>
                    <a:pt x="2173920" y="979207"/>
                  </a:cubicBezTo>
                  <a:cubicBezTo>
                    <a:pt x="2176609" y="984630"/>
                    <a:pt x="2173920" y="992765"/>
                    <a:pt x="2167197" y="995476"/>
                  </a:cubicBezTo>
                  <a:cubicBezTo>
                    <a:pt x="2074419" y="1037506"/>
                    <a:pt x="2074419" y="1037506"/>
                    <a:pt x="2074419" y="1037506"/>
                  </a:cubicBezTo>
                  <a:cubicBezTo>
                    <a:pt x="2073074" y="1038862"/>
                    <a:pt x="2070385" y="1038862"/>
                    <a:pt x="2069040" y="1038862"/>
                  </a:cubicBezTo>
                  <a:cubicBezTo>
                    <a:pt x="2063662" y="1038862"/>
                    <a:pt x="2059628" y="1036151"/>
                    <a:pt x="2056939" y="1032083"/>
                  </a:cubicBezTo>
                  <a:cubicBezTo>
                    <a:pt x="2052905" y="1025304"/>
                    <a:pt x="2055594" y="1017169"/>
                    <a:pt x="2060973" y="1013102"/>
                  </a:cubicBezTo>
                  <a:cubicBezTo>
                    <a:pt x="2149717" y="956158"/>
                    <a:pt x="2149717" y="956158"/>
                    <a:pt x="2149717" y="956158"/>
                  </a:cubicBezTo>
                  <a:cubicBezTo>
                    <a:pt x="2152406" y="953446"/>
                    <a:pt x="2157785" y="953446"/>
                    <a:pt x="2161818" y="954802"/>
                  </a:cubicBezTo>
                  <a:close/>
                  <a:moveTo>
                    <a:pt x="2226681" y="892949"/>
                  </a:moveTo>
                  <a:cubicBezTo>
                    <a:pt x="2232036" y="892949"/>
                    <a:pt x="2237392" y="897016"/>
                    <a:pt x="2238730" y="902439"/>
                  </a:cubicBezTo>
                  <a:cubicBezTo>
                    <a:pt x="2242747" y="917353"/>
                    <a:pt x="2242747" y="917353"/>
                    <a:pt x="2242747" y="917353"/>
                  </a:cubicBezTo>
                  <a:cubicBezTo>
                    <a:pt x="2248102" y="917353"/>
                    <a:pt x="2252119" y="921421"/>
                    <a:pt x="2254796" y="926844"/>
                  </a:cubicBezTo>
                  <a:cubicBezTo>
                    <a:pt x="2256135" y="932267"/>
                    <a:pt x="2254796" y="939046"/>
                    <a:pt x="2249441" y="943114"/>
                  </a:cubicBezTo>
                  <a:cubicBezTo>
                    <a:pt x="2205260" y="974298"/>
                    <a:pt x="2205260" y="974298"/>
                    <a:pt x="2205260" y="974298"/>
                  </a:cubicBezTo>
                  <a:cubicBezTo>
                    <a:pt x="2202582" y="975653"/>
                    <a:pt x="2199905" y="977009"/>
                    <a:pt x="2197227" y="977009"/>
                  </a:cubicBezTo>
                  <a:cubicBezTo>
                    <a:pt x="2194549" y="977009"/>
                    <a:pt x="2190533" y="975653"/>
                    <a:pt x="2189194" y="974298"/>
                  </a:cubicBezTo>
                  <a:cubicBezTo>
                    <a:pt x="2183839" y="970230"/>
                    <a:pt x="2182500" y="963451"/>
                    <a:pt x="2185178" y="956672"/>
                  </a:cubicBezTo>
                  <a:cubicBezTo>
                    <a:pt x="2213293" y="899728"/>
                    <a:pt x="2213293" y="899728"/>
                    <a:pt x="2213293" y="899728"/>
                  </a:cubicBezTo>
                  <a:cubicBezTo>
                    <a:pt x="2214632" y="894304"/>
                    <a:pt x="2221326" y="891593"/>
                    <a:pt x="2226681" y="892949"/>
                  </a:cubicBezTo>
                  <a:close/>
                  <a:moveTo>
                    <a:pt x="1932483" y="653021"/>
                  </a:moveTo>
                  <a:cubicBezTo>
                    <a:pt x="1984111" y="657093"/>
                    <a:pt x="1984111" y="657093"/>
                    <a:pt x="1984111" y="657093"/>
                  </a:cubicBezTo>
                  <a:cubicBezTo>
                    <a:pt x="1988187" y="658450"/>
                    <a:pt x="1992263" y="659807"/>
                    <a:pt x="1993621" y="663879"/>
                  </a:cubicBezTo>
                  <a:cubicBezTo>
                    <a:pt x="1996338" y="667951"/>
                    <a:pt x="1997697" y="672023"/>
                    <a:pt x="1996338" y="676095"/>
                  </a:cubicBezTo>
                  <a:cubicBezTo>
                    <a:pt x="1992263" y="685596"/>
                    <a:pt x="1992263" y="685596"/>
                    <a:pt x="1992263" y="685596"/>
                  </a:cubicBezTo>
                  <a:cubicBezTo>
                    <a:pt x="2011283" y="692382"/>
                    <a:pt x="2011283" y="692382"/>
                    <a:pt x="2011283" y="692382"/>
                  </a:cubicBezTo>
                  <a:cubicBezTo>
                    <a:pt x="2028946" y="659807"/>
                    <a:pt x="2028946" y="659807"/>
                    <a:pt x="2028946" y="659807"/>
                  </a:cubicBezTo>
                  <a:cubicBezTo>
                    <a:pt x="2031663" y="655735"/>
                    <a:pt x="2035739" y="654378"/>
                    <a:pt x="2039815" y="653021"/>
                  </a:cubicBezTo>
                  <a:cubicBezTo>
                    <a:pt x="2043890" y="653021"/>
                    <a:pt x="2047966" y="653021"/>
                    <a:pt x="2050684" y="657093"/>
                  </a:cubicBezTo>
                  <a:cubicBezTo>
                    <a:pt x="2073780" y="677452"/>
                    <a:pt x="2073780" y="677452"/>
                    <a:pt x="2073780" y="677452"/>
                  </a:cubicBezTo>
                  <a:cubicBezTo>
                    <a:pt x="2076498" y="678809"/>
                    <a:pt x="2077856" y="681524"/>
                    <a:pt x="2079215" y="684239"/>
                  </a:cubicBezTo>
                  <a:cubicBezTo>
                    <a:pt x="2088725" y="734459"/>
                    <a:pt x="2088725" y="734459"/>
                    <a:pt x="2088725" y="734459"/>
                  </a:cubicBezTo>
                  <a:cubicBezTo>
                    <a:pt x="2125408" y="791465"/>
                    <a:pt x="2125408" y="791465"/>
                    <a:pt x="2125408" y="791465"/>
                  </a:cubicBezTo>
                  <a:cubicBezTo>
                    <a:pt x="2128126" y="795537"/>
                    <a:pt x="2129484" y="800966"/>
                    <a:pt x="2126767" y="806396"/>
                  </a:cubicBezTo>
                  <a:cubicBezTo>
                    <a:pt x="2087367" y="883762"/>
                    <a:pt x="2087367" y="883762"/>
                    <a:pt x="2087367" y="883762"/>
                  </a:cubicBezTo>
                  <a:cubicBezTo>
                    <a:pt x="2086008" y="885119"/>
                    <a:pt x="2084649" y="886476"/>
                    <a:pt x="2083291" y="887834"/>
                  </a:cubicBezTo>
                  <a:cubicBezTo>
                    <a:pt x="2034380" y="929910"/>
                    <a:pt x="2034380" y="929910"/>
                    <a:pt x="2034380" y="929910"/>
                  </a:cubicBezTo>
                  <a:cubicBezTo>
                    <a:pt x="2033021" y="931268"/>
                    <a:pt x="2031663" y="931268"/>
                    <a:pt x="2028946" y="932625"/>
                  </a:cubicBezTo>
                  <a:cubicBezTo>
                    <a:pt x="1982752" y="947555"/>
                    <a:pt x="1982752" y="947555"/>
                    <a:pt x="1982752" y="947555"/>
                  </a:cubicBezTo>
                  <a:cubicBezTo>
                    <a:pt x="1981394" y="947555"/>
                    <a:pt x="1980035" y="947555"/>
                    <a:pt x="1978676" y="947555"/>
                  </a:cubicBezTo>
                  <a:cubicBezTo>
                    <a:pt x="1977318" y="947555"/>
                    <a:pt x="1974600" y="947555"/>
                    <a:pt x="1973242" y="946198"/>
                  </a:cubicBezTo>
                  <a:cubicBezTo>
                    <a:pt x="1946069" y="935340"/>
                    <a:pt x="1935200" y="928553"/>
                    <a:pt x="1933841" y="919052"/>
                  </a:cubicBezTo>
                  <a:cubicBezTo>
                    <a:pt x="1931124" y="914980"/>
                    <a:pt x="1924331" y="902764"/>
                    <a:pt x="1917538" y="891905"/>
                  </a:cubicBezTo>
                  <a:cubicBezTo>
                    <a:pt x="1883572" y="864759"/>
                    <a:pt x="1883572" y="864759"/>
                    <a:pt x="1883572" y="864759"/>
                  </a:cubicBezTo>
                  <a:cubicBezTo>
                    <a:pt x="1814282" y="900050"/>
                    <a:pt x="1814282" y="900050"/>
                    <a:pt x="1814282" y="900050"/>
                  </a:cubicBezTo>
                  <a:cubicBezTo>
                    <a:pt x="1812923" y="901407"/>
                    <a:pt x="1811565" y="901407"/>
                    <a:pt x="1808847" y="901407"/>
                  </a:cubicBezTo>
                  <a:cubicBezTo>
                    <a:pt x="1740916" y="905479"/>
                    <a:pt x="1740916" y="905479"/>
                    <a:pt x="1740916" y="905479"/>
                  </a:cubicBezTo>
                  <a:cubicBezTo>
                    <a:pt x="1735481" y="905479"/>
                    <a:pt x="1731405" y="902764"/>
                    <a:pt x="1728688" y="898692"/>
                  </a:cubicBezTo>
                  <a:cubicBezTo>
                    <a:pt x="1725971" y="894621"/>
                    <a:pt x="1725971" y="889191"/>
                    <a:pt x="1727330" y="885119"/>
                  </a:cubicBezTo>
                  <a:cubicBezTo>
                    <a:pt x="1736840" y="867474"/>
                    <a:pt x="1736840" y="867474"/>
                    <a:pt x="1736840" y="867474"/>
                  </a:cubicBezTo>
                  <a:cubicBezTo>
                    <a:pt x="1743633" y="762962"/>
                    <a:pt x="1743633" y="762962"/>
                    <a:pt x="1743633" y="762962"/>
                  </a:cubicBezTo>
                  <a:cubicBezTo>
                    <a:pt x="1743633" y="756176"/>
                    <a:pt x="1747709" y="752104"/>
                    <a:pt x="1754502" y="750746"/>
                  </a:cubicBezTo>
                  <a:cubicBezTo>
                    <a:pt x="1810206" y="735816"/>
                    <a:pt x="1810206" y="735816"/>
                    <a:pt x="1810206" y="735816"/>
                  </a:cubicBezTo>
                  <a:cubicBezTo>
                    <a:pt x="1827868" y="716814"/>
                    <a:pt x="1827868" y="716814"/>
                    <a:pt x="1827868" y="716814"/>
                  </a:cubicBezTo>
                  <a:cubicBezTo>
                    <a:pt x="1827868" y="716814"/>
                    <a:pt x="1827868" y="715457"/>
                    <a:pt x="1829227" y="715457"/>
                  </a:cubicBezTo>
                  <a:cubicBezTo>
                    <a:pt x="1882213" y="676095"/>
                    <a:pt x="1882213" y="676095"/>
                    <a:pt x="1882213" y="676095"/>
                  </a:cubicBezTo>
                  <a:cubicBezTo>
                    <a:pt x="1886289" y="672023"/>
                    <a:pt x="1891724" y="672023"/>
                    <a:pt x="1897158" y="674738"/>
                  </a:cubicBezTo>
                  <a:cubicBezTo>
                    <a:pt x="1909386" y="681524"/>
                    <a:pt x="1909386" y="681524"/>
                    <a:pt x="1909386" y="681524"/>
                  </a:cubicBezTo>
                  <a:cubicBezTo>
                    <a:pt x="1917538" y="661165"/>
                    <a:pt x="1917538" y="661165"/>
                    <a:pt x="1917538" y="661165"/>
                  </a:cubicBezTo>
                  <a:cubicBezTo>
                    <a:pt x="1920255" y="655735"/>
                    <a:pt x="1925689" y="653021"/>
                    <a:pt x="1932483" y="653021"/>
                  </a:cubicBezTo>
                  <a:close/>
                  <a:moveTo>
                    <a:pt x="1240163" y="639645"/>
                  </a:moveTo>
                  <a:cubicBezTo>
                    <a:pt x="1245456" y="640995"/>
                    <a:pt x="1248103" y="645045"/>
                    <a:pt x="1249426" y="650445"/>
                  </a:cubicBezTo>
                  <a:cubicBezTo>
                    <a:pt x="1254719" y="677444"/>
                    <a:pt x="1254719" y="677444"/>
                    <a:pt x="1254719" y="677444"/>
                  </a:cubicBezTo>
                  <a:cubicBezTo>
                    <a:pt x="1254719" y="680144"/>
                    <a:pt x="1254719" y="681494"/>
                    <a:pt x="1253396" y="684194"/>
                  </a:cubicBezTo>
                  <a:cubicBezTo>
                    <a:pt x="1220314" y="790841"/>
                    <a:pt x="1220314" y="790841"/>
                    <a:pt x="1220314" y="790841"/>
                  </a:cubicBezTo>
                  <a:cubicBezTo>
                    <a:pt x="1218990" y="794890"/>
                    <a:pt x="1216344" y="798940"/>
                    <a:pt x="1212374" y="800290"/>
                  </a:cubicBezTo>
                  <a:cubicBezTo>
                    <a:pt x="1209727" y="800290"/>
                    <a:pt x="1208404" y="800290"/>
                    <a:pt x="1207081" y="800290"/>
                  </a:cubicBezTo>
                  <a:cubicBezTo>
                    <a:pt x="1204434" y="800290"/>
                    <a:pt x="1201788" y="800290"/>
                    <a:pt x="1200464" y="798940"/>
                  </a:cubicBezTo>
                  <a:cubicBezTo>
                    <a:pt x="1171352" y="780041"/>
                    <a:pt x="1171352" y="780041"/>
                    <a:pt x="1171352" y="780041"/>
                  </a:cubicBezTo>
                  <a:cubicBezTo>
                    <a:pt x="1166059" y="777341"/>
                    <a:pt x="1163412" y="769241"/>
                    <a:pt x="1167382" y="762491"/>
                  </a:cubicBezTo>
                  <a:cubicBezTo>
                    <a:pt x="1173998" y="747642"/>
                    <a:pt x="1173998" y="747642"/>
                    <a:pt x="1173998" y="747642"/>
                  </a:cubicBezTo>
                  <a:cubicBezTo>
                    <a:pt x="1177968" y="708493"/>
                    <a:pt x="1177968" y="708493"/>
                    <a:pt x="1177968" y="708493"/>
                  </a:cubicBezTo>
                  <a:cubicBezTo>
                    <a:pt x="1177968" y="707143"/>
                    <a:pt x="1179292" y="704443"/>
                    <a:pt x="1180615" y="703093"/>
                  </a:cubicBezTo>
                  <a:cubicBezTo>
                    <a:pt x="1193848" y="681494"/>
                    <a:pt x="1193848" y="681494"/>
                    <a:pt x="1193848" y="681494"/>
                  </a:cubicBezTo>
                  <a:cubicBezTo>
                    <a:pt x="1195171" y="680144"/>
                    <a:pt x="1195171" y="680144"/>
                    <a:pt x="1195171" y="680144"/>
                  </a:cubicBezTo>
                  <a:cubicBezTo>
                    <a:pt x="1225607" y="643695"/>
                    <a:pt x="1225607" y="643695"/>
                    <a:pt x="1225607" y="643695"/>
                  </a:cubicBezTo>
                  <a:cubicBezTo>
                    <a:pt x="1229577" y="639645"/>
                    <a:pt x="1234870" y="638295"/>
                    <a:pt x="1240163" y="639645"/>
                  </a:cubicBezTo>
                  <a:close/>
                  <a:moveTo>
                    <a:pt x="1873160" y="595523"/>
                  </a:moveTo>
                  <a:cubicBezTo>
                    <a:pt x="1892106" y="598340"/>
                    <a:pt x="1892106" y="598340"/>
                    <a:pt x="1892106" y="598340"/>
                  </a:cubicBezTo>
                  <a:cubicBezTo>
                    <a:pt x="1900226" y="598340"/>
                    <a:pt x="1905639" y="606793"/>
                    <a:pt x="1904286" y="613836"/>
                  </a:cubicBezTo>
                  <a:cubicBezTo>
                    <a:pt x="1904286" y="620879"/>
                    <a:pt x="1897519" y="626514"/>
                    <a:pt x="1890753" y="626514"/>
                  </a:cubicBezTo>
                  <a:cubicBezTo>
                    <a:pt x="1890753" y="626514"/>
                    <a:pt x="1889399" y="626514"/>
                    <a:pt x="1889399" y="626514"/>
                  </a:cubicBezTo>
                  <a:cubicBezTo>
                    <a:pt x="1869100" y="623697"/>
                    <a:pt x="1869100" y="623697"/>
                    <a:pt x="1869100" y="623697"/>
                  </a:cubicBezTo>
                  <a:cubicBezTo>
                    <a:pt x="1860980" y="622288"/>
                    <a:pt x="1855567" y="615245"/>
                    <a:pt x="1856920" y="608201"/>
                  </a:cubicBezTo>
                  <a:cubicBezTo>
                    <a:pt x="1858273" y="599749"/>
                    <a:pt x="1865040" y="594114"/>
                    <a:pt x="1873160" y="595523"/>
                  </a:cubicBezTo>
                  <a:close/>
                  <a:moveTo>
                    <a:pt x="1786237" y="576258"/>
                  </a:moveTo>
                  <a:cubicBezTo>
                    <a:pt x="1843331" y="590064"/>
                    <a:pt x="1843331" y="590064"/>
                    <a:pt x="1843331" y="590064"/>
                  </a:cubicBezTo>
                  <a:cubicBezTo>
                    <a:pt x="1851488" y="591445"/>
                    <a:pt x="1855566" y="599729"/>
                    <a:pt x="1854206" y="606632"/>
                  </a:cubicBezTo>
                  <a:cubicBezTo>
                    <a:pt x="1852847" y="613535"/>
                    <a:pt x="1846050" y="617677"/>
                    <a:pt x="1840613" y="617677"/>
                  </a:cubicBezTo>
                  <a:cubicBezTo>
                    <a:pt x="1839253" y="617677"/>
                    <a:pt x="1837894" y="617677"/>
                    <a:pt x="1836534" y="617677"/>
                  </a:cubicBezTo>
                  <a:cubicBezTo>
                    <a:pt x="1779440" y="603871"/>
                    <a:pt x="1779440" y="603871"/>
                    <a:pt x="1779440" y="603871"/>
                  </a:cubicBezTo>
                  <a:cubicBezTo>
                    <a:pt x="1771284" y="601109"/>
                    <a:pt x="1767206" y="594206"/>
                    <a:pt x="1768565" y="585922"/>
                  </a:cubicBezTo>
                  <a:cubicBezTo>
                    <a:pt x="1771284" y="579019"/>
                    <a:pt x="1778081" y="573496"/>
                    <a:pt x="1786237" y="576258"/>
                  </a:cubicBezTo>
                  <a:close/>
                  <a:moveTo>
                    <a:pt x="2161884" y="536749"/>
                  </a:moveTo>
                  <a:cubicBezTo>
                    <a:pt x="2165522" y="536578"/>
                    <a:pt x="2169334" y="537948"/>
                    <a:pt x="2172106" y="540687"/>
                  </a:cubicBezTo>
                  <a:cubicBezTo>
                    <a:pt x="2187353" y="553017"/>
                    <a:pt x="2187353" y="553017"/>
                    <a:pt x="2187353" y="553017"/>
                  </a:cubicBezTo>
                  <a:cubicBezTo>
                    <a:pt x="2192897" y="557127"/>
                    <a:pt x="2194283" y="563976"/>
                    <a:pt x="2190125" y="570826"/>
                  </a:cubicBezTo>
                  <a:lnTo>
                    <a:pt x="2186633" y="577154"/>
                  </a:lnTo>
                  <a:lnTo>
                    <a:pt x="2196384" y="571875"/>
                  </a:lnTo>
                  <a:cubicBezTo>
                    <a:pt x="2199983" y="571544"/>
                    <a:pt x="2203753" y="572536"/>
                    <a:pt x="2207181" y="574519"/>
                  </a:cubicBezTo>
                  <a:cubicBezTo>
                    <a:pt x="2253799" y="611547"/>
                    <a:pt x="2253799" y="611547"/>
                    <a:pt x="2253799" y="611547"/>
                  </a:cubicBezTo>
                  <a:cubicBezTo>
                    <a:pt x="2260655" y="615514"/>
                    <a:pt x="2262026" y="624771"/>
                    <a:pt x="2256542" y="630061"/>
                  </a:cubicBezTo>
                  <a:cubicBezTo>
                    <a:pt x="2253799" y="634028"/>
                    <a:pt x="2249686" y="635350"/>
                    <a:pt x="2245573" y="635350"/>
                  </a:cubicBezTo>
                  <a:cubicBezTo>
                    <a:pt x="2242830" y="635350"/>
                    <a:pt x="2240088" y="634028"/>
                    <a:pt x="2237346" y="632705"/>
                  </a:cubicBezTo>
                  <a:cubicBezTo>
                    <a:pt x="2189357" y="595678"/>
                    <a:pt x="2189357" y="595678"/>
                    <a:pt x="2189357" y="595678"/>
                  </a:cubicBezTo>
                  <a:cubicBezTo>
                    <a:pt x="2186614" y="593695"/>
                    <a:pt x="2184900" y="590388"/>
                    <a:pt x="2184386" y="586917"/>
                  </a:cubicBezTo>
                  <a:lnTo>
                    <a:pt x="2186605" y="577204"/>
                  </a:lnTo>
                  <a:lnTo>
                    <a:pt x="2182848" y="584012"/>
                  </a:lnTo>
                  <a:cubicBezTo>
                    <a:pt x="2181808" y="585896"/>
                    <a:pt x="2181808" y="585896"/>
                    <a:pt x="2181808" y="585896"/>
                  </a:cubicBezTo>
                  <a:cubicBezTo>
                    <a:pt x="2179036" y="591375"/>
                    <a:pt x="2173492" y="594115"/>
                    <a:pt x="2169334" y="594115"/>
                  </a:cubicBezTo>
                  <a:cubicBezTo>
                    <a:pt x="2166562" y="594115"/>
                    <a:pt x="2163790" y="592745"/>
                    <a:pt x="2162404" y="591375"/>
                  </a:cubicBezTo>
                  <a:cubicBezTo>
                    <a:pt x="2155473" y="588636"/>
                    <a:pt x="2152701" y="579046"/>
                    <a:pt x="2156859" y="572196"/>
                  </a:cubicBezTo>
                  <a:cubicBezTo>
                    <a:pt x="2159631" y="566716"/>
                    <a:pt x="2159631" y="566716"/>
                    <a:pt x="2159631" y="566716"/>
                  </a:cubicBezTo>
                  <a:cubicBezTo>
                    <a:pt x="2154087" y="561236"/>
                    <a:pt x="2154087" y="561236"/>
                    <a:pt x="2154087" y="561236"/>
                  </a:cubicBezTo>
                  <a:cubicBezTo>
                    <a:pt x="2147157" y="555757"/>
                    <a:pt x="2147157" y="547537"/>
                    <a:pt x="2152701" y="542057"/>
                  </a:cubicBezTo>
                  <a:cubicBezTo>
                    <a:pt x="2154780" y="538633"/>
                    <a:pt x="2158245" y="536920"/>
                    <a:pt x="2161884" y="536749"/>
                  </a:cubicBezTo>
                  <a:close/>
                  <a:moveTo>
                    <a:pt x="2000032" y="518887"/>
                  </a:moveTo>
                  <a:cubicBezTo>
                    <a:pt x="2005514" y="517535"/>
                    <a:pt x="2010995" y="518887"/>
                    <a:pt x="2013736" y="522945"/>
                  </a:cubicBezTo>
                  <a:cubicBezTo>
                    <a:pt x="2024700" y="537822"/>
                    <a:pt x="2024700" y="537822"/>
                    <a:pt x="2024700" y="537822"/>
                  </a:cubicBezTo>
                  <a:cubicBezTo>
                    <a:pt x="2039774" y="531059"/>
                    <a:pt x="2039774" y="531059"/>
                    <a:pt x="2039774" y="531059"/>
                  </a:cubicBezTo>
                  <a:cubicBezTo>
                    <a:pt x="2043885" y="529707"/>
                    <a:pt x="2047997" y="529707"/>
                    <a:pt x="2052108" y="531059"/>
                  </a:cubicBezTo>
                  <a:cubicBezTo>
                    <a:pt x="2128851" y="570281"/>
                    <a:pt x="2128851" y="570281"/>
                    <a:pt x="2128851" y="570281"/>
                  </a:cubicBezTo>
                  <a:cubicBezTo>
                    <a:pt x="2130221" y="570281"/>
                    <a:pt x="2131592" y="571634"/>
                    <a:pt x="2132962" y="574339"/>
                  </a:cubicBezTo>
                  <a:cubicBezTo>
                    <a:pt x="2175445" y="628437"/>
                    <a:pt x="2175445" y="628437"/>
                    <a:pt x="2175445" y="628437"/>
                  </a:cubicBezTo>
                  <a:cubicBezTo>
                    <a:pt x="2179556" y="633847"/>
                    <a:pt x="2178185" y="640609"/>
                    <a:pt x="2174074" y="646019"/>
                  </a:cubicBezTo>
                  <a:cubicBezTo>
                    <a:pt x="2171333" y="648724"/>
                    <a:pt x="2167222" y="650076"/>
                    <a:pt x="2163111" y="650076"/>
                  </a:cubicBezTo>
                  <a:cubicBezTo>
                    <a:pt x="2160370" y="650076"/>
                    <a:pt x="2157629" y="650076"/>
                    <a:pt x="2156259" y="647371"/>
                  </a:cubicBezTo>
                  <a:cubicBezTo>
                    <a:pt x="2104183" y="613560"/>
                    <a:pt x="2104183" y="613560"/>
                    <a:pt x="2104183" y="613560"/>
                  </a:cubicBezTo>
                  <a:cubicBezTo>
                    <a:pt x="2093220" y="624380"/>
                    <a:pt x="2093220" y="624380"/>
                    <a:pt x="2093220" y="624380"/>
                  </a:cubicBezTo>
                  <a:cubicBezTo>
                    <a:pt x="2089109" y="628437"/>
                    <a:pt x="2082257" y="629789"/>
                    <a:pt x="2076775" y="627084"/>
                  </a:cubicBezTo>
                  <a:cubicBezTo>
                    <a:pt x="2038404" y="608150"/>
                    <a:pt x="2038404" y="608150"/>
                    <a:pt x="2038404" y="608150"/>
                  </a:cubicBezTo>
                  <a:cubicBezTo>
                    <a:pt x="2032922" y="605445"/>
                    <a:pt x="2028811" y="598683"/>
                    <a:pt x="2030181" y="593273"/>
                  </a:cubicBezTo>
                  <a:cubicBezTo>
                    <a:pt x="2031552" y="589216"/>
                    <a:pt x="2031552" y="589216"/>
                    <a:pt x="2031552" y="589216"/>
                  </a:cubicBezTo>
                  <a:cubicBezTo>
                    <a:pt x="1991810" y="572986"/>
                    <a:pt x="1991810" y="572986"/>
                    <a:pt x="1991810" y="572986"/>
                  </a:cubicBezTo>
                  <a:cubicBezTo>
                    <a:pt x="1984958" y="570281"/>
                    <a:pt x="1982217" y="563518"/>
                    <a:pt x="1983587" y="556756"/>
                  </a:cubicBezTo>
                  <a:cubicBezTo>
                    <a:pt x="1989069" y="529707"/>
                    <a:pt x="1989069" y="529707"/>
                    <a:pt x="1989069" y="529707"/>
                  </a:cubicBezTo>
                  <a:cubicBezTo>
                    <a:pt x="1990439" y="524297"/>
                    <a:pt x="1994551" y="520240"/>
                    <a:pt x="2000032" y="518887"/>
                  </a:cubicBezTo>
                  <a:close/>
                  <a:moveTo>
                    <a:pt x="1925562" y="502808"/>
                  </a:moveTo>
                  <a:cubicBezTo>
                    <a:pt x="1947738" y="502808"/>
                    <a:pt x="1947738" y="502808"/>
                    <a:pt x="1947738" y="502808"/>
                  </a:cubicBezTo>
                  <a:cubicBezTo>
                    <a:pt x="1954669" y="502808"/>
                    <a:pt x="1961599" y="509626"/>
                    <a:pt x="1961599" y="516444"/>
                  </a:cubicBezTo>
                  <a:cubicBezTo>
                    <a:pt x="1961599" y="524626"/>
                    <a:pt x="1954669" y="531444"/>
                    <a:pt x="1947738" y="531444"/>
                  </a:cubicBezTo>
                  <a:cubicBezTo>
                    <a:pt x="1935264" y="531444"/>
                    <a:pt x="1935264" y="531444"/>
                    <a:pt x="1935264" y="531444"/>
                  </a:cubicBezTo>
                  <a:cubicBezTo>
                    <a:pt x="1920018" y="568261"/>
                    <a:pt x="1920018" y="568261"/>
                    <a:pt x="1920018" y="568261"/>
                  </a:cubicBezTo>
                  <a:cubicBezTo>
                    <a:pt x="1917246" y="573716"/>
                    <a:pt x="1911701" y="576443"/>
                    <a:pt x="1906157" y="576443"/>
                  </a:cubicBezTo>
                  <a:cubicBezTo>
                    <a:pt x="1904771" y="576443"/>
                    <a:pt x="1903385" y="576443"/>
                    <a:pt x="1900613" y="575080"/>
                  </a:cubicBezTo>
                  <a:cubicBezTo>
                    <a:pt x="1893683" y="572352"/>
                    <a:pt x="1890911" y="564170"/>
                    <a:pt x="1893683" y="557352"/>
                  </a:cubicBezTo>
                  <a:cubicBezTo>
                    <a:pt x="1911701" y="510989"/>
                    <a:pt x="1911701" y="510989"/>
                    <a:pt x="1911701" y="510989"/>
                  </a:cubicBezTo>
                  <a:cubicBezTo>
                    <a:pt x="1914474" y="506899"/>
                    <a:pt x="1920018" y="502808"/>
                    <a:pt x="1925562" y="502808"/>
                  </a:cubicBezTo>
                  <a:close/>
                  <a:moveTo>
                    <a:pt x="1690287" y="469187"/>
                  </a:moveTo>
                  <a:cubicBezTo>
                    <a:pt x="1693686" y="469531"/>
                    <a:pt x="1696744" y="470908"/>
                    <a:pt x="1698783" y="472973"/>
                  </a:cubicBezTo>
                  <a:cubicBezTo>
                    <a:pt x="1757237" y="534922"/>
                    <a:pt x="1757237" y="534922"/>
                    <a:pt x="1757237" y="534922"/>
                  </a:cubicBezTo>
                  <a:cubicBezTo>
                    <a:pt x="1759956" y="539052"/>
                    <a:pt x="1761315" y="543182"/>
                    <a:pt x="1761315" y="547311"/>
                  </a:cubicBezTo>
                  <a:cubicBezTo>
                    <a:pt x="1754518" y="583104"/>
                    <a:pt x="1754518" y="583104"/>
                    <a:pt x="1754518" y="583104"/>
                  </a:cubicBezTo>
                  <a:cubicBezTo>
                    <a:pt x="1753159" y="588611"/>
                    <a:pt x="1749081" y="592741"/>
                    <a:pt x="1743643" y="594117"/>
                  </a:cubicBezTo>
                  <a:cubicBezTo>
                    <a:pt x="1742284" y="594117"/>
                    <a:pt x="1740924" y="594117"/>
                    <a:pt x="1740924" y="594117"/>
                  </a:cubicBezTo>
                  <a:cubicBezTo>
                    <a:pt x="1736846" y="594117"/>
                    <a:pt x="1732768" y="592741"/>
                    <a:pt x="1730049" y="589987"/>
                  </a:cubicBezTo>
                  <a:cubicBezTo>
                    <a:pt x="1713737" y="572091"/>
                    <a:pt x="1713737" y="572091"/>
                    <a:pt x="1713737" y="572091"/>
                  </a:cubicBezTo>
                  <a:cubicBezTo>
                    <a:pt x="1712377" y="570714"/>
                    <a:pt x="1711018" y="569338"/>
                    <a:pt x="1709659" y="566584"/>
                  </a:cubicBezTo>
                  <a:cubicBezTo>
                    <a:pt x="1705580" y="551441"/>
                    <a:pt x="1698783" y="528038"/>
                    <a:pt x="1697424" y="522532"/>
                  </a:cubicBezTo>
                  <a:cubicBezTo>
                    <a:pt x="1694705" y="518402"/>
                    <a:pt x="1685190" y="503259"/>
                    <a:pt x="1677033" y="490869"/>
                  </a:cubicBezTo>
                  <a:cubicBezTo>
                    <a:pt x="1672955" y="485363"/>
                    <a:pt x="1674315" y="477103"/>
                    <a:pt x="1679752" y="471596"/>
                  </a:cubicBezTo>
                  <a:cubicBezTo>
                    <a:pt x="1683151" y="469531"/>
                    <a:pt x="1686889" y="468843"/>
                    <a:pt x="1690287" y="469187"/>
                  </a:cubicBezTo>
                  <a:close/>
                  <a:moveTo>
                    <a:pt x="1876320" y="438012"/>
                  </a:moveTo>
                  <a:cubicBezTo>
                    <a:pt x="1883091" y="438012"/>
                    <a:pt x="1887154" y="439390"/>
                    <a:pt x="1907467" y="468343"/>
                  </a:cubicBezTo>
                  <a:cubicBezTo>
                    <a:pt x="1910175" y="471100"/>
                    <a:pt x="1911529" y="476615"/>
                    <a:pt x="1910175" y="480751"/>
                  </a:cubicBezTo>
                  <a:cubicBezTo>
                    <a:pt x="1884445" y="557957"/>
                    <a:pt x="1884445" y="557957"/>
                    <a:pt x="1884445" y="557957"/>
                  </a:cubicBezTo>
                  <a:cubicBezTo>
                    <a:pt x="1883091" y="563471"/>
                    <a:pt x="1877675" y="567607"/>
                    <a:pt x="1870904" y="567607"/>
                  </a:cubicBezTo>
                  <a:cubicBezTo>
                    <a:pt x="1870904" y="567607"/>
                    <a:pt x="1869549" y="567607"/>
                    <a:pt x="1868195" y="567607"/>
                  </a:cubicBezTo>
                  <a:cubicBezTo>
                    <a:pt x="1815382" y="552442"/>
                    <a:pt x="1815382" y="552442"/>
                    <a:pt x="1815382" y="552442"/>
                  </a:cubicBezTo>
                  <a:cubicBezTo>
                    <a:pt x="1809965" y="552442"/>
                    <a:pt x="1807257" y="548306"/>
                    <a:pt x="1805903" y="544170"/>
                  </a:cubicBezTo>
                  <a:cubicBezTo>
                    <a:pt x="1795069" y="515218"/>
                    <a:pt x="1795069" y="515218"/>
                    <a:pt x="1795069" y="515218"/>
                  </a:cubicBezTo>
                  <a:cubicBezTo>
                    <a:pt x="1793715" y="511082"/>
                    <a:pt x="1793715" y="506946"/>
                    <a:pt x="1795069" y="504188"/>
                  </a:cubicBezTo>
                  <a:cubicBezTo>
                    <a:pt x="1796423" y="500052"/>
                    <a:pt x="1799132" y="497295"/>
                    <a:pt x="1803194" y="495916"/>
                  </a:cubicBezTo>
                  <a:cubicBezTo>
                    <a:pt x="1811320" y="493159"/>
                    <a:pt x="1820799" y="490402"/>
                    <a:pt x="1824861" y="487644"/>
                  </a:cubicBezTo>
                  <a:cubicBezTo>
                    <a:pt x="1828924" y="482130"/>
                    <a:pt x="1838403" y="471100"/>
                    <a:pt x="1843820" y="465585"/>
                  </a:cubicBezTo>
                  <a:cubicBezTo>
                    <a:pt x="1865487" y="439390"/>
                    <a:pt x="1869549" y="438012"/>
                    <a:pt x="1876320" y="438012"/>
                  </a:cubicBezTo>
                  <a:close/>
                  <a:moveTo>
                    <a:pt x="2043368" y="420340"/>
                  </a:moveTo>
                  <a:cubicBezTo>
                    <a:pt x="2051784" y="420340"/>
                    <a:pt x="2058796" y="427137"/>
                    <a:pt x="2058796" y="433934"/>
                  </a:cubicBezTo>
                  <a:cubicBezTo>
                    <a:pt x="2058796" y="442090"/>
                    <a:pt x="2058796" y="442090"/>
                    <a:pt x="2058796" y="442090"/>
                  </a:cubicBezTo>
                  <a:cubicBezTo>
                    <a:pt x="2058796" y="450246"/>
                    <a:pt x="2051784" y="455684"/>
                    <a:pt x="2043368" y="455684"/>
                  </a:cubicBezTo>
                  <a:cubicBezTo>
                    <a:pt x="2036356" y="455684"/>
                    <a:pt x="2029343" y="450246"/>
                    <a:pt x="2029343" y="442090"/>
                  </a:cubicBezTo>
                  <a:cubicBezTo>
                    <a:pt x="2029343" y="433934"/>
                    <a:pt x="2029343" y="433934"/>
                    <a:pt x="2029343" y="433934"/>
                  </a:cubicBezTo>
                  <a:cubicBezTo>
                    <a:pt x="2029343" y="427137"/>
                    <a:pt x="2036356" y="420340"/>
                    <a:pt x="2043368" y="420340"/>
                  </a:cubicBezTo>
                  <a:close/>
                  <a:moveTo>
                    <a:pt x="1953568" y="411331"/>
                  </a:moveTo>
                  <a:cubicBezTo>
                    <a:pt x="1958923" y="408559"/>
                    <a:pt x="1964278" y="408559"/>
                    <a:pt x="1969633" y="412717"/>
                  </a:cubicBezTo>
                  <a:cubicBezTo>
                    <a:pt x="1973650" y="415489"/>
                    <a:pt x="1976327" y="422419"/>
                    <a:pt x="1974988" y="427963"/>
                  </a:cubicBezTo>
                  <a:cubicBezTo>
                    <a:pt x="1962939" y="469545"/>
                    <a:pt x="1962939" y="469545"/>
                    <a:pt x="1962939" y="469545"/>
                  </a:cubicBezTo>
                  <a:cubicBezTo>
                    <a:pt x="1961600" y="473703"/>
                    <a:pt x="1957584" y="477861"/>
                    <a:pt x="1952229" y="479247"/>
                  </a:cubicBezTo>
                  <a:cubicBezTo>
                    <a:pt x="1952229" y="479247"/>
                    <a:pt x="1950890" y="479247"/>
                    <a:pt x="1949551" y="479247"/>
                  </a:cubicBezTo>
                  <a:cubicBezTo>
                    <a:pt x="1945535" y="479247"/>
                    <a:pt x="1941518" y="477861"/>
                    <a:pt x="1938841" y="475089"/>
                  </a:cubicBezTo>
                  <a:cubicBezTo>
                    <a:pt x="1921437" y="454298"/>
                    <a:pt x="1921437" y="454298"/>
                    <a:pt x="1921437" y="454298"/>
                  </a:cubicBezTo>
                  <a:cubicBezTo>
                    <a:pt x="1918759" y="451526"/>
                    <a:pt x="1917420" y="447368"/>
                    <a:pt x="1917420" y="443210"/>
                  </a:cubicBezTo>
                  <a:cubicBezTo>
                    <a:pt x="1918759" y="439052"/>
                    <a:pt x="1920098" y="434893"/>
                    <a:pt x="1924114" y="432121"/>
                  </a:cubicBezTo>
                  <a:cubicBezTo>
                    <a:pt x="1953568" y="411331"/>
                    <a:pt x="1953568" y="411331"/>
                    <a:pt x="1953568" y="411331"/>
                  </a:cubicBezTo>
                  <a:close/>
                  <a:moveTo>
                    <a:pt x="1905534" y="398157"/>
                  </a:moveTo>
                  <a:cubicBezTo>
                    <a:pt x="1909158" y="397812"/>
                    <a:pt x="1912955" y="398848"/>
                    <a:pt x="1916407" y="400919"/>
                  </a:cubicBezTo>
                  <a:cubicBezTo>
                    <a:pt x="1921929" y="406441"/>
                    <a:pt x="1923310" y="414725"/>
                    <a:pt x="1917788" y="421629"/>
                  </a:cubicBezTo>
                  <a:cubicBezTo>
                    <a:pt x="1906742" y="435435"/>
                    <a:pt x="1906742" y="435435"/>
                    <a:pt x="1906742" y="435435"/>
                  </a:cubicBezTo>
                  <a:cubicBezTo>
                    <a:pt x="1903981" y="438196"/>
                    <a:pt x="1899839" y="440958"/>
                    <a:pt x="1895697" y="440958"/>
                  </a:cubicBezTo>
                  <a:cubicBezTo>
                    <a:pt x="1892936" y="440958"/>
                    <a:pt x="1888794" y="439577"/>
                    <a:pt x="1887413" y="436816"/>
                  </a:cubicBezTo>
                  <a:cubicBezTo>
                    <a:pt x="1880510" y="432674"/>
                    <a:pt x="1879129" y="423009"/>
                    <a:pt x="1884652" y="417487"/>
                  </a:cubicBezTo>
                  <a:cubicBezTo>
                    <a:pt x="1895697" y="403680"/>
                    <a:pt x="1895697" y="403680"/>
                    <a:pt x="1895697" y="403680"/>
                  </a:cubicBezTo>
                  <a:cubicBezTo>
                    <a:pt x="1898458" y="400229"/>
                    <a:pt x="1901910" y="398503"/>
                    <a:pt x="1905534" y="398157"/>
                  </a:cubicBezTo>
                  <a:close/>
                  <a:moveTo>
                    <a:pt x="225483" y="352344"/>
                  </a:moveTo>
                  <a:cubicBezTo>
                    <a:pt x="233337" y="349651"/>
                    <a:pt x="239883" y="353691"/>
                    <a:pt x="242501" y="361769"/>
                  </a:cubicBezTo>
                  <a:cubicBezTo>
                    <a:pt x="249046" y="379273"/>
                    <a:pt x="249046" y="379273"/>
                    <a:pt x="249046" y="379273"/>
                  </a:cubicBezTo>
                  <a:cubicBezTo>
                    <a:pt x="250355" y="386006"/>
                    <a:pt x="246428" y="394084"/>
                    <a:pt x="239883" y="396777"/>
                  </a:cubicBezTo>
                  <a:cubicBezTo>
                    <a:pt x="238574" y="396777"/>
                    <a:pt x="237265" y="396777"/>
                    <a:pt x="235956" y="396777"/>
                  </a:cubicBezTo>
                  <a:cubicBezTo>
                    <a:pt x="229410" y="396777"/>
                    <a:pt x="224174" y="394084"/>
                    <a:pt x="222865" y="387352"/>
                  </a:cubicBezTo>
                  <a:cubicBezTo>
                    <a:pt x="217629" y="369848"/>
                    <a:pt x="217629" y="369848"/>
                    <a:pt x="217629" y="369848"/>
                  </a:cubicBezTo>
                  <a:cubicBezTo>
                    <a:pt x="215011" y="363116"/>
                    <a:pt x="218938" y="355037"/>
                    <a:pt x="225483" y="352344"/>
                  </a:cubicBezTo>
                  <a:close/>
                  <a:moveTo>
                    <a:pt x="161487" y="315725"/>
                  </a:moveTo>
                  <a:cubicBezTo>
                    <a:pt x="209019" y="322816"/>
                    <a:pt x="209019" y="322816"/>
                    <a:pt x="209019" y="322816"/>
                  </a:cubicBezTo>
                  <a:cubicBezTo>
                    <a:pt x="215621" y="324234"/>
                    <a:pt x="220902" y="331325"/>
                    <a:pt x="219582" y="339834"/>
                  </a:cubicBezTo>
                  <a:cubicBezTo>
                    <a:pt x="219582" y="346925"/>
                    <a:pt x="212980" y="352597"/>
                    <a:pt x="206378" y="352597"/>
                  </a:cubicBezTo>
                  <a:cubicBezTo>
                    <a:pt x="206378" y="352597"/>
                    <a:pt x="205058" y="352597"/>
                    <a:pt x="205058" y="352597"/>
                  </a:cubicBezTo>
                  <a:cubicBezTo>
                    <a:pt x="157526" y="344088"/>
                    <a:pt x="157526" y="344088"/>
                    <a:pt x="157526" y="344088"/>
                  </a:cubicBezTo>
                  <a:cubicBezTo>
                    <a:pt x="149604" y="344088"/>
                    <a:pt x="144323" y="335579"/>
                    <a:pt x="145643" y="328489"/>
                  </a:cubicBezTo>
                  <a:cubicBezTo>
                    <a:pt x="146964" y="319980"/>
                    <a:pt x="153565" y="314307"/>
                    <a:pt x="161487" y="315725"/>
                  </a:cubicBezTo>
                  <a:close/>
                  <a:moveTo>
                    <a:pt x="13723" y="287800"/>
                  </a:moveTo>
                  <a:cubicBezTo>
                    <a:pt x="56263" y="287800"/>
                    <a:pt x="56263" y="287800"/>
                    <a:pt x="56263" y="287800"/>
                  </a:cubicBezTo>
                  <a:cubicBezTo>
                    <a:pt x="57635" y="287800"/>
                    <a:pt x="60380" y="287800"/>
                    <a:pt x="63124" y="289165"/>
                  </a:cubicBezTo>
                  <a:cubicBezTo>
                    <a:pt x="82336" y="300085"/>
                    <a:pt x="82336" y="300085"/>
                    <a:pt x="82336" y="300085"/>
                  </a:cubicBezTo>
                  <a:cubicBezTo>
                    <a:pt x="111154" y="311004"/>
                    <a:pt x="111154" y="311004"/>
                    <a:pt x="111154" y="311004"/>
                  </a:cubicBezTo>
                  <a:cubicBezTo>
                    <a:pt x="116643" y="313734"/>
                    <a:pt x="120760" y="320558"/>
                    <a:pt x="119388" y="326018"/>
                  </a:cubicBezTo>
                  <a:cubicBezTo>
                    <a:pt x="118015" y="332843"/>
                    <a:pt x="113899" y="338303"/>
                    <a:pt x="107037" y="338303"/>
                  </a:cubicBezTo>
                  <a:cubicBezTo>
                    <a:pt x="53519" y="343762"/>
                    <a:pt x="53519" y="343762"/>
                    <a:pt x="53519" y="343762"/>
                  </a:cubicBezTo>
                  <a:cubicBezTo>
                    <a:pt x="53519" y="343762"/>
                    <a:pt x="52146" y="343762"/>
                    <a:pt x="52146" y="343762"/>
                  </a:cubicBezTo>
                  <a:cubicBezTo>
                    <a:pt x="45285" y="343762"/>
                    <a:pt x="38424" y="339667"/>
                    <a:pt x="38424" y="331478"/>
                  </a:cubicBezTo>
                  <a:cubicBezTo>
                    <a:pt x="37051" y="324653"/>
                    <a:pt x="42540" y="317829"/>
                    <a:pt x="50774" y="316464"/>
                  </a:cubicBezTo>
                  <a:cubicBezTo>
                    <a:pt x="53519" y="316464"/>
                    <a:pt x="53519" y="316464"/>
                    <a:pt x="53519" y="316464"/>
                  </a:cubicBezTo>
                  <a:cubicBezTo>
                    <a:pt x="52146" y="315099"/>
                    <a:pt x="52146" y="315099"/>
                    <a:pt x="52146" y="315099"/>
                  </a:cubicBezTo>
                  <a:cubicBezTo>
                    <a:pt x="13723" y="315099"/>
                    <a:pt x="13723" y="315099"/>
                    <a:pt x="13723" y="315099"/>
                  </a:cubicBezTo>
                  <a:cubicBezTo>
                    <a:pt x="5489" y="315099"/>
                    <a:pt x="0" y="309639"/>
                    <a:pt x="0" y="301450"/>
                  </a:cubicBezTo>
                  <a:cubicBezTo>
                    <a:pt x="0" y="293260"/>
                    <a:pt x="5489" y="287800"/>
                    <a:pt x="13723" y="287800"/>
                  </a:cubicBezTo>
                  <a:close/>
                  <a:moveTo>
                    <a:pt x="2026643" y="116970"/>
                  </a:moveTo>
                  <a:cubicBezTo>
                    <a:pt x="2030816" y="116970"/>
                    <a:pt x="2036379" y="119724"/>
                    <a:pt x="2037770" y="125232"/>
                  </a:cubicBezTo>
                  <a:cubicBezTo>
                    <a:pt x="2054460" y="155527"/>
                    <a:pt x="2054460" y="155527"/>
                    <a:pt x="2054460" y="155527"/>
                  </a:cubicBezTo>
                  <a:cubicBezTo>
                    <a:pt x="2054460" y="156904"/>
                    <a:pt x="2055851" y="159658"/>
                    <a:pt x="2055851" y="161035"/>
                  </a:cubicBezTo>
                  <a:cubicBezTo>
                    <a:pt x="2055851" y="165167"/>
                    <a:pt x="2054460" y="194084"/>
                    <a:pt x="2030816" y="203724"/>
                  </a:cubicBezTo>
                  <a:cubicBezTo>
                    <a:pt x="2015516" y="210609"/>
                    <a:pt x="1976572" y="223002"/>
                    <a:pt x="1975181" y="223002"/>
                  </a:cubicBezTo>
                  <a:cubicBezTo>
                    <a:pt x="1973790" y="223002"/>
                    <a:pt x="1972399" y="223002"/>
                    <a:pt x="1971009" y="223002"/>
                  </a:cubicBezTo>
                  <a:cubicBezTo>
                    <a:pt x="1966836" y="223002"/>
                    <a:pt x="1961273" y="221625"/>
                    <a:pt x="1958491" y="217494"/>
                  </a:cubicBezTo>
                  <a:cubicBezTo>
                    <a:pt x="1955709" y="211986"/>
                    <a:pt x="1955709" y="205101"/>
                    <a:pt x="1959882" y="200970"/>
                  </a:cubicBezTo>
                  <a:cubicBezTo>
                    <a:pt x="1986308" y="169298"/>
                    <a:pt x="1986308" y="169298"/>
                    <a:pt x="1986308" y="169298"/>
                  </a:cubicBezTo>
                  <a:cubicBezTo>
                    <a:pt x="2012734" y="123855"/>
                    <a:pt x="2012734" y="123855"/>
                    <a:pt x="2012734" y="123855"/>
                  </a:cubicBezTo>
                  <a:cubicBezTo>
                    <a:pt x="2015516" y="119724"/>
                    <a:pt x="2021080" y="116970"/>
                    <a:pt x="2026643" y="116970"/>
                  </a:cubicBezTo>
                  <a:close/>
                  <a:moveTo>
                    <a:pt x="1998723" y="59433"/>
                  </a:moveTo>
                  <a:cubicBezTo>
                    <a:pt x="2043182" y="74502"/>
                    <a:pt x="2043182" y="74502"/>
                    <a:pt x="2043182" y="74502"/>
                  </a:cubicBezTo>
                  <a:cubicBezTo>
                    <a:pt x="2048739" y="75872"/>
                    <a:pt x="2051518" y="81352"/>
                    <a:pt x="2052907" y="86831"/>
                  </a:cubicBezTo>
                  <a:cubicBezTo>
                    <a:pt x="2052907" y="93681"/>
                    <a:pt x="2048739" y="97791"/>
                    <a:pt x="2043182" y="100531"/>
                  </a:cubicBezTo>
                  <a:cubicBezTo>
                    <a:pt x="2009838" y="115600"/>
                    <a:pt x="2009838" y="115600"/>
                    <a:pt x="2009838" y="115600"/>
                  </a:cubicBezTo>
                  <a:cubicBezTo>
                    <a:pt x="2008448" y="115600"/>
                    <a:pt x="2005670" y="116970"/>
                    <a:pt x="2004280" y="116970"/>
                  </a:cubicBezTo>
                  <a:cubicBezTo>
                    <a:pt x="2001502" y="116970"/>
                    <a:pt x="2000112" y="115600"/>
                    <a:pt x="1998723" y="115600"/>
                  </a:cubicBezTo>
                  <a:cubicBezTo>
                    <a:pt x="1994555" y="112860"/>
                    <a:pt x="1991776" y="110120"/>
                    <a:pt x="1990387" y="106010"/>
                  </a:cubicBezTo>
                  <a:cubicBezTo>
                    <a:pt x="1980661" y="77242"/>
                    <a:pt x="1980661" y="77242"/>
                    <a:pt x="1980661" y="77242"/>
                  </a:cubicBezTo>
                  <a:cubicBezTo>
                    <a:pt x="1979272" y="73132"/>
                    <a:pt x="1980661" y="67652"/>
                    <a:pt x="1984829" y="63542"/>
                  </a:cubicBezTo>
                  <a:cubicBezTo>
                    <a:pt x="1988998" y="59433"/>
                    <a:pt x="1994555" y="58063"/>
                    <a:pt x="1998723" y="59433"/>
                  </a:cubicBezTo>
                  <a:close/>
                  <a:moveTo>
                    <a:pt x="365788" y="1938"/>
                  </a:moveTo>
                  <a:cubicBezTo>
                    <a:pt x="371303" y="6111"/>
                    <a:pt x="374060" y="13065"/>
                    <a:pt x="371303" y="20020"/>
                  </a:cubicBezTo>
                  <a:cubicBezTo>
                    <a:pt x="371303" y="20020"/>
                    <a:pt x="371303" y="20020"/>
                    <a:pt x="365788" y="31147"/>
                  </a:cubicBezTo>
                  <a:cubicBezTo>
                    <a:pt x="365788" y="31147"/>
                    <a:pt x="365788" y="31147"/>
                    <a:pt x="371303" y="42274"/>
                  </a:cubicBezTo>
                  <a:cubicBezTo>
                    <a:pt x="371303" y="43665"/>
                    <a:pt x="372681" y="46446"/>
                    <a:pt x="371303" y="49228"/>
                  </a:cubicBezTo>
                  <a:cubicBezTo>
                    <a:pt x="371303" y="49228"/>
                    <a:pt x="371303" y="49228"/>
                    <a:pt x="312019" y="49228"/>
                  </a:cubicBezTo>
                  <a:cubicBezTo>
                    <a:pt x="312019" y="47837"/>
                    <a:pt x="310641" y="46446"/>
                    <a:pt x="310641" y="45056"/>
                  </a:cubicBezTo>
                  <a:cubicBezTo>
                    <a:pt x="309262" y="39492"/>
                    <a:pt x="310641" y="33928"/>
                    <a:pt x="316155" y="29756"/>
                  </a:cubicBezTo>
                  <a:cubicBezTo>
                    <a:pt x="316155" y="29756"/>
                    <a:pt x="316155" y="29756"/>
                    <a:pt x="349244" y="3329"/>
                  </a:cubicBezTo>
                  <a:cubicBezTo>
                    <a:pt x="353380" y="-844"/>
                    <a:pt x="361652" y="-844"/>
                    <a:pt x="365788" y="1938"/>
                  </a:cubicBezTo>
                  <a:close/>
                </a:path>
              </a:pathLst>
            </a:custGeom>
            <a:grp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a:solidFill>
                  <a:srgbClr val="FFFFFF"/>
                </a:solidFill>
                <a:latin typeface="Segoe UI Semilight"/>
              </a:endParaRPr>
            </a:p>
          </p:txBody>
        </p:sp>
      </p:grpSp>
      <p:sp>
        <p:nvSpPr>
          <p:cNvPr id="9" name="Freeform: Shape 99"/>
          <p:cNvSpPr/>
          <p:nvPr/>
        </p:nvSpPr>
        <p:spPr>
          <a:xfrm>
            <a:off x="2258" y="5214201"/>
            <a:ext cx="12431959" cy="178032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31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grpSp>
        <p:nvGrpSpPr>
          <p:cNvPr id="12" name="Group 11">
            <a:extLst>
              <a:ext uri="{FF2B5EF4-FFF2-40B4-BE49-F238E27FC236}">
                <a16:creationId xmlns:a16="http://schemas.microsoft.com/office/drawing/2014/main" id="{077A2346-E711-49EA-BD8F-F81EC99B99BD}"/>
              </a:ext>
            </a:extLst>
          </p:cNvPr>
          <p:cNvGrpSpPr/>
          <p:nvPr/>
        </p:nvGrpSpPr>
        <p:grpSpPr>
          <a:xfrm>
            <a:off x="9463762" y="6277374"/>
            <a:ext cx="227684" cy="442267"/>
            <a:chOff x="9576336" y="6019901"/>
            <a:chExt cx="223240" cy="433634"/>
          </a:xfrm>
        </p:grpSpPr>
        <p:grpSp>
          <p:nvGrpSpPr>
            <p:cNvPr id="14" name="Group 13">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5" name="Oval 903"/>
              <p:cNvSpPr/>
              <p:nvPr/>
            </p:nvSpPr>
            <p:spPr>
              <a:xfrm>
                <a:off x="9591504" y="5905106"/>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16"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FFFFFF"/>
                  </a:solidFill>
                  <a:latin typeface="Segoe UI Semilight"/>
                </a:endParaRPr>
              </a:p>
            </p:txBody>
          </p:sp>
        </p:grpSp>
        <p:sp>
          <p:nvSpPr>
            <p:cNvPr id="13"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17" name="Group 16">
            <a:extLst>
              <a:ext uri="{FF2B5EF4-FFF2-40B4-BE49-F238E27FC236}">
                <a16:creationId xmlns:a16="http://schemas.microsoft.com/office/drawing/2014/main" id="{E5A7D07E-75FB-4559-875F-262AB2467085}"/>
              </a:ext>
            </a:extLst>
          </p:cNvPr>
          <p:cNvGrpSpPr/>
          <p:nvPr/>
        </p:nvGrpSpPr>
        <p:grpSpPr>
          <a:xfrm>
            <a:off x="7617605" y="6509574"/>
            <a:ext cx="227684" cy="440196"/>
            <a:chOff x="7468054" y="6382515"/>
            <a:chExt cx="223240" cy="431604"/>
          </a:xfrm>
        </p:grpSpPr>
        <p:grpSp>
          <p:nvGrpSpPr>
            <p:cNvPr id="19" name="Group 18">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20" name="Oval 17"/>
              <p:cNvSpPr/>
              <p:nvPr/>
            </p:nvSpPr>
            <p:spPr>
              <a:xfrm>
                <a:off x="7483222" y="6265690"/>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21"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FFFFFF"/>
                  </a:solidFill>
                  <a:latin typeface="Segoe UI Semilight"/>
                </a:endParaRPr>
              </a:p>
            </p:txBody>
          </p:sp>
        </p:grpSp>
        <p:sp>
          <p:nvSpPr>
            <p:cNvPr id="18"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22" name="Group 21">
            <a:extLst>
              <a:ext uri="{FF2B5EF4-FFF2-40B4-BE49-F238E27FC236}">
                <a16:creationId xmlns:a16="http://schemas.microsoft.com/office/drawing/2014/main" id="{C182DA2D-3B7F-4476-B9EE-CEE70342A7F7}"/>
              </a:ext>
            </a:extLst>
          </p:cNvPr>
          <p:cNvGrpSpPr/>
          <p:nvPr/>
        </p:nvGrpSpPr>
        <p:grpSpPr>
          <a:xfrm>
            <a:off x="6331939" y="5918608"/>
            <a:ext cx="227684" cy="442267"/>
            <a:chOff x="6393022" y="6019901"/>
            <a:chExt cx="223240" cy="433634"/>
          </a:xfrm>
        </p:grpSpPr>
        <p:grpSp>
          <p:nvGrpSpPr>
            <p:cNvPr id="24" name="Group 23">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25" name="Oval 27"/>
              <p:cNvSpPr/>
              <p:nvPr/>
            </p:nvSpPr>
            <p:spPr>
              <a:xfrm>
                <a:off x="6408190" y="5905106"/>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26"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FFFFFF"/>
                  </a:solidFill>
                  <a:latin typeface="Segoe UI Semilight"/>
                </a:endParaRPr>
              </a:p>
            </p:txBody>
          </p:sp>
        </p:grpSp>
        <p:sp>
          <p:nvSpPr>
            <p:cNvPr id="23"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grpSp>
        <p:nvGrpSpPr>
          <p:cNvPr id="27" name="Group 26">
            <a:extLst>
              <a:ext uri="{FF2B5EF4-FFF2-40B4-BE49-F238E27FC236}">
                <a16:creationId xmlns:a16="http://schemas.microsoft.com/office/drawing/2014/main" id="{81905357-76B3-46A9-A2AA-C02068C8EEDB}"/>
              </a:ext>
            </a:extLst>
          </p:cNvPr>
          <p:cNvGrpSpPr/>
          <p:nvPr/>
        </p:nvGrpSpPr>
        <p:grpSpPr>
          <a:xfrm>
            <a:off x="2227912" y="6310581"/>
            <a:ext cx="227684" cy="459287"/>
            <a:chOff x="2418475" y="6242316"/>
            <a:chExt cx="223240" cy="450322"/>
          </a:xfrm>
        </p:grpSpPr>
        <p:grpSp>
          <p:nvGrpSpPr>
            <p:cNvPr id="29" name="Group 28">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30" name="Oval 6"/>
              <p:cNvSpPr/>
              <p:nvPr/>
            </p:nvSpPr>
            <p:spPr>
              <a:xfrm>
                <a:off x="2433643" y="6144209"/>
                <a:ext cx="192907" cy="192907"/>
              </a:xfrm>
              <a:prstGeom prst="ellipse">
                <a:avLst/>
              </a:prstGeom>
              <a:solidFill>
                <a:schemeClr val="bg1">
                  <a:alpha val="71000"/>
                </a:schemeClr>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sp>
            <p:nvSpPr>
              <p:cNvPr id="31"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bg1">
                  <a:alpha val="71000"/>
                </a:schemeClr>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FFFFFF"/>
                  </a:solidFill>
                  <a:latin typeface="Segoe UI Semilight"/>
                </a:endParaRPr>
              </a:p>
            </p:txBody>
          </p:sp>
        </p:grpSp>
        <p:sp>
          <p:nvSpPr>
            <p:cNvPr id="28"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932597">
                <a:defRPr/>
              </a:pPr>
              <a:endParaRPr lang="en-US" sz="1836" kern="0">
                <a:solidFill>
                  <a:srgbClr val="FFFFFF"/>
                </a:solidFill>
                <a:latin typeface="Segoe UI"/>
              </a:endParaRPr>
            </a:p>
          </p:txBody>
        </p:sp>
      </p:grpSp>
      <p:sp>
        <p:nvSpPr>
          <p:cNvPr id="37" name="Freeform: Shape 99"/>
          <p:cNvSpPr/>
          <p:nvPr/>
        </p:nvSpPr>
        <p:spPr>
          <a:xfrm>
            <a:off x="-443595" y="4069575"/>
            <a:ext cx="13316261"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8" name="Freeform: Shape 99"/>
          <p:cNvSpPr/>
          <p:nvPr/>
        </p:nvSpPr>
        <p:spPr>
          <a:xfrm>
            <a:off x="-776814" y="2644876"/>
            <a:ext cx="13982700"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9" name="Rectangle 38"/>
          <p:cNvSpPr/>
          <p:nvPr/>
        </p:nvSpPr>
        <p:spPr bwMode="auto">
          <a:xfrm>
            <a:off x="4304347" y="3588334"/>
            <a:ext cx="979125" cy="325339"/>
          </a:xfrm>
          <a:prstGeom prst="rect">
            <a:avLst/>
          </a:prstGeom>
          <a:solidFill>
            <a:srgbClr val="0177D7">
              <a:alpha val="7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solidFill>
                <a:srgbClr val="FFFFFF"/>
              </a:solidFill>
              <a:latin typeface="Segoe UI Semilight"/>
              <a:ea typeface="Segoe UI" pitchFamily="34" charset="0"/>
              <a:cs typeface="Segoe UI" pitchFamily="34" charset="0"/>
            </a:endParaRPr>
          </a:p>
        </p:txBody>
      </p:sp>
      <p:sp>
        <p:nvSpPr>
          <p:cNvPr id="4" name="Title 3">
            <a:extLst>
              <a:ext uri="{FF2B5EF4-FFF2-40B4-BE49-F238E27FC236}">
                <a16:creationId xmlns:a16="http://schemas.microsoft.com/office/drawing/2014/main" id="{F65548C1-CF4F-45CD-BCD2-3E7D9ACE3612}"/>
              </a:ext>
            </a:extLst>
          </p:cNvPr>
          <p:cNvSpPr>
            <a:spLocks noGrp="1"/>
          </p:cNvSpPr>
          <p:nvPr>
            <p:ph type="title"/>
          </p:nvPr>
        </p:nvSpPr>
        <p:spPr>
          <a:xfrm>
            <a:off x="1594088" y="336488"/>
            <a:ext cx="9252017" cy="678712"/>
          </a:xfrm>
        </p:spPr>
        <p:txBody>
          <a:bodyPr/>
          <a:lstStyle/>
          <a:p>
            <a:r>
              <a:rPr lang="en-US" dirty="0">
                <a:solidFill>
                  <a:schemeClr val="bg1"/>
                </a:solidFill>
                <a:ea typeface="Segoe UI Semilight" charset="0"/>
              </a:rPr>
              <a:t>Azure Cosmos </a:t>
            </a:r>
            <a:r>
              <a:rPr lang="en-US" dirty="0" err="1">
                <a:solidFill>
                  <a:schemeClr val="bg1"/>
                </a:solidFill>
                <a:ea typeface="Segoe UI Semilight" charset="0"/>
              </a:rPr>
              <a:t>db</a:t>
            </a:r>
            <a:br>
              <a:rPr lang="en-US" dirty="0">
                <a:solidFill>
                  <a:schemeClr val="bg1"/>
                </a:solidFill>
                <a:ea typeface="Segoe UI Semilight" charset="0"/>
              </a:rPr>
            </a:br>
            <a:r>
              <a:rPr lang="en-US" spc="255" dirty="0">
                <a:solidFill>
                  <a:schemeClr val="bg1"/>
                </a:solidFill>
                <a:ea typeface="Segoe UI Semilight" charset="0"/>
              </a:rPr>
              <a:t> </a:t>
            </a:r>
            <a:br>
              <a:rPr lang="en-US" spc="255" dirty="0">
                <a:solidFill>
                  <a:schemeClr val="bg1"/>
                </a:solidFill>
                <a:ea typeface="Segoe UI Semilight" charset="0"/>
              </a:rPr>
            </a:br>
            <a:br>
              <a:rPr lang="en-US" sz="1836" b="1" dirty="0">
                <a:solidFill>
                  <a:schemeClr val="bg1"/>
                </a:solidFill>
              </a:rPr>
            </a:br>
            <a:br>
              <a:rPr lang="en-US" sz="1836" b="1" dirty="0">
                <a:solidFill>
                  <a:schemeClr val="bg1"/>
                </a:solidFill>
              </a:rPr>
            </a:br>
            <a:endParaRPr lang="en-US" sz="1836" cap="none" dirty="0">
              <a:solidFill>
                <a:schemeClr val="bg1"/>
              </a:solidFill>
            </a:endParaRPr>
          </a:p>
        </p:txBody>
      </p:sp>
      <p:sp>
        <p:nvSpPr>
          <p:cNvPr id="40" name="Freeform: Shape 99"/>
          <p:cNvSpPr/>
          <p:nvPr/>
        </p:nvSpPr>
        <p:spPr>
          <a:xfrm>
            <a:off x="-977986" y="1167343"/>
            <a:ext cx="14385041"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41" name="Freeform: Shape 99"/>
          <p:cNvSpPr/>
          <p:nvPr/>
        </p:nvSpPr>
        <p:spPr>
          <a:xfrm>
            <a:off x="-1261100" y="-162884"/>
            <a:ext cx="14951267" cy="1906961"/>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alpha val="1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pic>
        <p:nvPicPr>
          <p:cNvPr id="42" name="Picture 2">
            <a:extLst>
              <a:ext uri="{FF2B5EF4-FFF2-40B4-BE49-F238E27FC236}">
                <a16:creationId xmlns:a16="http://schemas.microsoft.com/office/drawing/2014/main" id="{2F89D46D-3F18-48FE-8D21-093CB374209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0793620" y="2208122"/>
            <a:ext cx="565143" cy="565143"/>
          </a:xfrm>
          <a:prstGeom prst="rect">
            <a:avLst/>
          </a:prstGeom>
          <a:solidFill>
            <a:schemeClr val="bg1"/>
          </a:solidFill>
          <a:ln>
            <a:solidFill>
              <a:schemeClr val="bg1"/>
            </a:solidFill>
          </a:ln>
          <a:extLst/>
        </p:spPr>
      </p:pic>
      <p:grpSp>
        <p:nvGrpSpPr>
          <p:cNvPr id="44" name="Group 43">
            <a:extLst>
              <a:ext uri="{FF2B5EF4-FFF2-40B4-BE49-F238E27FC236}">
                <a16:creationId xmlns:a16="http://schemas.microsoft.com/office/drawing/2014/main" id="{94459BDD-2670-43EA-B24B-E0C19BDE0B33}"/>
              </a:ext>
            </a:extLst>
          </p:cNvPr>
          <p:cNvGrpSpPr/>
          <p:nvPr/>
        </p:nvGrpSpPr>
        <p:grpSpPr>
          <a:xfrm>
            <a:off x="533123" y="4322285"/>
            <a:ext cx="11322094" cy="1561865"/>
            <a:chOff x="704018" y="4237919"/>
            <a:chExt cx="11101100" cy="1531379"/>
          </a:xfrm>
        </p:grpSpPr>
        <p:sp>
          <p:nvSpPr>
            <p:cNvPr id="45" name="TextBox 44">
              <a:extLst>
                <a:ext uri="{FF2B5EF4-FFF2-40B4-BE49-F238E27FC236}">
                  <a16:creationId xmlns:a16="http://schemas.microsoft.com/office/drawing/2014/main" id="{F2164964-F3B3-4DDF-A888-5392993F17BA}"/>
                </a:ext>
              </a:extLst>
            </p:cNvPr>
            <p:cNvSpPr txBox="1"/>
            <p:nvPr/>
          </p:nvSpPr>
          <p:spPr>
            <a:xfrm>
              <a:off x="704018" y="5255413"/>
              <a:ext cx="1135247" cy="437684"/>
            </a:xfrm>
            <a:prstGeom prst="rect">
              <a:avLst/>
            </a:prstGeom>
            <a:noFill/>
          </p:spPr>
          <p:txBody>
            <a:bodyPr wrap="none" rtlCol="0">
              <a:spAutoFit/>
            </a:bodyPr>
            <a:lstStyle/>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Turnkey global </a:t>
              </a:r>
              <a:br>
                <a:rPr lang="en-US" sz="1122" kern="0" dirty="0">
                  <a:solidFill>
                    <a:srgbClr val="FFFFFF"/>
                  </a:solidFill>
                  <a:latin typeface="Segoe UI Semilight" panose="020B0402040204020203" pitchFamily="34" charset="0"/>
                  <a:cs typeface="Segoe UI Semilight" panose="020B0402040204020203" pitchFamily="34" charset="0"/>
                </a:rPr>
              </a:br>
              <a:r>
                <a:rPr lang="en-US" sz="1122" kern="0" dirty="0">
                  <a:solidFill>
                    <a:srgbClr val="FFFFFF"/>
                  </a:solidFill>
                  <a:latin typeface="Segoe UI Semilight" panose="020B0402040204020203" pitchFamily="34" charset="0"/>
                  <a:cs typeface="Segoe UI Semilight" panose="020B0402040204020203" pitchFamily="34" charset="0"/>
                </a:rPr>
                <a:t>distribution</a:t>
              </a:r>
            </a:p>
          </p:txBody>
        </p:sp>
        <p:sp>
          <p:nvSpPr>
            <p:cNvPr id="46" name="TextBox 45">
              <a:extLst>
                <a:ext uri="{FF2B5EF4-FFF2-40B4-BE49-F238E27FC236}">
                  <a16:creationId xmlns:a16="http://schemas.microsoft.com/office/drawing/2014/main" id="{3512DD06-BE0B-40D6-8047-596ABE422B42}"/>
                </a:ext>
              </a:extLst>
            </p:cNvPr>
            <p:cNvSpPr txBox="1"/>
            <p:nvPr/>
          </p:nvSpPr>
          <p:spPr>
            <a:xfrm>
              <a:off x="2847830" y="4596855"/>
              <a:ext cx="1694695" cy="437684"/>
            </a:xfrm>
            <a:prstGeom prst="rect">
              <a:avLst/>
            </a:prstGeom>
            <a:noFill/>
          </p:spPr>
          <p:txBody>
            <a:bodyPr wrap="none" rtlCol="0">
              <a:spAutoFit/>
            </a:bodyPr>
            <a:lstStyle/>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Elastic scale out </a:t>
              </a:r>
            </a:p>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of storage &amp; throughput</a:t>
              </a:r>
            </a:p>
          </p:txBody>
        </p:sp>
        <p:sp>
          <p:nvSpPr>
            <p:cNvPr id="47" name="TextBox 46">
              <a:extLst>
                <a:ext uri="{FF2B5EF4-FFF2-40B4-BE49-F238E27FC236}">
                  <a16:creationId xmlns:a16="http://schemas.microsoft.com/office/drawing/2014/main" id="{EC86AEA9-B18B-4969-B1E5-92ACD7C6A53A}"/>
                </a:ext>
              </a:extLst>
            </p:cNvPr>
            <p:cNvSpPr txBox="1"/>
            <p:nvPr/>
          </p:nvSpPr>
          <p:spPr>
            <a:xfrm>
              <a:off x="5543876" y="4237919"/>
              <a:ext cx="1680268" cy="437684"/>
            </a:xfrm>
            <a:prstGeom prst="rect">
              <a:avLst/>
            </a:prstGeom>
            <a:noFill/>
          </p:spPr>
          <p:txBody>
            <a:bodyPr wrap="none" rtlCol="0">
              <a:spAutoFit/>
            </a:bodyPr>
            <a:lstStyle/>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Guaranteed low latency </a:t>
              </a:r>
              <a:br>
                <a:rPr lang="en-US" sz="1122" kern="0" dirty="0">
                  <a:solidFill>
                    <a:srgbClr val="FFFFFF"/>
                  </a:solidFill>
                  <a:latin typeface="Segoe UI Semilight" panose="020B0402040204020203" pitchFamily="34" charset="0"/>
                  <a:cs typeface="Segoe UI Semilight" panose="020B0402040204020203" pitchFamily="34" charset="0"/>
                </a:rPr>
              </a:br>
              <a:r>
                <a:rPr lang="en-US" sz="1122" kern="0" dirty="0">
                  <a:solidFill>
                    <a:srgbClr val="FFFFFF"/>
                  </a:solidFill>
                  <a:latin typeface="Segoe UI Semilight" panose="020B0402040204020203" pitchFamily="34" charset="0"/>
                  <a:cs typeface="Segoe UI Semilight" panose="020B0402040204020203" pitchFamily="34" charset="0"/>
                </a:rPr>
                <a:t>at the 99</a:t>
              </a:r>
              <a:r>
                <a:rPr lang="en-US" sz="1122" kern="0" baseline="30000" dirty="0">
                  <a:solidFill>
                    <a:srgbClr val="FFFFFF"/>
                  </a:solidFill>
                  <a:latin typeface="Segoe UI Semilight" panose="020B0402040204020203" pitchFamily="34" charset="0"/>
                  <a:cs typeface="Segoe UI Semilight" panose="020B0402040204020203" pitchFamily="34" charset="0"/>
                </a:rPr>
                <a:t>th</a:t>
              </a:r>
              <a:r>
                <a:rPr lang="en-US" sz="1122" kern="0" dirty="0">
                  <a:solidFill>
                    <a:srgbClr val="FFFFFF"/>
                  </a:solidFill>
                  <a:latin typeface="Segoe UI Semilight" panose="020B0402040204020203" pitchFamily="34" charset="0"/>
                  <a:cs typeface="Segoe UI Semilight" panose="020B0402040204020203" pitchFamily="34" charset="0"/>
                </a:rPr>
                <a:t> percentile</a:t>
              </a:r>
            </a:p>
          </p:txBody>
        </p:sp>
        <p:sp>
          <p:nvSpPr>
            <p:cNvPr id="48" name="TextBox 47">
              <a:extLst>
                <a:ext uri="{FF2B5EF4-FFF2-40B4-BE49-F238E27FC236}">
                  <a16:creationId xmlns:a16="http://schemas.microsoft.com/office/drawing/2014/main" id="{A3541C75-0CA5-4FC2-BA38-B52893F206BD}"/>
                </a:ext>
              </a:extLst>
            </p:cNvPr>
            <p:cNvSpPr txBox="1"/>
            <p:nvPr/>
          </p:nvSpPr>
          <p:spPr>
            <a:xfrm>
              <a:off x="10621781" y="5331614"/>
              <a:ext cx="1183337" cy="437684"/>
            </a:xfrm>
            <a:prstGeom prst="rect">
              <a:avLst/>
            </a:prstGeom>
            <a:noFill/>
          </p:spPr>
          <p:txBody>
            <a:bodyPr wrap="none" rtlCol="0">
              <a:spAutoFit/>
            </a:bodyPr>
            <a:lstStyle/>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Comprehensive </a:t>
              </a:r>
              <a:br>
                <a:rPr lang="en-US" sz="1122" kern="0" dirty="0">
                  <a:solidFill>
                    <a:srgbClr val="FFFFFF"/>
                  </a:solidFill>
                  <a:latin typeface="Segoe UI Semilight" panose="020B0402040204020203" pitchFamily="34" charset="0"/>
                  <a:cs typeface="Segoe UI Semilight" panose="020B0402040204020203" pitchFamily="34" charset="0"/>
                </a:rPr>
              </a:br>
              <a:r>
                <a:rPr lang="en-US" sz="1122" kern="0" dirty="0">
                  <a:solidFill>
                    <a:srgbClr val="FFFFFF"/>
                  </a:solidFill>
                  <a:latin typeface="Segoe UI Semilight" panose="020B0402040204020203" pitchFamily="34" charset="0"/>
                  <a:cs typeface="Segoe UI Semilight" panose="020B0402040204020203" pitchFamily="34" charset="0"/>
                </a:rPr>
                <a:t>SLAs</a:t>
              </a:r>
            </a:p>
          </p:txBody>
        </p:sp>
        <p:sp>
          <p:nvSpPr>
            <p:cNvPr id="49" name="TextBox 48">
              <a:extLst>
                <a:ext uri="{FF2B5EF4-FFF2-40B4-BE49-F238E27FC236}">
                  <a16:creationId xmlns:a16="http://schemas.microsoft.com/office/drawing/2014/main" id="{CC18B483-3DD5-4672-89E1-CD092D0DAF45}"/>
                </a:ext>
              </a:extLst>
            </p:cNvPr>
            <p:cNvSpPr txBox="1"/>
            <p:nvPr/>
          </p:nvSpPr>
          <p:spPr>
            <a:xfrm>
              <a:off x="8229503" y="4596855"/>
              <a:ext cx="1380507" cy="437684"/>
            </a:xfrm>
            <a:prstGeom prst="rect">
              <a:avLst/>
            </a:prstGeom>
            <a:noFill/>
          </p:spPr>
          <p:txBody>
            <a:bodyPr wrap="none" rtlCol="0">
              <a:spAutoFit/>
            </a:bodyPr>
            <a:lstStyle/>
            <a:p>
              <a:pPr algn="ctr" defTabSz="874181">
                <a:defRPr/>
              </a:pPr>
              <a:r>
                <a:rPr lang="en-US" sz="1122" kern="0" dirty="0">
                  <a:solidFill>
                    <a:srgbClr val="FFFFFF"/>
                  </a:solidFill>
                  <a:latin typeface="Segoe UI Semilight" panose="020B0402040204020203" pitchFamily="34" charset="0"/>
                  <a:cs typeface="Segoe UI Semilight" panose="020B0402040204020203" pitchFamily="34" charset="0"/>
                </a:rPr>
                <a:t>Five well-defined </a:t>
              </a:r>
              <a:br>
                <a:rPr lang="en-US" sz="1122" kern="0" dirty="0">
                  <a:solidFill>
                    <a:srgbClr val="FFFFFF"/>
                  </a:solidFill>
                  <a:latin typeface="Segoe UI Semilight" panose="020B0402040204020203" pitchFamily="34" charset="0"/>
                  <a:cs typeface="Segoe UI Semilight" panose="020B0402040204020203" pitchFamily="34" charset="0"/>
                </a:rPr>
              </a:br>
              <a:r>
                <a:rPr lang="en-US" sz="1122" kern="0" dirty="0">
                  <a:solidFill>
                    <a:srgbClr val="FFFFFF"/>
                  </a:solidFill>
                  <a:latin typeface="Segoe UI Semilight" panose="020B0402040204020203" pitchFamily="34" charset="0"/>
                  <a:cs typeface="Segoe UI Semilight" panose="020B0402040204020203" pitchFamily="34" charset="0"/>
                </a:rPr>
                <a:t>consistency models</a:t>
              </a:r>
            </a:p>
          </p:txBody>
        </p:sp>
      </p:grpSp>
      <p:sp>
        <p:nvSpPr>
          <p:cNvPr id="50" name="TextBox 49">
            <a:extLst>
              <a:ext uri="{FF2B5EF4-FFF2-40B4-BE49-F238E27FC236}">
                <a16:creationId xmlns:a16="http://schemas.microsoft.com/office/drawing/2014/main" id="{9E910AF0-6F7B-410D-96A6-369455DAE8A9}"/>
              </a:ext>
            </a:extLst>
          </p:cNvPr>
          <p:cNvSpPr txBox="1"/>
          <p:nvPr/>
        </p:nvSpPr>
        <p:spPr>
          <a:xfrm>
            <a:off x="7061714" y="1979320"/>
            <a:ext cx="819158" cy="286306"/>
          </a:xfrm>
          <a:prstGeom prst="rect">
            <a:avLst/>
          </a:prstGeom>
          <a:noFill/>
        </p:spPr>
        <p:txBody>
          <a:bodyPr wrap="square" rtlCol="0" anchor="ctr">
            <a:spAutoFit/>
          </a:bodyPr>
          <a:lstStyle/>
          <a:p>
            <a:pPr defTabSz="932597"/>
            <a:r>
              <a:rPr lang="en-US" sz="1224" dirty="0">
                <a:solidFill>
                  <a:srgbClr val="FFFFFF"/>
                </a:solidFill>
                <a:latin typeface="Segoe UI Semilight"/>
              </a:rPr>
              <a:t>Table API</a:t>
            </a:r>
          </a:p>
        </p:txBody>
      </p:sp>
      <p:grpSp>
        <p:nvGrpSpPr>
          <p:cNvPr id="51" name="Group 50">
            <a:extLst>
              <a:ext uri="{FF2B5EF4-FFF2-40B4-BE49-F238E27FC236}">
                <a16:creationId xmlns:a16="http://schemas.microsoft.com/office/drawing/2014/main" id="{9DDEE4E5-B184-4A53-BB2D-FB8B93F8FFEB}"/>
              </a:ext>
            </a:extLst>
          </p:cNvPr>
          <p:cNvGrpSpPr/>
          <p:nvPr/>
        </p:nvGrpSpPr>
        <p:grpSpPr>
          <a:xfrm>
            <a:off x="6573290" y="1871865"/>
            <a:ext cx="503967" cy="449402"/>
            <a:chOff x="8276702" y="3303923"/>
            <a:chExt cx="657427" cy="586247"/>
          </a:xfrm>
          <a:solidFill>
            <a:schemeClr val="bg1"/>
          </a:solidFill>
        </p:grpSpPr>
        <p:sp>
          <p:nvSpPr>
            <p:cNvPr id="52" name="Hexagon 51">
              <a:extLst>
                <a:ext uri="{FF2B5EF4-FFF2-40B4-BE49-F238E27FC236}">
                  <a16:creationId xmlns:a16="http://schemas.microsoft.com/office/drawing/2014/main" id="{DAE6420B-A408-4F07-8103-93EE58F448EA}"/>
                </a:ext>
              </a:extLst>
            </p:cNvPr>
            <p:cNvSpPr/>
            <p:nvPr/>
          </p:nvSpPr>
          <p:spPr bwMode="auto">
            <a:xfrm>
              <a:off x="8276702" y="3303923"/>
              <a:ext cx="657427" cy="586247"/>
            </a:xfrm>
            <a:prstGeom prst="hexagon">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ea typeface="Segoe UI" pitchFamily="34" charset="0"/>
                <a:cs typeface="Segoe UI" pitchFamily="34" charset="0"/>
              </a:endParaRPr>
            </a:p>
          </p:txBody>
        </p:sp>
        <p:grpSp>
          <p:nvGrpSpPr>
            <p:cNvPr id="53" name="Group 52">
              <a:extLst>
                <a:ext uri="{FF2B5EF4-FFF2-40B4-BE49-F238E27FC236}">
                  <a16:creationId xmlns:a16="http://schemas.microsoft.com/office/drawing/2014/main" id="{2043886A-3349-430C-81C6-9D970D4CDE9A}"/>
                </a:ext>
              </a:extLst>
            </p:cNvPr>
            <p:cNvGrpSpPr/>
            <p:nvPr/>
          </p:nvGrpSpPr>
          <p:grpSpPr>
            <a:xfrm>
              <a:off x="8435042" y="3437010"/>
              <a:ext cx="340743" cy="339628"/>
              <a:chOff x="9378226" y="3437014"/>
              <a:chExt cx="340743" cy="339628"/>
            </a:xfrm>
            <a:grpFill/>
          </p:grpSpPr>
          <p:sp>
            <p:nvSpPr>
              <p:cNvPr id="54" name="Freeform: Shape 53">
                <a:extLst>
                  <a:ext uri="{FF2B5EF4-FFF2-40B4-BE49-F238E27FC236}">
                    <a16:creationId xmlns:a16="http://schemas.microsoft.com/office/drawing/2014/main" id="{740DCFA4-B75D-4EF5-AAD4-E3066BCEBB04}"/>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55" name="Freeform: Shape 54">
                <a:extLst>
                  <a:ext uri="{FF2B5EF4-FFF2-40B4-BE49-F238E27FC236}">
                    <a16:creationId xmlns:a16="http://schemas.microsoft.com/office/drawing/2014/main" id="{A291EB2D-88D2-47B9-A413-6700B681D462}"/>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56" name="Freeform: Shape 55">
                <a:extLst>
                  <a:ext uri="{FF2B5EF4-FFF2-40B4-BE49-F238E27FC236}">
                    <a16:creationId xmlns:a16="http://schemas.microsoft.com/office/drawing/2014/main" id="{568E1F1E-46FB-4FC2-8C93-01D6B9896600}"/>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57" name="Freeform: Shape 56">
                <a:extLst>
                  <a:ext uri="{FF2B5EF4-FFF2-40B4-BE49-F238E27FC236}">
                    <a16:creationId xmlns:a16="http://schemas.microsoft.com/office/drawing/2014/main" id="{DB7BA5BB-9A9E-4C46-8043-D428D88B7765}"/>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58" name="Freeform: Shape 57">
                <a:extLst>
                  <a:ext uri="{FF2B5EF4-FFF2-40B4-BE49-F238E27FC236}">
                    <a16:creationId xmlns:a16="http://schemas.microsoft.com/office/drawing/2014/main" id="{65F75088-336B-4BB0-96CB-3051F2E03490}"/>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59" name="Freeform: Shape 58">
                <a:extLst>
                  <a:ext uri="{FF2B5EF4-FFF2-40B4-BE49-F238E27FC236}">
                    <a16:creationId xmlns:a16="http://schemas.microsoft.com/office/drawing/2014/main" id="{8EB599A4-91AC-43E9-95E3-DC11EBCFCF1F}"/>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60" name="Freeform: Shape 59">
                <a:extLst>
                  <a:ext uri="{FF2B5EF4-FFF2-40B4-BE49-F238E27FC236}">
                    <a16:creationId xmlns:a16="http://schemas.microsoft.com/office/drawing/2014/main" id="{FD0D8F4A-09C5-406F-A21C-41701DCD0787}"/>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61" name="Freeform: Shape 60">
                <a:extLst>
                  <a:ext uri="{FF2B5EF4-FFF2-40B4-BE49-F238E27FC236}">
                    <a16:creationId xmlns:a16="http://schemas.microsoft.com/office/drawing/2014/main" id="{EB8995EB-9C79-44DA-8214-486CF92B523E}"/>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62" name="Freeform: Shape 61">
                <a:extLst>
                  <a:ext uri="{FF2B5EF4-FFF2-40B4-BE49-F238E27FC236}">
                    <a16:creationId xmlns:a16="http://schemas.microsoft.com/office/drawing/2014/main" id="{71EB7AB5-7654-482E-9FE2-237162BC305D}"/>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sp>
            <p:nvSpPr>
              <p:cNvPr id="63" name="Freeform: Shape 62">
                <a:extLst>
                  <a:ext uri="{FF2B5EF4-FFF2-40B4-BE49-F238E27FC236}">
                    <a16:creationId xmlns:a16="http://schemas.microsoft.com/office/drawing/2014/main" id="{88750B0C-0667-4835-9F63-BD0BC4700555}"/>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071" dirty="0" err="1">
                  <a:solidFill>
                    <a:srgbClr val="FFFFFF"/>
                  </a:solidFill>
                  <a:latin typeface="Segoe UI Semilight"/>
                  <a:cs typeface="Segoe UI" pitchFamily="34" charset="0"/>
                </a:endParaRPr>
              </a:p>
            </p:txBody>
          </p:sp>
        </p:grpSp>
      </p:grpSp>
      <p:sp>
        <p:nvSpPr>
          <p:cNvPr id="64" name="TextBox 63">
            <a:extLst>
              <a:ext uri="{FF2B5EF4-FFF2-40B4-BE49-F238E27FC236}">
                <a16:creationId xmlns:a16="http://schemas.microsoft.com/office/drawing/2014/main" id="{324A761C-7586-404E-9074-A3F08B852C72}"/>
              </a:ext>
            </a:extLst>
          </p:cNvPr>
          <p:cNvSpPr txBox="1"/>
          <p:nvPr/>
        </p:nvSpPr>
        <p:spPr>
          <a:xfrm>
            <a:off x="581968" y="2659277"/>
            <a:ext cx="900717" cy="414353"/>
          </a:xfrm>
          <a:prstGeom prst="rect">
            <a:avLst/>
          </a:prstGeom>
          <a:noFill/>
        </p:spPr>
        <p:txBody>
          <a:bodyPr wrap="square" rtlCol="0" anchor="ctr">
            <a:spAutoFit/>
          </a:bodyPr>
          <a:lstStyle/>
          <a:p>
            <a:pPr algn="ctr" defTabSz="932597"/>
            <a:r>
              <a:rPr lang="en-US" sz="2040" dirty="0">
                <a:solidFill>
                  <a:srgbClr val="FFFFFF"/>
                </a:solidFill>
                <a:latin typeface="Segoe UI Semilight" panose="020B0402040204020203" pitchFamily="34" charset="0"/>
                <a:cs typeface="Segoe UI Semilight" panose="020B0402040204020203" pitchFamily="34" charset="0"/>
              </a:rPr>
              <a:t>SQL</a:t>
            </a:r>
          </a:p>
        </p:txBody>
      </p:sp>
      <p:grpSp>
        <p:nvGrpSpPr>
          <p:cNvPr id="67" name="Group 66">
            <a:extLst>
              <a:ext uri="{FF2B5EF4-FFF2-40B4-BE49-F238E27FC236}">
                <a16:creationId xmlns:a16="http://schemas.microsoft.com/office/drawing/2014/main" id="{FAB532A5-E8EB-47FC-ADB6-59FE0E573366}"/>
              </a:ext>
            </a:extLst>
          </p:cNvPr>
          <p:cNvGrpSpPr/>
          <p:nvPr/>
        </p:nvGrpSpPr>
        <p:grpSpPr>
          <a:xfrm>
            <a:off x="3310996" y="3063508"/>
            <a:ext cx="6200442" cy="793363"/>
            <a:chOff x="3245504" y="3003712"/>
            <a:chExt cx="6079417" cy="777877"/>
          </a:xfrm>
        </p:grpSpPr>
        <p:grpSp>
          <p:nvGrpSpPr>
            <p:cNvPr id="68" name="Group 67">
              <a:extLst>
                <a:ext uri="{FF2B5EF4-FFF2-40B4-BE49-F238E27FC236}">
                  <a16:creationId xmlns:a16="http://schemas.microsoft.com/office/drawing/2014/main" id="{6F81AAAE-CA7E-4A45-A079-CA8BF3FB8863}"/>
                </a:ext>
              </a:extLst>
            </p:cNvPr>
            <p:cNvGrpSpPr/>
            <p:nvPr/>
          </p:nvGrpSpPr>
          <p:grpSpPr>
            <a:xfrm>
              <a:off x="8667216" y="3105283"/>
              <a:ext cx="586303" cy="377163"/>
              <a:chOff x="7117181" y="5146654"/>
              <a:chExt cx="663064" cy="426544"/>
            </a:xfrm>
            <a:solidFill>
              <a:schemeClr val="tx2"/>
            </a:solidFill>
          </p:grpSpPr>
          <p:sp>
            <p:nvSpPr>
              <p:cNvPr id="103" name="Oval 102">
                <a:extLst>
                  <a:ext uri="{FF2B5EF4-FFF2-40B4-BE49-F238E27FC236}">
                    <a16:creationId xmlns:a16="http://schemas.microsoft.com/office/drawing/2014/main" id="{5E910327-2B4A-4102-B5C2-7BECC1D185C5}"/>
                  </a:ext>
                </a:extLst>
              </p:cNvPr>
              <p:cNvSpPr/>
              <p:nvPr/>
            </p:nvSpPr>
            <p:spPr bwMode="auto">
              <a:xfrm rot="715722">
                <a:off x="7117181" y="5146654"/>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104" name="Oval 103">
                <a:extLst>
                  <a:ext uri="{FF2B5EF4-FFF2-40B4-BE49-F238E27FC236}">
                    <a16:creationId xmlns:a16="http://schemas.microsoft.com/office/drawing/2014/main" id="{C5ADC40E-8580-4EE5-BA42-B143E6EB95B0}"/>
                  </a:ext>
                </a:extLst>
              </p:cNvPr>
              <p:cNvSpPr/>
              <p:nvPr/>
            </p:nvSpPr>
            <p:spPr bwMode="auto">
              <a:xfrm>
                <a:off x="7476127" y="5224668"/>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105" name="Oval 104">
                <a:extLst>
                  <a:ext uri="{FF2B5EF4-FFF2-40B4-BE49-F238E27FC236}">
                    <a16:creationId xmlns:a16="http://schemas.microsoft.com/office/drawing/2014/main" id="{15743A71-CC0B-4C9E-94BE-809E076A243A}"/>
                  </a:ext>
                </a:extLst>
              </p:cNvPr>
              <p:cNvSpPr/>
              <p:nvPr/>
            </p:nvSpPr>
            <p:spPr bwMode="auto">
              <a:xfrm>
                <a:off x="7296654"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106" name="Oval 105">
                <a:extLst>
                  <a:ext uri="{FF2B5EF4-FFF2-40B4-BE49-F238E27FC236}">
                    <a16:creationId xmlns:a16="http://schemas.microsoft.com/office/drawing/2014/main" id="{4CC2C82D-E3AE-444D-AB74-C630B4A4E180}"/>
                  </a:ext>
                </a:extLst>
              </p:cNvPr>
              <p:cNvSpPr/>
              <p:nvPr/>
            </p:nvSpPr>
            <p:spPr bwMode="auto">
              <a:xfrm>
                <a:off x="7655599"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cxnSp>
            <p:nvCxnSpPr>
              <p:cNvPr id="107" name="Straight Connector 106">
                <a:extLst>
                  <a:ext uri="{FF2B5EF4-FFF2-40B4-BE49-F238E27FC236}">
                    <a16:creationId xmlns:a16="http://schemas.microsoft.com/office/drawing/2014/main" id="{D409DFB6-C3AA-4E25-A391-8250D611C5A7}"/>
                  </a:ext>
                </a:extLst>
              </p:cNvPr>
              <p:cNvCxnSpPr>
                <a:cxnSpLocks/>
              </p:cNvCxnSpPr>
              <p:nvPr/>
            </p:nvCxnSpPr>
            <p:spPr>
              <a:xfrm>
                <a:off x="7240481" y="5221859"/>
                <a:ext cx="235646" cy="65132"/>
              </a:xfrm>
              <a:prstGeom prst="line">
                <a:avLst/>
              </a:prstGeom>
              <a:grpFill/>
              <a:ln w="12700" cap="flat" cmpd="sng" algn="ctr">
                <a:solidFill>
                  <a:schemeClr val="tx1"/>
                </a:solidFill>
                <a:prstDash val="sysDot"/>
                <a:miter lim="800000"/>
                <a:headEnd type="none"/>
                <a:tailEnd type="none"/>
              </a:ln>
              <a:effectLst/>
            </p:spPr>
          </p:cxnSp>
          <p:cxnSp>
            <p:nvCxnSpPr>
              <p:cNvPr id="108" name="Straight Connector 107">
                <a:extLst>
                  <a:ext uri="{FF2B5EF4-FFF2-40B4-BE49-F238E27FC236}">
                    <a16:creationId xmlns:a16="http://schemas.microsoft.com/office/drawing/2014/main" id="{6B4B1766-89B3-41E4-8907-1CD8A581C41B}"/>
                  </a:ext>
                </a:extLst>
              </p:cNvPr>
              <p:cNvCxnSpPr>
                <a:cxnSpLocks/>
              </p:cNvCxnSpPr>
              <p:nvPr/>
            </p:nvCxnSpPr>
            <p:spPr>
              <a:xfrm>
                <a:off x="7421300" y="5510875"/>
                <a:ext cx="234299" cy="0"/>
              </a:xfrm>
              <a:prstGeom prst="line">
                <a:avLst/>
              </a:prstGeom>
              <a:grpFill/>
              <a:ln w="12700" cap="flat" cmpd="sng" algn="ctr">
                <a:solidFill>
                  <a:schemeClr val="tx1"/>
                </a:solidFill>
                <a:prstDash val="sysDot"/>
                <a:miter lim="800000"/>
                <a:headEnd type="none"/>
                <a:tailEnd type="none"/>
              </a:ln>
              <a:effectLst/>
            </p:spPr>
          </p:cxnSp>
          <p:cxnSp>
            <p:nvCxnSpPr>
              <p:cNvPr id="109" name="Straight Connector 108">
                <a:extLst>
                  <a:ext uri="{FF2B5EF4-FFF2-40B4-BE49-F238E27FC236}">
                    <a16:creationId xmlns:a16="http://schemas.microsoft.com/office/drawing/2014/main" id="{893404E8-BACB-472F-953D-35CF839D90C6}"/>
                  </a:ext>
                </a:extLst>
              </p:cNvPr>
              <p:cNvCxnSpPr>
                <a:cxnSpLocks/>
              </p:cNvCxnSpPr>
              <p:nvPr/>
            </p:nvCxnSpPr>
            <p:spPr>
              <a:xfrm>
                <a:off x="7582519" y="5331060"/>
                <a:ext cx="91334" cy="135746"/>
              </a:xfrm>
              <a:prstGeom prst="line">
                <a:avLst/>
              </a:prstGeom>
              <a:grpFill/>
              <a:ln w="12700" cap="flat" cmpd="sng" algn="ctr">
                <a:solidFill>
                  <a:schemeClr val="tx1"/>
                </a:solidFill>
                <a:prstDash val="sysDot"/>
                <a:miter lim="800000"/>
                <a:headEnd type="none"/>
                <a:tailEnd type="none"/>
              </a:ln>
              <a:effectLst/>
            </p:spPr>
          </p:cxnSp>
          <p:cxnSp>
            <p:nvCxnSpPr>
              <p:cNvPr id="110" name="Straight Connector 109">
                <a:extLst>
                  <a:ext uri="{FF2B5EF4-FFF2-40B4-BE49-F238E27FC236}">
                    <a16:creationId xmlns:a16="http://schemas.microsoft.com/office/drawing/2014/main" id="{302AFBE4-566F-4839-95CB-716AAD0E0FA1}"/>
                  </a:ext>
                </a:extLst>
              </p:cNvPr>
              <p:cNvCxnSpPr>
                <a:cxnSpLocks/>
              </p:cNvCxnSpPr>
              <p:nvPr/>
            </p:nvCxnSpPr>
            <p:spPr>
              <a:xfrm flipV="1">
                <a:off x="7403046" y="5331060"/>
                <a:ext cx="91335" cy="135746"/>
              </a:xfrm>
              <a:prstGeom prst="line">
                <a:avLst/>
              </a:prstGeom>
              <a:grpFill/>
              <a:ln w="12700" cap="flat" cmpd="sng" algn="ctr">
                <a:solidFill>
                  <a:schemeClr val="tx1"/>
                </a:solidFill>
                <a:prstDash val="sysDot"/>
                <a:miter lim="800000"/>
                <a:headEnd type="none"/>
                <a:tailEnd type="none"/>
              </a:ln>
              <a:effectLst/>
            </p:spPr>
          </p:cxnSp>
        </p:grpSp>
        <p:grpSp>
          <p:nvGrpSpPr>
            <p:cNvPr id="69" name="Group 68">
              <a:extLst>
                <a:ext uri="{FF2B5EF4-FFF2-40B4-BE49-F238E27FC236}">
                  <a16:creationId xmlns:a16="http://schemas.microsoft.com/office/drawing/2014/main" id="{94E6BEFD-E1A1-4BB2-833C-5283A19669EE}"/>
                </a:ext>
              </a:extLst>
            </p:cNvPr>
            <p:cNvGrpSpPr/>
            <p:nvPr/>
          </p:nvGrpSpPr>
          <p:grpSpPr>
            <a:xfrm>
              <a:off x="7092749" y="3034293"/>
              <a:ext cx="499208" cy="473323"/>
              <a:chOff x="7128988" y="4166153"/>
              <a:chExt cx="604908" cy="573541"/>
            </a:xfrm>
            <a:solidFill>
              <a:schemeClr val="tx2"/>
            </a:solidFill>
          </p:grpSpPr>
          <p:cxnSp>
            <p:nvCxnSpPr>
              <p:cNvPr id="90" name="Straight Connector 89">
                <a:extLst>
                  <a:ext uri="{FF2B5EF4-FFF2-40B4-BE49-F238E27FC236}">
                    <a16:creationId xmlns:a16="http://schemas.microsoft.com/office/drawing/2014/main" id="{FEC99300-F2C4-4BD4-89E4-48ECDE04C85C}"/>
                  </a:ext>
                </a:extLst>
              </p:cNvPr>
              <p:cNvCxnSpPr>
                <a:cxnSpLocks/>
              </p:cNvCxnSpPr>
              <p:nvPr/>
            </p:nvCxnSpPr>
            <p:spPr>
              <a:xfrm>
                <a:off x="7128988" y="4451736"/>
                <a:ext cx="238107" cy="72556"/>
              </a:xfrm>
              <a:prstGeom prst="line">
                <a:avLst/>
              </a:prstGeom>
              <a:grpFill/>
              <a:ln w="12700" cap="flat" cmpd="sng" algn="ctr">
                <a:solidFill>
                  <a:schemeClr val="tx1"/>
                </a:solidFill>
                <a:prstDash val="sysDot"/>
                <a:miter lim="800000"/>
                <a:headEnd type="none"/>
                <a:tailEnd type="none"/>
              </a:ln>
              <a:effectLst/>
            </p:spPr>
          </p:cxnSp>
          <p:cxnSp>
            <p:nvCxnSpPr>
              <p:cNvPr id="91" name="Straight Connector 90">
                <a:extLst>
                  <a:ext uri="{FF2B5EF4-FFF2-40B4-BE49-F238E27FC236}">
                    <a16:creationId xmlns:a16="http://schemas.microsoft.com/office/drawing/2014/main" id="{1144D845-4175-4248-9EEB-9F01A189FBBB}"/>
                  </a:ext>
                </a:extLst>
              </p:cNvPr>
              <p:cNvCxnSpPr>
                <a:cxnSpLocks/>
              </p:cNvCxnSpPr>
              <p:nvPr/>
            </p:nvCxnSpPr>
            <p:spPr>
              <a:xfrm flipV="1">
                <a:off x="7128988" y="4379180"/>
                <a:ext cx="233873" cy="72556"/>
              </a:xfrm>
              <a:prstGeom prst="line">
                <a:avLst/>
              </a:prstGeom>
              <a:grpFill/>
              <a:ln w="12700" cap="flat" cmpd="sng" algn="ctr">
                <a:solidFill>
                  <a:schemeClr val="tx1"/>
                </a:solidFill>
                <a:prstDash val="sysDot"/>
                <a:miter lim="800000"/>
                <a:headEnd type="none"/>
                <a:tailEnd type="none"/>
              </a:ln>
              <a:effectLst/>
            </p:spPr>
          </p:cxnSp>
          <p:sp>
            <p:nvSpPr>
              <p:cNvPr id="92" name="Oval 91">
                <a:extLst>
                  <a:ext uri="{FF2B5EF4-FFF2-40B4-BE49-F238E27FC236}">
                    <a16:creationId xmlns:a16="http://schemas.microsoft.com/office/drawing/2014/main" id="{77F07B73-438B-4AAF-9FC1-C6F8AE957A05}"/>
                  </a:ext>
                </a:extLst>
              </p:cNvPr>
              <p:cNvSpPr/>
              <p:nvPr/>
            </p:nvSpPr>
            <p:spPr bwMode="auto">
              <a:xfrm>
                <a:off x="7128988" y="4383154"/>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cxnSp>
            <p:nvCxnSpPr>
              <p:cNvPr id="93" name="Straight Connector 92">
                <a:extLst>
                  <a:ext uri="{FF2B5EF4-FFF2-40B4-BE49-F238E27FC236}">
                    <a16:creationId xmlns:a16="http://schemas.microsoft.com/office/drawing/2014/main" id="{B4EEB092-DD28-42DC-B1DA-1AA5E69B592A}"/>
                  </a:ext>
                </a:extLst>
              </p:cNvPr>
              <p:cNvCxnSpPr>
                <a:cxnSpLocks/>
              </p:cNvCxnSpPr>
              <p:nvPr/>
            </p:nvCxnSpPr>
            <p:spPr>
              <a:xfrm>
                <a:off x="7367095" y="4524292"/>
                <a:ext cx="241432" cy="108368"/>
              </a:xfrm>
              <a:prstGeom prst="line">
                <a:avLst/>
              </a:prstGeom>
              <a:grpFill/>
              <a:ln w="12700" cap="flat" cmpd="sng" algn="ctr">
                <a:solidFill>
                  <a:schemeClr val="tx1"/>
                </a:solidFill>
                <a:prstDash val="sysDot"/>
                <a:miter lim="800000"/>
                <a:headEnd type="none"/>
                <a:tailEnd type="none"/>
              </a:ln>
              <a:effectLst/>
            </p:spPr>
          </p:cxnSp>
          <p:cxnSp>
            <p:nvCxnSpPr>
              <p:cNvPr id="94" name="Straight Connector 93">
                <a:extLst>
                  <a:ext uri="{FF2B5EF4-FFF2-40B4-BE49-F238E27FC236}">
                    <a16:creationId xmlns:a16="http://schemas.microsoft.com/office/drawing/2014/main" id="{D9AB63A1-BA4A-4C67-BCA6-8C88B63DDFAA}"/>
                  </a:ext>
                </a:extLst>
              </p:cNvPr>
              <p:cNvCxnSpPr>
                <a:cxnSpLocks/>
              </p:cNvCxnSpPr>
              <p:nvPr/>
            </p:nvCxnSpPr>
            <p:spPr>
              <a:xfrm>
                <a:off x="7367095" y="4524292"/>
                <a:ext cx="229638" cy="1361"/>
              </a:xfrm>
              <a:prstGeom prst="line">
                <a:avLst/>
              </a:prstGeom>
              <a:grpFill/>
              <a:ln w="12700" cap="flat" cmpd="sng" algn="ctr">
                <a:solidFill>
                  <a:schemeClr val="tx1"/>
                </a:solidFill>
                <a:prstDash val="sysDot"/>
                <a:miter lim="800000"/>
                <a:headEnd type="none"/>
                <a:tailEnd type="none"/>
              </a:ln>
              <a:effectLst/>
            </p:spPr>
          </p:cxnSp>
          <p:sp>
            <p:nvSpPr>
              <p:cNvPr id="95" name="Oval 94">
                <a:extLst>
                  <a:ext uri="{FF2B5EF4-FFF2-40B4-BE49-F238E27FC236}">
                    <a16:creationId xmlns:a16="http://schemas.microsoft.com/office/drawing/2014/main" id="{181CD1CF-A216-4853-8BD9-A073D01ED96B}"/>
                  </a:ext>
                </a:extLst>
              </p:cNvPr>
              <p:cNvSpPr/>
              <p:nvPr/>
            </p:nvSpPr>
            <p:spPr bwMode="auto">
              <a:xfrm rot="20946206">
                <a:off x="7596733" y="460253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96" name="Oval 95">
                <a:extLst>
                  <a:ext uri="{FF2B5EF4-FFF2-40B4-BE49-F238E27FC236}">
                    <a16:creationId xmlns:a16="http://schemas.microsoft.com/office/drawing/2014/main" id="{101AF326-0A26-4432-B19E-72C58C11F24A}"/>
                  </a:ext>
                </a:extLst>
              </p:cNvPr>
              <p:cNvSpPr/>
              <p:nvPr/>
            </p:nvSpPr>
            <p:spPr bwMode="auto">
              <a:xfrm>
                <a:off x="7596733" y="445707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cxnSp>
            <p:nvCxnSpPr>
              <p:cNvPr id="97" name="Straight Connector 96">
                <a:extLst>
                  <a:ext uri="{FF2B5EF4-FFF2-40B4-BE49-F238E27FC236}">
                    <a16:creationId xmlns:a16="http://schemas.microsoft.com/office/drawing/2014/main" id="{C6BAD1AF-1DD8-42E4-83F4-F6B3B1936A9C}"/>
                  </a:ext>
                </a:extLst>
              </p:cNvPr>
              <p:cNvCxnSpPr>
                <a:cxnSpLocks/>
              </p:cNvCxnSpPr>
              <p:nvPr/>
            </p:nvCxnSpPr>
            <p:spPr>
              <a:xfrm>
                <a:off x="7362861" y="4379181"/>
                <a:ext cx="233872" cy="1013"/>
              </a:xfrm>
              <a:prstGeom prst="line">
                <a:avLst/>
              </a:prstGeom>
              <a:grpFill/>
              <a:ln w="12700" cap="flat" cmpd="sng" algn="ctr">
                <a:solidFill>
                  <a:schemeClr val="tx1"/>
                </a:solidFill>
                <a:prstDash val="sysDot"/>
                <a:miter lim="800000"/>
                <a:headEnd type="none"/>
                <a:tailEnd type="none"/>
              </a:ln>
              <a:effectLst/>
            </p:spPr>
          </p:cxnSp>
          <p:sp>
            <p:nvSpPr>
              <p:cNvPr id="98" name="Oval 97">
                <a:extLst>
                  <a:ext uri="{FF2B5EF4-FFF2-40B4-BE49-F238E27FC236}">
                    <a16:creationId xmlns:a16="http://schemas.microsoft.com/office/drawing/2014/main" id="{19DFCFFF-C5AD-4686-8ABC-1EDBEBA6F11C}"/>
                  </a:ext>
                </a:extLst>
              </p:cNvPr>
              <p:cNvSpPr/>
              <p:nvPr/>
            </p:nvSpPr>
            <p:spPr bwMode="auto">
              <a:xfrm>
                <a:off x="7367095" y="4455710"/>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cxnSp>
            <p:nvCxnSpPr>
              <p:cNvPr id="99" name="Straight Connector 98">
                <a:extLst>
                  <a:ext uri="{FF2B5EF4-FFF2-40B4-BE49-F238E27FC236}">
                    <a16:creationId xmlns:a16="http://schemas.microsoft.com/office/drawing/2014/main" id="{C844EEB0-2DA5-4E11-B8DA-90D258C3B640}"/>
                  </a:ext>
                </a:extLst>
              </p:cNvPr>
              <p:cNvCxnSpPr>
                <a:cxnSpLocks/>
              </p:cNvCxnSpPr>
              <p:nvPr/>
            </p:nvCxnSpPr>
            <p:spPr>
              <a:xfrm flipV="1">
                <a:off x="7362861" y="4277619"/>
                <a:ext cx="248934" cy="101562"/>
              </a:xfrm>
              <a:prstGeom prst="line">
                <a:avLst/>
              </a:prstGeom>
              <a:grpFill/>
              <a:ln w="12700" cap="flat" cmpd="sng" algn="ctr">
                <a:solidFill>
                  <a:schemeClr val="tx1"/>
                </a:solidFill>
                <a:prstDash val="sysDot"/>
                <a:miter lim="800000"/>
                <a:headEnd type="none"/>
                <a:tailEnd type="none"/>
              </a:ln>
              <a:effectLst/>
            </p:spPr>
          </p:cxnSp>
          <p:sp>
            <p:nvSpPr>
              <p:cNvPr id="100" name="Oval 99">
                <a:extLst>
                  <a:ext uri="{FF2B5EF4-FFF2-40B4-BE49-F238E27FC236}">
                    <a16:creationId xmlns:a16="http://schemas.microsoft.com/office/drawing/2014/main" id="{FAD49391-303C-4D9F-ADCB-8F1D7ABFC1CC}"/>
                  </a:ext>
                </a:extLst>
              </p:cNvPr>
              <p:cNvSpPr/>
              <p:nvPr/>
            </p:nvSpPr>
            <p:spPr bwMode="auto">
              <a:xfrm>
                <a:off x="7362861" y="4310599"/>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101" name="Oval 100">
                <a:extLst>
                  <a:ext uri="{FF2B5EF4-FFF2-40B4-BE49-F238E27FC236}">
                    <a16:creationId xmlns:a16="http://schemas.microsoft.com/office/drawing/2014/main" id="{4E978381-1652-436A-8C66-1CA8E60C5DE0}"/>
                  </a:ext>
                </a:extLst>
              </p:cNvPr>
              <p:cNvSpPr/>
              <p:nvPr/>
            </p:nvSpPr>
            <p:spPr bwMode="auto">
              <a:xfrm>
                <a:off x="7596733" y="4311612"/>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102" name="Oval 101">
                <a:extLst>
                  <a:ext uri="{FF2B5EF4-FFF2-40B4-BE49-F238E27FC236}">
                    <a16:creationId xmlns:a16="http://schemas.microsoft.com/office/drawing/2014/main" id="{2793689C-BEC9-4D82-9F0C-2D61A94187E1}"/>
                  </a:ext>
                </a:extLst>
              </p:cNvPr>
              <p:cNvSpPr/>
              <p:nvPr/>
            </p:nvSpPr>
            <p:spPr bwMode="auto">
              <a:xfrm rot="377738">
                <a:off x="7596733" y="4166153"/>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grpSp>
        <p:sp>
          <p:nvSpPr>
            <p:cNvPr id="70" name="TextBox 69">
              <a:extLst>
                <a:ext uri="{FF2B5EF4-FFF2-40B4-BE49-F238E27FC236}">
                  <a16:creationId xmlns:a16="http://schemas.microsoft.com/office/drawing/2014/main" id="{AFA5DE8B-92C1-4460-BBAF-7107C1A45E54}"/>
                </a:ext>
              </a:extLst>
            </p:cNvPr>
            <p:cNvSpPr txBox="1"/>
            <p:nvPr/>
          </p:nvSpPr>
          <p:spPr>
            <a:xfrm>
              <a:off x="4974426" y="3520061"/>
              <a:ext cx="1106393" cy="257122"/>
            </a:xfrm>
            <a:prstGeom prst="rect">
              <a:avLst/>
            </a:prstGeom>
            <a:noFill/>
          </p:spPr>
          <p:txBody>
            <a:bodyPr wrap="none" lIns="93260" rtlCol="0">
              <a:spAutoFit/>
            </a:bodyPr>
            <a:lstStyle/>
            <a:p>
              <a:pPr algn="ctr" defTabSz="932597">
                <a:defRPr/>
              </a:pPr>
              <a:r>
                <a:rPr lang="en-US" sz="1071">
                  <a:solidFill>
                    <a:srgbClr val="FFFFFF"/>
                  </a:solidFill>
                  <a:latin typeface="Segoe UI Semibold" panose="020B0702040204020203" pitchFamily="34" charset="0"/>
                  <a:cs typeface="Segoe UI Semibold" panose="020B0702040204020203" pitchFamily="34" charset="0"/>
                </a:rPr>
                <a:t>Column-family</a:t>
              </a:r>
            </a:p>
          </p:txBody>
        </p:sp>
        <p:sp>
          <p:nvSpPr>
            <p:cNvPr id="71" name="TextBox 70">
              <a:extLst>
                <a:ext uri="{FF2B5EF4-FFF2-40B4-BE49-F238E27FC236}">
                  <a16:creationId xmlns:a16="http://schemas.microsoft.com/office/drawing/2014/main" id="{AC1AA7C4-9C7F-45FD-8C1A-BDBE5B301544}"/>
                </a:ext>
              </a:extLst>
            </p:cNvPr>
            <p:cNvSpPr txBox="1"/>
            <p:nvPr/>
          </p:nvSpPr>
          <p:spPr>
            <a:xfrm>
              <a:off x="6995644" y="3516414"/>
              <a:ext cx="833883" cy="257122"/>
            </a:xfrm>
            <a:prstGeom prst="rect">
              <a:avLst/>
            </a:prstGeom>
            <a:noFill/>
          </p:spPr>
          <p:txBody>
            <a:bodyPr wrap="none" lIns="93260" rtlCol="0">
              <a:spAutoFit/>
            </a:bodyPr>
            <a:lstStyle/>
            <a:p>
              <a:pPr algn="ctr" defTabSz="932597">
                <a:defRPr/>
              </a:pPr>
              <a:r>
                <a:rPr lang="en-US" sz="1071" dirty="0">
                  <a:solidFill>
                    <a:srgbClr val="FFFFFF"/>
                  </a:solidFill>
                  <a:latin typeface="Segoe UI Semibold" panose="020B0702040204020203" pitchFamily="34" charset="0"/>
                  <a:cs typeface="Segoe UI Semibold" panose="020B0702040204020203" pitchFamily="34" charset="0"/>
                </a:rPr>
                <a:t>Document</a:t>
              </a:r>
            </a:p>
          </p:txBody>
        </p:sp>
        <p:grpSp>
          <p:nvGrpSpPr>
            <p:cNvPr id="72" name="Group 71">
              <a:extLst>
                <a:ext uri="{FF2B5EF4-FFF2-40B4-BE49-F238E27FC236}">
                  <a16:creationId xmlns:a16="http://schemas.microsoft.com/office/drawing/2014/main" id="{ECE5570E-7551-492A-AE52-BD608208B2E8}"/>
                </a:ext>
              </a:extLst>
            </p:cNvPr>
            <p:cNvGrpSpPr/>
            <p:nvPr/>
          </p:nvGrpSpPr>
          <p:grpSpPr>
            <a:xfrm>
              <a:off x="5106308" y="3241654"/>
              <a:ext cx="726921" cy="124646"/>
              <a:chOff x="4444077" y="3159364"/>
              <a:chExt cx="726921" cy="124646"/>
            </a:xfrm>
          </p:grpSpPr>
          <p:cxnSp>
            <p:nvCxnSpPr>
              <p:cNvPr id="85" name="Straight Connector 84">
                <a:extLst>
                  <a:ext uri="{FF2B5EF4-FFF2-40B4-BE49-F238E27FC236}">
                    <a16:creationId xmlns:a16="http://schemas.microsoft.com/office/drawing/2014/main" id="{E0E54544-22ED-4B47-8F51-92C3DBA8933D}"/>
                  </a:ext>
                </a:extLst>
              </p:cNvPr>
              <p:cNvCxnSpPr>
                <a:cxnSpLocks/>
              </p:cNvCxnSpPr>
              <p:nvPr/>
            </p:nvCxnSpPr>
            <p:spPr>
              <a:xfrm>
                <a:off x="4567537" y="3221687"/>
                <a:ext cx="185331" cy="0"/>
              </a:xfrm>
              <a:prstGeom prst="line">
                <a:avLst/>
              </a:prstGeom>
              <a:noFill/>
              <a:ln w="12700" cap="flat" cmpd="sng" algn="ctr">
                <a:solidFill>
                  <a:schemeClr val="tx1"/>
                </a:solidFill>
                <a:prstDash val="sysDot"/>
                <a:miter lim="800000"/>
                <a:headEnd type="none"/>
                <a:tailEnd type="none"/>
              </a:ln>
              <a:effectLst/>
            </p:spPr>
          </p:cxnSp>
          <p:sp>
            <p:nvSpPr>
              <p:cNvPr id="86" name="Oval 85">
                <a:extLst>
                  <a:ext uri="{FF2B5EF4-FFF2-40B4-BE49-F238E27FC236}">
                    <a16:creationId xmlns:a16="http://schemas.microsoft.com/office/drawing/2014/main" id="{5F40C753-A8B5-4611-B14B-A0A7E6C03F5B}"/>
                  </a:ext>
                </a:extLst>
              </p:cNvPr>
              <p:cNvSpPr/>
              <p:nvPr/>
            </p:nvSpPr>
            <p:spPr bwMode="auto">
              <a:xfrm>
                <a:off x="4444077" y="3159364"/>
                <a:ext cx="123457"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87" name="Oval 86">
                <a:extLst>
                  <a:ext uri="{FF2B5EF4-FFF2-40B4-BE49-F238E27FC236}">
                    <a16:creationId xmlns:a16="http://schemas.microsoft.com/office/drawing/2014/main" id="{E2E20578-E7C8-4FFD-B0FA-DC0CC54015C0}"/>
                  </a:ext>
                </a:extLst>
              </p:cNvPr>
              <p:cNvSpPr/>
              <p:nvPr/>
            </p:nvSpPr>
            <p:spPr bwMode="auto">
              <a:xfrm>
                <a:off x="4752871" y="3165016"/>
                <a:ext cx="112260" cy="113342"/>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88" name="Oval 87">
                <a:extLst>
                  <a:ext uri="{FF2B5EF4-FFF2-40B4-BE49-F238E27FC236}">
                    <a16:creationId xmlns:a16="http://schemas.microsoft.com/office/drawing/2014/main" id="{18693556-E737-4034-8FCA-55257E352888}"/>
                  </a:ext>
                </a:extLst>
              </p:cNvPr>
              <p:cNvSpPr/>
              <p:nvPr/>
            </p:nvSpPr>
            <p:spPr bwMode="auto">
              <a:xfrm>
                <a:off x="4905809" y="3165016"/>
                <a:ext cx="112260" cy="113342"/>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89" name="Oval 88">
                <a:extLst>
                  <a:ext uri="{FF2B5EF4-FFF2-40B4-BE49-F238E27FC236}">
                    <a16:creationId xmlns:a16="http://schemas.microsoft.com/office/drawing/2014/main" id="{F874B2C3-E9BA-4AA3-9F2E-2ED9808E55A1}"/>
                  </a:ext>
                </a:extLst>
              </p:cNvPr>
              <p:cNvSpPr/>
              <p:nvPr/>
            </p:nvSpPr>
            <p:spPr bwMode="auto">
              <a:xfrm>
                <a:off x="5058738" y="3165016"/>
                <a:ext cx="112260" cy="113342"/>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grpSp>
        <p:grpSp>
          <p:nvGrpSpPr>
            <p:cNvPr id="73" name="Group 72">
              <a:extLst>
                <a:ext uri="{FF2B5EF4-FFF2-40B4-BE49-F238E27FC236}">
                  <a16:creationId xmlns:a16="http://schemas.microsoft.com/office/drawing/2014/main" id="{B13247B1-31A9-4CD2-B5A6-E6C33C59DD86}"/>
                </a:ext>
              </a:extLst>
            </p:cNvPr>
            <p:cNvGrpSpPr/>
            <p:nvPr/>
          </p:nvGrpSpPr>
          <p:grpSpPr>
            <a:xfrm>
              <a:off x="3319100" y="3003712"/>
              <a:ext cx="643737" cy="429517"/>
              <a:chOff x="2573581" y="3248112"/>
              <a:chExt cx="643737" cy="429517"/>
            </a:xfrm>
          </p:grpSpPr>
          <p:cxnSp>
            <p:nvCxnSpPr>
              <p:cNvPr id="76" name="Straight Connector 75">
                <a:extLst>
                  <a:ext uri="{FF2B5EF4-FFF2-40B4-BE49-F238E27FC236}">
                    <a16:creationId xmlns:a16="http://schemas.microsoft.com/office/drawing/2014/main" id="{FB9795E9-D07E-44A7-90CB-BEC30BB02C8D}"/>
                  </a:ext>
                </a:extLst>
              </p:cNvPr>
              <p:cNvCxnSpPr>
                <a:cxnSpLocks/>
              </p:cNvCxnSpPr>
              <p:nvPr/>
            </p:nvCxnSpPr>
            <p:spPr>
              <a:xfrm>
                <a:off x="2688446" y="3306383"/>
                <a:ext cx="424425" cy="0"/>
              </a:xfrm>
              <a:prstGeom prst="line">
                <a:avLst/>
              </a:prstGeom>
              <a:noFill/>
              <a:ln w="12700" cap="flat" cmpd="sng" algn="ctr">
                <a:solidFill>
                  <a:schemeClr val="tx1"/>
                </a:solidFill>
                <a:prstDash val="sysDot"/>
                <a:miter lim="800000"/>
                <a:headEnd type="none"/>
                <a:tailEnd type="none"/>
              </a:ln>
              <a:effectLst/>
            </p:spPr>
          </p:cxnSp>
          <p:sp>
            <p:nvSpPr>
              <p:cNvPr id="77" name="Oval 76">
                <a:extLst>
                  <a:ext uri="{FF2B5EF4-FFF2-40B4-BE49-F238E27FC236}">
                    <a16:creationId xmlns:a16="http://schemas.microsoft.com/office/drawing/2014/main" id="{C7FA90BD-2CD2-4D38-81E7-8D171282F4D6}"/>
                  </a:ext>
                </a:extLst>
              </p:cNvPr>
              <p:cNvSpPr/>
              <p:nvPr/>
            </p:nvSpPr>
            <p:spPr bwMode="auto">
              <a:xfrm>
                <a:off x="2573581" y="3248112"/>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78" name="Oval 77">
                <a:extLst>
                  <a:ext uri="{FF2B5EF4-FFF2-40B4-BE49-F238E27FC236}">
                    <a16:creationId xmlns:a16="http://schemas.microsoft.com/office/drawing/2014/main" id="{873F8067-390C-4FFF-9DBF-BF4F11EF491F}"/>
                  </a:ext>
                </a:extLst>
              </p:cNvPr>
              <p:cNvSpPr/>
              <p:nvPr/>
            </p:nvSpPr>
            <p:spPr bwMode="auto">
              <a:xfrm>
                <a:off x="3112870" y="3253396"/>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solidFill>
                    <a:srgbClr val="FFFFFF"/>
                  </a:solidFill>
                  <a:latin typeface="Segoe UI"/>
                </a:endParaRPr>
              </a:p>
            </p:txBody>
          </p:sp>
          <p:cxnSp>
            <p:nvCxnSpPr>
              <p:cNvPr id="79" name="Straight Connector 78">
                <a:extLst>
                  <a:ext uri="{FF2B5EF4-FFF2-40B4-BE49-F238E27FC236}">
                    <a16:creationId xmlns:a16="http://schemas.microsoft.com/office/drawing/2014/main" id="{943A5DC8-1BDC-4CA1-B1B0-403030A2D6BC}"/>
                  </a:ext>
                </a:extLst>
              </p:cNvPr>
              <p:cNvCxnSpPr>
                <a:cxnSpLocks/>
              </p:cNvCxnSpPr>
              <p:nvPr/>
            </p:nvCxnSpPr>
            <p:spPr>
              <a:xfrm>
                <a:off x="2688446" y="3460548"/>
                <a:ext cx="424425" cy="0"/>
              </a:xfrm>
              <a:prstGeom prst="line">
                <a:avLst/>
              </a:prstGeom>
              <a:noFill/>
              <a:ln w="12700" cap="flat" cmpd="sng" algn="ctr">
                <a:solidFill>
                  <a:schemeClr val="tx1"/>
                </a:solidFill>
                <a:prstDash val="sysDot"/>
                <a:miter lim="800000"/>
                <a:headEnd type="none"/>
                <a:tailEnd type="none"/>
              </a:ln>
              <a:effectLst/>
            </p:spPr>
          </p:cxnSp>
          <p:sp>
            <p:nvSpPr>
              <p:cNvPr id="80" name="Oval 79">
                <a:extLst>
                  <a:ext uri="{FF2B5EF4-FFF2-40B4-BE49-F238E27FC236}">
                    <a16:creationId xmlns:a16="http://schemas.microsoft.com/office/drawing/2014/main" id="{95A5EC3E-92EE-4409-88C4-4B40A4CBC389}"/>
                  </a:ext>
                </a:extLst>
              </p:cNvPr>
              <p:cNvSpPr/>
              <p:nvPr/>
            </p:nvSpPr>
            <p:spPr bwMode="auto">
              <a:xfrm>
                <a:off x="2573581" y="3402277"/>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81" name="Oval 80">
                <a:extLst>
                  <a:ext uri="{FF2B5EF4-FFF2-40B4-BE49-F238E27FC236}">
                    <a16:creationId xmlns:a16="http://schemas.microsoft.com/office/drawing/2014/main" id="{8ABA1EAD-4910-4595-B89E-2D7CBD2C8045}"/>
                  </a:ext>
                </a:extLst>
              </p:cNvPr>
              <p:cNvSpPr/>
              <p:nvPr/>
            </p:nvSpPr>
            <p:spPr bwMode="auto">
              <a:xfrm>
                <a:off x="3112870" y="3407561"/>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solidFill>
                    <a:srgbClr val="FFFFFF"/>
                  </a:solidFill>
                  <a:latin typeface="Segoe UI"/>
                </a:endParaRPr>
              </a:p>
            </p:txBody>
          </p:sp>
          <p:cxnSp>
            <p:nvCxnSpPr>
              <p:cNvPr id="82" name="Straight Connector 81">
                <a:extLst>
                  <a:ext uri="{FF2B5EF4-FFF2-40B4-BE49-F238E27FC236}">
                    <a16:creationId xmlns:a16="http://schemas.microsoft.com/office/drawing/2014/main" id="{5B3846B6-91C0-410E-ADCC-214BBDE1DD15}"/>
                  </a:ext>
                </a:extLst>
              </p:cNvPr>
              <p:cNvCxnSpPr>
                <a:cxnSpLocks/>
              </p:cNvCxnSpPr>
              <p:nvPr/>
            </p:nvCxnSpPr>
            <p:spPr>
              <a:xfrm>
                <a:off x="2688446" y="3619357"/>
                <a:ext cx="424425" cy="0"/>
              </a:xfrm>
              <a:prstGeom prst="line">
                <a:avLst/>
              </a:prstGeom>
              <a:noFill/>
              <a:ln w="12700" cap="flat" cmpd="sng" algn="ctr">
                <a:solidFill>
                  <a:schemeClr val="tx1"/>
                </a:solidFill>
                <a:prstDash val="sysDot"/>
                <a:miter lim="800000"/>
                <a:headEnd type="none"/>
                <a:tailEnd type="none"/>
              </a:ln>
              <a:effectLst/>
            </p:spPr>
          </p:cxnSp>
          <p:sp>
            <p:nvSpPr>
              <p:cNvPr id="83" name="Oval 82">
                <a:extLst>
                  <a:ext uri="{FF2B5EF4-FFF2-40B4-BE49-F238E27FC236}">
                    <a16:creationId xmlns:a16="http://schemas.microsoft.com/office/drawing/2014/main" id="{242EACDD-4B40-415A-9920-7336A2398ACA}"/>
                  </a:ext>
                </a:extLst>
              </p:cNvPr>
              <p:cNvSpPr/>
              <p:nvPr/>
            </p:nvSpPr>
            <p:spPr bwMode="auto">
              <a:xfrm>
                <a:off x="2573581" y="3561085"/>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solidFill>
                    <a:srgbClr val="FFFFFF"/>
                  </a:solidFill>
                  <a:latin typeface="Segoe UI"/>
                </a:endParaRPr>
              </a:p>
            </p:txBody>
          </p:sp>
          <p:sp>
            <p:nvSpPr>
              <p:cNvPr id="84" name="Oval 83">
                <a:extLst>
                  <a:ext uri="{FF2B5EF4-FFF2-40B4-BE49-F238E27FC236}">
                    <a16:creationId xmlns:a16="http://schemas.microsoft.com/office/drawing/2014/main" id="{1D74E2C8-A75B-4E89-8E74-B990CFCE70F8}"/>
                  </a:ext>
                </a:extLst>
              </p:cNvPr>
              <p:cNvSpPr/>
              <p:nvPr/>
            </p:nvSpPr>
            <p:spPr bwMode="auto">
              <a:xfrm>
                <a:off x="3112870" y="3566370"/>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solidFill>
                    <a:srgbClr val="FFFFFF"/>
                  </a:solidFill>
                  <a:latin typeface="Segoe UI"/>
                </a:endParaRPr>
              </a:p>
            </p:txBody>
          </p:sp>
        </p:grpSp>
        <p:sp>
          <p:nvSpPr>
            <p:cNvPr id="74" name="TextBox 73">
              <a:extLst>
                <a:ext uri="{FF2B5EF4-FFF2-40B4-BE49-F238E27FC236}">
                  <a16:creationId xmlns:a16="http://schemas.microsoft.com/office/drawing/2014/main" id="{13C7A8E1-2A7F-4244-AB47-57AB317D6CC7}"/>
                </a:ext>
              </a:extLst>
            </p:cNvPr>
            <p:cNvSpPr txBox="1"/>
            <p:nvPr/>
          </p:nvSpPr>
          <p:spPr>
            <a:xfrm>
              <a:off x="3245504" y="3524467"/>
              <a:ext cx="797014" cy="257122"/>
            </a:xfrm>
            <a:prstGeom prst="rect">
              <a:avLst/>
            </a:prstGeom>
            <a:noFill/>
          </p:spPr>
          <p:txBody>
            <a:bodyPr wrap="none" lIns="93260" rtlCol="0">
              <a:spAutoFit/>
            </a:bodyPr>
            <a:lstStyle/>
            <a:p>
              <a:pPr algn="ctr" defTabSz="932597">
                <a:defRPr/>
              </a:pPr>
              <a:r>
                <a:rPr lang="en-US" sz="1071" dirty="0">
                  <a:solidFill>
                    <a:srgbClr val="FFFFFF"/>
                  </a:solidFill>
                  <a:latin typeface="Segoe UI Semibold" panose="020B0702040204020203" pitchFamily="34" charset="0"/>
                  <a:cs typeface="Segoe UI Semibold" panose="020B0702040204020203" pitchFamily="34" charset="0"/>
                </a:rPr>
                <a:t>Key-value</a:t>
              </a:r>
            </a:p>
          </p:txBody>
        </p:sp>
        <p:sp>
          <p:nvSpPr>
            <p:cNvPr id="75" name="TextBox 74">
              <a:extLst>
                <a:ext uri="{FF2B5EF4-FFF2-40B4-BE49-F238E27FC236}">
                  <a16:creationId xmlns:a16="http://schemas.microsoft.com/office/drawing/2014/main" id="{4B5877BE-B306-4826-8DC3-9BC48A900B85}"/>
                </a:ext>
              </a:extLst>
            </p:cNvPr>
            <p:cNvSpPr txBox="1"/>
            <p:nvPr/>
          </p:nvSpPr>
          <p:spPr>
            <a:xfrm>
              <a:off x="8757137" y="3504601"/>
              <a:ext cx="567784" cy="257122"/>
            </a:xfrm>
            <a:prstGeom prst="rect">
              <a:avLst/>
            </a:prstGeom>
            <a:noFill/>
          </p:spPr>
          <p:txBody>
            <a:bodyPr wrap="none" lIns="93260" rtlCol="0">
              <a:spAutoFit/>
            </a:bodyPr>
            <a:lstStyle/>
            <a:p>
              <a:pPr algn="ctr" defTabSz="932597">
                <a:defRPr/>
              </a:pPr>
              <a:r>
                <a:rPr lang="en-US" sz="1071" dirty="0">
                  <a:solidFill>
                    <a:srgbClr val="FFFFFF"/>
                  </a:solidFill>
                  <a:latin typeface="Segoe UI Semibold" panose="020B0702040204020203" pitchFamily="34" charset="0"/>
                  <a:cs typeface="Segoe UI Semibold" panose="020B0702040204020203" pitchFamily="34" charset="0"/>
                </a:rPr>
                <a:t>Graph</a:t>
              </a:r>
            </a:p>
          </p:txBody>
        </p:sp>
      </p:grpSp>
      <p:pic>
        <p:nvPicPr>
          <p:cNvPr id="667650" name="Picture 2" descr=" PNG Transparent">
            <a:extLst>
              <a:ext uri="{FF2B5EF4-FFF2-40B4-BE49-F238E27FC236}">
                <a16:creationId xmlns:a16="http://schemas.microsoft.com/office/drawing/2014/main" id="{7A2B6AA6-B75A-446A-9C30-12D5C72ABB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4782" y="2049161"/>
            <a:ext cx="870563" cy="574613"/>
          </a:xfrm>
          <a:prstGeom prst="rect">
            <a:avLst/>
          </a:prstGeom>
          <a:noFill/>
          <a:extLst>
            <a:ext uri="{909E8E84-426E-40DD-AFC4-6F175D3DCCD1}">
              <a14:hiddenFill xmlns:a14="http://schemas.microsoft.com/office/drawing/2010/main">
                <a:solidFill>
                  <a:srgbClr val="FFFFFF"/>
                </a:solidFill>
              </a14:hiddenFill>
            </a:ext>
          </a:extLst>
        </p:spPr>
      </p:pic>
      <p:pic>
        <p:nvPicPr>
          <p:cNvPr id="667652" name="Picture 4" descr="mongoDB Logo Black And White">
            <a:extLst>
              <a:ext uri="{FF2B5EF4-FFF2-40B4-BE49-F238E27FC236}">
                <a16:creationId xmlns:a16="http://schemas.microsoft.com/office/drawing/2014/main" id="{9C8DC012-71EB-4B23-91DE-E166C2E534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75082" y="1905758"/>
            <a:ext cx="1296718" cy="369598"/>
          </a:xfrm>
          <a:prstGeom prst="rect">
            <a:avLst/>
          </a:prstGeom>
          <a:noFill/>
          <a:extLst>
            <a:ext uri="{909E8E84-426E-40DD-AFC4-6F175D3DCCD1}">
              <a14:hiddenFill xmlns:a14="http://schemas.microsoft.com/office/drawing/2010/main">
                <a:solidFill>
                  <a:srgbClr val="FFFFFF"/>
                </a:solidFill>
              </a14:hiddenFill>
            </a:ext>
          </a:extLst>
        </p:spPr>
      </p:pic>
      <p:pic>
        <p:nvPicPr>
          <p:cNvPr id="667660" name="Picture 12" descr="Image result for gremlin logo transparent -gremlins">
            <a:extLst>
              <a:ext uri="{FF2B5EF4-FFF2-40B4-BE49-F238E27FC236}">
                <a16:creationId xmlns:a16="http://schemas.microsoft.com/office/drawing/2014/main" id="{59892220-61B1-41B3-9921-4FDC699953E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60763" y="1945187"/>
            <a:ext cx="1344945" cy="5216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72628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dissolve">
                                      <p:cBhvr>
                                        <p:cTn id="7" dur="500"/>
                                        <p:tgtEl>
                                          <p:spTgt spid="44"/>
                                        </p:tgtEl>
                                      </p:cBhvr>
                                    </p:animEffect>
                                  </p:childTnLst>
                                </p:cTn>
                              </p:par>
                              <p:par>
                                <p:cTn id="8" presetID="9" presetClass="entr" presetSubtype="0" fill="hold" nodeType="withEffect">
                                  <p:stCondLst>
                                    <p:cond delay="300"/>
                                  </p:stCondLst>
                                  <p:childTnLst>
                                    <p:set>
                                      <p:cBhvr>
                                        <p:cTn id="9" dur="1" fill="hold">
                                          <p:stCondLst>
                                            <p:cond delay="0"/>
                                          </p:stCondLst>
                                        </p:cTn>
                                        <p:tgtEl>
                                          <p:spTgt spid="67"/>
                                        </p:tgtEl>
                                        <p:attrNameLst>
                                          <p:attrName>style.visibility</p:attrName>
                                        </p:attrNameLst>
                                      </p:cBhvr>
                                      <p:to>
                                        <p:strVal val="visible"/>
                                      </p:to>
                                    </p:set>
                                    <p:animEffect transition="in" filter="dissolve">
                                      <p:cBhvr>
                                        <p:cTn id="10" dur="500"/>
                                        <p:tgtEl>
                                          <p:spTgt spid="67"/>
                                        </p:tgtEl>
                                      </p:cBhvr>
                                    </p:animEffect>
                                  </p:childTnLst>
                                </p:cTn>
                              </p:par>
                              <p:par>
                                <p:cTn id="11" presetID="9" presetClass="entr" presetSubtype="0" fill="hold" grpId="0" nodeType="withEffect">
                                  <p:stCondLst>
                                    <p:cond delay="600"/>
                                  </p:stCondLst>
                                  <p:childTnLst>
                                    <p:set>
                                      <p:cBhvr>
                                        <p:cTn id="12" dur="1" fill="hold">
                                          <p:stCondLst>
                                            <p:cond delay="0"/>
                                          </p:stCondLst>
                                        </p:cTn>
                                        <p:tgtEl>
                                          <p:spTgt spid="64"/>
                                        </p:tgtEl>
                                        <p:attrNameLst>
                                          <p:attrName>style.visibility</p:attrName>
                                        </p:attrNameLst>
                                      </p:cBhvr>
                                      <p:to>
                                        <p:strVal val="visible"/>
                                      </p:to>
                                    </p:set>
                                    <p:animEffect transition="in" filter="dissolve">
                                      <p:cBhvr>
                                        <p:cTn id="13" dur="500"/>
                                        <p:tgtEl>
                                          <p:spTgt spid="64"/>
                                        </p:tgtEl>
                                      </p:cBhvr>
                                    </p:animEffect>
                                  </p:childTnLst>
                                </p:cTn>
                              </p:par>
                              <p:par>
                                <p:cTn id="14" presetID="9" presetClass="entr" presetSubtype="0" fill="hold" grpId="0" nodeType="withEffect">
                                  <p:stCondLst>
                                    <p:cond delay="600"/>
                                  </p:stCondLst>
                                  <p:childTnLst>
                                    <p:set>
                                      <p:cBhvr>
                                        <p:cTn id="15" dur="1" fill="hold">
                                          <p:stCondLst>
                                            <p:cond delay="0"/>
                                          </p:stCondLst>
                                        </p:cTn>
                                        <p:tgtEl>
                                          <p:spTgt spid="50"/>
                                        </p:tgtEl>
                                        <p:attrNameLst>
                                          <p:attrName>style.visibility</p:attrName>
                                        </p:attrNameLst>
                                      </p:cBhvr>
                                      <p:to>
                                        <p:strVal val="visible"/>
                                      </p:to>
                                    </p:set>
                                    <p:animEffect transition="in" filter="dissolve">
                                      <p:cBhvr>
                                        <p:cTn id="16" dur="500"/>
                                        <p:tgtEl>
                                          <p:spTgt spid="50"/>
                                        </p:tgtEl>
                                      </p:cBhvr>
                                    </p:animEffect>
                                  </p:childTnLst>
                                </p:cTn>
                              </p:par>
                              <p:par>
                                <p:cTn id="17" presetID="9" presetClass="entr" presetSubtype="0" fill="hold" nodeType="withEffect">
                                  <p:stCondLst>
                                    <p:cond delay="600"/>
                                  </p:stCondLst>
                                  <p:childTnLst>
                                    <p:set>
                                      <p:cBhvr>
                                        <p:cTn id="18" dur="1" fill="hold">
                                          <p:stCondLst>
                                            <p:cond delay="0"/>
                                          </p:stCondLst>
                                        </p:cTn>
                                        <p:tgtEl>
                                          <p:spTgt spid="51"/>
                                        </p:tgtEl>
                                        <p:attrNameLst>
                                          <p:attrName>style.visibility</p:attrName>
                                        </p:attrNameLst>
                                      </p:cBhvr>
                                      <p:to>
                                        <p:strVal val="visible"/>
                                      </p:to>
                                    </p:set>
                                    <p:animEffect transition="in" filter="dissolve">
                                      <p:cBhvr>
                                        <p:cTn id="19" dur="500"/>
                                        <p:tgtEl>
                                          <p:spTgt spid="51"/>
                                        </p:tgtEl>
                                      </p:cBhvr>
                                    </p:animEffect>
                                  </p:childTnLst>
                                </p:cTn>
                              </p:par>
                              <p:par>
                                <p:cTn id="20" presetID="9" presetClass="entr" presetSubtype="0" fill="hold" nodeType="withEffect">
                                  <p:stCondLst>
                                    <p:cond delay="600"/>
                                  </p:stCondLst>
                                  <p:childTnLst>
                                    <p:set>
                                      <p:cBhvr>
                                        <p:cTn id="21" dur="1" fill="hold">
                                          <p:stCondLst>
                                            <p:cond delay="0"/>
                                          </p:stCondLst>
                                        </p:cTn>
                                        <p:tgtEl>
                                          <p:spTgt spid="667650"/>
                                        </p:tgtEl>
                                        <p:attrNameLst>
                                          <p:attrName>style.visibility</p:attrName>
                                        </p:attrNameLst>
                                      </p:cBhvr>
                                      <p:to>
                                        <p:strVal val="visible"/>
                                      </p:to>
                                    </p:set>
                                    <p:animEffect transition="in" filter="dissolve">
                                      <p:cBhvr>
                                        <p:cTn id="22" dur="500"/>
                                        <p:tgtEl>
                                          <p:spTgt spid="667650"/>
                                        </p:tgtEl>
                                      </p:cBhvr>
                                    </p:animEffect>
                                  </p:childTnLst>
                                </p:cTn>
                              </p:par>
                              <p:par>
                                <p:cTn id="23" presetID="9" presetClass="entr" presetSubtype="0" fill="hold" nodeType="withEffect">
                                  <p:stCondLst>
                                    <p:cond delay="600"/>
                                  </p:stCondLst>
                                  <p:childTnLst>
                                    <p:set>
                                      <p:cBhvr>
                                        <p:cTn id="24" dur="1" fill="hold">
                                          <p:stCondLst>
                                            <p:cond delay="0"/>
                                          </p:stCondLst>
                                        </p:cTn>
                                        <p:tgtEl>
                                          <p:spTgt spid="667652"/>
                                        </p:tgtEl>
                                        <p:attrNameLst>
                                          <p:attrName>style.visibility</p:attrName>
                                        </p:attrNameLst>
                                      </p:cBhvr>
                                      <p:to>
                                        <p:strVal val="visible"/>
                                      </p:to>
                                    </p:set>
                                    <p:animEffect transition="in" filter="dissolve">
                                      <p:cBhvr>
                                        <p:cTn id="25" dur="500"/>
                                        <p:tgtEl>
                                          <p:spTgt spid="667652"/>
                                        </p:tgtEl>
                                      </p:cBhvr>
                                    </p:animEffect>
                                  </p:childTnLst>
                                </p:cTn>
                              </p:par>
                              <p:par>
                                <p:cTn id="26" presetID="9" presetClass="entr" presetSubtype="0" fill="hold" nodeType="withEffect">
                                  <p:stCondLst>
                                    <p:cond delay="600"/>
                                  </p:stCondLst>
                                  <p:childTnLst>
                                    <p:set>
                                      <p:cBhvr>
                                        <p:cTn id="27" dur="1" fill="hold">
                                          <p:stCondLst>
                                            <p:cond delay="0"/>
                                          </p:stCondLst>
                                        </p:cTn>
                                        <p:tgtEl>
                                          <p:spTgt spid="667660"/>
                                        </p:tgtEl>
                                        <p:attrNameLst>
                                          <p:attrName>style.visibility</p:attrName>
                                        </p:attrNameLst>
                                      </p:cBhvr>
                                      <p:to>
                                        <p:strVal val="visible"/>
                                      </p:to>
                                    </p:set>
                                    <p:animEffect transition="in" filter="dissolve">
                                      <p:cBhvr>
                                        <p:cTn id="28" dur="500"/>
                                        <p:tgtEl>
                                          <p:spTgt spid="667660"/>
                                        </p:tgtEl>
                                      </p:cBhvr>
                                    </p:animEffect>
                                  </p:childTnLst>
                                </p:cTn>
                              </p:par>
                              <p:par>
                                <p:cTn id="29" presetID="9" presetClass="entr" presetSubtype="0" fill="hold" nodeType="withEffect">
                                  <p:stCondLst>
                                    <p:cond delay="600"/>
                                  </p:stCondLst>
                                  <p:childTnLst>
                                    <p:set>
                                      <p:cBhvr>
                                        <p:cTn id="30" dur="1" fill="hold">
                                          <p:stCondLst>
                                            <p:cond delay="0"/>
                                          </p:stCondLst>
                                        </p:cTn>
                                        <p:tgtEl>
                                          <p:spTgt spid="42"/>
                                        </p:tgtEl>
                                        <p:attrNameLst>
                                          <p:attrName>style.visibility</p:attrName>
                                        </p:attrNameLst>
                                      </p:cBhvr>
                                      <p:to>
                                        <p:strVal val="visible"/>
                                      </p:to>
                                    </p:set>
                                    <p:animEffect transition="in" filter="dissolve">
                                      <p:cBhvr>
                                        <p:cTn id="31"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64"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4F8A8A-10A6-451B-9686-607E87D52F95}"/>
              </a:ext>
            </a:extLst>
          </p:cNvPr>
          <p:cNvSpPr>
            <a:spLocks noGrp="1"/>
          </p:cNvSpPr>
          <p:nvPr>
            <p:ph type="body" sz="quarter" idx="10"/>
          </p:nvPr>
        </p:nvSpPr>
        <p:spPr>
          <a:xfrm>
            <a:off x="275482" y="1113021"/>
            <a:ext cx="8219405" cy="1087611"/>
          </a:xfrm>
        </p:spPr>
        <p:txBody>
          <a:bodyPr/>
          <a:lstStyle/>
          <a:p>
            <a:pPr marL="0" indent="0">
              <a:buNone/>
            </a:pPr>
            <a:r>
              <a:rPr lang="en-US" sz="1632" spc="51" dirty="0"/>
              <a:t>Azure Cosmos DB was built to support modern app patterns and use cases.</a:t>
            </a:r>
          </a:p>
          <a:p>
            <a:pPr marL="0" indent="0">
              <a:spcBef>
                <a:spcPts val="1020"/>
              </a:spcBef>
              <a:buNone/>
            </a:pPr>
            <a:r>
              <a:rPr lang="en-US" sz="1632" spc="51" dirty="0"/>
              <a:t>It enables industry-leading organizations to unlock the value of data, and respond to global customers and changing business dynamics in real-time.</a:t>
            </a:r>
          </a:p>
        </p:txBody>
      </p:sp>
      <p:sp>
        <p:nvSpPr>
          <p:cNvPr id="2" name="Title 1"/>
          <p:cNvSpPr>
            <a:spLocks noGrp="1"/>
          </p:cNvSpPr>
          <p:nvPr>
            <p:ph type="title"/>
          </p:nvPr>
        </p:nvSpPr>
        <p:spPr>
          <a:xfrm>
            <a:off x="275481" y="346145"/>
            <a:ext cx="11887878" cy="917575"/>
          </a:xfrm>
        </p:spPr>
        <p:txBody>
          <a:bodyPr>
            <a:noAutofit/>
          </a:bodyPr>
          <a:lstStyle/>
          <a:p>
            <a:pPr algn="l">
              <a:spcBef>
                <a:spcPts val="1020"/>
              </a:spcBef>
            </a:pPr>
            <a:r>
              <a:rPr lang="en-US" dirty="0"/>
              <a:t>Powering global solutions</a:t>
            </a:r>
            <a:endParaRPr lang="en-US" sz="2448" dirty="0">
              <a:solidFill>
                <a:schemeClr val="accent1"/>
              </a:solidFill>
            </a:endParaRPr>
          </a:p>
        </p:txBody>
      </p:sp>
      <p:grpSp>
        <p:nvGrpSpPr>
          <p:cNvPr id="4" name="Group 3"/>
          <p:cNvGrpSpPr/>
          <p:nvPr/>
        </p:nvGrpSpPr>
        <p:grpSpPr>
          <a:xfrm>
            <a:off x="275481" y="2638053"/>
            <a:ext cx="1828540" cy="3866064"/>
            <a:chOff x="269239" y="2586561"/>
            <a:chExt cx="1792849" cy="3790603"/>
          </a:xfrm>
        </p:grpSpPr>
        <p:sp>
          <p:nvSpPr>
            <p:cNvPr id="6" name="Freeform: Shape 5">
              <a:extLst>
                <a:ext uri="{FF2B5EF4-FFF2-40B4-BE49-F238E27FC236}">
                  <a16:creationId xmlns:a16="http://schemas.microsoft.com/office/drawing/2014/main" id="{C8115A48-79FC-4BD4-8EBA-340A95E1E34F}"/>
                </a:ext>
              </a:extLst>
            </p:cNvPr>
            <p:cNvSpPr/>
            <p:nvPr/>
          </p:nvSpPr>
          <p:spPr>
            <a:xfrm>
              <a:off x="269239"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rgbClr val="F3F3F3"/>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139891"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Data distributed and available globally </a:t>
              </a:r>
            </a:p>
            <a:p>
              <a:pPr marL="0" lvl="1" defTabSz="777164">
                <a:lnSpc>
                  <a:spcPct val="107000"/>
                </a:lnSpc>
                <a:spcAft>
                  <a:spcPts val="612"/>
                </a:spcAft>
                <a:buClr>
                  <a:srgbClr val="0078D7"/>
                </a:buClr>
                <a:buSzPct val="90000"/>
              </a:pPr>
              <a:endParaRPr lang="en-US" sz="1224" dirty="0">
                <a:solidFill>
                  <a:srgbClr val="0078D7"/>
                </a:solidFill>
                <a:latin typeface="Segoe UI Semilight" charset="0"/>
                <a:ea typeface="Segoe UI Semilight" charset="0"/>
                <a:cs typeface="Segoe UI Semilight" charset="0"/>
              </a:endParaRPr>
            </a:p>
          </p:txBody>
        </p:sp>
        <p:sp>
          <p:nvSpPr>
            <p:cNvPr id="14" name="globe_4">
              <a:extLst>
                <a:ext uri="{FF2B5EF4-FFF2-40B4-BE49-F238E27FC236}">
                  <a16:creationId xmlns:a16="http://schemas.microsoft.com/office/drawing/2014/main" id="{B2994CA9-887C-4872-A759-0E4589D05F08}"/>
                </a:ext>
              </a:extLst>
            </p:cNvPr>
            <p:cNvSpPr>
              <a:spLocks noChangeAspect="1" noEditPoints="1"/>
            </p:cNvSpPr>
            <p:nvPr/>
          </p:nvSpPr>
          <p:spPr bwMode="auto">
            <a:xfrm>
              <a:off x="789908" y="3087941"/>
              <a:ext cx="751510" cy="76094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2700" cap="flat">
              <a:solidFill>
                <a:schemeClr val="tx2"/>
              </a:solidFill>
              <a:prstDash val="solid"/>
              <a:round/>
              <a:headEnd/>
              <a:tailEnd/>
            </a:ln>
            <a:extLst/>
          </p:spPr>
          <p:txBody>
            <a:bodyPr vert="horz" wrap="square" lIns="93260" tIns="46630" rIns="93260" bIns="46630" numCol="1" anchor="t" anchorCtr="0" compatLnSpc="1">
              <a:prstTxWarp prst="textNoShape">
                <a:avLst/>
              </a:prstTxWarp>
            </a:bodyPr>
            <a:lstStyle/>
            <a:p>
              <a:pPr defTabSz="932597"/>
              <a:endParaRPr lang="en-US" sz="918">
                <a:gradFill>
                  <a:gsLst>
                    <a:gs pos="0">
                      <a:srgbClr val="505050"/>
                    </a:gs>
                    <a:gs pos="100000">
                      <a:srgbClr val="505050"/>
                    </a:gs>
                  </a:gsLst>
                </a:gradFill>
                <a:latin typeface="Segoe UI Semilight"/>
              </a:endParaRPr>
            </a:p>
          </p:txBody>
        </p:sp>
        <p:sp>
          <p:nvSpPr>
            <p:cNvPr id="50" name="Freeform: Shape 5">
              <a:extLst>
                <a:ext uri="{FF2B5EF4-FFF2-40B4-BE49-F238E27FC236}">
                  <a16:creationId xmlns:a16="http://schemas.microsoft.com/office/drawing/2014/main" id="{C8115A48-79FC-4BD4-8EBA-340A95E1E34F}"/>
                </a:ext>
              </a:extLst>
            </p:cNvPr>
            <p:cNvSpPr/>
            <p:nvPr/>
          </p:nvSpPr>
          <p:spPr>
            <a:xfrm>
              <a:off x="269239"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dirty="0">
                  <a:solidFill>
                    <a:srgbClr val="505050"/>
                  </a:solidFill>
                  <a:latin typeface="Segoe UI Semilight"/>
                </a:rPr>
                <a:t>Puts data where your users are</a:t>
              </a:r>
            </a:p>
          </p:txBody>
        </p:sp>
      </p:grpSp>
      <p:grpSp>
        <p:nvGrpSpPr>
          <p:cNvPr id="12" name="Group 11"/>
          <p:cNvGrpSpPr/>
          <p:nvPr/>
        </p:nvGrpSpPr>
        <p:grpSpPr>
          <a:xfrm>
            <a:off x="2286876" y="2638053"/>
            <a:ext cx="1919967" cy="3866064"/>
            <a:chOff x="2241374" y="2586561"/>
            <a:chExt cx="1882491" cy="3790603"/>
          </a:xfrm>
        </p:grpSpPr>
        <p:sp>
          <p:nvSpPr>
            <p:cNvPr id="7" name="Freeform: Shape 6">
              <a:extLst>
                <a:ext uri="{FF2B5EF4-FFF2-40B4-BE49-F238E27FC236}">
                  <a16:creationId xmlns:a16="http://schemas.microsoft.com/office/drawing/2014/main" id="{7962018F-8E8A-4F6F-8456-9A50EA413A78}"/>
                </a:ext>
              </a:extLst>
            </p:cNvPr>
            <p:cNvSpPr/>
            <p:nvPr/>
          </p:nvSpPr>
          <p:spPr>
            <a:xfrm>
              <a:off x="2241374"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139891"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Build real-time customer experiences</a:t>
              </a:r>
            </a:p>
            <a:p>
              <a:pPr marL="0" lvl="1" defTabSz="777164">
                <a:lnSpc>
                  <a:spcPct val="107000"/>
                </a:lnSpc>
                <a:spcAft>
                  <a:spcPts val="612"/>
                </a:spcAft>
                <a:buClr>
                  <a:srgbClr val="0078D7"/>
                </a:buClr>
                <a:buSzPct val="90000"/>
              </a:pPr>
              <a:endParaRPr lang="en-US" sz="1224" b="1" dirty="0">
                <a:solidFill>
                  <a:srgbClr val="0078D7"/>
                </a:solidFill>
                <a:latin typeface="Segoe UI Semibold" charset="0"/>
                <a:ea typeface="Segoe UI Semibold" charset="0"/>
                <a:cs typeface="Segoe UI Semibold" charset="0"/>
              </a:endParaRPr>
            </a:p>
          </p:txBody>
        </p:sp>
        <p:grpSp>
          <p:nvGrpSpPr>
            <p:cNvPr id="19" name="Group 14">
              <a:extLst>
                <a:ext uri="{FF2B5EF4-FFF2-40B4-BE49-F238E27FC236}">
                  <a16:creationId xmlns:a16="http://schemas.microsoft.com/office/drawing/2014/main" id="{6E7FC586-57B9-4BD8-B987-E24CC1982F15}"/>
                </a:ext>
              </a:extLst>
            </p:cNvPr>
            <p:cNvGrpSpPr>
              <a:grpSpLocks noChangeAspect="1"/>
            </p:cNvGrpSpPr>
            <p:nvPr/>
          </p:nvGrpSpPr>
          <p:grpSpPr bwMode="auto">
            <a:xfrm>
              <a:off x="2656686" y="3188655"/>
              <a:ext cx="962224" cy="559514"/>
              <a:chOff x="-491" y="1145"/>
              <a:chExt cx="270" cy="157"/>
            </a:xfrm>
          </p:grpSpPr>
          <p:sp>
            <p:nvSpPr>
              <p:cNvPr id="20" name="Oval 15">
                <a:extLst>
                  <a:ext uri="{FF2B5EF4-FFF2-40B4-BE49-F238E27FC236}">
                    <a16:creationId xmlns:a16="http://schemas.microsoft.com/office/drawing/2014/main" id="{442BAB8D-F662-4F4E-A25F-EAA826EB2EBE}"/>
                  </a:ext>
                </a:extLst>
              </p:cNvPr>
              <p:cNvSpPr>
                <a:spLocks noChangeArrowheads="1"/>
              </p:cNvSpPr>
              <p:nvPr/>
            </p:nvSpPr>
            <p:spPr bwMode="auto">
              <a:xfrm>
                <a:off x="-472" y="1145"/>
                <a:ext cx="89" cy="92"/>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1" name="Freeform 16">
                <a:extLst>
                  <a:ext uri="{FF2B5EF4-FFF2-40B4-BE49-F238E27FC236}">
                    <a16:creationId xmlns:a16="http://schemas.microsoft.com/office/drawing/2014/main" id="{7C1DEB8C-008D-46EA-9A18-CE37F78A1583}"/>
                  </a:ext>
                </a:extLst>
              </p:cNvPr>
              <p:cNvSpPr>
                <a:spLocks/>
              </p:cNvSpPr>
              <p:nvPr/>
            </p:nvSpPr>
            <p:spPr bwMode="auto">
              <a:xfrm>
                <a:off x="-491" y="1237"/>
                <a:ext cx="124" cy="65"/>
              </a:xfrm>
              <a:custGeom>
                <a:avLst/>
                <a:gdLst>
                  <a:gd name="T0" fmla="*/ 59 w 59"/>
                  <a:gd name="T1" fmla="*/ 30 h 30"/>
                  <a:gd name="T2" fmla="*/ 30 w 59"/>
                  <a:gd name="T3" fmla="*/ 0 h 30"/>
                  <a:gd name="T4" fmla="*/ 0 w 59"/>
                  <a:gd name="T5" fmla="*/ 30 h 30"/>
                </a:gdLst>
                <a:ahLst/>
                <a:cxnLst>
                  <a:cxn ang="0">
                    <a:pos x="T0" y="T1"/>
                  </a:cxn>
                  <a:cxn ang="0">
                    <a:pos x="T2" y="T3"/>
                  </a:cxn>
                  <a:cxn ang="0">
                    <a:pos x="T4" y="T5"/>
                  </a:cxn>
                </a:cxnLst>
                <a:rect l="0" t="0" r="r" b="b"/>
                <a:pathLst>
                  <a:path w="59" h="30">
                    <a:moveTo>
                      <a:pt x="59" y="30"/>
                    </a:moveTo>
                    <a:cubicBezTo>
                      <a:pt x="59" y="13"/>
                      <a:pt x="46" y="0"/>
                      <a:pt x="30" y="0"/>
                    </a:cubicBezTo>
                    <a:cubicBezTo>
                      <a:pt x="13" y="0"/>
                      <a:pt x="0" y="13"/>
                      <a:pt x="0" y="3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2" name="Freeform 17">
                <a:extLst>
                  <a:ext uri="{FF2B5EF4-FFF2-40B4-BE49-F238E27FC236}">
                    <a16:creationId xmlns:a16="http://schemas.microsoft.com/office/drawing/2014/main" id="{92985FEE-3D79-473C-AA8D-D9560B73CE6A}"/>
                  </a:ext>
                </a:extLst>
              </p:cNvPr>
              <p:cNvSpPr>
                <a:spLocks/>
              </p:cNvSpPr>
              <p:nvPr/>
            </p:nvSpPr>
            <p:spPr bwMode="auto">
              <a:xfrm>
                <a:off x="-390" y="1167"/>
                <a:ext cx="125" cy="94"/>
              </a:xfrm>
              <a:custGeom>
                <a:avLst/>
                <a:gdLst>
                  <a:gd name="T0" fmla="*/ 11 w 125"/>
                  <a:gd name="T1" fmla="*/ 94 h 94"/>
                  <a:gd name="T2" fmla="*/ 125 w 125"/>
                  <a:gd name="T3" fmla="*/ 94 h 94"/>
                  <a:gd name="T4" fmla="*/ 125 w 125"/>
                  <a:gd name="T5" fmla="*/ 0 h 94"/>
                  <a:gd name="T6" fmla="*/ 0 w 125"/>
                  <a:gd name="T7" fmla="*/ 0 h 94"/>
                </a:gdLst>
                <a:ahLst/>
                <a:cxnLst>
                  <a:cxn ang="0">
                    <a:pos x="T0" y="T1"/>
                  </a:cxn>
                  <a:cxn ang="0">
                    <a:pos x="T2" y="T3"/>
                  </a:cxn>
                  <a:cxn ang="0">
                    <a:pos x="T4" y="T5"/>
                  </a:cxn>
                  <a:cxn ang="0">
                    <a:pos x="T6" y="T7"/>
                  </a:cxn>
                </a:cxnLst>
                <a:rect l="0" t="0" r="r" b="b"/>
                <a:pathLst>
                  <a:path w="125" h="94">
                    <a:moveTo>
                      <a:pt x="11" y="94"/>
                    </a:moveTo>
                    <a:lnTo>
                      <a:pt x="125" y="94"/>
                    </a:lnTo>
                    <a:lnTo>
                      <a:pt x="125"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3" name="Line 18">
                <a:extLst>
                  <a:ext uri="{FF2B5EF4-FFF2-40B4-BE49-F238E27FC236}">
                    <a16:creationId xmlns:a16="http://schemas.microsoft.com/office/drawing/2014/main" id="{BB2D7685-3699-475E-96EA-68AB00A8229C}"/>
                  </a:ext>
                </a:extLst>
              </p:cNvPr>
              <p:cNvSpPr>
                <a:spLocks noChangeShapeType="1"/>
              </p:cNvSpPr>
              <p:nvPr/>
            </p:nvSpPr>
            <p:spPr bwMode="auto">
              <a:xfrm flipV="1">
                <a:off x="-339" y="1261"/>
                <a:ext cx="0" cy="32"/>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4" name="Freeform 19">
                <a:extLst>
                  <a:ext uri="{FF2B5EF4-FFF2-40B4-BE49-F238E27FC236}">
                    <a16:creationId xmlns:a16="http://schemas.microsoft.com/office/drawing/2014/main" id="{CD775DE6-C508-4C3A-8D03-160F72FE4B5D}"/>
                  </a:ext>
                </a:extLst>
              </p:cNvPr>
              <p:cNvSpPr>
                <a:spLocks/>
              </p:cNvSpPr>
              <p:nvPr/>
            </p:nvSpPr>
            <p:spPr bwMode="auto">
              <a:xfrm>
                <a:off x="-280" y="1185"/>
                <a:ext cx="59" cy="108"/>
              </a:xfrm>
              <a:custGeom>
                <a:avLst/>
                <a:gdLst>
                  <a:gd name="T0" fmla="*/ 15 w 59"/>
                  <a:gd name="T1" fmla="*/ 0 h 108"/>
                  <a:gd name="T2" fmla="*/ 59 w 59"/>
                  <a:gd name="T3" fmla="*/ 0 h 108"/>
                  <a:gd name="T4" fmla="*/ 59 w 59"/>
                  <a:gd name="T5" fmla="*/ 108 h 108"/>
                  <a:gd name="T6" fmla="*/ 0 w 59"/>
                  <a:gd name="T7" fmla="*/ 108 h 108"/>
                  <a:gd name="T8" fmla="*/ 0 w 59"/>
                  <a:gd name="T9" fmla="*/ 76 h 108"/>
                </a:gdLst>
                <a:ahLst/>
                <a:cxnLst>
                  <a:cxn ang="0">
                    <a:pos x="T0" y="T1"/>
                  </a:cxn>
                  <a:cxn ang="0">
                    <a:pos x="T2" y="T3"/>
                  </a:cxn>
                  <a:cxn ang="0">
                    <a:pos x="T4" y="T5"/>
                  </a:cxn>
                  <a:cxn ang="0">
                    <a:pos x="T6" y="T7"/>
                  </a:cxn>
                  <a:cxn ang="0">
                    <a:pos x="T8" y="T9"/>
                  </a:cxn>
                </a:cxnLst>
                <a:rect l="0" t="0" r="r" b="b"/>
                <a:pathLst>
                  <a:path w="59" h="108">
                    <a:moveTo>
                      <a:pt x="15" y="0"/>
                    </a:moveTo>
                    <a:lnTo>
                      <a:pt x="59" y="0"/>
                    </a:lnTo>
                    <a:lnTo>
                      <a:pt x="59" y="108"/>
                    </a:lnTo>
                    <a:lnTo>
                      <a:pt x="0" y="108"/>
                    </a:lnTo>
                    <a:lnTo>
                      <a:pt x="0" y="76"/>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5" name="Line 20">
                <a:extLst>
                  <a:ext uri="{FF2B5EF4-FFF2-40B4-BE49-F238E27FC236}">
                    <a16:creationId xmlns:a16="http://schemas.microsoft.com/office/drawing/2014/main" id="{92CB56BD-138C-45F3-93DB-E97EE0DD81B9}"/>
                  </a:ext>
                </a:extLst>
              </p:cNvPr>
              <p:cNvSpPr>
                <a:spLocks noChangeShapeType="1"/>
              </p:cNvSpPr>
              <p:nvPr/>
            </p:nvSpPr>
            <p:spPr bwMode="auto">
              <a:xfrm flipH="1">
                <a:off x="-367" y="1293"/>
                <a:ext cx="6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6" name="Line 21">
                <a:extLst>
                  <a:ext uri="{FF2B5EF4-FFF2-40B4-BE49-F238E27FC236}">
                    <a16:creationId xmlns:a16="http://schemas.microsoft.com/office/drawing/2014/main" id="{BE9E1E27-A9BA-4281-82A8-5AA49D2FE92B}"/>
                  </a:ext>
                </a:extLst>
              </p:cNvPr>
              <p:cNvSpPr>
                <a:spLocks noChangeShapeType="1"/>
              </p:cNvSpPr>
              <p:nvPr/>
            </p:nvSpPr>
            <p:spPr bwMode="auto">
              <a:xfrm flipH="1">
                <a:off x="-265" y="1219"/>
                <a:ext cx="44"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7" name="Line 22">
                <a:extLst>
                  <a:ext uri="{FF2B5EF4-FFF2-40B4-BE49-F238E27FC236}">
                    <a16:creationId xmlns:a16="http://schemas.microsoft.com/office/drawing/2014/main" id="{35EDA2B3-5654-4EE0-88C8-C2227E29A459}"/>
                  </a:ext>
                </a:extLst>
              </p:cNvPr>
              <p:cNvSpPr>
                <a:spLocks noChangeShapeType="1"/>
              </p:cNvSpPr>
              <p:nvPr/>
            </p:nvSpPr>
            <p:spPr bwMode="auto">
              <a:xfrm flipH="1">
                <a:off x="-265" y="1248"/>
                <a:ext cx="44"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8" name="Line 23">
                <a:extLst>
                  <a:ext uri="{FF2B5EF4-FFF2-40B4-BE49-F238E27FC236}">
                    <a16:creationId xmlns:a16="http://schemas.microsoft.com/office/drawing/2014/main" id="{4F22E176-692F-42BB-9361-CA532DB61B20}"/>
                  </a:ext>
                </a:extLst>
              </p:cNvPr>
              <p:cNvSpPr>
                <a:spLocks noChangeShapeType="1"/>
              </p:cNvSpPr>
              <p:nvPr/>
            </p:nvSpPr>
            <p:spPr bwMode="auto">
              <a:xfrm>
                <a:off x="-358" y="1195"/>
                <a:ext cx="19" cy="3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sp>
            <p:nvSpPr>
              <p:cNvPr id="29" name="Freeform 24">
                <a:extLst>
                  <a:ext uri="{FF2B5EF4-FFF2-40B4-BE49-F238E27FC236}">
                    <a16:creationId xmlns:a16="http://schemas.microsoft.com/office/drawing/2014/main" id="{863023F6-8F2F-4CD8-B600-FBA9AF56DCBB}"/>
                  </a:ext>
                </a:extLst>
              </p:cNvPr>
              <p:cNvSpPr>
                <a:spLocks/>
              </p:cNvSpPr>
              <p:nvPr/>
            </p:nvSpPr>
            <p:spPr bwMode="auto">
              <a:xfrm>
                <a:off x="-320" y="1191"/>
                <a:ext cx="19" cy="41"/>
              </a:xfrm>
              <a:custGeom>
                <a:avLst/>
                <a:gdLst>
                  <a:gd name="T0" fmla="*/ 0 w 19"/>
                  <a:gd name="T1" fmla="*/ 0 h 41"/>
                  <a:gd name="T2" fmla="*/ 19 w 19"/>
                  <a:gd name="T3" fmla="*/ 22 h 41"/>
                  <a:gd name="T4" fmla="*/ 0 w 19"/>
                  <a:gd name="T5" fmla="*/ 41 h 41"/>
                </a:gdLst>
                <a:ahLst/>
                <a:cxnLst>
                  <a:cxn ang="0">
                    <a:pos x="T0" y="T1"/>
                  </a:cxn>
                  <a:cxn ang="0">
                    <a:pos x="T2" y="T3"/>
                  </a:cxn>
                  <a:cxn ang="0">
                    <a:pos x="T4" y="T5"/>
                  </a:cxn>
                </a:cxnLst>
                <a:rect l="0" t="0" r="r" b="b"/>
                <a:pathLst>
                  <a:path w="19" h="41">
                    <a:moveTo>
                      <a:pt x="0" y="0"/>
                    </a:moveTo>
                    <a:lnTo>
                      <a:pt x="19" y="22"/>
                    </a:lnTo>
                    <a:lnTo>
                      <a:pt x="0" y="4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3F3F3F"/>
                  </a:solidFill>
                  <a:latin typeface="Segoe UI"/>
                </a:endParaRPr>
              </a:p>
            </p:txBody>
          </p:sp>
        </p:grpSp>
        <p:sp>
          <p:nvSpPr>
            <p:cNvPr id="52" name="Freeform: Shape 6">
              <a:extLst>
                <a:ext uri="{FF2B5EF4-FFF2-40B4-BE49-F238E27FC236}">
                  <a16:creationId xmlns:a16="http://schemas.microsoft.com/office/drawing/2014/main" id="{7962018F-8E8A-4F6F-8456-9A50EA413A78}"/>
                </a:ext>
              </a:extLst>
            </p:cNvPr>
            <p:cNvSpPr/>
            <p:nvPr/>
          </p:nvSpPr>
          <p:spPr>
            <a:xfrm>
              <a:off x="2246520" y="5232624"/>
              <a:ext cx="1877345"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a:solidFill>
                    <a:srgbClr val="505050"/>
                  </a:solidFill>
                  <a:latin typeface="Segoe UI Semilight"/>
                </a:rPr>
                <a:t>Enable latency-sensitive personalization</a:t>
              </a:r>
              <a:r>
                <a:rPr lang="en-US" sz="1224" dirty="0">
                  <a:solidFill>
                    <a:srgbClr val="505050"/>
                  </a:solidFill>
                  <a:latin typeface="Segoe UI Semilight"/>
                </a:rPr>
                <a:t>, bidding, and fraud detection. </a:t>
              </a:r>
            </a:p>
          </p:txBody>
        </p:sp>
      </p:grpSp>
      <p:grpSp>
        <p:nvGrpSpPr>
          <p:cNvPr id="15" name="Group 14"/>
          <p:cNvGrpSpPr/>
          <p:nvPr/>
        </p:nvGrpSpPr>
        <p:grpSpPr>
          <a:xfrm>
            <a:off x="4298271" y="2638053"/>
            <a:ext cx="1828540" cy="3866064"/>
            <a:chOff x="4213509" y="2586561"/>
            <a:chExt cx="1792849" cy="3790603"/>
          </a:xfrm>
        </p:grpSpPr>
        <p:sp>
          <p:nvSpPr>
            <p:cNvPr id="8" name="Freeform: Shape 7">
              <a:extLst>
                <a:ext uri="{FF2B5EF4-FFF2-40B4-BE49-F238E27FC236}">
                  <a16:creationId xmlns:a16="http://schemas.microsoft.com/office/drawing/2014/main" id="{54FF628B-6CC3-462E-AF13-3E1490D9B525}"/>
                </a:ext>
              </a:extLst>
            </p:cNvPr>
            <p:cNvSpPr/>
            <p:nvPr/>
          </p:nvSpPr>
          <p:spPr>
            <a:xfrm>
              <a:off x="4213509"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139891"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Ideal for gaming, </a:t>
              </a:r>
              <a:br>
                <a:rPr lang="en-US" sz="1224" b="1" dirty="0">
                  <a:solidFill>
                    <a:srgbClr val="0078D7"/>
                  </a:solidFill>
                  <a:latin typeface="Segoe UI Semibold" charset="0"/>
                  <a:ea typeface="Segoe UI Semibold" charset="0"/>
                  <a:cs typeface="Segoe UI Semibold" charset="0"/>
                </a:rPr>
              </a:br>
              <a:r>
                <a:rPr lang="en-US" sz="1224" b="1" dirty="0" err="1">
                  <a:solidFill>
                    <a:srgbClr val="0078D7"/>
                  </a:solidFill>
                  <a:latin typeface="Segoe UI Semibold" charset="0"/>
                  <a:ea typeface="Segoe UI Semibold" charset="0"/>
                  <a:cs typeface="Segoe UI Semibold" charset="0"/>
                </a:rPr>
                <a:t>IoT</a:t>
              </a:r>
              <a:r>
                <a:rPr lang="en-US" sz="1224" b="1" dirty="0">
                  <a:solidFill>
                    <a:srgbClr val="0078D7"/>
                  </a:solidFill>
                  <a:latin typeface="Segoe UI Semibold" charset="0"/>
                  <a:ea typeface="Segoe UI Semibold" charset="0"/>
                  <a:cs typeface="Segoe UI Semibold" charset="0"/>
                </a:rPr>
                <a:t>   &amp; </a:t>
              </a:r>
              <a:r>
                <a:rPr lang="en-US" sz="1224" b="1" dirty="0" err="1">
                  <a:solidFill>
                    <a:srgbClr val="0078D7"/>
                  </a:solidFill>
                  <a:latin typeface="Segoe UI Semibold" charset="0"/>
                  <a:ea typeface="Segoe UI Semibold" charset="0"/>
                  <a:cs typeface="Segoe UI Semibold" charset="0"/>
                </a:rPr>
                <a:t>eCommerce</a:t>
              </a:r>
              <a:endParaRPr lang="en-US" sz="1224" b="1" dirty="0">
                <a:solidFill>
                  <a:srgbClr val="0078D7"/>
                </a:solidFill>
                <a:latin typeface="Segoe UI Semibold" charset="0"/>
                <a:ea typeface="Segoe UI Semibold" charset="0"/>
                <a:cs typeface="Segoe UI Semibold" charset="0"/>
              </a:endParaRPr>
            </a:p>
            <a:p>
              <a:pPr marL="0" lvl="1" defTabSz="777164">
                <a:lnSpc>
                  <a:spcPct val="107000"/>
                </a:lnSpc>
                <a:spcAft>
                  <a:spcPts val="612"/>
                </a:spcAft>
                <a:buClr>
                  <a:srgbClr val="0078D7"/>
                </a:buClr>
                <a:buSzPct val="90000"/>
              </a:pPr>
              <a:endParaRPr lang="en-US" sz="1224" dirty="0">
                <a:solidFill>
                  <a:srgbClr val="0078D7"/>
                </a:solidFill>
                <a:latin typeface="Segoe UI Semilight" charset="0"/>
                <a:ea typeface="Segoe UI Semilight" charset="0"/>
                <a:cs typeface="Segoe UI Semilight" charset="0"/>
              </a:endParaRPr>
            </a:p>
          </p:txBody>
        </p:sp>
        <p:grpSp>
          <p:nvGrpSpPr>
            <p:cNvPr id="13" name="Group 12">
              <a:extLst>
                <a:ext uri="{FF2B5EF4-FFF2-40B4-BE49-F238E27FC236}">
                  <a16:creationId xmlns:a16="http://schemas.microsoft.com/office/drawing/2014/main" id="{DC3D2208-E485-4BEB-8F2E-D5D3318E4E77}"/>
                </a:ext>
              </a:extLst>
            </p:cNvPr>
            <p:cNvGrpSpPr/>
            <p:nvPr/>
          </p:nvGrpSpPr>
          <p:grpSpPr>
            <a:xfrm>
              <a:off x="4690226" y="3223339"/>
              <a:ext cx="839414" cy="490146"/>
              <a:chOff x="8167676" y="757688"/>
              <a:chExt cx="366650" cy="214092"/>
            </a:xfrm>
          </p:grpSpPr>
          <p:sp>
            <p:nvSpPr>
              <p:cNvPr id="16" name="Freeform 77">
                <a:extLst>
                  <a:ext uri="{FF2B5EF4-FFF2-40B4-BE49-F238E27FC236}">
                    <a16:creationId xmlns:a16="http://schemas.microsoft.com/office/drawing/2014/main" id="{8AEB0D30-F563-4E6B-81CD-0821477D1C71}"/>
                  </a:ext>
                </a:extLst>
              </p:cNvPr>
              <p:cNvSpPr>
                <a:spLocks/>
              </p:cNvSpPr>
              <p:nvPr/>
            </p:nvSpPr>
            <p:spPr bwMode="auto">
              <a:xfrm>
                <a:off x="8167676" y="757688"/>
                <a:ext cx="366650" cy="214092"/>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sp>
            <p:nvSpPr>
              <p:cNvPr id="17" name="Freeform 78">
                <a:extLst>
                  <a:ext uri="{FF2B5EF4-FFF2-40B4-BE49-F238E27FC236}">
                    <a16:creationId xmlns:a16="http://schemas.microsoft.com/office/drawing/2014/main" id="{D38254AC-422B-4951-AF56-1C283EBB368B}"/>
                  </a:ext>
                </a:extLst>
              </p:cNvPr>
              <p:cNvSpPr>
                <a:spLocks/>
              </p:cNvSpPr>
              <p:nvPr/>
            </p:nvSpPr>
            <p:spPr bwMode="auto">
              <a:xfrm>
                <a:off x="8342027" y="810249"/>
                <a:ext cx="17948" cy="19230"/>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a:solidFill>
                    <a:srgbClr val="505050"/>
                  </a:solidFill>
                  <a:latin typeface="Segoe UI Semilight"/>
                </a:endParaRPr>
              </a:p>
            </p:txBody>
          </p:sp>
        </p:grpSp>
        <p:sp>
          <p:nvSpPr>
            <p:cNvPr id="53" name="Freeform: Shape 7">
              <a:extLst>
                <a:ext uri="{FF2B5EF4-FFF2-40B4-BE49-F238E27FC236}">
                  <a16:creationId xmlns:a16="http://schemas.microsoft.com/office/drawing/2014/main" id="{54FF628B-6CC3-462E-AF13-3E1490D9B525}"/>
                </a:ext>
              </a:extLst>
            </p:cNvPr>
            <p:cNvSpPr/>
            <p:nvPr/>
          </p:nvSpPr>
          <p:spPr>
            <a:xfrm>
              <a:off x="4213509"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dirty="0">
                  <a:solidFill>
                    <a:srgbClr val="505050"/>
                  </a:solidFill>
                  <a:latin typeface="Segoe UI Semilight"/>
                </a:rPr>
                <a:t>Predictable and fast service, even during traffic spikes</a:t>
              </a:r>
            </a:p>
          </p:txBody>
        </p:sp>
      </p:grpSp>
      <p:grpSp>
        <p:nvGrpSpPr>
          <p:cNvPr id="57" name="Group 56"/>
          <p:cNvGrpSpPr/>
          <p:nvPr/>
        </p:nvGrpSpPr>
        <p:grpSpPr>
          <a:xfrm>
            <a:off x="6309666" y="2638053"/>
            <a:ext cx="1828540" cy="3866064"/>
            <a:chOff x="6185644" y="2586561"/>
            <a:chExt cx="1792849" cy="3790603"/>
          </a:xfrm>
        </p:grpSpPr>
        <p:sp>
          <p:nvSpPr>
            <p:cNvPr id="9" name="Freeform: Shape 8">
              <a:extLst>
                <a:ext uri="{FF2B5EF4-FFF2-40B4-BE49-F238E27FC236}">
                  <a16:creationId xmlns:a16="http://schemas.microsoft.com/office/drawing/2014/main" id="{244CDC8F-E742-4A60-A101-D7F2F8D9210B}"/>
                </a:ext>
              </a:extLst>
            </p:cNvPr>
            <p:cNvSpPr/>
            <p:nvPr/>
          </p:nvSpPr>
          <p:spPr>
            <a:xfrm>
              <a:off x="6185644"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93260"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Simplified development with </a:t>
              </a:r>
              <a:r>
                <a:rPr lang="en-US" sz="1224" b="1" dirty="0" err="1">
                  <a:solidFill>
                    <a:srgbClr val="0078D7"/>
                  </a:solidFill>
                  <a:latin typeface="Segoe UI Semibold" charset="0"/>
                  <a:ea typeface="Segoe UI Semibold" charset="0"/>
                  <a:cs typeface="Segoe UI Semibold" charset="0"/>
                </a:rPr>
                <a:t>serverless</a:t>
              </a:r>
              <a:r>
                <a:rPr lang="en-US" sz="1224" b="1" dirty="0">
                  <a:solidFill>
                    <a:srgbClr val="0078D7"/>
                  </a:solidFill>
                  <a:latin typeface="Segoe UI Semibold" charset="0"/>
                  <a:ea typeface="Segoe UI Semibold" charset="0"/>
                  <a:cs typeface="Segoe UI Semibold" charset="0"/>
                </a:rPr>
                <a:t> architecture</a:t>
              </a:r>
            </a:p>
            <a:p>
              <a:pPr marL="0" lvl="1" defTabSz="777164">
                <a:lnSpc>
                  <a:spcPct val="107000"/>
                </a:lnSpc>
                <a:spcAft>
                  <a:spcPts val="612"/>
                </a:spcAft>
                <a:buClr>
                  <a:srgbClr val="0078D7"/>
                </a:buClr>
                <a:buSzPct val="90000"/>
              </a:pPr>
              <a:endParaRPr lang="en-US" sz="1224" dirty="0">
                <a:solidFill>
                  <a:srgbClr val="0078D7"/>
                </a:solidFill>
                <a:latin typeface="Segoe UI Semilight" charset="0"/>
                <a:ea typeface="Segoe UI Semilight" charset="0"/>
                <a:cs typeface="Segoe UI Semilight" charset="0"/>
              </a:endParaRPr>
            </a:p>
          </p:txBody>
        </p:sp>
        <p:sp>
          <p:nvSpPr>
            <p:cNvPr id="30" name="Freeform 9">
              <a:extLst>
                <a:ext uri="{FF2B5EF4-FFF2-40B4-BE49-F238E27FC236}">
                  <a16:creationId xmlns:a16="http://schemas.microsoft.com/office/drawing/2014/main" id="{CFF4DBFD-F5C2-47C7-8B21-BC72890C3E05}"/>
                </a:ext>
              </a:extLst>
            </p:cNvPr>
            <p:cNvSpPr>
              <a:spLocks noEditPoints="1"/>
            </p:cNvSpPr>
            <p:nvPr/>
          </p:nvSpPr>
          <p:spPr bwMode="auto">
            <a:xfrm>
              <a:off x="6686072" y="3151530"/>
              <a:ext cx="791992" cy="633764"/>
            </a:xfrm>
            <a:custGeom>
              <a:avLst/>
              <a:gdLst>
                <a:gd name="T0" fmla="*/ 899 w 2698"/>
                <a:gd name="T1" fmla="*/ 720 h 2159"/>
                <a:gd name="T2" fmla="*/ 2698 w 2698"/>
                <a:gd name="T3" fmla="*/ 720 h 2159"/>
                <a:gd name="T4" fmla="*/ 2698 w 2698"/>
                <a:gd name="T5" fmla="*/ 1800 h 2159"/>
                <a:gd name="T6" fmla="*/ 899 w 2698"/>
                <a:gd name="T7" fmla="*/ 1800 h 2159"/>
                <a:gd name="T8" fmla="*/ 899 w 2698"/>
                <a:gd name="T9" fmla="*/ 720 h 2159"/>
                <a:gd name="T10" fmla="*/ 1799 w 2698"/>
                <a:gd name="T11" fmla="*/ 1800 h 2159"/>
                <a:gd name="T12" fmla="*/ 1799 w 2698"/>
                <a:gd name="T13" fmla="*/ 2159 h 2159"/>
                <a:gd name="T14" fmla="*/ 1349 w 2698"/>
                <a:gd name="T15" fmla="*/ 2159 h 2159"/>
                <a:gd name="T16" fmla="*/ 2248 w 2698"/>
                <a:gd name="T17" fmla="*/ 2159 h 2159"/>
                <a:gd name="T18" fmla="*/ 271 w 2698"/>
                <a:gd name="T19" fmla="*/ 360 h 2159"/>
                <a:gd name="T20" fmla="*/ 810 w 2698"/>
                <a:gd name="T21" fmla="*/ 360 h 2159"/>
                <a:gd name="T22" fmla="*/ 271 w 2698"/>
                <a:gd name="T23" fmla="*/ 1800 h 2159"/>
                <a:gd name="T24" fmla="*/ 899 w 2698"/>
                <a:gd name="T25" fmla="*/ 1800 h 2159"/>
                <a:gd name="T26" fmla="*/ 271 w 2698"/>
                <a:gd name="T27" fmla="*/ 1440 h 2159"/>
                <a:gd name="T28" fmla="*/ 904 w 2698"/>
                <a:gd name="T29" fmla="*/ 1440 h 2159"/>
                <a:gd name="T30" fmla="*/ 1080 w 2698"/>
                <a:gd name="T31" fmla="*/ 720 h 2159"/>
                <a:gd name="T32" fmla="*/ 1080 w 2698"/>
                <a:gd name="T33" fmla="*/ 0 h 2159"/>
                <a:gd name="T34" fmla="*/ 0 w 2698"/>
                <a:gd name="T35" fmla="*/ 0 h 2159"/>
                <a:gd name="T36" fmla="*/ 0 w 2698"/>
                <a:gd name="T37" fmla="*/ 2159 h 2159"/>
                <a:gd name="T38" fmla="*/ 1080 w 2698"/>
                <a:gd name="T39" fmla="*/ 2159 h 2159"/>
                <a:gd name="T40" fmla="*/ 1080 w 2698"/>
                <a:gd name="T41" fmla="*/ 1800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8" h="2159">
                  <a:moveTo>
                    <a:pt x="899" y="720"/>
                  </a:moveTo>
                  <a:lnTo>
                    <a:pt x="2698" y="720"/>
                  </a:lnTo>
                  <a:lnTo>
                    <a:pt x="2698" y="1800"/>
                  </a:lnTo>
                  <a:lnTo>
                    <a:pt x="899" y="1800"/>
                  </a:lnTo>
                  <a:lnTo>
                    <a:pt x="899" y="720"/>
                  </a:lnTo>
                  <a:moveTo>
                    <a:pt x="1799" y="1800"/>
                  </a:moveTo>
                  <a:lnTo>
                    <a:pt x="1799" y="2159"/>
                  </a:lnTo>
                  <a:moveTo>
                    <a:pt x="1349" y="2159"/>
                  </a:moveTo>
                  <a:lnTo>
                    <a:pt x="2248" y="2159"/>
                  </a:lnTo>
                  <a:moveTo>
                    <a:pt x="271" y="360"/>
                  </a:moveTo>
                  <a:lnTo>
                    <a:pt x="810" y="360"/>
                  </a:lnTo>
                  <a:moveTo>
                    <a:pt x="271" y="1800"/>
                  </a:moveTo>
                  <a:lnTo>
                    <a:pt x="899" y="1800"/>
                  </a:lnTo>
                  <a:moveTo>
                    <a:pt x="271" y="1440"/>
                  </a:moveTo>
                  <a:lnTo>
                    <a:pt x="904" y="1440"/>
                  </a:lnTo>
                  <a:moveTo>
                    <a:pt x="1080" y="720"/>
                  </a:moveTo>
                  <a:lnTo>
                    <a:pt x="1080" y="0"/>
                  </a:lnTo>
                  <a:lnTo>
                    <a:pt x="0" y="0"/>
                  </a:lnTo>
                  <a:lnTo>
                    <a:pt x="0" y="2159"/>
                  </a:lnTo>
                  <a:lnTo>
                    <a:pt x="1080" y="2159"/>
                  </a:lnTo>
                  <a:lnTo>
                    <a:pt x="1080" y="1800"/>
                  </a:lnTo>
                </a:path>
              </a:pathLst>
            </a:custGeom>
            <a:no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54" name="Freeform: Shape 8">
              <a:extLst>
                <a:ext uri="{FF2B5EF4-FFF2-40B4-BE49-F238E27FC236}">
                  <a16:creationId xmlns:a16="http://schemas.microsoft.com/office/drawing/2014/main" id="{244CDC8F-E742-4A60-A101-D7F2F8D9210B}"/>
                </a:ext>
              </a:extLst>
            </p:cNvPr>
            <p:cNvSpPr/>
            <p:nvPr/>
          </p:nvSpPr>
          <p:spPr>
            <a:xfrm>
              <a:off x="6185644"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dirty="0">
                  <a:solidFill>
                    <a:srgbClr val="505050"/>
                  </a:solidFill>
                  <a:latin typeface="Segoe UI Semilight"/>
                </a:rPr>
                <a:t>Fully-managed event-driven micro-services with elastic computing power</a:t>
              </a:r>
            </a:p>
          </p:txBody>
        </p:sp>
      </p:grpSp>
      <p:grpSp>
        <p:nvGrpSpPr>
          <p:cNvPr id="58" name="Group 57"/>
          <p:cNvGrpSpPr/>
          <p:nvPr/>
        </p:nvGrpSpPr>
        <p:grpSpPr>
          <a:xfrm>
            <a:off x="8321061" y="2638053"/>
            <a:ext cx="1828540" cy="3866064"/>
            <a:chOff x="8157779" y="2586561"/>
            <a:chExt cx="1792849" cy="3790603"/>
          </a:xfrm>
        </p:grpSpPr>
        <p:sp>
          <p:nvSpPr>
            <p:cNvPr id="10" name="Freeform: Shape 9">
              <a:extLst>
                <a:ext uri="{FF2B5EF4-FFF2-40B4-BE49-F238E27FC236}">
                  <a16:creationId xmlns:a16="http://schemas.microsoft.com/office/drawing/2014/main" id="{60CF00A9-F41C-44A8-B87B-53E6FCA8FC56}"/>
                </a:ext>
              </a:extLst>
            </p:cNvPr>
            <p:cNvSpPr/>
            <p:nvPr/>
          </p:nvSpPr>
          <p:spPr>
            <a:xfrm>
              <a:off x="8157779"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139891"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Run Spark analytics over operational data</a:t>
              </a:r>
            </a:p>
            <a:p>
              <a:pPr marL="0" lvl="1" defTabSz="777164">
                <a:lnSpc>
                  <a:spcPct val="107000"/>
                </a:lnSpc>
                <a:spcAft>
                  <a:spcPts val="612"/>
                </a:spcAft>
                <a:buClr>
                  <a:srgbClr val="0078D7"/>
                </a:buClr>
                <a:buSzPct val="90000"/>
              </a:pPr>
              <a:endParaRPr lang="en-US" sz="1428" b="1" spc="102" dirty="0">
                <a:solidFill>
                  <a:srgbClr val="0078D7"/>
                </a:solidFill>
                <a:latin typeface="Segoe UI Semibold" charset="0"/>
                <a:cs typeface="Segoe UI Semibold" charset="0"/>
              </a:endParaRPr>
            </a:p>
          </p:txBody>
        </p:sp>
        <p:grpSp>
          <p:nvGrpSpPr>
            <p:cNvPr id="31" name="Group 20">
              <a:extLst>
                <a:ext uri="{FF2B5EF4-FFF2-40B4-BE49-F238E27FC236}">
                  <a16:creationId xmlns:a16="http://schemas.microsoft.com/office/drawing/2014/main" id="{3ACDCA2C-15E2-477F-8C62-5983B596CF4B}"/>
                </a:ext>
              </a:extLst>
            </p:cNvPr>
            <p:cNvGrpSpPr>
              <a:grpSpLocks noChangeAspect="1"/>
            </p:cNvGrpSpPr>
            <p:nvPr/>
          </p:nvGrpSpPr>
          <p:grpSpPr bwMode="auto">
            <a:xfrm>
              <a:off x="8619553" y="3087941"/>
              <a:ext cx="869300" cy="760942"/>
              <a:chOff x="3764" y="3313"/>
              <a:chExt cx="353" cy="309"/>
            </a:xfrm>
          </p:grpSpPr>
          <p:sp>
            <p:nvSpPr>
              <p:cNvPr id="32" name="Freeform 21">
                <a:extLst>
                  <a:ext uri="{FF2B5EF4-FFF2-40B4-BE49-F238E27FC236}">
                    <a16:creationId xmlns:a16="http://schemas.microsoft.com/office/drawing/2014/main" id="{31F9AAC9-4F42-494D-BEDD-4DC8F472B304}"/>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3" name="Freeform 22">
                <a:extLst>
                  <a:ext uri="{FF2B5EF4-FFF2-40B4-BE49-F238E27FC236}">
                    <a16:creationId xmlns:a16="http://schemas.microsoft.com/office/drawing/2014/main" id="{B12D88E7-15D5-4972-B91B-270D153D4DB9}"/>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4" name="Freeform 23">
                <a:extLst>
                  <a:ext uri="{FF2B5EF4-FFF2-40B4-BE49-F238E27FC236}">
                    <a16:creationId xmlns:a16="http://schemas.microsoft.com/office/drawing/2014/main" id="{0A8130A9-84A1-434F-8851-C8D3CE2ABCF3}"/>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5" name="Freeform 24">
                <a:extLst>
                  <a:ext uri="{FF2B5EF4-FFF2-40B4-BE49-F238E27FC236}">
                    <a16:creationId xmlns:a16="http://schemas.microsoft.com/office/drawing/2014/main" id="{478A3F31-93C9-40CB-8B94-BD3FF24D49B3}"/>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6" name="Freeform 25">
                <a:extLst>
                  <a:ext uri="{FF2B5EF4-FFF2-40B4-BE49-F238E27FC236}">
                    <a16:creationId xmlns:a16="http://schemas.microsoft.com/office/drawing/2014/main" id="{5BF7C355-6E84-437A-9A3B-574CAF35EE02}"/>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7" name="Freeform 26">
                <a:extLst>
                  <a:ext uri="{FF2B5EF4-FFF2-40B4-BE49-F238E27FC236}">
                    <a16:creationId xmlns:a16="http://schemas.microsoft.com/office/drawing/2014/main" id="{0C6FAE8F-C93F-4EFC-B90F-B371FFF83CA3}"/>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8" name="Freeform 27">
                <a:extLst>
                  <a:ext uri="{FF2B5EF4-FFF2-40B4-BE49-F238E27FC236}">
                    <a16:creationId xmlns:a16="http://schemas.microsoft.com/office/drawing/2014/main" id="{AACF19A9-BAF4-4A4D-9B09-A661E0B378F8}"/>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39" name="Freeform 28">
                <a:extLst>
                  <a:ext uri="{FF2B5EF4-FFF2-40B4-BE49-F238E27FC236}">
                    <a16:creationId xmlns:a16="http://schemas.microsoft.com/office/drawing/2014/main" id="{452868A2-B3DC-4221-BB35-E7FFEDCDF7B5}"/>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0" name="Freeform 29">
                <a:extLst>
                  <a:ext uri="{FF2B5EF4-FFF2-40B4-BE49-F238E27FC236}">
                    <a16:creationId xmlns:a16="http://schemas.microsoft.com/office/drawing/2014/main" id="{D45511C1-3503-4015-88CD-3DDDFE875E25}"/>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1" name="Freeform 30">
                <a:extLst>
                  <a:ext uri="{FF2B5EF4-FFF2-40B4-BE49-F238E27FC236}">
                    <a16:creationId xmlns:a16="http://schemas.microsoft.com/office/drawing/2014/main" id="{968CADB9-14CF-4880-8CF3-BD0203D7E83E}"/>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2" name="Freeform 31">
                <a:extLst>
                  <a:ext uri="{FF2B5EF4-FFF2-40B4-BE49-F238E27FC236}">
                    <a16:creationId xmlns:a16="http://schemas.microsoft.com/office/drawing/2014/main" id="{FCD2D771-CB1D-45CB-8F8D-E86D94C4E131}"/>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3" name="Freeform 32">
                <a:extLst>
                  <a:ext uri="{FF2B5EF4-FFF2-40B4-BE49-F238E27FC236}">
                    <a16:creationId xmlns:a16="http://schemas.microsoft.com/office/drawing/2014/main" id="{573A7D34-C1A1-4EF9-B664-39D69848DDFD}"/>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4" name="Freeform 33">
                <a:extLst>
                  <a:ext uri="{FF2B5EF4-FFF2-40B4-BE49-F238E27FC236}">
                    <a16:creationId xmlns:a16="http://schemas.microsoft.com/office/drawing/2014/main" id="{CE1DE657-887B-4080-8B46-98A583B33616}"/>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5" name="Freeform 34">
                <a:extLst>
                  <a:ext uri="{FF2B5EF4-FFF2-40B4-BE49-F238E27FC236}">
                    <a16:creationId xmlns:a16="http://schemas.microsoft.com/office/drawing/2014/main" id="{96DF371E-195F-477A-A1D3-60165E066FF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6" name="Freeform 35">
                <a:extLst>
                  <a:ext uri="{FF2B5EF4-FFF2-40B4-BE49-F238E27FC236}">
                    <a16:creationId xmlns:a16="http://schemas.microsoft.com/office/drawing/2014/main" id="{66B18735-AB20-4385-A683-8CA5A3D306DE}"/>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7" name="Freeform 36">
                <a:extLst>
                  <a:ext uri="{FF2B5EF4-FFF2-40B4-BE49-F238E27FC236}">
                    <a16:creationId xmlns:a16="http://schemas.microsoft.com/office/drawing/2014/main" id="{5EB80F5E-8981-417F-B272-FA38ABE47B9A}"/>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8" name="Freeform 37">
                <a:extLst>
                  <a:ext uri="{FF2B5EF4-FFF2-40B4-BE49-F238E27FC236}">
                    <a16:creationId xmlns:a16="http://schemas.microsoft.com/office/drawing/2014/main" id="{1DC7AFCE-E252-44BE-B7AC-E34D99E592A8}"/>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sp>
            <p:nvSpPr>
              <p:cNvPr id="49" name="Freeform 38">
                <a:extLst>
                  <a:ext uri="{FF2B5EF4-FFF2-40B4-BE49-F238E27FC236}">
                    <a16:creationId xmlns:a16="http://schemas.microsoft.com/office/drawing/2014/main" id="{9D61DC27-A771-4493-8199-80EA3BE4A26C}"/>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Semilight"/>
                </a:endParaRPr>
              </a:p>
            </p:txBody>
          </p:sp>
        </p:grpSp>
        <p:sp>
          <p:nvSpPr>
            <p:cNvPr id="55" name="Freeform: Shape 9">
              <a:extLst>
                <a:ext uri="{FF2B5EF4-FFF2-40B4-BE49-F238E27FC236}">
                  <a16:creationId xmlns:a16="http://schemas.microsoft.com/office/drawing/2014/main" id="{60CF00A9-F41C-44A8-B87B-53E6FCA8FC56}"/>
                </a:ext>
              </a:extLst>
            </p:cNvPr>
            <p:cNvSpPr/>
            <p:nvPr/>
          </p:nvSpPr>
          <p:spPr>
            <a:xfrm>
              <a:off x="8157779"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dirty="0">
                  <a:solidFill>
                    <a:srgbClr val="505050"/>
                  </a:solidFill>
                  <a:latin typeface="Segoe UI Semilight"/>
                </a:rPr>
                <a:t>Accelerate insights from fast, global data</a:t>
              </a:r>
            </a:p>
          </p:txBody>
        </p:sp>
      </p:grpSp>
      <p:grpSp>
        <p:nvGrpSpPr>
          <p:cNvPr id="59" name="Group 58"/>
          <p:cNvGrpSpPr/>
          <p:nvPr/>
        </p:nvGrpSpPr>
        <p:grpSpPr>
          <a:xfrm>
            <a:off x="10332455" y="2638053"/>
            <a:ext cx="1828540" cy="3866064"/>
            <a:chOff x="10129913" y="2586561"/>
            <a:chExt cx="1792849" cy="3790603"/>
          </a:xfrm>
        </p:grpSpPr>
        <p:sp>
          <p:nvSpPr>
            <p:cNvPr id="11" name="Freeform: Shape 10">
              <a:extLst>
                <a:ext uri="{FF2B5EF4-FFF2-40B4-BE49-F238E27FC236}">
                  <a16:creationId xmlns:a16="http://schemas.microsoft.com/office/drawing/2014/main" id="{4CF1A333-7D84-4005-A0BF-7FF133D2C8FD}"/>
                </a:ext>
              </a:extLst>
            </p:cNvPr>
            <p:cNvSpPr/>
            <p:nvPr/>
          </p:nvSpPr>
          <p:spPr>
            <a:xfrm>
              <a:off x="10129913"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958467" rIns="139891" bIns="186521" numCol="1" spcCol="1270" anchor="t" anchorCtr="0">
              <a:noAutofit/>
            </a:bodyPr>
            <a:lstStyle/>
            <a:p>
              <a:pPr marL="0" lvl="1" defTabSz="777164">
                <a:lnSpc>
                  <a:spcPct val="107000"/>
                </a:lnSpc>
                <a:spcAft>
                  <a:spcPts val="612"/>
                </a:spcAft>
                <a:buClr>
                  <a:srgbClr val="0078D7"/>
                </a:buClr>
                <a:buSzPct val="90000"/>
              </a:pPr>
              <a:r>
                <a:rPr lang="en-US" sz="1224" b="1" dirty="0">
                  <a:solidFill>
                    <a:srgbClr val="0078D7"/>
                  </a:solidFill>
                  <a:latin typeface="Segoe UI Semibold" charset="0"/>
                  <a:ea typeface="Segoe UI Semibold" charset="0"/>
                  <a:cs typeface="Segoe UI Semibold" charset="0"/>
                </a:rPr>
                <a:t>Lift and shift      NoSQL data</a:t>
              </a:r>
            </a:p>
          </p:txBody>
        </p:sp>
        <p:sp>
          <p:nvSpPr>
            <p:cNvPr id="51" name="Freeform 13">
              <a:extLst>
                <a:ext uri="{FF2B5EF4-FFF2-40B4-BE49-F238E27FC236}">
                  <a16:creationId xmlns:a16="http://schemas.microsoft.com/office/drawing/2014/main" id="{B3989629-8E36-44C7-8FA6-E3FCF2FAFE0D}"/>
                </a:ext>
              </a:extLst>
            </p:cNvPr>
            <p:cNvSpPr>
              <a:spLocks noEditPoints="1"/>
            </p:cNvSpPr>
            <p:nvPr/>
          </p:nvSpPr>
          <p:spPr bwMode="auto">
            <a:xfrm>
              <a:off x="10658980" y="3127295"/>
              <a:ext cx="734714" cy="682234"/>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Segoe UI Semilight"/>
              </a:endParaRPr>
            </a:p>
          </p:txBody>
        </p:sp>
        <p:sp>
          <p:nvSpPr>
            <p:cNvPr id="56" name="Freeform: Shape 10">
              <a:extLst>
                <a:ext uri="{FF2B5EF4-FFF2-40B4-BE49-F238E27FC236}">
                  <a16:creationId xmlns:a16="http://schemas.microsoft.com/office/drawing/2014/main" id="{4CF1A333-7D84-4005-A0BF-7FF133D2C8FD}"/>
                </a:ext>
              </a:extLst>
            </p:cNvPr>
            <p:cNvSpPr/>
            <p:nvPr/>
          </p:nvSpPr>
          <p:spPr>
            <a:xfrm>
              <a:off x="10129913"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9891" tIns="186521" rIns="139891" bIns="186521" numCol="1" spcCol="1270" anchor="t" anchorCtr="0">
              <a:noAutofit/>
            </a:bodyPr>
            <a:lstStyle/>
            <a:p>
              <a:pPr marL="0" lvl="1" defTabSz="725353">
                <a:lnSpc>
                  <a:spcPct val="90000"/>
                </a:lnSpc>
                <a:spcBef>
                  <a:spcPct val="0"/>
                </a:spcBef>
                <a:spcAft>
                  <a:spcPct val="15000"/>
                </a:spcAft>
              </a:pPr>
              <a:r>
                <a:rPr lang="en-US" sz="1224" dirty="0">
                  <a:solidFill>
                    <a:srgbClr val="505050"/>
                  </a:solidFill>
                  <a:latin typeface="Segoe UI Semilight"/>
                </a:rPr>
                <a:t>Lift and shift MongoDB and Cassandra workloads</a:t>
              </a:r>
            </a:p>
          </p:txBody>
        </p:sp>
        <p:cxnSp>
          <p:nvCxnSpPr>
            <p:cNvPr id="5" name="Straight Connector 4"/>
            <p:cNvCxnSpPr/>
            <p:nvPr/>
          </p:nvCxnSpPr>
          <p:spPr>
            <a:xfrm flipV="1">
              <a:off x="10658980" y="3223339"/>
              <a:ext cx="0" cy="532339"/>
            </a:xfrm>
            <a:prstGeom prst="line">
              <a:avLst/>
            </a:prstGeom>
            <a:ln w="12700">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114350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1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ppt_x"/>
                                          </p:val>
                                        </p:tav>
                                        <p:tav tm="100000">
                                          <p:val>
                                            <p:strVal val="#ppt_x"/>
                                          </p:val>
                                        </p:tav>
                                      </p:tavLst>
                                    </p:anim>
                                    <p:anim calcmode="lin" valueType="num">
                                      <p:cBhvr additive="base">
                                        <p:cTn id="16" dur="500" fill="hold"/>
                                        <p:tgtEl>
                                          <p:spTgt spid="15"/>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30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500" fill="hold"/>
                                        <p:tgtEl>
                                          <p:spTgt spid="57"/>
                                        </p:tgtEl>
                                        <p:attrNameLst>
                                          <p:attrName>ppt_x</p:attrName>
                                        </p:attrNameLst>
                                      </p:cBhvr>
                                      <p:tavLst>
                                        <p:tav tm="0">
                                          <p:val>
                                            <p:strVal val="#ppt_x"/>
                                          </p:val>
                                        </p:tav>
                                        <p:tav tm="100000">
                                          <p:val>
                                            <p:strVal val="#ppt_x"/>
                                          </p:val>
                                        </p:tav>
                                      </p:tavLst>
                                    </p:anim>
                                    <p:anim calcmode="lin" valueType="num">
                                      <p:cBhvr additive="base">
                                        <p:cTn id="20" dur="500" fill="hold"/>
                                        <p:tgtEl>
                                          <p:spTgt spid="5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400"/>
                                  </p:stCondLst>
                                  <p:childTnLst>
                                    <p:set>
                                      <p:cBhvr>
                                        <p:cTn id="22" dur="1" fill="hold">
                                          <p:stCondLst>
                                            <p:cond delay="0"/>
                                          </p:stCondLst>
                                        </p:cTn>
                                        <p:tgtEl>
                                          <p:spTgt spid="58"/>
                                        </p:tgtEl>
                                        <p:attrNameLst>
                                          <p:attrName>style.visibility</p:attrName>
                                        </p:attrNameLst>
                                      </p:cBhvr>
                                      <p:to>
                                        <p:strVal val="visible"/>
                                      </p:to>
                                    </p:set>
                                    <p:anim calcmode="lin" valueType="num">
                                      <p:cBhvr additive="base">
                                        <p:cTn id="23" dur="500" fill="hold"/>
                                        <p:tgtEl>
                                          <p:spTgt spid="58"/>
                                        </p:tgtEl>
                                        <p:attrNameLst>
                                          <p:attrName>ppt_x</p:attrName>
                                        </p:attrNameLst>
                                      </p:cBhvr>
                                      <p:tavLst>
                                        <p:tav tm="0">
                                          <p:val>
                                            <p:strVal val="#ppt_x"/>
                                          </p:val>
                                        </p:tav>
                                        <p:tav tm="100000">
                                          <p:val>
                                            <p:strVal val="#ppt_x"/>
                                          </p:val>
                                        </p:tav>
                                      </p:tavLst>
                                    </p:anim>
                                    <p:anim calcmode="lin" valueType="num">
                                      <p:cBhvr additive="base">
                                        <p:cTn id="24" dur="500" fill="hold"/>
                                        <p:tgtEl>
                                          <p:spTgt spid="58"/>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500"/>
                                  </p:stCondLst>
                                  <p:childTnLst>
                                    <p:set>
                                      <p:cBhvr>
                                        <p:cTn id="26" dur="1" fill="hold">
                                          <p:stCondLst>
                                            <p:cond delay="0"/>
                                          </p:stCondLst>
                                        </p:cTn>
                                        <p:tgtEl>
                                          <p:spTgt spid="59"/>
                                        </p:tgtEl>
                                        <p:attrNameLst>
                                          <p:attrName>style.visibility</p:attrName>
                                        </p:attrNameLst>
                                      </p:cBhvr>
                                      <p:to>
                                        <p:strVal val="visible"/>
                                      </p:to>
                                    </p:set>
                                    <p:anim calcmode="lin" valueType="num">
                                      <p:cBhvr additive="base">
                                        <p:cTn id="27" dur="500" fill="hold"/>
                                        <p:tgtEl>
                                          <p:spTgt spid="59"/>
                                        </p:tgtEl>
                                        <p:attrNameLst>
                                          <p:attrName>ppt_x</p:attrName>
                                        </p:attrNameLst>
                                      </p:cBhvr>
                                      <p:tavLst>
                                        <p:tav tm="0">
                                          <p:val>
                                            <p:strVal val="#ppt_x"/>
                                          </p:val>
                                        </p:tav>
                                        <p:tav tm="100000">
                                          <p:val>
                                            <p:strVal val="#ppt_x"/>
                                          </p:val>
                                        </p:tav>
                                      </p:tavLst>
                                    </p:anim>
                                    <p:anim calcmode="lin" valueType="num">
                                      <p:cBhvr additive="base">
                                        <p:cTn id="28"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F7F7F7"/>
        </a:solidFill>
        <a:effectLst/>
      </p:bgPr>
    </p:bg>
    <p:spTree>
      <p:nvGrpSpPr>
        <p:cNvPr id="1" name=""/>
        <p:cNvGrpSpPr/>
        <p:nvPr/>
      </p:nvGrpSpPr>
      <p:grpSpPr>
        <a:xfrm>
          <a:off x="0" y="0"/>
          <a:ext cx="0" cy="0"/>
          <a:chOff x="0" y="0"/>
          <a:chExt cx="0" cy="0"/>
        </a:xfrm>
      </p:grpSpPr>
      <p:sp>
        <p:nvSpPr>
          <p:cNvPr id="22" name="Title 1"/>
          <p:cNvSpPr>
            <a:spLocks noGrp="1"/>
          </p:cNvSpPr>
          <p:nvPr>
            <p:ph type="title"/>
          </p:nvPr>
        </p:nvSpPr>
        <p:spPr/>
        <p:txBody>
          <a:bodyPr/>
          <a:lstStyle/>
          <a:p>
            <a:r>
              <a:rPr lang="en-US" dirty="0"/>
              <a:t>More SLA coverage than AWS</a:t>
            </a:r>
          </a:p>
        </p:txBody>
      </p:sp>
      <p:grpSp>
        <p:nvGrpSpPr>
          <p:cNvPr id="4" name="Group 3">
            <a:extLst>
              <a:ext uri="{FF2B5EF4-FFF2-40B4-BE49-F238E27FC236}">
                <a16:creationId xmlns:a16="http://schemas.microsoft.com/office/drawing/2014/main" id="{16C842D4-A6D3-44E2-8CC3-DB5C2FB764C4}"/>
              </a:ext>
            </a:extLst>
          </p:cNvPr>
          <p:cNvGrpSpPr/>
          <p:nvPr/>
        </p:nvGrpSpPr>
        <p:grpSpPr>
          <a:xfrm>
            <a:off x="409068" y="1471658"/>
            <a:ext cx="2797810" cy="1563984"/>
            <a:chOff x="9102553" y="8106012"/>
            <a:chExt cx="2743200" cy="1873061"/>
          </a:xfrm>
        </p:grpSpPr>
        <p:sp>
          <p:nvSpPr>
            <p:cNvPr id="26" name="Rectangle 25">
              <a:extLst>
                <a:ext uri="{FF2B5EF4-FFF2-40B4-BE49-F238E27FC236}">
                  <a16:creationId xmlns:a16="http://schemas.microsoft.com/office/drawing/2014/main" id="{23BFE8BF-916A-4BD3-8E0E-0D50009FA72A}"/>
                </a:ext>
              </a:extLst>
            </p:cNvPr>
            <p:cNvSpPr/>
            <p:nvPr/>
          </p:nvSpPr>
          <p:spPr bwMode="auto">
            <a:xfrm>
              <a:off x="9102553" y="8106012"/>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App</a:t>
              </a:r>
            </a:p>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Service</a:t>
              </a:r>
            </a:p>
          </p:txBody>
        </p:sp>
        <p:sp>
          <p:nvSpPr>
            <p:cNvPr id="27" name="TextBox 26">
              <a:extLst>
                <a:ext uri="{FF2B5EF4-FFF2-40B4-BE49-F238E27FC236}">
                  <a16:creationId xmlns:a16="http://schemas.microsoft.com/office/drawing/2014/main" id="{1F6A8929-6FCA-466D-AAB5-FCD3CE04E10B}"/>
                </a:ext>
              </a:extLst>
            </p:cNvPr>
            <p:cNvSpPr txBox="1"/>
            <p:nvPr/>
          </p:nvSpPr>
          <p:spPr>
            <a:xfrm>
              <a:off x="9102553" y="8983884"/>
              <a:ext cx="2611985"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5%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pic>
          <p:nvPicPr>
            <p:cNvPr id="45" name="Picture 44">
              <a:extLst>
                <a:ext uri="{FF2B5EF4-FFF2-40B4-BE49-F238E27FC236}">
                  <a16:creationId xmlns:a16="http://schemas.microsoft.com/office/drawing/2014/main" id="{85C6462A-D7EF-4F21-A662-91EF9CB4DC68}"/>
                </a:ext>
              </a:extLst>
            </p:cNvPr>
            <p:cNvPicPr>
              <a:picLocks noChangeAspect="1"/>
            </p:cNvPicPr>
            <p:nvPr/>
          </p:nvPicPr>
          <p:blipFill>
            <a:blip r:embed="rId3"/>
            <a:stretch>
              <a:fillRect/>
            </a:stretch>
          </p:blipFill>
          <p:spPr>
            <a:xfrm>
              <a:off x="11188659" y="8151249"/>
              <a:ext cx="629586" cy="590441"/>
            </a:xfrm>
            <a:prstGeom prst="rect">
              <a:avLst/>
            </a:prstGeom>
          </p:spPr>
        </p:pic>
      </p:grpSp>
      <p:grpSp>
        <p:nvGrpSpPr>
          <p:cNvPr id="8" name="Group 7">
            <a:extLst>
              <a:ext uri="{FF2B5EF4-FFF2-40B4-BE49-F238E27FC236}">
                <a16:creationId xmlns:a16="http://schemas.microsoft.com/office/drawing/2014/main" id="{EB9ABC15-3878-4318-90DF-961083026E88}"/>
              </a:ext>
            </a:extLst>
          </p:cNvPr>
          <p:cNvGrpSpPr/>
          <p:nvPr/>
        </p:nvGrpSpPr>
        <p:grpSpPr>
          <a:xfrm>
            <a:off x="6283314" y="1468792"/>
            <a:ext cx="2797812" cy="1563984"/>
            <a:chOff x="346247" y="10156430"/>
            <a:chExt cx="2743202" cy="1873061"/>
          </a:xfrm>
        </p:grpSpPr>
        <p:sp>
          <p:nvSpPr>
            <p:cNvPr id="30" name="Rectangle 29">
              <a:extLst>
                <a:ext uri="{FF2B5EF4-FFF2-40B4-BE49-F238E27FC236}">
                  <a16:creationId xmlns:a16="http://schemas.microsoft.com/office/drawing/2014/main" id="{0E68BE78-10A1-45E8-986B-BC3B4B86C09F}"/>
                </a:ext>
              </a:extLst>
            </p:cNvPr>
            <p:cNvSpPr/>
            <p:nvPr/>
          </p:nvSpPr>
          <p:spPr bwMode="auto">
            <a:xfrm>
              <a:off x="346249" y="10156430"/>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SQL</a:t>
              </a:r>
            </a:p>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Data Warehouse</a:t>
              </a:r>
            </a:p>
          </p:txBody>
        </p:sp>
        <p:sp>
          <p:nvSpPr>
            <p:cNvPr id="31" name="TextBox 30">
              <a:extLst>
                <a:ext uri="{FF2B5EF4-FFF2-40B4-BE49-F238E27FC236}">
                  <a16:creationId xmlns:a16="http://schemas.microsoft.com/office/drawing/2014/main" id="{EDB158F5-4BB0-4DBE-8CE7-8D37E706DCF8}"/>
                </a:ext>
              </a:extLst>
            </p:cNvPr>
            <p:cNvSpPr txBox="1"/>
            <p:nvPr/>
          </p:nvSpPr>
          <p:spPr>
            <a:xfrm>
              <a:off x="346247" y="11034302"/>
              <a:ext cx="2709614"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pic>
          <p:nvPicPr>
            <p:cNvPr id="48" name="Graphic 47">
              <a:extLst>
                <a:ext uri="{FF2B5EF4-FFF2-40B4-BE49-F238E27FC236}">
                  <a16:creationId xmlns:a16="http://schemas.microsoft.com/office/drawing/2014/main" id="{4DFEF820-CD91-4D0B-B60A-65A0A61F38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4723" y="10312336"/>
              <a:ext cx="437535" cy="459098"/>
            </a:xfrm>
            <a:prstGeom prst="rect">
              <a:avLst/>
            </a:prstGeom>
          </p:spPr>
        </p:pic>
      </p:grpSp>
      <p:grpSp>
        <p:nvGrpSpPr>
          <p:cNvPr id="20" name="Group 19">
            <a:extLst>
              <a:ext uri="{FF2B5EF4-FFF2-40B4-BE49-F238E27FC236}">
                <a16:creationId xmlns:a16="http://schemas.microsoft.com/office/drawing/2014/main" id="{2957901C-F101-4B9A-8DC1-6E2FBF3F39F6}"/>
              </a:ext>
            </a:extLst>
          </p:cNvPr>
          <p:cNvGrpSpPr/>
          <p:nvPr/>
        </p:nvGrpSpPr>
        <p:grpSpPr>
          <a:xfrm>
            <a:off x="9241485" y="1468792"/>
            <a:ext cx="2797810" cy="1563984"/>
            <a:chOff x="8971338" y="2064237"/>
            <a:chExt cx="2743200" cy="1873061"/>
          </a:xfrm>
        </p:grpSpPr>
        <p:sp>
          <p:nvSpPr>
            <p:cNvPr id="33" name="Rectangle 32">
              <a:extLst>
                <a:ext uri="{FF2B5EF4-FFF2-40B4-BE49-F238E27FC236}">
                  <a16:creationId xmlns:a16="http://schemas.microsoft.com/office/drawing/2014/main" id="{1BA78709-D602-4BC1-8355-1CF5061E38B1}"/>
                </a:ext>
              </a:extLst>
            </p:cNvPr>
            <p:cNvSpPr/>
            <p:nvPr/>
          </p:nvSpPr>
          <p:spPr bwMode="auto">
            <a:xfrm>
              <a:off x="8971338" y="2064237"/>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Cosmos</a:t>
              </a:r>
            </a:p>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DB</a:t>
              </a:r>
            </a:p>
          </p:txBody>
        </p:sp>
        <p:sp>
          <p:nvSpPr>
            <p:cNvPr id="34" name="TextBox 33">
              <a:extLst>
                <a:ext uri="{FF2B5EF4-FFF2-40B4-BE49-F238E27FC236}">
                  <a16:creationId xmlns:a16="http://schemas.microsoft.com/office/drawing/2014/main" id="{7698E158-5621-48B0-AE95-F30F2E03C867}"/>
                </a:ext>
              </a:extLst>
            </p:cNvPr>
            <p:cNvSpPr txBox="1"/>
            <p:nvPr/>
          </p:nvSpPr>
          <p:spPr>
            <a:xfrm>
              <a:off x="8971338" y="2942109"/>
              <a:ext cx="2611985"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9%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grpSp>
          <p:nvGrpSpPr>
            <p:cNvPr id="49" name="Group 48">
              <a:extLst>
                <a:ext uri="{FF2B5EF4-FFF2-40B4-BE49-F238E27FC236}">
                  <a16:creationId xmlns:a16="http://schemas.microsoft.com/office/drawing/2014/main" id="{046667A5-25CB-4B18-85CC-0BA936568C0B}"/>
                </a:ext>
              </a:extLst>
            </p:cNvPr>
            <p:cNvGrpSpPr>
              <a:grpSpLocks noChangeAspect="1"/>
            </p:cNvGrpSpPr>
            <p:nvPr/>
          </p:nvGrpSpPr>
          <p:grpSpPr>
            <a:xfrm>
              <a:off x="11068722" y="2227092"/>
              <a:ext cx="509327" cy="391135"/>
              <a:chOff x="7356475" y="-1781175"/>
              <a:chExt cx="1958978" cy="1497013"/>
            </a:xfrm>
            <a:solidFill>
              <a:schemeClr val="tx2"/>
            </a:solidFill>
          </p:grpSpPr>
          <p:sp>
            <p:nvSpPr>
              <p:cNvPr id="50" name="Freeform 25">
                <a:extLst>
                  <a:ext uri="{FF2B5EF4-FFF2-40B4-BE49-F238E27FC236}">
                    <a16:creationId xmlns:a16="http://schemas.microsoft.com/office/drawing/2014/main" id="{60A64CC0-7EC7-47C5-AA15-699A6F701990}"/>
                  </a:ext>
                </a:extLst>
              </p:cNvPr>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1" name="Freeform 26">
                <a:extLst>
                  <a:ext uri="{FF2B5EF4-FFF2-40B4-BE49-F238E27FC236}">
                    <a16:creationId xmlns:a16="http://schemas.microsoft.com/office/drawing/2014/main" id="{7FE0D77B-9DAB-461A-961E-BA994F5218BD}"/>
                  </a:ext>
                </a:extLst>
              </p:cNvPr>
              <p:cNvSpPr>
                <a:spLocks noEditPoints="1"/>
              </p:cNvSpPr>
              <p:nvPr/>
            </p:nvSpPr>
            <p:spPr bwMode="auto">
              <a:xfrm>
                <a:off x="7394578" y="-1470025"/>
                <a:ext cx="1920875" cy="1027112"/>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2" name="Freeform 27">
                <a:extLst>
                  <a:ext uri="{FF2B5EF4-FFF2-40B4-BE49-F238E27FC236}">
                    <a16:creationId xmlns:a16="http://schemas.microsoft.com/office/drawing/2014/main" id="{75CB6FCA-C3B0-427B-9BF8-1D3899360F6B}"/>
                  </a:ext>
                </a:extLst>
              </p:cNvPr>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3" name="Freeform 28">
                <a:extLst>
                  <a:ext uri="{FF2B5EF4-FFF2-40B4-BE49-F238E27FC236}">
                    <a16:creationId xmlns:a16="http://schemas.microsoft.com/office/drawing/2014/main" id="{79E0DE65-5E9C-4090-B313-BBC7FD70CD90}"/>
                  </a:ext>
                </a:extLst>
              </p:cNvPr>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4" name="Freeform 29">
                <a:extLst>
                  <a:ext uri="{FF2B5EF4-FFF2-40B4-BE49-F238E27FC236}">
                    <a16:creationId xmlns:a16="http://schemas.microsoft.com/office/drawing/2014/main" id="{8D103579-A2C3-4E59-9914-AB647B719558}"/>
                  </a:ext>
                </a:extLst>
              </p:cNvPr>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17" name="Group 16">
            <a:extLst>
              <a:ext uri="{FF2B5EF4-FFF2-40B4-BE49-F238E27FC236}">
                <a16:creationId xmlns:a16="http://schemas.microsoft.com/office/drawing/2014/main" id="{6F508D7B-4BB4-4CE8-A597-A41E1D729BA2}"/>
              </a:ext>
            </a:extLst>
          </p:cNvPr>
          <p:cNvGrpSpPr/>
          <p:nvPr/>
        </p:nvGrpSpPr>
        <p:grpSpPr>
          <a:xfrm>
            <a:off x="3346191" y="1471658"/>
            <a:ext cx="2797810" cy="1563984"/>
            <a:chOff x="3191113" y="2067047"/>
            <a:chExt cx="2743200" cy="1873061"/>
          </a:xfrm>
        </p:grpSpPr>
        <p:sp>
          <p:nvSpPr>
            <p:cNvPr id="18" name="Rectangle 17">
              <a:extLst>
                <a:ext uri="{FF2B5EF4-FFF2-40B4-BE49-F238E27FC236}">
                  <a16:creationId xmlns:a16="http://schemas.microsoft.com/office/drawing/2014/main" id="{038D4DA1-ACDD-4F74-8352-559FB93C878D}"/>
                </a:ext>
              </a:extLst>
            </p:cNvPr>
            <p:cNvSpPr/>
            <p:nvPr/>
          </p:nvSpPr>
          <p:spPr bwMode="auto">
            <a:xfrm>
              <a:off x="3191113" y="2067047"/>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a:t>
              </a:r>
              <a:b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b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Functions</a:t>
              </a:r>
            </a:p>
          </p:txBody>
        </p:sp>
        <p:sp>
          <p:nvSpPr>
            <p:cNvPr id="19" name="TextBox 18">
              <a:extLst>
                <a:ext uri="{FF2B5EF4-FFF2-40B4-BE49-F238E27FC236}">
                  <a16:creationId xmlns:a16="http://schemas.microsoft.com/office/drawing/2014/main" id="{42E2036F-33DB-4B35-AA1E-89CD9785D91E}"/>
                </a:ext>
              </a:extLst>
            </p:cNvPr>
            <p:cNvSpPr txBox="1"/>
            <p:nvPr/>
          </p:nvSpPr>
          <p:spPr>
            <a:xfrm>
              <a:off x="3191113" y="2944919"/>
              <a:ext cx="2611985"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5%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pic>
          <p:nvPicPr>
            <p:cNvPr id="7" name="Graphic 6">
              <a:extLst>
                <a:ext uri="{FF2B5EF4-FFF2-40B4-BE49-F238E27FC236}">
                  <a16:creationId xmlns:a16="http://schemas.microsoft.com/office/drawing/2014/main" id="{8FC0C14D-879E-4823-8464-BF3C15E4547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67385" y="2222919"/>
              <a:ext cx="583406" cy="333375"/>
            </a:xfrm>
            <a:prstGeom prst="rect">
              <a:avLst/>
            </a:prstGeom>
          </p:spPr>
        </p:pic>
      </p:grpSp>
      <p:grpSp>
        <p:nvGrpSpPr>
          <p:cNvPr id="29" name="Group 28">
            <a:extLst>
              <a:ext uri="{FF2B5EF4-FFF2-40B4-BE49-F238E27FC236}">
                <a16:creationId xmlns:a16="http://schemas.microsoft.com/office/drawing/2014/main" id="{A736BE99-6C51-4AF1-AEC9-DB3416672821}"/>
              </a:ext>
            </a:extLst>
          </p:cNvPr>
          <p:cNvGrpSpPr/>
          <p:nvPr/>
        </p:nvGrpSpPr>
        <p:grpSpPr>
          <a:xfrm>
            <a:off x="9241483" y="3143596"/>
            <a:ext cx="2797812" cy="1563984"/>
            <a:chOff x="8971336" y="4223956"/>
            <a:chExt cx="2743202" cy="1873061"/>
          </a:xfrm>
        </p:grpSpPr>
        <p:sp>
          <p:nvSpPr>
            <p:cNvPr id="10" name="Rectangle 9">
              <a:extLst>
                <a:ext uri="{FF2B5EF4-FFF2-40B4-BE49-F238E27FC236}">
                  <a16:creationId xmlns:a16="http://schemas.microsoft.com/office/drawing/2014/main" id="{A92DB577-F39F-48E3-9CFF-135C056470AD}"/>
                </a:ext>
              </a:extLst>
            </p:cNvPr>
            <p:cNvSpPr/>
            <p:nvPr/>
          </p:nvSpPr>
          <p:spPr bwMode="auto">
            <a:xfrm>
              <a:off x="8971338" y="4223956"/>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Active </a:t>
              </a:r>
            </a:p>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Directory</a:t>
              </a:r>
            </a:p>
          </p:txBody>
        </p:sp>
        <p:sp>
          <p:nvSpPr>
            <p:cNvPr id="3" name="TextBox 2">
              <a:extLst>
                <a:ext uri="{FF2B5EF4-FFF2-40B4-BE49-F238E27FC236}">
                  <a16:creationId xmlns:a16="http://schemas.microsoft.com/office/drawing/2014/main" id="{AE45F7CE-E629-487F-9B6E-637166566E92}"/>
                </a:ext>
              </a:extLst>
            </p:cNvPr>
            <p:cNvSpPr txBox="1"/>
            <p:nvPr/>
          </p:nvSpPr>
          <p:spPr>
            <a:xfrm>
              <a:off x="8971336" y="5101828"/>
              <a:ext cx="2709614"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25% service credit</a:t>
              </a:r>
            </a:p>
          </p:txBody>
        </p:sp>
        <p:pic>
          <p:nvPicPr>
            <p:cNvPr id="13" name="Graphic 12">
              <a:extLst>
                <a:ext uri="{FF2B5EF4-FFF2-40B4-BE49-F238E27FC236}">
                  <a16:creationId xmlns:a16="http://schemas.microsoft.com/office/drawing/2014/main" id="{85EFFB24-3DDB-42F9-B816-33E00A33E2A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17503" y="4352081"/>
              <a:ext cx="428263" cy="428263"/>
            </a:xfrm>
            <a:prstGeom prst="rect">
              <a:avLst/>
            </a:prstGeom>
          </p:spPr>
        </p:pic>
      </p:grpSp>
      <p:grpSp>
        <p:nvGrpSpPr>
          <p:cNvPr id="25" name="Group 24">
            <a:extLst>
              <a:ext uri="{FF2B5EF4-FFF2-40B4-BE49-F238E27FC236}">
                <a16:creationId xmlns:a16="http://schemas.microsoft.com/office/drawing/2014/main" id="{83F8585A-0642-493A-966A-D5A90DFA9B1C}"/>
              </a:ext>
            </a:extLst>
          </p:cNvPr>
          <p:cNvGrpSpPr/>
          <p:nvPr/>
        </p:nvGrpSpPr>
        <p:grpSpPr>
          <a:xfrm>
            <a:off x="3346191" y="3143597"/>
            <a:ext cx="2797810" cy="1563982"/>
            <a:chOff x="3191113" y="4223957"/>
            <a:chExt cx="2743200" cy="1873061"/>
          </a:xfrm>
        </p:grpSpPr>
        <p:sp>
          <p:nvSpPr>
            <p:cNvPr id="39" name="Rectangle 38">
              <a:extLst>
                <a:ext uri="{FF2B5EF4-FFF2-40B4-BE49-F238E27FC236}">
                  <a16:creationId xmlns:a16="http://schemas.microsoft.com/office/drawing/2014/main" id="{83F5A723-2127-4AC7-9EB8-E3B29E636443}"/>
                </a:ext>
              </a:extLst>
            </p:cNvPr>
            <p:cNvSpPr/>
            <p:nvPr/>
          </p:nvSpPr>
          <p:spPr bwMode="auto">
            <a:xfrm>
              <a:off x="3191113" y="4223957"/>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a:t>
              </a:r>
              <a:b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b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ExpressRoute</a:t>
              </a:r>
            </a:p>
          </p:txBody>
        </p:sp>
        <p:sp>
          <p:nvSpPr>
            <p:cNvPr id="40" name="TextBox 39">
              <a:extLst>
                <a:ext uri="{FF2B5EF4-FFF2-40B4-BE49-F238E27FC236}">
                  <a16:creationId xmlns:a16="http://schemas.microsoft.com/office/drawing/2014/main" id="{860D4A6C-9703-4D24-B40E-840574A6727A}"/>
                </a:ext>
              </a:extLst>
            </p:cNvPr>
            <p:cNvSpPr txBox="1"/>
            <p:nvPr/>
          </p:nvSpPr>
          <p:spPr>
            <a:xfrm>
              <a:off x="3191113" y="5101828"/>
              <a:ext cx="2611985" cy="913059"/>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5%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pic>
          <p:nvPicPr>
            <p:cNvPr id="14" name="Graphic 13">
              <a:extLst>
                <a:ext uri="{FF2B5EF4-FFF2-40B4-BE49-F238E27FC236}">
                  <a16:creationId xmlns:a16="http://schemas.microsoft.com/office/drawing/2014/main" id="{B59F149C-59E2-4042-BEDC-23D35E611B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16200" y="4438650"/>
              <a:ext cx="524697" cy="290258"/>
            </a:xfrm>
            <a:prstGeom prst="rect">
              <a:avLst/>
            </a:prstGeom>
          </p:spPr>
        </p:pic>
      </p:grpSp>
      <p:grpSp>
        <p:nvGrpSpPr>
          <p:cNvPr id="28" name="Group 27">
            <a:extLst>
              <a:ext uri="{FF2B5EF4-FFF2-40B4-BE49-F238E27FC236}">
                <a16:creationId xmlns:a16="http://schemas.microsoft.com/office/drawing/2014/main" id="{B8420765-A66F-4951-A8F6-E4454046981E}"/>
              </a:ext>
            </a:extLst>
          </p:cNvPr>
          <p:cNvGrpSpPr/>
          <p:nvPr/>
        </p:nvGrpSpPr>
        <p:grpSpPr>
          <a:xfrm>
            <a:off x="6283316" y="3143597"/>
            <a:ext cx="2797810" cy="1563985"/>
            <a:chOff x="6070909" y="4223956"/>
            <a:chExt cx="2743200" cy="1873061"/>
          </a:xfrm>
        </p:grpSpPr>
        <p:sp>
          <p:nvSpPr>
            <p:cNvPr id="36" name="Rectangle 35">
              <a:extLst>
                <a:ext uri="{FF2B5EF4-FFF2-40B4-BE49-F238E27FC236}">
                  <a16:creationId xmlns:a16="http://schemas.microsoft.com/office/drawing/2014/main" id="{70FE7DBA-0B53-46F4-A3DD-67E5DBA26411}"/>
                </a:ext>
              </a:extLst>
            </p:cNvPr>
            <p:cNvSpPr/>
            <p:nvPr/>
          </p:nvSpPr>
          <p:spPr bwMode="auto">
            <a:xfrm>
              <a:off x="6070909" y="4223956"/>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Cognitive </a:t>
              </a:r>
              <a:b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b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Services</a:t>
              </a:r>
            </a:p>
          </p:txBody>
        </p:sp>
        <p:sp>
          <p:nvSpPr>
            <p:cNvPr id="37" name="TextBox 36">
              <a:extLst>
                <a:ext uri="{FF2B5EF4-FFF2-40B4-BE49-F238E27FC236}">
                  <a16:creationId xmlns:a16="http://schemas.microsoft.com/office/drawing/2014/main" id="{F0AA92EF-E6C6-4D07-AC2C-49003D957DBF}"/>
                </a:ext>
              </a:extLst>
            </p:cNvPr>
            <p:cNvSpPr txBox="1"/>
            <p:nvPr/>
          </p:nvSpPr>
          <p:spPr>
            <a:xfrm>
              <a:off x="6070909" y="5101827"/>
              <a:ext cx="2611985" cy="9130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99.9%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sp>
          <p:nvSpPr>
            <p:cNvPr id="46" name="brain_2" title="Icon of a brain with circles and connection lines inside">
              <a:extLst>
                <a:ext uri="{FF2B5EF4-FFF2-40B4-BE49-F238E27FC236}">
                  <a16:creationId xmlns:a16="http://schemas.microsoft.com/office/drawing/2014/main" id="{E60653EC-A1B9-4C0F-941F-B63A88DF4AED}"/>
                </a:ext>
              </a:extLst>
            </p:cNvPr>
            <p:cNvSpPr>
              <a:spLocks noChangeAspect="1" noEditPoints="1"/>
            </p:cNvSpPr>
            <p:nvPr/>
          </p:nvSpPr>
          <p:spPr bwMode="auto">
            <a:xfrm>
              <a:off x="8034049" y="4375959"/>
              <a:ext cx="590839" cy="396175"/>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25400" cap="sq">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Semilight"/>
              </a:endParaRPr>
            </a:p>
          </p:txBody>
        </p:sp>
      </p:grpSp>
      <p:grpSp>
        <p:nvGrpSpPr>
          <p:cNvPr id="21" name="Group 20">
            <a:extLst>
              <a:ext uri="{FF2B5EF4-FFF2-40B4-BE49-F238E27FC236}">
                <a16:creationId xmlns:a16="http://schemas.microsoft.com/office/drawing/2014/main" id="{4257BFA1-1FF8-40E1-A30B-CA1217A1304B}"/>
              </a:ext>
            </a:extLst>
          </p:cNvPr>
          <p:cNvGrpSpPr/>
          <p:nvPr/>
        </p:nvGrpSpPr>
        <p:grpSpPr>
          <a:xfrm>
            <a:off x="410436" y="3143600"/>
            <a:ext cx="2797810" cy="1694383"/>
            <a:chOff x="312661" y="4223957"/>
            <a:chExt cx="2743200" cy="2029232"/>
          </a:xfrm>
        </p:grpSpPr>
        <p:sp>
          <p:nvSpPr>
            <p:cNvPr id="23" name="Rectangle 22">
              <a:extLst>
                <a:ext uri="{FF2B5EF4-FFF2-40B4-BE49-F238E27FC236}">
                  <a16:creationId xmlns:a16="http://schemas.microsoft.com/office/drawing/2014/main" id="{672E23A0-F937-4DD2-9533-494794DEF7EB}"/>
                </a:ext>
              </a:extLst>
            </p:cNvPr>
            <p:cNvSpPr/>
            <p:nvPr/>
          </p:nvSpPr>
          <p:spPr bwMode="auto">
            <a:xfrm>
              <a:off x="312661" y="4223957"/>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Azure Virtual</a:t>
              </a:r>
            </a:p>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Machines</a:t>
              </a:r>
            </a:p>
          </p:txBody>
        </p:sp>
        <p:sp>
          <p:nvSpPr>
            <p:cNvPr id="24" name="TextBox 23">
              <a:extLst>
                <a:ext uri="{FF2B5EF4-FFF2-40B4-BE49-F238E27FC236}">
                  <a16:creationId xmlns:a16="http://schemas.microsoft.com/office/drawing/2014/main" id="{04A08852-F743-4F15-8008-D1265BDD7304}"/>
                </a:ext>
              </a:extLst>
            </p:cNvPr>
            <p:cNvSpPr txBox="1"/>
            <p:nvPr/>
          </p:nvSpPr>
          <p:spPr>
            <a:xfrm>
              <a:off x="312661" y="5064049"/>
              <a:ext cx="2611985" cy="1189140"/>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Single instance </a:t>
              </a:r>
              <a:br>
                <a:rPr lang="en-US" sz="1632" dirty="0">
                  <a:solidFill>
                    <a:srgbClr val="0078D7"/>
                  </a:solidFill>
                  <a:latin typeface="Segoe UI Semilight"/>
                  <a:ea typeface="Segoe UI" pitchFamily="34" charset="0"/>
                  <a:cs typeface="Segoe UI" pitchFamily="34" charset="0"/>
                </a:rPr>
              </a:br>
              <a:r>
                <a:rPr lang="en-US" sz="1632" dirty="0">
                  <a:solidFill>
                    <a:srgbClr val="0078D7"/>
                  </a:solidFill>
                  <a:latin typeface="Segoe UI Semilight"/>
                  <a:ea typeface="Segoe UI" pitchFamily="34" charset="0"/>
                  <a:cs typeface="Segoe UI" pitchFamily="34" charset="0"/>
                </a:rPr>
                <a:t>99.9% uptime</a:t>
              </a:r>
            </a:p>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10% service credit</a:t>
              </a:r>
            </a:p>
          </p:txBody>
        </p:sp>
        <p:pic>
          <p:nvPicPr>
            <p:cNvPr id="55" name="Graphic 54">
              <a:extLst>
                <a:ext uri="{FF2B5EF4-FFF2-40B4-BE49-F238E27FC236}">
                  <a16:creationId xmlns:a16="http://schemas.microsoft.com/office/drawing/2014/main" id="{74A563C6-F56D-4034-B534-8A643EAD4B3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471420" y="4416831"/>
              <a:ext cx="393700" cy="360891"/>
            </a:xfrm>
            <a:prstGeom prst="rect">
              <a:avLst/>
            </a:prstGeom>
          </p:spPr>
        </p:pic>
      </p:grpSp>
      <p:grpSp>
        <p:nvGrpSpPr>
          <p:cNvPr id="47" name="Group 46">
            <a:extLst>
              <a:ext uri="{FF2B5EF4-FFF2-40B4-BE49-F238E27FC236}">
                <a16:creationId xmlns:a16="http://schemas.microsoft.com/office/drawing/2014/main" id="{AA935C28-CBE2-4940-A49B-10F773B8C374}"/>
              </a:ext>
            </a:extLst>
          </p:cNvPr>
          <p:cNvGrpSpPr/>
          <p:nvPr/>
        </p:nvGrpSpPr>
        <p:grpSpPr>
          <a:xfrm>
            <a:off x="462608" y="5142206"/>
            <a:ext cx="11542430" cy="1563984"/>
            <a:chOff x="3191113" y="2067047"/>
            <a:chExt cx="2743200" cy="1873061"/>
          </a:xfrm>
        </p:grpSpPr>
        <p:sp>
          <p:nvSpPr>
            <p:cNvPr id="56" name="Rectangle 55">
              <a:extLst>
                <a:ext uri="{FF2B5EF4-FFF2-40B4-BE49-F238E27FC236}">
                  <a16:creationId xmlns:a16="http://schemas.microsoft.com/office/drawing/2014/main" id="{C2D851D3-5CA9-4AB3-948B-CB5CD82B9EC3}"/>
                </a:ext>
              </a:extLst>
            </p:cNvPr>
            <p:cNvSpPr/>
            <p:nvPr/>
          </p:nvSpPr>
          <p:spPr bwMode="auto">
            <a:xfrm>
              <a:off x="3191113" y="2067047"/>
              <a:ext cx="2743200" cy="18730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solidFill>
                    <a:srgbClr val="0078D7"/>
                  </a:solidFill>
                  <a:latin typeface="Segoe UI Semibold" panose="020B0702040204020203" pitchFamily="34" charset="0"/>
                  <a:ea typeface="Segoe UI" pitchFamily="34" charset="0"/>
                  <a:cs typeface="Segoe UI Semibold" panose="020B0702040204020203" pitchFamily="34" charset="0"/>
                </a:rPr>
                <a:t>Equivalent AWS Services</a:t>
              </a:r>
            </a:p>
          </p:txBody>
        </p:sp>
        <p:sp>
          <p:nvSpPr>
            <p:cNvPr id="57" name="TextBox 56">
              <a:extLst>
                <a:ext uri="{FF2B5EF4-FFF2-40B4-BE49-F238E27FC236}">
                  <a16:creationId xmlns:a16="http://schemas.microsoft.com/office/drawing/2014/main" id="{234CC894-85D1-4C87-A970-7FC1F24A954F}"/>
                </a:ext>
              </a:extLst>
            </p:cNvPr>
            <p:cNvSpPr txBox="1"/>
            <p:nvPr/>
          </p:nvSpPr>
          <p:spPr>
            <a:xfrm>
              <a:off x="3309305" y="2862136"/>
              <a:ext cx="219886" cy="631576"/>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SLAs</a:t>
              </a:r>
            </a:p>
          </p:txBody>
        </p:sp>
      </p:grpSp>
      <p:pic>
        <p:nvPicPr>
          <p:cNvPr id="59" name="Graphic 58">
            <a:extLst>
              <a:ext uri="{FF2B5EF4-FFF2-40B4-BE49-F238E27FC236}">
                <a16:creationId xmlns:a16="http://schemas.microsoft.com/office/drawing/2014/main" id="{3634F20B-9BC5-4789-A8FF-8F244A032E8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72245" y="5924198"/>
            <a:ext cx="291156" cy="291156"/>
          </a:xfrm>
          <a:prstGeom prst="rect">
            <a:avLst/>
          </a:prstGeom>
        </p:spPr>
      </p:pic>
      <p:pic>
        <p:nvPicPr>
          <p:cNvPr id="60" name="Graphic 59">
            <a:extLst>
              <a:ext uri="{FF2B5EF4-FFF2-40B4-BE49-F238E27FC236}">
                <a16:creationId xmlns:a16="http://schemas.microsoft.com/office/drawing/2014/main" id="{61FE60C4-6142-43D2-9470-8602736E677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72245" y="6299770"/>
            <a:ext cx="291156" cy="291156"/>
          </a:xfrm>
          <a:prstGeom prst="rect">
            <a:avLst/>
          </a:prstGeom>
        </p:spPr>
      </p:pic>
      <p:sp>
        <p:nvSpPr>
          <p:cNvPr id="61" name="TextBox 60">
            <a:extLst>
              <a:ext uri="{FF2B5EF4-FFF2-40B4-BE49-F238E27FC236}">
                <a16:creationId xmlns:a16="http://schemas.microsoft.com/office/drawing/2014/main" id="{DD508D40-0D03-47EA-B41A-DD5A74F56623}"/>
              </a:ext>
            </a:extLst>
          </p:cNvPr>
          <p:cNvSpPr txBox="1"/>
          <p:nvPr/>
        </p:nvSpPr>
        <p:spPr>
          <a:xfrm>
            <a:off x="959919" y="6198512"/>
            <a:ext cx="1696108" cy="527358"/>
          </a:xfrm>
          <a:prstGeom prst="rect">
            <a:avLst/>
          </a:prstGeom>
          <a:noFill/>
        </p:spPr>
        <p:txBody>
          <a:bodyPr wrap="square" lIns="186521" tIns="149217" rIns="186521" bIns="149217" rtlCol="0">
            <a:spAutoFit/>
          </a:bodyPr>
          <a:lstStyle/>
          <a:p>
            <a:pPr defTabSz="951028" fontAlgn="base">
              <a:lnSpc>
                <a:spcPct val="90000"/>
              </a:lnSpc>
              <a:spcBef>
                <a:spcPct val="0"/>
              </a:spcBef>
              <a:spcAft>
                <a:spcPct val="0"/>
              </a:spcAft>
            </a:pPr>
            <a:r>
              <a:rPr lang="en-US" sz="1632" dirty="0">
                <a:solidFill>
                  <a:srgbClr val="0078D7"/>
                </a:solidFill>
                <a:latin typeface="Segoe UI Semilight"/>
                <a:ea typeface="Segoe UI" pitchFamily="34" charset="0"/>
                <a:cs typeface="Segoe UI" pitchFamily="34" charset="0"/>
              </a:rPr>
              <a:t>Service credits</a:t>
            </a:r>
          </a:p>
        </p:txBody>
      </p:sp>
      <p:sp>
        <p:nvSpPr>
          <p:cNvPr id="35" name="TextBox 34">
            <a:extLst>
              <a:ext uri="{FF2B5EF4-FFF2-40B4-BE49-F238E27FC236}">
                <a16:creationId xmlns:a16="http://schemas.microsoft.com/office/drawing/2014/main" id="{35AA516A-BBCA-4E83-AEA5-92B022AD22A5}"/>
              </a:ext>
            </a:extLst>
          </p:cNvPr>
          <p:cNvSpPr txBox="1"/>
          <p:nvPr/>
        </p:nvSpPr>
        <p:spPr>
          <a:xfrm>
            <a:off x="5892301" y="4586032"/>
            <a:ext cx="1800443" cy="647165"/>
          </a:xfrm>
          <a:prstGeom prst="rect">
            <a:avLst/>
          </a:prstGeom>
          <a:noFill/>
        </p:spPr>
        <p:txBody>
          <a:bodyPr wrap="square" lIns="186521" tIns="149217" rIns="186521" bIns="149217" rtlCol="0">
            <a:spAutoFit/>
          </a:bodyPr>
          <a:lstStyle/>
          <a:p>
            <a:pPr defTabSz="932597">
              <a:lnSpc>
                <a:spcPct val="90000"/>
              </a:lnSpc>
              <a:spcAft>
                <a:spcPts val="612"/>
              </a:spcAft>
            </a:pPr>
            <a:r>
              <a:rPr lang="en-US" sz="2448" dirty="0">
                <a:gradFill>
                  <a:gsLst>
                    <a:gs pos="2917">
                      <a:srgbClr val="505050"/>
                    </a:gs>
                    <a:gs pos="30000">
                      <a:srgbClr val="505050"/>
                    </a:gs>
                  </a:gsLst>
                  <a:lin ang="5400000" scaled="0"/>
                </a:gradFill>
                <a:latin typeface="Segoe UI Semilight"/>
              </a:rPr>
              <a:t>vs.</a:t>
            </a:r>
          </a:p>
        </p:txBody>
      </p:sp>
    </p:spTree>
    <p:extLst>
      <p:ext uri="{BB962C8B-B14F-4D97-AF65-F5344CB8AC3E}">
        <p14:creationId xmlns:p14="http://schemas.microsoft.com/office/powerpoint/2010/main" val="225829691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4b: Logic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1034129"/>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inalise</a:t>
            </a: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the </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Logic App lab, logging the documents to Cosmos DB</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981918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09124E-6 L -0.05285 -3.09124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6155E-AA09-4968-8479-2AAD16532586}"/>
              </a:ext>
            </a:extLst>
          </p:cNvPr>
          <p:cNvSpPr>
            <a:spLocks noGrp="1"/>
          </p:cNvSpPr>
          <p:nvPr>
            <p:ph type="title"/>
          </p:nvPr>
        </p:nvSpPr>
        <p:spPr>
          <a:xfrm rot="16200000">
            <a:off x="-2618901" y="2866909"/>
            <a:ext cx="6406288" cy="944504"/>
          </a:xfrm>
        </p:spPr>
        <p:txBody>
          <a:bodyPr/>
          <a:lstStyle/>
          <a:p>
            <a:r>
              <a:rPr lang="en-GB"/>
              <a:t>Microsoft AI</a:t>
            </a:r>
          </a:p>
        </p:txBody>
      </p:sp>
      <p:sp>
        <p:nvSpPr>
          <p:cNvPr id="78" name="Title 1">
            <a:extLst>
              <a:ext uri="{FF2B5EF4-FFF2-40B4-BE49-F238E27FC236}">
                <a16:creationId xmlns:a16="http://schemas.microsoft.com/office/drawing/2014/main" id="{83D1AAE1-E463-4E17-856B-D30FAC1A6484}"/>
              </a:ext>
            </a:extLst>
          </p:cNvPr>
          <p:cNvSpPr txBox="1">
            <a:spLocks/>
          </p:cNvSpPr>
          <p:nvPr/>
        </p:nvSpPr>
        <p:spPr>
          <a:xfrm>
            <a:off x="275483" y="-9808116"/>
            <a:ext cx="8933007" cy="2222360"/>
          </a:xfrm>
          <a:prstGeom prst="rect">
            <a:avLst/>
          </a:prstGeom>
          <a:noFill/>
        </p:spPr>
        <p:txBody>
          <a:bodyPr vert="horz" wrap="square" lIns="149217" tIns="93260" rIns="149217" bIns="93260" rtlCol="0" anchor="t" anchorCtr="0">
            <a:spAutoFit/>
          </a:bodyPr>
          <a:lstStyle>
            <a:lvl1pPr algn="l" defTabSz="914192" rtl="0" eaLnBrk="1" latinLnBrk="0" hangingPunct="1">
              <a:lnSpc>
                <a:spcPct val="90000"/>
              </a:lnSpc>
              <a:spcBef>
                <a:spcPct val="0"/>
              </a:spcBef>
              <a:buNone/>
              <a:defRPr lang="en-US" sz="7056"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defTabSz="932384">
              <a:defRPr/>
            </a:pPr>
            <a:r>
              <a:rPr lang="en-US" sz="7343" spc="-100">
                <a:solidFill>
                  <a:srgbClr val="FFFFFF"/>
                </a:solidFill>
                <a:latin typeface="Segoe UI Light"/>
              </a:rPr>
              <a:t>Microsoft AI </a:t>
            </a:r>
            <a:br>
              <a:rPr lang="en-US" sz="7343" spc="-100">
                <a:solidFill>
                  <a:srgbClr val="FFFFFF"/>
                </a:solidFill>
                <a:latin typeface="Segoe UI Light"/>
              </a:rPr>
            </a:br>
            <a:r>
              <a:rPr lang="en-US" sz="7343" spc="-100">
                <a:solidFill>
                  <a:srgbClr val="FFFFFF"/>
                </a:solidFill>
                <a:latin typeface="Segoe UI Light"/>
              </a:rPr>
              <a:t>products and solutions </a:t>
            </a:r>
          </a:p>
        </p:txBody>
      </p:sp>
      <p:sp>
        <p:nvSpPr>
          <p:cNvPr id="79" name="TextBox 78">
            <a:extLst>
              <a:ext uri="{FF2B5EF4-FFF2-40B4-BE49-F238E27FC236}">
                <a16:creationId xmlns:a16="http://schemas.microsoft.com/office/drawing/2014/main" id="{03754103-DBD1-4875-B62A-D991465470D0}"/>
              </a:ext>
            </a:extLst>
          </p:cNvPr>
          <p:cNvSpPr txBox="1"/>
          <p:nvPr/>
        </p:nvSpPr>
        <p:spPr>
          <a:xfrm>
            <a:off x="1392954" y="2975310"/>
            <a:ext cx="2891070" cy="991502"/>
          </a:xfrm>
          <a:prstGeom prst="rect">
            <a:avLst/>
          </a:prstGeom>
          <a:noFill/>
        </p:spPr>
        <p:txBody>
          <a:bodyPr wrap="square" lIns="146283" tIns="91427" rIns="146283" bIns="91427" rtlCol="0">
            <a:spAutoFit/>
          </a:bodyPr>
          <a:lstStyle/>
          <a:p>
            <a:pPr algn="ctr" defTabSz="932418">
              <a:lnSpc>
                <a:spcPct val="90000"/>
              </a:lnSpc>
              <a:spcAft>
                <a:spcPts val="612"/>
              </a:spcAft>
              <a:defRPr/>
            </a:pPr>
            <a:r>
              <a:rPr lang="en-US" sz="2856">
                <a:gradFill>
                  <a:gsLst>
                    <a:gs pos="1250">
                      <a:srgbClr val="0078D7"/>
                    </a:gs>
                    <a:gs pos="100000">
                      <a:srgbClr val="0078D7"/>
                    </a:gs>
                  </a:gsLst>
                  <a:lin ang="5400000" scaled="0"/>
                </a:gradFill>
                <a:latin typeface="Segoe UI Semilight"/>
              </a:rPr>
              <a:t>AI </a:t>
            </a:r>
            <a:br>
              <a:rPr lang="en-US" sz="2856">
                <a:gradFill>
                  <a:gsLst>
                    <a:gs pos="1250">
                      <a:srgbClr val="0078D7"/>
                    </a:gs>
                    <a:gs pos="100000">
                      <a:srgbClr val="0078D7"/>
                    </a:gs>
                  </a:gsLst>
                  <a:lin ang="5400000" scaled="0"/>
                </a:gradFill>
                <a:latin typeface="Segoe UI Semilight"/>
              </a:rPr>
            </a:br>
            <a:r>
              <a:rPr lang="en-US" sz="2856">
                <a:gradFill>
                  <a:gsLst>
                    <a:gs pos="1250">
                      <a:srgbClr val="0078D7"/>
                    </a:gs>
                    <a:gs pos="100000">
                      <a:srgbClr val="0078D7"/>
                    </a:gs>
                  </a:gsLst>
                  <a:lin ang="5400000" scaled="0"/>
                </a:gradFill>
                <a:latin typeface="Segoe UI Semilight"/>
              </a:rPr>
              <a:t>platform </a:t>
            </a:r>
          </a:p>
        </p:txBody>
      </p:sp>
      <p:sp>
        <p:nvSpPr>
          <p:cNvPr id="80" name="TextBox 79">
            <a:extLst>
              <a:ext uri="{FF2B5EF4-FFF2-40B4-BE49-F238E27FC236}">
                <a16:creationId xmlns:a16="http://schemas.microsoft.com/office/drawing/2014/main" id="{CFA8B6BD-EC32-4762-AE46-821265961C6C}"/>
              </a:ext>
            </a:extLst>
          </p:cNvPr>
          <p:cNvSpPr txBox="1"/>
          <p:nvPr/>
        </p:nvSpPr>
        <p:spPr>
          <a:xfrm>
            <a:off x="8855800" y="2975309"/>
            <a:ext cx="2891070" cy="1069978"/>
          </a:xfrm>
          <a:prstGeom prst="rect">
            <a:avLst/>
          </a:prstGeom>
          <a:noFill/>
        </p:spPr>
        <p:txBody>
          <a:bodyPr wrap="square" lIns="146283" tIns="91427" rIns="146283" bIns="91427" rtlCol="0">
            <a:spAutoFit/>
          </a:bodyPr>
          <a:lstStyle>
            <a:defPPr>
              <a:defRPr lang="en-US"/>
            </a:defPPr>
            <a:lvl1pPr marR="0" lvl="0" indent="0" algn="ctr" defTabSz="914225" fontAlgn="auto">
              <a:lnSpc>
                <a:spcPct val="90000"/>
              </a:lnSpc>
              <a:spcBef>
                <a:spcPts val="0"/>
              </a:spcBef>
              <a:spcAft>
                <a:spcPts val="600"/>
              </a:spcAft>
              <a:buClrTx/>
              <a:buSzTx/>
              <a:buFontTx/>
              <a:buNone/>
              <a:tabLst/>
              <a:defRPr kumimoji="0" sz="2800" b="0" i="0" u="none" strike="noStrike" cap="none" spc="0" normalizeH="0" baseline="0">
                <a:ln>
                  <a:noFill/>
                </a:ln>
                <a:gradFill>
                  <a:gsLst>
                    <a:gs pos="1250">
                      <a:srgbClr val="0078D7"/>
                    </a:gs>
                    <a:gs pos="100000">
                      <a:srgbClr val="0078D7"/>
                    </a:gs>
                  </a:gsLst>
                  <a:lin ang="5400000" scaled="0"/>
                </a:gradFill>
                <a:effectLst/>
                <a:uLnTx/>
                <a:uFillTx/>
                <a:latin typeface="Segoe UI Semilight"/>
              </a:defRPr>
            </a:lvl1pPr>
          </a:lstStyle>
          <a:p>
            <a:pPr defTabSz="932418">
              <a:spcAft>
                <a:spcPts val="612"/>
              </a:spcAft>
              <a:defRPr/>
            </a:pPr>
            <a:r>
              <a:rPr lang="en-US" sz="2856"/>
              <a:t>AI business</a:t>
            </a:r>
          </a:p>
          <a:p>
            <a:pPr defTabSz="932418">
              <a:spcAft>
                <a:spcPts val="612"/>
              </a:spcAft>
              <a:defRPr/>
            </a:pPr>
            <a:r>
              <a:rPr lang="en-US" sz="2856"/>
              <a:t>solutions</a:t>
            </a:r>
          </a:p>
        </p:txBody>
      </p:sp>
      <p:sp>
        <p:nvSpPr>
          <p:cNvPr id="81" name="TextBox 80">
            <a:extLst>
              <a:ext uri="{FF2B5EF4-FFF2-40B4-BE49-F238E27FC236}">
                <a16:creationId xmlns:a16="http://schemas.microsoft.com/office/drawing/2014/main" id="{2372A287-6A80-44A0-854F-6226E57C49A4}"/>
              </a:ext>
            </a:extLst>
          </p:cNvPr>
          <p:cNvSpPr txBox="1"/>
          <p:nvPr/>
        </p:nvSpPr>
        <p:spPr>
          <a:xfrm>
            <a:off x="5182438" y="2975310"/>
            <a:ext cx="2891070" cy="991502"/>
          </a:xfrm>
          <a:prstGeom prst="rect">
            <a:avLst/>
          </a:prstGeom>
          <a:noFill/>
        </p:spPr>
        <p:txBody>
          <a:bodyPr wrap="square" lIns="146283" tIns="91427" rIns="146283" bIns="91427" rtlCol="0">
            <a:spAutoFit/>
          </a:bodyPr>
          <a:lstStyle>
            <a:defPPr>
              <a:defRPr lang="en-US"/>
            </a:defPPr>
            <a:lvl1pPr marR="0" lvl="0" indent="0" algn="ctr" defTabSz="914225" fontAlgn="auto">
              <a:lnSpc>
                <a:spcPct val="90000"/>
              </a:lnSpc>
              <a:spcBef>
                <a:spcPts val="0"/>
              </a:spcBef>
              <a:spcAft>
                <a:spcPts val="600"/>
              </a:spcAft>
              <a:buClrTx/>
              <a:buSzTx/>
              <a:buFontTx/>
              <a:buNone/>
              <a:tabLst/>
              <a:defRPr kumimoji="0" sz="2800" b="0" i="0" u="none" strike="noStrike" cap="none" spc="0" normalizeH="0" baseline="0">
                <a:ln>
                  <a:noFill/>
                </a:ln>
                <a:gradFill>
                  <a:gsLst>
                    <a:gs pos="1250">
                      <a:srgbClr val="0078D7"/>
                    </a:gs>
                    <a:gs pos="100000">
                      <a:srgbClr val="0078D7"/>
                    </a:gs>
                  </a:gsLst>
                  <a:lin ang="5400000" scaled="0"/>
                </a:gradFill>
                <a:effectLst/>
                <a:uLnTx/>
                <a:uFillTx/>
                <a:latin typeface="Segoe UI Semilight"/>
              </a:defRPr>
            </a:lvl1pPr>
          </a:lstStyle>
          <a:p>
            <a:pPr defTabSz="932418">
              <a:spcAft>
                <a:spcPts val="612"/>
              </a:spcAft>
              <a:defRPr/>
            </a:pPr>
            <a:r>
              <a:rPr lang="en-US" sz="2856"/>
              <a:t>Intelligent products</a:t>
            </a:r>
          </a:p>
        </p:txBody>
      </p:sp>
      <p:pic>
        <p:nvPicPr>
          <p:cNvPr id="82" name="Graphic 81">
            <a:extLst>
              <a:ext uri="{FF2B5EF4-FFF2-40B4-BE49-F238E27FC236}">
                <a16:creationId xmlns:a16="http://schemas.microsoft.com/office/drawing/2014/main" id="{10CAFECA-1829-4CB7-8386-9DE6932F449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59669" y="714843"/>
            <a:ext cx="2357641" cy="2357641"/>
          </a:xfrm>
          <a:prstGeom prst="rect">
            <a:avLst/>
          </a:prstGeom>
        </p:spPr>
      </p:pic>
      <p:pic>
        <p:nvPicPr>
          <p:cNvPr id="83" name="Graphic 82">
            <a:extLst>
              <a:ext uri="{FF2B5EF4-FFF2-40B4-BE49-F238E27FC236}">
                <a16:creationId xmlns:a16="http://schemas.microsoft.com/office/drawing/2014/main" id="{59371687-F6BD-44AC-94AF-5321C0FD4BE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22514" y="714843"/>
            <a:ext cx="2357641" cy="2357641"/>
          </a:xfrm>
          <a:prstGeom prst="rect">
            <a:avLst/>
          </a:prstGeom>
        </p:spPr>
      </p:pic>
      <p:pic>
        <p:nvPicPr>
          <p:cNvPr id="85" name="Graphic 84">
            <a:extLst>
              <a:ext uri="{FF2B5EF4-FFF2-40B4-BE49-F238E27FC236}">
                <a16:creationId xmlns:a16="http://schemas.microsoft.com/office/drawing/2014/main" id="{6C909BE0-2075-4A05-91F4-71CD15ED8CF0}"/>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438490" y="714843"/>
            <a:ext cx="2359088" cy="2359088"/>
          </a:xfrm>
          <a:prstGeom prst="rect">
            <a:avLst/>
          </a:prstGeom>
        </p:spPr>
      </p:pic>
      <p:cxnSp>
        <p:nvCxnSpPr>
          <p:cNvPr id="86" name="Straight Connector 85">
            <a:extLst>
              <a:ext uri="{FF2B5EF4-FFF2-40B4-BE49-F238E27FC236}">
                <a16:creationId xmlns:a16="http://schemas.microsoft.com/office/drawing/2014/main" id="{FD2C7459-4C78-4C28-9231-F5D07D84757B}"/>
              </a:ext>
            </a:extLst>
          </p:cNvPr>
          <p:cNvCxnSpPr/>
          <p:nvPr/>
        </p:nvCxnSpPr>
        <p:spPr>
          <a:xfrm flipH="1">
            <a:off x="10027675" y="4195007"/>
            <a:ext cx="548562" cy="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7" name="Straight Connector 86">
            <a:extLst>
              <a:ext uri="{FF2B5EF4-FFF2-40B4-BE49-F238E27FC236}">
                <a16:creationId xmlns:a16="http://schemas.microsoft.com/office/drawing/2014/main" id="{2617A015-8C63-4690-A43E-39C65AC47F61}"/>
              </a:ext>
            </a:extLst>
          </p:cNvPr>
          <p:cNvCxnSpPr/>
          <p:nvPr/>
        </p:nvCxnSpPr>
        <p:spPr>
          <a:xfrm flipH="1">
            <a:off x="6280343" y="4195007"/>
            <a:ext cx="548562" cy="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8" name="Straight Connector 87">
            <a:extLst>
              <a:ext uri="{FF2B5EF4-FFF2-40B4-BE49-F238E27FC236}">
                <a16:creationId xmlns:a16="http://schemas.microsoft.com/office/drawing/2014/main" id="{C2B6873A-7412-4256-8598-0282409DB523}"/>
              </a:ext>
            </a:extLst>
          </p:cNvPr>
          <p:cNvCxnSpPr/>
          <p:nvPr/>
        </p:nvCxnSpPr>
        <p:spPr>
          <a:xfrm flipH="1">
            <a:off x="2569397" y="4195007"/>
            <a:ext cx="548562" cy="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9" name="Rectangle 88">
            <a:extLst>
              <a:ext uri="{FF2B5EF4-FFF2-40B4-BE49-F238E27FC236}">
                <a16:creationId xmlns:a16="http://schemas.microsoft.com/office/drawing/2014/main" id="{88B2CD63-85F6-49DA-AD68-C639518583DA}"/>
              </a:ext>
            </a:extLst>
          </p:cNvPr>
          <p:cNvSpPr/>
          <p:nvPr/>
        </p:nvSpPr>
        <p:spPr>
          <a:xfrm>
            <a:off x="1371210" y="4404963"/>
            <a:ext cx="3004531" cy="1371759"/>
          </a:xfrm>
          <a:prstGeom prst="rect">
            <a:avLst/>
          </a:prstGeom>
        </p:spPr>
        <p:txBody>
          <a:bodyPr wrap="square">
            <a:spAutoFit/>
          </a:bodyPr>
          <a:lstStyle/>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Cognitive Services</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Azure Bot Services</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AI infrastructure and tools</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Machine Learning Services</a:t>
            </a:r>
          </a:p>
        </p:txBody>
      </p:sp>
      <p:sp>
        <p:nvSpPr>
          <p:cNvPr id="90" name="Rectangle 89">
            <a:extLst>
              <a:ext uri="{FF2B5EF4-FFF2-40B4-BE49-F238E27FC236}">
                <a16:creationId xmlns:a16="http://schemas.microsoft.com/office/drawing/2014/main" id="{FF4A7CCE-5F1E-4CDB-86BD-23DF03C45371}"/>
              </a:ext>
            </a:extLst>
          </p:cNvPr>
          <p:cNvSpPr/>
          <p:nvPr/>
        </p:nvSpPr>
        <p:spPr>
          <a:xfrm>
            <a:off x="5262158" y="4404963"/>
            <a:ext cx="2540870" cy="1371759"/>
          </a:xfrm>
          <a:prstGeom prst="rect">
            <a:avLst/>
          </a:prstGeom>
        </p:spPr>
        <p:txBody>
          <a:bodyPr wrap="square">
            <a:spAutoFit/>
          </a:bodyPr>
          <a:lstStyle/>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Bing</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Cortana</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Office 365</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Dynamics 365</a:t>
            </a:r>
          </a:p>
        </p:txBody>
      </p:sp>
      <p:sp>
        <p:nvSpPr>
          <p:cNvPr id="91" name="Rectangle 90">
            <a:extLst>
              <a:ext uri="{FF2B5EF4-FFF2-40B4-BE49-F238E27FC236}">
                <a16:creationId xmlns:a16="http://schemas.microsoft.com/office/drawing/2014/main" id="{0E1DFC64-D390-4318-B521-A756F5B6F758}"/>
              </a:ext>
            </a:extLst>
          </p:cNvPr>
          <p:cNvSpPr/>
          <p:nvPr/>
        </p:nvSpPr>
        <p:spPr>
          <a:xfrm>
            <a:off x="9215916" y="4404964"/>
            <a:ext cx="2170839" cy="1932077"/>
          </a:xfrm>
          <a:prstGeom prst="rect">
            <a:avLst/>
          </a:prstGeom>
        </p:spPr>
        <p:txBody>
          <a:bodyPr wrap="square">
            <a:spAutoFit/>
          </a:bodyPr>
          <a:lstStyle/>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Templates</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Accelerators</a:t>
            </a:r>
          </a:p>
          <a:p>
            <a:pPr algn="ctr" defTabSz="932597">
              <a:lnSpc>
                <a:spcPct val="90000"/>
              </a:lnSpc>
              <a:spcAft>
                <a:spcPts val="1224"/>
              </a:spcAft>
              <a:defRPr/>
            </a:pPr>
            <a:r>
              <a:rPr lang="en-US" sz="1428">
                <a:gradFill>
                  <a:gsLst>
                    <a:gs pos="2917">
                      <a:srgbClr val="353535"/>
                    </a:gs>
                    <a:gs pos="30000">
                      <a:srgbClr val="353535"/>
                    </a:gs>
                  </a:gsLst>
                  <a:lin ang="5400000" scaled="0"/>
                </a:gradFill>
                <a:latin typeface="Segoe UI Semilight"/>
              </a:rPr>
              <a:t>Microsoft AI Solution for Customer Care</a:t>
            </a:r>
          </a:p>
          <a:p>
            <a:pPr algn="ctr" defTabSz="932597">
              <a:lnSpc>
                <a:spcPct val="90000"/>
              </a:lnSpc>
              <a:spcAft>
                <a:spcPts val="1224"/>
              </a:spcAft>
              <a:defRPr/>
            </a:pPr>
            <a:endParaRPr lang="en-US" sz="1428">
              <a:gradFill>
                <a:gsLst>
                  <a:gs pos="2917">
                    <a:srgbClr val="353535"/>
                  </a:gs>
                  <a:gs pos="30000">
                    <a:srgbClr val="353535"/>
                  </a:gs>
                </a:gsLst>
                <a:lin ang="5400000" scaled="0"/>
              </a:gradFill>
              <a:latin typeface="Segoe UI Semilight"/>
            </a:endParaRPr>
          </a:p>
          <a:p>
            <a:pPr algn="ctr" defTabSz="932597">
              <a:lnSpc>
                <a:spcPct val="90000"/>
              </a:lnSpc>
              <a:spcAft>
                <a:spcPts val="1224"/>
              </a:spcAft>
              <a:defRPr/>
            </a:pPr>
            <a:endParaRPr lang="en-US" sz="1428">
              <a:gradFill>
                <a:gsLst>
                  <a:gs pos="2917">
                    <a:srgbClr val="353535"/>
                  </a:gs>
                  <a:gs pos="30000">
                    <a:srgbClr val="353535"/>
                  </a:gs>
                </a:gsLst>
                <a:lin ang="5400000" scaled="0"/>
              </a:gradFill>
              <a:latin typeface="Segoe UI Semilight"/>
            </a:endParaRPr>
          </a:p>
        </p:txBody>
      </p:sp>
      <p:sp>
        <p:nvSpPr>
          <p:cNvPr id="3" name="TextBox 2">
            <a:extLst>
              <a:ext uri="{FF2B5EF4-FFF2-40B4-BE49-F238E27FC236}">
                <a16:creationId xmlns:a16="http://schemas.microsoft.com/office/drawing/2014/main" id="{57CFCF7A-15CC-4C92-B887-8C515B82EC32}"/>
              </a:ext>
            </a:extLst>
          </p:cNvPr>
          <p:cNvSpPr txBox="1"/>
          <p:nvPr/>
        </p:nvSpPr>
        <p:spPr>
          <a:xfrm>
            <a:off x="3109559" y="3264112"/>
            <a:ext cx="6217356" cy="288137"/>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597">
              <a:defRPr/>
            </a:pPr>
            <a:r>
              <a:rPr lang="en-US" sz="1836">
                <a:solidFill>
                  <a:srgbClr val="FFFFFF"/>
                </a:solidFill>
                <a:latin typeface="Segoe UI Light"/>
              </a:rPr>
              <a:t>WAH</a:t>
            </a:r>
          </a:p>
        </p:txBody>
      </p:sp>
    </p:spTree>
    <p:extLst>
      <p:ext uri="{BB962C8B-B14F-4D97-AF65-F5344CB8AC3E}">
        <p14:creationId xmlns:p14="http://schemas.microsoft.com/office/powerpoint/2010/main" val="4044181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barn(outVertical)">
                                      <p:cBhvr>
                                        <p:cTn id="7" dur="500"/>
                                        <p:tgtEl>
                                          <p:spTgt spid="8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89"/>
                                        </p:tgtEl>
                                        <p:attrNameLst>
                                          <p:attrName>style.visibility</p:attrName>
                                        </p:attrNameLst>
                                      </p:cBhvr>
                                      <p:to>
                                        <p:strVal val="visible"/>
                                      </p:to>
                                    </p:set>
                                    <p:animEffect transition="in" filter="fade">
                                      <p:cBhvr>
                                        <p:cTn id="10" dur="500"/>
                                        <p:tgtEl>
                                          <p:spTgt spid="89"/>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37" fill="hold"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barn(outVertical)">
                                      <p:cBhvr>
                                        <p:cTn id="15" dur="500"/>
                                        <p:tgtEl>
                                          <p:spTgt spid="87"/>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90"/>
                                        </p:tgtEl>
                                        <p:attrNameLst>
                                          <p:attrName>style.visibility</p:attrName>
                                        </p:attrNameLst>
                                      </p:cBhvr>
                                      <p:to>
                                        <p:strVal val="visible"/>
                                      </p:to>
                                    </p:set>
                                    <p:animEffect transition="in" filter="fade">
                                      <p:cBhvr>
                                        <p:cTn id="18" dur="500"/>
                                        <p:tgtEl>
                                          <p:spTgt spid="90"/>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37" fill="hold" nodeType="clickEffect">
                                  <p:stCondLst>
                                    <p:cond delay="0"/>
                                  </p:stCondLst>
                                  <p:childTnLst>
                                    <p:set>
                                      <p:cBhvr>
                                        <p:cTn id="22" dur="1" fill="hold">
                                          <p:stCondLst>
                                            <p:cond delay="0"/>
                                          </p:stCondLst>
                                        </p:cTn>
                                        <p:tgtEl>
                                          <p:spTgt spid="86"/>
                                        </p:tgtEl>
                                        <p:attrNameLst>
                                          <p:attrName>style.visibility</p:attrName>
                                        </p:attrNameLst>
                                      </p:cBhvr>
                                      <p:to>
                                        <p:strVal val="visible"/>
                                      </p:to>
                                    </p:set>
                                    <p:animEffect transition="in" filter="barn(outVertical)">
                                      <p:cBhvr>
                                        <p:cTn id="23" dur="500"/>
                                        <p:tgtEl>
                                          <p:spTgt spid="86"/>
                                        </p:tgtEl>
                                      </p:cBhvr>
                                    </p:animEffect>
                                  </p:childTnLst>
                                </p:cTn>
                              </p:par>
                              <p:par>
                                <p:cTn id="24" presetID="10" presetClass="entr" presetSubtype="0" fill="hold" grpId="0" nodeType="withEffect">
                                  <p:stCondLst>
                                    <p:cond delay="250"/>
                                  </p:stCondLst>
                                  <p:childTnLst>
                                    <p:set>
                                      <p:cBhvr>
                                        <p:cTn id="25" dur="1" fill="hold">
                                          <p:stCondLst>
                                            <p:cond delay="0"/>
                                          </p:stCondLst>
                                        </p:cTn>
                                        <p:tgtEl>
                                          <p:spTgt spid="91"/>
                                        </p:tgtEl>
                                        <p:attrNameLst>
                                          <p:attrName>style.visibility</p:attrName>
                                        </p:attrNameLst>
                                      </p:cBhvr>
                                      <p:to>
                                        <p:strVal val="visible"/>
                                      </p:to>
                                    </p:set>
                                    <p:animEffect transition="in" filter="fade">
                                      <p:cBhvr>
                                        <p:cTn id="26"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0" grpId="0"/>
      <p:bldP spid="91"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6155E-AA09-4968-8479-2AAD16532586}"/>
              </a:ext>
            </a:extLst>
          </p:cNvPr>
          <p:cNvSpPr>
            <a:spLocks noGrp="1"/>
          </p:cNvSpPr>
          <p:nvPr>
            <p:ph type="title"/>
          </p:nvPr>
        </p:nvSpPr>
        <p:spPr>
          <a:xfrm rot="16200000">
            <a:off x="-2618901" y="2783646"/>
            <a:ext cx="6406288" cy="944504"/>
          </a:xfrm>
        </p:spPr>
        <p:txBody>
          <a:bodyPr/>
          <a:lstStyle/>
          <a:p>
            <a:r>
              <a:rPr lang="en-GB"/>
              <a:t>Ai 101 focus areas</a:t>
            </a:r>
          </a:p>
        </p:txBody>
      </p:sp>
      <p:sp>
        <p:nvSpPr>
          <p:cNvPr id="78" name="Title 1">
            <a:extLst>
              <a:ext uri="{FF2B5EF4-FFF2-40B4-BE49-F238E27FC236}">
                <a16:creationId xmlns:a16="http://schemas.microsoft.com/office/drawing/2014/main" id="{83D1AAE1-E463-4E17-856B-D30FAC1A6484}"/>
              </a:ext>
            </a:extLst>
          </p:cNvPr>
          <p:cNvSpPr txBox="1">
            <a:spLocks/>
          </p:cNvSpPr>
          <p:nvPr/>
        </p:nvSpPr>
        <p:spPr>
          <a:xfrm>
            <a:off x="275483" y="-9808115"/>
            <a:ext cx="8933007" cy="2222360"/>
          </a:xfrm>
          <a:prstGeom prst="rect">
            <a:avLst/>
          </a:prstGeom>
          <a:noFill/>
        </p:spPr>
        <p:txBody>
          <a:bodyPr vert="horz" wrap="square" lIns="149217" tIns="93260" rIns="149217" bIns="93260" rtlCol="0" anchor="t" anchorCtr="0">
            <a:spAutoFit/>
          </a:bodyPr>
          <a:lstStyle>
            <a:lvl1pPr algn="l" defTabSz="914192" rtl="0" eaLnBrk="1" latinLnBrk="0" hangingPunct="1">
              <a:lnSpc>
                <a:spcPct val="90000"/>
              </a:lnSpc>
              <a:spcBef>
                <a:spcPct val="0"/>
              </a:spcBef>
              <a:buNone/>
              <a:defRPr lang="en-US" sz="7056"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defTabSz="932384">
              <a:defRPr/>
            </a:pPr>
            <a:r>
              <a:rPr lang="en-US" sz="7343" spc="-100">
                <a:solidFill>
                  <a:srgbClr val="FFFFFF"/>
                </a:solidFill>
                <a:latin typeface="Segoe UI Light"/>
              </a:rPr>
              <a:t>Microsoft AI </a:t>
            </a:r>
            <a:br>
              <a:rPr lang="en-US" sz="7343" spc="-100">
                <a:solidFill>
                  <a:srgbClr val="FFFFFF"/>
                </a:solidFill>
                <a:latin typeface="Segoe UI Light"/>
              </a:rPr>
            </a:br>
            <a:r>
              <a:rPr lang="en-US" sz="7343" spc="-100">
                <a:solidFill>
                  <a:srgbClr val="FFFFFF"/>
                </a:solidFill>
                <a:latin typeface="Segoe UI Light"/>
              </a:rPr>
              <a:t>products and solutions </a:t>
            </a:r>
          </a:p>
        </p:txBody>
      </p:sp>
      <p:sp>
        <p:nvSpPr>
          <p:cNvPr id="17" name="Title 1">
            <a:extLst>
              <a:ext uri="{FF2B5EF4-FFF2-40B4-BE49-F238E27FC236}">
                <a16:creationId xmlns:a16="http://schemas.microsoft.com/office/drawing/2014/main" id="{2F88C86B-B865-4B92-933B-B3A7DB2F7382}"/>
              </a:ext>
            </a:extLst>
          </p:cNvPr>
          <p:cNvSpPr txBox="1">
            <a:spLocks/>
          </p:cNvSpPr>
          <p:nvPr/>
        </p:nvSpPr>
        <p:spPr>
          <a:xfrm rot="16200000">
            <a:off x="-2618901" y="2866911"/>
            <a:ext cx="6406288" cy="944504"/>
          </a:xfrm>
          <a:prstGeom prst="rect">
            <a:avLst/>
          </a:prstGeom>
        </p:spPr>
        <p:txBody>
          <a:bodyPr lIns="0" anchor="ctr">
            <a:noAutofit/>
          </a:bodyPr>
          <a:lstStyle>
            <a:lvl1pPr marL="0" indent="0" algn="ctr" defTabSz="914132" rtl="0" eaLnBrk="1" latinLnBrk="0" hangingPunct="1">
              <a:lnSpc>
                <a:spcPct val="90000"/>
              </a:lnSpc>
              <a:spcBef>
                <a:spcPct val="0"/>
              </a:spcBef>
              <a:buFont typeface="Arial" charset="0"/>
              <a:buNone/>
              <a:defRPr lang="en-US" sz="4000" b="0" i="0" kern="1200" cap="all" spc="-100" normalizeH="0" baseline="0">
                <a:solidFill>
                  <a:srgbClr val="C5C5C5"/>
                </a:solidFill>
                <a:latin typeface="+mj-lt"/>
                <a:ea typeface="Segoe UI Semibold" charset="0"/>
                <a:cs typeface="Segoe UI Semibold" charset="0"/>
              </a:defRPr>
            </a:lvl1pPr>
          </a:lstStyle>
          <a:p>
            <a:pPr defTabSz="932323">
              <a:defRPr/>
            </a:pPr>
            <a:endParaRPr lang="en-GB" sz="4080" spc="-102">
              <a:latin typeface="Segoe UI Light"/>
            </a:endParaRPr>
          </a:p>
        </p:txBody>
      </p:sp>
      <p:sp>
        <p:nvSpPr>
          <p:cNvPr id="18" name="Title 1">
            <a:extLst>
              <a:ext uri="{FF2B5EF4-FFF2-40B4-BE49-F238E27FC236}">
                <a16:creationId xmlns:a16="http://schemas.microsoft.com/office/drawing/2014/main" id="{91F3C8F1-4E8C-4F43-8004-C4FE81348168}"/>
              </a:ext>
            </a:extLst>
          </p:cNvPr>
          <p:cNvSpPr txBox="1">
            <a:spLocks/>
          </p:cNvSpPr>
          <p:nvPr/>
        </p:nvSpPr>
        <p:spPr>
          <a:xfrm>
            <a:off x="275483" y="-9808114"/>
            <a:ext cx="8933007" cy="2222360"/>
          </a:xfrm>
          <a:prstGeom prst="rect">
            <a:avLst/>
          </a:prstGeom>
          <a:noFill/>
        </p:spPr>
        <p:txBody>
          <a:bodyPr vert="horz" wrap="square" lIns="149217" tIns="93260" rIns="149217" bIns="93260" rtlCol="0" anchor="t" anchorCtr="0">
            <a:spAutoFit/>
          </a:bodyPr>
          <a:lstStyle>
            <a:lvl1pPr algn="l" defTabSz="914192" rtl="0" eaLnBrk="1" latinLnBrk="0" hangingPunct="1">
              <a:lnSpc>
                <a:spcPct val="90000"/>
              </a:lnSpc>
              <a:spcBef>
                <a:spcPct val="0"/>
              </a:spcBef>
              <a:buNone/>
              <a:defRPr lang="en-US" sz="7056" b="0" kern="1200" cap="none" spc="-98"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defTabSz="932384">
              <a:defRPr/>
            </a:pPr>
            <a:r>
              <a:rPr lang="en-US" sz="7343" spc="-100">
                <a:solidFill>
                  <a:srgbClr val="FFFFFF"/>
                </a:solidFill>
                <a:latin typeface="Segoe UI Light"/>
              </a:rPr>
              <a:t>Microsoft AI </a:t>
            </a:r>
            <a:br>
              <a:rPr lang="en-US" sz="7343" spc="-100">
                <a:solidFill>
                  <a:srgbClr val="FFFFFF"/>
                </a:solidFill>
                <a:latin typeface="Segoe UI Light"/>
              </a:rPr>
            </a:br>
            <a:r>
              <a:rPr lang="en-US" sz="7343" spc="-100">
                <a:solidFill>
                  <a:srgbClr val="FFFFFF"/>
                </a:solidFill>
                <a:latin typeface="Segoe UI Light"/>
              </a:rPr>
              <a:t>products and solutions </a:t>
            </a:r>
          </a:p>
        </p:txBody>
      </p:sp>
      <p:pic>
        <p:nvPicPr>
          <p:cNvPr id="4" name="Picture 3">
            <a:extLst>
              <a:ext uri="{FF2B5EF4-FFF2-40B4-BE49-F238E27FC236}">
                <a16:creationId xmlns:a16="http://schemas.microsoft.com/office/drawing/2014/main" id="{F3F9C11C-D374-48F2-9E51-61EBB34B843D}"/>
              </a:ext>
            </a:extLst>
          </p:cNvPr>
          <p:cNvPicPr>
            <a:picLocks noChangeAspect="1"/>
          </p:cNvPicPr>
          <p:nvPr/>
        </p:nvPicPr>
        <p:blipFill rotWithShape="1">
          <a:blip r:embed="rId3"/>
          <a:srcRect l="7152" t="805" r="1120" b="13473"/>
          <a:stretch/>
        </p:blipFill>
        <p:spPr>
          <a:xfrm>
            <a:off x="4182383" y="0"/>
            <a:ext cx="4501153" cy="2366128"/>
          </a:xfrm>
          <a:prstGeom prst="rect">
            <a:avLst/>
          </a:prstGeom>
        </p:spPr>
      </p:pic>
      <p:sp>
        <p:nvSpPr>
          <p:cNvPr id="5" name="TextBox 4">
            <a:extLst>
              <a:ext uri="{FF2B5EF4-FFF2-40B4-BE49-F238E27FC236}">
                <a16:creationId xmlns:a16="http://schemas.microsoft.com/office/drawing/2014/main" id="{81EBB2E2-DB0D-426B-8745-AD08609108C7}"/>
              </a:ext>
            </a:extLst>
          </p:cNvPr>
          <p:cNvSpPr txBox="1"/>
          <p:nvPr/>
        </p:nvSpPr>
        <p:spPr>
          <a:xfrm>
            <a:off x="1204982" y="4721304"/>
            <a:ext cx="1573768" cy="768409"/>
          </a:xfrm>
          <a:prstGeom prst="rect">
            <a:avLst/>
          </a:prstGeom>
        </p:spPr>
        <p:txBody>
          <a:bodyPr wrap="square" lIns="0" tIns="0" rIns="0" bIns="0" rtlCol="0" anchor="t" anchorCtr="0">
            <a:spAutoFit/>
          </a:bodyPr>
          <a:lstStyle/>
          <a:p>
            <a:pPr algn="ctr" defTabSz="932597">
              <a:defRPr/>
            </a:pPr>
            <a:r>
              <a:rPr lang="en-GB" sz="2448">
                <a:solidFill>
                  <a:srgbClr val="000000"/>
                </a:solidFill>
                <a:latin typeface="Segoe UI Light"/>
              </a:rPr>
              <a:t>Intelligent Products</a:t>
            </a:r>
          </a:p>
        </p:txBody>
      </p:sp>
      <p:sp>
        <p:nvSpPr>
          <p:cNvPr id="34" name="TextBox 33">
            <a:extLst>
              <a:ext uri="{FF2B5EF4-FFF2-40B4-BE49-F238E27FC236}">
                <a16:creationId xmlns:a16="http://schemas.microsoft.com/office/drawing/2014/main" id="{07D73A57-A9D0-4E0D-8E7A-C9BD3B7033A0}"/>
              </a:ext>
            </a:extLst>
          </p:cNvPr>
          <p:cNvSpPr txBox="1"/>
          <p:nvPr/>
        </p:nvSpPr>
        <p:spPr>
          <a:xfrm>
            <a:off x="3425529" y="4721304"/>
            <a:ext cx="1573768" cy="768409"/>
          </a:xfrm>
          <a:prstGeom prst="rect">
            <a:avLst/>
          </a:prstGeom>
        </p:spPr>
        <p:txBody>
          <a:bodyPr wrap="square" lIns="0" tIns="0" rIns="0" bIns="0" rtlCol="0" anchor="t" anchorCtr="0">
            <a:spAutoFit/>
          </a:bodyPr>
          <a:lstStyle/>
          <a:p>
            <a:pPr algn="ctr" defTabSz="932597">
              <a:defRPr/>
            </a:pPr>
            <a:r>
              <a:rPr lang="en-GB" sz="2448">
                <a:solidFill>
                  <a:srgbClr val="000000"/>
                </a:solidFill>
                <a:latin typeface="Segoe UI Light"/>
              </a:rPr>
              <a:t>Cognitive Services</a:t>
            </a:r>
          </a:p>
        </p:txBody>
      </p:sp>
      <p:sp>
        <p:nvSpPr>
          <p:cNvPr id="35" name="TextBox 34">
            <a:extLst>
              <a:ext uri="{FF2B5EF4-FFF2-40B4-BE49-F238E27FC236}">
                <a16:creationId xmlns:a16="http://schemas.microsoft.com/office/drawing/2014/main" id="{43705C24-BC3A-4854-B6D4-B60CCB929448}"/>
              </a:ext>
            </a:extLst>
          </p:cNvPr>
          <p:cNvSpPr txBox="1"/>
          <p:nvPr/>
        </p:nvSpPr>
        <p:spPr>
          <a:xfrm>
            <a:off x="5801067" y="4712977"/>
            <a:ext cx="1263784" cy="768409"/>
          </a:xfrm>
          <a:prstGeom prst="rect">
            <a:avLst/>
          </a:prstGeom>
        </p:spPr>
        <p:txBody>
          <a:bodyPr wrap="square" lIns="0" tIns="0" rIns="0" bIns="0" rtlCol="0" anchor="t" anchorCtr="0">
            <a:spAutoFit/>
          </a:bodyPr>
          <a:lstStyle/>
          <a:p>
            <a:pPr algn="ctr" defTabSz="932597">
              <a:defRPr/>
            </a:pPr>
            <a:r>
              <a:rPr lang="en-GB" sz="2448">
                <a:solidFill>
                  <a:srgbClr val="000000"/>
                </a:solidFill>
                <a:latin typeface="Segoe UI Light"/>
              </a:rPr>
              <a:t>AI Bot Services</a:t>
            </a:r>
          </a:p>
        </p:txBody>
      </p:sp>
      <p:sp>
        <p:nvSpPr>
          <p:cNvPr id="36" name="TextBox 35">
            <a:extLst>
              <a:ext uri="{FF2B5EF4-FFF2-40B4-BE49-F238E27FC236}">
                <a16:creationId xmlns:a16="http://schemas.microsoft.com/office/drawing/2014/main" id="{CE555C58-FCE4-41DE-8C40-828A3035CCAF}"/>
              </a:ext>
            </a:extLst>
          </p:cNvPr>
          <p:cNvSpPr txBox="1"/>
          <p:nvPr/>
        </p:nvSpPr>
        <p:spPr>
          <a:xfrm>
            <a:off x="7947052" y="4712976"/>
            <a:ext cx="1573768" cy="640363"/>
          </a:xfrm>
          <a:prstGeom prst="rect">
            <a:avLst/>
          </a:prstGeom>
        </p:spPr>
        <p:txBody>
          <a:bodyPr wrap="square" lIns="0" tIns="0" rIns="0" bIns="0" rtlCol="0" anchor="t" anchorCtr="0">
            <a:spAutoFit/>
          </a:bodyPr>
          <a:lstStyle/>
          <a:p>
            <a:pPr algn="ctr" defTabSz="932597">
              <a:defRPr/>
            </a:pPr>
            <a:r>
              <a:rPr lang="en-GB" sz="2040">
                <a:solidFill>
                  <a:srgbClr val="000000"/>
                </a:solidFill>
                <a:latin typeface="Segoe UI Light"/>
              </a:rPr>
              <a:t>ML, Tools &amp; Templates</a:t>
            </a:r>
          </a:p>
        </p:txBody>
      </p:sp>
      <p:sp>
        <p:nvSpPr>
          <p:cNvPr id="37" name="TextBox 36">
            <a:extLst>
              <a:ext uri="{FF2B5EF4-FFF2-40B4-BE49-F238E27FC236}">
                <a16:creationId xmlns:a16="http://schemas.microsoft.com/office/drawing/2014/main" id="{C84F4060-F975-4841-9BB1-D031482559A5}"/>
              </a:ext>
            </a:extLst>
          </p:cNvPr>
          <p:cNvSpPr txBox="1"/>
          <p:nvPr/>
        </p:nvSpPr>
        <p:spPr>
          <a:xfrm>
            <a:off x="10173466" y="4712977"/>
            <a:ext cx="1859656" cy="768409"/>
          </a:xfrm>
          <a:prstGeom prst="rect">
            <a:avLst/>
          </a:prstGeom>
        </p:spPr>
        <p:txBody>
          <a:bodyPr wrap="square" lIns="0" tIns="0" rIns="0" bIns="0" rtlCol="0" anchor="t" anchorCtr="0">
            <a:spAutoFit/>
          </a:bodyPr>
          <a:lstStyle/>
          <a:p>
            <a:pPr algn="ctr" defTabSz="932597">
              <a:defRPr/>
            </a:pPr>
            <a:r>
              <a:rPr lang="en-GB" sz="2448">
                <a:solidFill>
                  <a:srgbClr val="000000"/>
                </a:solidFill>
                <a:latin typeface="Segoe UI Light"/>
              </a:rPr>
              <a:t>AI Infrastructure </a:t>
            </a:r>
          </a:p>
        </p:txBody>
      </p:sp>
      <p:pic>
        <p:nvPicPr>
          <p:cNvPr id="7" name="Graphic 6" descr="Head with Gears">
            <a:extLst>
              <a:ext uri="{FF2B5EF4-FFF2-40B4-BE49-F238E27FC236}">
                <a16:creationId xmlns:a16="http://schemas.microsoft.com/office/drawing/2014/main" id="{239F5E97-41E9-470A-9741-550BB4A0086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48263" y="3580529"/>
            <a:ext cx="932603" cy="932603"/>
          </a:xfrm>
          <a:prstGeom prst="rect">
            <a:avLst/>
          </a:prstGeom>
        </p:spPr>
      </p:pic>
      <p:pic>
        <p:nvPicPr>
          <p:cNvPr id="9" name="Graphic 8" descr="Playbook">
            <a:extLst>
              <a:ext uri="{FF2B5EF4-FFF2-40B4-BE49-F238E27FC236}">
                <a16:creationId xmlns:a16="http://schemas.microsoft.com/office/drawing/2014/main" id="{3FD1D7F2-DBF7-4CDD-865C-C21EEF3C369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29869" y="3580529"/>
            <a:ext cx="932603" cy="932603"/>
          </a:xfrm>
          <a:prstGeom prst="rect">
            <a:avLst/>
          </a:prstGeom>
        </p:spPr>
      </p:pic>
      <p:pic>
        <p:nvPicPr>
          <p:cNvPr id="11" name="Graphic 10" descr="Chat">
            <a:extLst>
              <a:ext uri="{FF2B5EF4-FFF2-40B4-BE49-F238E27FC236}">
                <a16:creationId xmlns:a16="http://schemas.microsoft.com/office/drawing/2014/main" id="{B58B9CD9-0C61-4D1C-B9B4-8DE874259CA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66658" y="3580529"/>
            <a:ext cx="932603" cy="932603"/>
          </a:xfrm>
          <a:prstGeom prst="rect">
            <a:avLst/>
          </a:prstGeom>
        </p:spPr>
      </p:pic>
      <p:pic>
        <p:nvPicPr>
          <p:cNvPr id="13" name="Graphic 12" descr="Lightbulb">
            <a:extLst>
              <a:ext uri="{FF2B5EF4-FFF2-40B4-BE49-F238E27FC236}">
                <a16:creationId xmlns:a16="http://schemas.microsoft.com/office/drawing/2014/main" id="{7A727E7A-2838-484F-90B5-B3911F2FCF9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67634" y="3580529"/>
            <a:ext cx="932603" cy="932603"/>
          </a:xfrm>
          <a:prstGeom prst="rect">
            <a:avLst/>
          </a:prstGeom>
        </p:spPr>
      </p:pic>
      <p:pic>
        <p:nvPicPr>
          <p:cNvPr id="15" name="Graphic 14" descr="Gears">
            <a:extLst>
              <a:ext uri="{FF2B5EF4-FFF2-40B4-BE49-F238E27FC236}">
                <a16:creationId xmlns:a16="http://schemas.microsoft.com/office/drawing/2014/main" id="{2EE63BE2-DAD6-4D14-B5D7-AD9D08F8AC9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636992" y="3580529"/>
            <a:ext cx="932603" cy="932603"/>
          </a:xfrm>
          <a:prstGeom prst="rect">
            <a:avLst/>
          </a:prstGeom>
        </p:spPr>
      </p:pic>
      <p:sp>
        <p:nvSpPr>
          <p:cNvPr id="16" name="Right Brace 15">
            <a:extLst>
              <a:ext uri="{FF2B5EF4-FFF2-40B4-BE49-F238E27FC236}">
                <a16:creationId xmlns:a16="http://schemas.microsoft.com/office/drawing/2014/main" id="{478C1D2E-061B-4F6C-84B6-7B6BFB048EA9}"/>
              </a:ext>
            </a:extLst>
          </p:cNvPr>
          <p:cNvSpPr/>
          <p:nvPr/>
        </p:nvSpPr>
        <p:spPr>
          <a:xfrm rot="16200000">
            <a:off x="6078508" y="-2698716"/>
            <a:ext cx="932601" cy="10976627"/>
          </a:xfrm>
          <a:prstGeom prst="rightBrace">
            <a:avLst>
              <a:gd name="adj1" fmla="val 118155"/>
              <a:gd name="adj2" fmla="val 48635"/>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GB" sz="1836">
              <a:solidFill>
                <a:srgbClr val="FFFFFF"/>
              </a:solidFill>
              <a:latin typeface="Segoe UI Light"/>
            </a:endParaRPr>
          </a:p>
        </p:txBody>
      </p:sp>
    </p:spTree>
    <p:extLst>
      <p:ext uri="{BB962C8B-B14F-4D97-AF65-F5344CB8AC3E}">
        <p14:creationId xmlns:p14="http://schemas.microsoft.com/office/powerpoint/2010/main" val="651805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56435" y="-456640"/>
            <a:ext cx="2857095" cy="95236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3" name="Title 2"/>
          <p:cNvSpPr>
            <a:spLocks noGrp="1"/>
          </p:cNvSpPr>
          <p:nvPr>
            <p:ph type="title"/>
          </p:nvPr>
        </p:nvSpPr>
        <p:spPr/>
        <p:txBody>
          <a:bodyPr/>
          <a:lstStyle/>
          <a:p>
            <a:r>
              <a:rPr lang="en-US"/>
              <a:t>Open source support</a:t>
            </a:r>
          </a:p>
        </p:txBody>
      </p:sp>
      <p:grpSp>
        <p:nvGrpSpPr>
          <p:cNvPr id="303" name="Group 302"/>
          <p:cNvGrpSpPr/>
          <p:nvPr/>
        </p:nvGrpSpPr>
        <p:grpSpPr>
          <a:xfrm>
            <a:off x="389467" y="1813964"/>
            <a:ext cx="11776251" cy="4949973"/>
            <a:chOff x="381001" y="1778558"/>
            <a:chExt cx="11546392" cy="4853355"/>
          </a:xfrm>
        </p:grpSpPr>
        <p:grpSp>
          <p:nvGrpSpPr>
            <p:cNvPr id="304" name="Group 303"/>
            <p:cNvGrpSpPr/>
            <p:nvPr/>
          </p:nvGrpSpPr>
          <p:grpSpPr>
            <a:xfrm>
              <a:off x="381001" y="2538409"/>
              <a:ext cx="1466849" cy="3375499"/>
              <a:chOff x="381001" y="2538409"/>
              <a:chExt cx="2024774" cy="3375499"/>
            </a:xfrm>
          </p:grpSpPr>
          <p:cxnSp>
            <p:nvCxnSpPr>
              <p:cNvPr id="416" name="Straight Connector 415"/>
              <p:cNvCxnSpPr/>
              <p:nvPr/>
            </p:nvCxnSpPr>
            <p:spPr>
              <a:xfrm flipV="1">
                <a:off x="381001" y="2538409"/>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Connector 416"/>
              <p:cNvCxnSpPr/>
              <p:nvPr/>
            </p:nvCxnSpPr>
            <p:spPr>
              <a:xfrm flipV="1">
                <a:off x="381001" y="3379552"/>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8" name="Straight Connector 417"/>
              <p:cNvCxnSpPr/>
              <p:nvPr/>
            </p:nvCxnSpPr>
            <p:spPr>
              <a:xfrm flipV="1">
                <a:off x="381001" y="4247338"/>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9" name="Straight Connector 418"/>
              <p:cNvCxnSpPr/>
              <p:nvPr/>
            </p:nvCxnSpPr>
            <p:spPr>
              <a:xfrm flipV="1">
                <a:off x="381001" y="5105784"/>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p:nvPr/>
            </p:nvCxnSpPr>
            <p:spPr>
              <a:xfrm flipV="1">
                <a:off x="381001" y="5913907"/>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1924050" y="1778558"/>
              <a:ext cx="10003343" cy="4853355"/>
              <a:chOff x="2452232" y="1778558"/>
              <a:chExt cx="9929558" cy="4853355"/>
            </a:xfrm>
          </p:grpSpPr>
          <p:cxnSp>
            <p:nvCxnSpPr>
              <p:cNvPr id="306" name="Straight Connector 305"/>
              <p:cNvCxnSpPr/>
              <p:nvPr/>
            </p:nvCxnSpPr>
            <p:spPr>
              <a:xfrm>
                <a:off x="2452232"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34375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flipV="1">
                <a:off x="2494774"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a:off x="4438834"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flipV="1">
                <a:off x="350199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542414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flipV="1">
                <a:off x="448137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a:off x="643925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flipV="1">
                <a:off x="550241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flipV="1">
                <a:off x="648179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2452232"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a:off x="34375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flipV="1">
                <a:off x="2494774"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a:off x="4438834"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nvCxnSpPr>
            <p:spPr>
              <a:xfrm flipV="1">
                <a:off x="350199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a:off x="542414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flipV="1">
                <a:off x="448137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a:off x="643925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flipV="1">
                <a:off x="550241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flipV="1">
                <a:off x="648179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a:off x="2452232"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a:off x="34375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flipV="1">
                <a:off x="2494774"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a:off x="4438834"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flipV="1">
                <a:off x="350199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542414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flipV="1">
                <a:off x="448137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a:off x="643925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flipV="1">
                <a:off x="550241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flipV="1">
                <a:off x="648179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2452232"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a:off x="34375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flipV="1">
                <a:off x="2494774"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4438834"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flipV="1">
                <a:off x="350199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a:off x="542414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flipV="1">
                <a:off x="448137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a:off x="643925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p:cNvCxnSpPr/>
              <p:nvPr/>
            </p:nvCxnSpPr>
            <p:spPr>
              <a:xfrm flipV="1">
                <a:off x="550241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p:nvPr/>
            </p:nvCxnSpPr>
            <p:spPr>
              <a:xfrm flipV="1">
                <a:off x="648179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p:nvPr/>
            </p:nvCxnSpPr>
            <p:spPr>
              <a:xfrm>
                <a:off x="2452232"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p:cNvCxnSpPr/>
              <p:nvPr/>
            </p:nvCxnSpPr>
            <p:spPr>
              <a:xfrm>
                <a:off x="34375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p:nvPr/>
            </p:nvCxnSpPr>
            <p:spPr>
              <a:xfrm>
                <a:off x="4438834"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9" name="Straight Connector 348"/>
              <p:cNvCxnSpPr/>
              <p:nvPr/>
            </p:nvCxnSpPr>
            <p:spPr>
              <a:xfrm>
                <a:off x="542414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643925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1" name="Straight Connector 350"/>
              <p:cNvCxnSpPr/>
              <p:nvPr/>
            </p:nvCxnSpPr>
            <p:spPr>
              <a:xfrm>
                <a:off x="74245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p:nvPr/>
            </p:nvCxnSpPr>
            <p:spPr>
              <a:xfrm>
                <a:off x="8439679"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p:nvPr/>
            </p:nvCxnSpPr>
            <p:spPr>
              <a:xfrm flipV="1">
                <a:off x="7502841"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flipV="1">
                <a:off x="848222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a:off x="74245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a:off x="8439679"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nvCxnSpPr>
            <p:spPr>
              <a:xfrm flipV="1">
                <a:off x="7502841"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8" name="Straight Connector 357"/>
              <p:cNvCxnSpPr/>
              <p:nvPr/>
            </p:nvCxnSpPr>
            <p:spPr>
              <a:xfrm flipV="1">
                <a:off x="848222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nvCxnSpPr>
            <p:spPr>
              <a:xfrm>
                <a:off x="74245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p:nvPr/>
            </p:nvCxnSpPr>
            <p:spPr>
              <a:xfrm>
                <a:off x="8439679"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flipV="1">
                <a:off x="7502841"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flipV="1">
                <a:off x="848222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p:nvPr/>
            </p:nvCxnSpPr>
            <p:spPr>
              <a:xfrm>
                <a:off x="74245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8439679"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flipV="1">
                <a:off x="7502841"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flipV="1">
                <a:off x="848222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74245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8439679"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flipV="1">
                <a:off x="2494774"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flipV="1">
                <a:off x="350199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flipV="1">
                <a:off x="448137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flipV="1">
                <a:off x="550241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flipV="1">
                <a:off x="648179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2452232"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34375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p:nvPr/>
            </p:nvCxnSpPr>
            <p:spPr>
              <a:xfrm>
                <a:off x="4438834"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7" name="Straight Connector 376"/>
              <p:cNvCxnSpPr/>
              <p:nvPr/>
            </p:nvCxnSpPr>
            <p:spPr>
              <a:xfrm>
                <a:off x="542414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p:nvPr/>
            </p:nvCxnSpPr>
            <p:spPr>
              <a:xfrm>
                <a:off x="643925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9" name="Straight Connector 378"/>
              <p:cNvCxnSpPr/>
              <p:nvPr/>
            </p:nvCxnSpPr>
            <p:spPr>
              <a:xfrm flipV="1">
                <a:off x="7502841"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flipV="1">
                <a:off x="848222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a:xfrm>
                <a:off x="74245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2" name="Straight Connector 381"/>
              <p:cNvCxnSpPr/>
              <p:nvPr/>
            </p:nvCxnSpPr>
            <p:spPr>
              <a:xfrm>
                <a:off x="8439679"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3" name="Straight Connector 382"/>
              <p:cNvCxnSpPr/>
              <p:nvPr/>
            </p:nvCxnSpPr>
            <p:spPr>
              <a:xfrm>
                <a:off x="94484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flipV="1">
                <a:off x="9490987"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94484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flipV="1">
                <a:off x="9490987"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7" name="Straight Connector 386"/>
              <p:cNvCxnSpPr/>
              <p:nvPr/>
            </p:nvCxnSpPr>
            <p:spPr>
              <a:xfrm>
                <a:off x="94484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p:nvPr/>
            </p:nvCxnSpPr>
            <p:spPr>
              <a:xfrm flipV="1">
                <a:off x="9490987"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94484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flipV="1">
                <a:off x="9490987"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1" name="Straight Connector 390"/>
              <p:cNvCxnSpPr/>
              <p:nvPr/>
            </p:nvCxnSpPr>
            <p:spPr>
              <a:xfrm>
                <a:off x="94484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p:nvPr/>
            </p:nvCxnSpPr>
            <p:spPr>
              <a:xfrm>
                <a:off x="10433757"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114488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flipV="1">
                <a:off x="1051203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p:cNvCxnSpPr/>
              <p:nvPr/>
            </p:nvCxnSpPr>
            <p:spPr>
              <a:xfrm flipV="1">
                <a:off x="11491409"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6" name="Straight Connector 395"/>
              <p:cNvCxnSpPr/>
              <p:nvPr/>
            </p:nvCxnSpPr>
            <p:spPr>
              <a:xfrm>
                <a:off x="10433757"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7" name="Straight Connector 396"/>
              <p:cNvCxnSpPr/>
              <p:nvPr/>
            </p:nvCxnSpPr>
            <p:spPr>
              <a:xfrm>
                <a:off x="114488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flipV="1">
                <a:off x="1051203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flipV="1">
                <a:off x="11491409"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10433757"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114488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flipV="1">
                <a:off x="1051203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flipV="1">
                <a:off x="11491409"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10433757"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p:nvPr/>
            </p:nvCxnSpPr>
            <p:spPr>
              <a:xfrm>
                <a:off x="114488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p:nvPr/>
            </p:nvCxnSpPr>
            <p:spPr>
              <a:xfrm flipV="1">
                <a:off x="1051203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7" name="Straight Connector 406"/>
              <p:cNvCxnSpPr/>
              <p:nvPr/>
            </p:nvCxnSpPr>
            <p:spPr>
              <a:xfrm flipV="1">
                <a:off x="11491409"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a:xfrm>
                <a:off x="10433757"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p:nvPr/>
            </p:nvCxnSpPr>
            <p:spPr>
              <a:xfrm>
                <a:off x="114488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0" name="Straight Connector 409"/>
              <p:cNvCxnSpPr/>
              <p:nvPr/>
            </p:nvCxnSpPr>
            <p:spPr>
              <a:xfrm flipV="1">
                <a:off x="9490987"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1" name="Straight Connector 410"/>
              <p:cNvCxnSpPr/>
              <p:nvPr/>
            </p:nvCxnSpPr>
            <p:spPr>
              <a:xfrm>
                <a:off x="94484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2" name="Straight Connector 411"/>
              <p:cNvCxnSpPr/>
              <p:nvPr/>
            </p:nvCxnSpPr>
            <p:spPr>
              <a:xfrm flipV="1">
                <a:off x="1051203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3" name="Straight Connector 412"/>
              <p:cNvCxnSpPr/>
              <p:nvPr/>
            </p:nvCxnSpPr>
            <p:spPr>
              <a:xfrm flipV="1">
                <a:off x="11491409"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a:xfrm>
                <a:off x="10433757"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p:nvPr/>
            </p:nvCxnSpPr>
            <p:spPr>
              <a:xfrm>
                <a:off x="114488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421" name="Picture 2" descr="Image result for nagio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66494" y="1911941"/>
            <a:ext cx="716385" cy="485335"/>
          </a:xfrm>
          <a:prstGeom prst="rect">
            <a:avLst/>
          </a:prstGeom>
          <a:noFill/>
          <a:extLst>
            <a:ext uri="{909E8E84-426E-40DD-AFC4-6F175D3DCCD1}">
              <a14:hiddenFill xmlns:a14="http://schemas.microsoft.com/office/drawing/2010/main">
                <a:solidFill>
                  <a:srgbClr val="FFFFFF"/>
                </a:solidFill>
              </a14:hiddenFill>
            </a:ext>
          </a:extLst>
        </p:spPr>
      </p:pic>
      <p:pic>
        <p:nvPicPr>
          <p:cNvPr id="422" name="Picture 4" descr="Image result for vagran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84710" y="1798924"/>
            <a:ext cx="521057" cy="635328"/>
          </a:xfrm>
          <a:prstGeom prst="rect">
            <a:avLst/>
          </a:prstGeom>
          <a:noFill/>
          <a:extLst>
            <a:ext uri="{909E8E84-426E-40DD-AFC4-6F175D3DCCD1}">
              <a14:hiddenFill xmlns:a14="http://schemas.microsoft.com/office/drawing/2010/main">
                <a:solidFill>
                  <a:srgbClr val="FFFFFF"/>
                </a:solidFill>
              </a14:hiddenFill>
            </a:ext>
          </a:extLst>
        </p:spPr>
      </p:pic>
      <p:pic>
        <p:nvPicPr>
          <p:cNvPr id="423" name="Picture 6" descr="Image result for jenkin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99406" y="1806774"/>
            <a:ext cx="485594" cy="671958"/>
          </a:xfrm>
          <a:prstGeom prst="rect">
            <a:avLst/>
          </a:prstGeom>
          <a:noFill/>
          <a:extLst>
            <a:ext uri="{909E8E84-426E-40DD-AFC4-6F175D3DCCD1}">
              <a14:hiddenFill xmlns:a14="http://schemas.microsoft.com/office/drawing/2010/main">
                <a:solidFill>
                  <a:srgbClr val="FFFFFF"/>
                </a:solidFill>
              </a14:hiddenFill>
            </a:ext>
          </a:extLst>
        </p:spPr>
      </p:pic>
      <p:pic>
        <p:nvPicPr>
          <p:cNvPr id="424" name="Picture 8" descr="Image result for grunt"/>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7067" r="27067"/>
          <a:stretch/>
        </p:blipFill>
        <p:spPr bwMode="auto">
          <a:xfrm>
            <a:off x="6319269" y="1823827"/>
            <a:ext cx="508814" cy="587947"/>
          </a:xfrm>
          <a:prstGeom prst="rect">
            <a:avLst/>
          </a:prstGeom>
          <a:noFill/>
          <a:extLst>
            <a:ext uri="{909E8E84-426E-40DD-AFC4-6F175D3DCCD1}">
              <a14:hiddenFill xmlns:a14="http://schemas.microsoft.com/office/drawing/2010/main">
                <a:solidFill>
                  <a:srgbClr val="FFFFFF"/>
                </a:solidFill>
              </a14:hiddenFill>
            </a:ext>
          </a:extLst>
        </p:spPr>
      </p:pic>
      <p:pic>
        <p:nvPicPr>
          <p:cNvPr id="425" name="Picture 10" descr="Image result for gradl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14797" y="1894622"/>
            <a:ext cx="614890" cy="496261"/>
          </a:xfrm>
          <a:prstGeom prst="rect">
            <a:avLst/>
          </a:prstGeom>
          <a:noFill/>
          <a:extLst>
            <a:ext uri="{909E8E84-426E-40DD-AFC4-6F175D3DCCD1}">
              <a14:hiddenFill xmlns:a14="http://schemas.microsoft.com/office/drawing/2010/main">
                <a:solidFill>
                  <a:srgbClr val="FFFFFF"/>
                </a:solidFill>
              </a14:hiddenFill>
            </a:ext>
          </a:extLst>
        </p:spPr>
      </p:pic>
      <p:pic>
        <p:nvPicPr>
          <p:cNvPr id="426" name="Picture 12" descr="Image result for android"/>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13064" y="1790407"/>
            <a:ext cx="653115" cy="652360"/>
          </a:xfrm>
          <a:prstGeom prst="rect">
            <a:avLst/>
          </a:prstGeom>
          <a:noFill/>
          <a:extLst>
            <a:ext uri="{909E8E84-426E-40DD-AFC4-6F175D3DCCD1}">
              <a14:hiddenFill xmlns:a14="http://schemas.microsoft.com/office/drawing/2010/main">
                <a:solidFill>
                  <a:srgbClr val="FFFFFF"/>
                </a:solidFill>
              </a14:hiddenFill>
            </a:ext>
          </a:extLst>
        </p:spPr>
      </p:pic>
      <p:pic>
        <p:nvPicPr>
          <p:cNvPr id="428"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486262" y="1842623"/>
            <a:ext cx="331483" cy="54094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9" name="Picture 14" descr="Image result for xamarin"/>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762" r="7097"/>
          <a:stretch/>
        </p:blipFill>
        <p:spPr bwMode="auto">
          <a:xfrm>
            <a:off x="10282797" y="1774126"/>
            <a:ext cx="821520" cy="750101"/>
          </a:xfrm>
          <a:prstGeom prst="rect">
            <a:avLst/>
          </a:prstGeom>
          <a:noFill/>
          <a:extLst>
            <a:ext uri="{909E8E84-426E-40DD-AFC4-6F175D3DCCD1}">
              <a14:hiddenFill xmlns:a14="http://schemas.microsoft.com/office/drawing/2010/main">
                <a:solidFill>
                  <a:srgbClr val="FFFFFF"/>
                </a:solidFill>
              </a14:hiddenFill>
            </a:ext>
          </a:extLst>
        </p:spPr>
      </p:pic>
      <p:pic>
        <p:nvPicPr>
          <p:cNvPr id="430" name="Picture 16" descr="Image result for apache cordova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377863" y="1795833"/>
            <a:ext cx="702586" cy="702586"/>
          </a:xfrm>
          <a:prstGeom prst="rect">
            <a:avLst/>
          </a:prstGeom>
          <a:noFill/>
          <a:extLst>
            <a:ext uri="{909E8E84-426E-40DD-AFC4-6F175D3DCCD1}">
              <a14:hiddenFill xmlns:a14="http://schemas.microsoft.com/office/drawing/2010/main">
                <a:solidFill>
                  <a:srgbClr val="FFFFFF"/>
                </a:solidFill>
              </a14:hiddenFill>
            </a:ext>
          </a:extLst>
        </p:spPr>
      </p:pic>
      <p:pic>
        <p:nvPicPr>
          <p:cNvPr id="431" name="Picture 4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82258" y="2704158"/>
            <a:ext cx="638526" cy="627456"/>
          </a:xfrm>
          <a:prstGeom prst="rect">
            <a:avLst/>
          </a:prstGeom>
        </p:spPr>
      </p:pic>
      <p:pic>
        <p:nvPicPr>
          <p:cNvPr id="432" name="Picture 18" descr="Image result for puppet labs"/>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9860" r="19860"/>
          <a:stretch/>
        </p:blipFill>
        <p:spPr bwMode="auto">
          <a:xfrm>
            <a:off x="3135161" y="2669426"/>
            <a:ext cx="715351" cy="749765"/>
          </a:xfrm>
          <a:prstGeom prst="rect">
            <a:avLst/>
          </a:prstGeom>
          <a:noFill/>
          <a:extLst>
            <a:ext uri="{909E8E84-426E-40DD-AFC4-6F175D3DCCD1}">
              <a14:hiddenFill xmlns:a14="http://schemas.microsoft.com/office/drawing/2010/main">
                <a:solidFill>
                  <a:srgbClr val="FFFFFF"/>
                </a:solidFill>
              </a14:hiddenFill>
            </a:ext>
          </a:extLst>
        </p:spPr>
      </p:pic>
      <p:pic>
        <p:nvPicPr>
          <p:cNvPr id="433" name="Picture 432"/>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4108337" y="2696384"/>
            <a:ext cx="794479" cy="628130"/>
          </a:xfrm>
          <a:prstGeom prst="rect">
            <a:avLst/>
          </a:prstGeom>
        </p:spPr>
      </p:pic>
      <p:pic>
        <p:nvPicPr>
          <p:cNvPr id="434" name="Picture 20" descr="Image result for saltstack"/>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116535" y="2791955"/>
            <a:ext cx="850399" cy="532559"/>
          </a:xfrm>
          <a:prstGeom prst="rect">
            <a:avLst/>
          </a:prstGeom>
          <a:noFill/>
          <a:extLst>
            <a:ext uri="{909E8E84-426E-40DD-AFC4-6F175D3DCCD1}">
              <a14:hiddenFill xmlns:a14="http://schemas.microsoft.com/office/drawing/2010/main">
                <a:solidFill>
                  <a:srgbClr val="FFFFFF"/>
                </a:solidFill>
              </a14:hiddenFill>
            </a:ext>
          </a:extLst>
        </p:spPr>
      </p:pic>
      <p:pic>
        <p:nvPicPr>
          <p:cNvPr id="435" name="Picture 434"/>
          <p:cNvPicPr>
            <a:picLocks noChangeAspect="1"/>
          </p:cNvPicPr>
          <p:nvPr/>
        </p:nvPicPr>
        <p:blipFill>
          <a:blip r:embed="rId16"/>
          <a:stretch>
            <a:fillRect/>
          </a:stretch>
        </p:blipFill>
        <p:spPr>
          <a:xfrm>
            <a:off x="7363163" y="2796597"/>
            <a:ext cx="481690" cy="481690"/>
          </a:xfrm>
          <a:prstGeom prst="rect">
            <a:avLst/>
          </a:prstGeom>
        </p:spPr>
      </p:pic>
      <p:pic>
        <p:nvPicPr>
          <p:cNvPr id="436" name="Picture 435"/>
          <p:cNvPicPr>
            <a:picLocks noChangeAspect="1"/>
          </p:cNvPicPr>
          <p:nvPr/>
        </p:nvPicPr>
        <p:blipFill>
          <a:blip r:embed="rId17"/>
          <a:stretch>
            <a:fillRect/>
          </a:stretch>
        </p:blipFill>
        <p:spPr>
          <a:xfrm>
            <a:off x="6317638" y="2776180"/>
            <a:ext cx="528367" cy="528367"/>
          </a:xfrm>
          <a:prstGeom prst="rect">
            <a:avLst/>
          </a:prstGeom>
        </p:spPr>
      </p:pic>
      <p:pic>
        <p:nvPicPr>
          <p:cNvPr id="437" name="Picture 6" descr="https://evbdn.eventbrite.com/s3-s3/eventlogos/9947961/mistlogo.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210817" y="2851945"/>
            <a:ext cx="874636" cy="417980"/>
          </a:xfrm>
          <a:prstGeom prst="rect">
            <a:avLst/>
          </a:prstGeom>
          <a:noFill/>
          <a:extLst>
            <a:ext uri="{909E8E84-426E-40DD-AFC4-6F175D3DCCD1}">
              <a14:hiddenFill xmlns:a14="http://schemas.microsoft.com/office/drawing/2010/main">
                <a:solidFill>
                  <a:srgbClr val="FFFFFF"/>
                </a:solidFill>
              </a14:hiddenFill>
            </a:ext>
          </a:extLst>
        </p:spPr>
      </p:pic>
      <p:pic>
        <p:nvPicPr>
          <p:cNvPr id="438" name="Picture 30" descr="Image result for libcloud"/>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305064" y="2661703"/>
            <a:ext cx="705760" cy="705760"/>
          </a:xfrm>
          <a:prstGeom prst="rect">
            <a:avLst/>
          </a:prstGeom>
          <a:noFill/>
          <a:extLst>
            <a:ext uri="{909E8E84-426E-40DD-AFC4-6F175D3DCCD1}">
              <a14:hiddenFill xmlns:a14="http://schemas.microsoft.com/office/drawing/2010/main">
                <a:solidFill>
                  <a:srgbClr val="FFFFFF"/>
                </a:solidFill>
              </a14:hiddenFill>
            </a:ext>
          </a:extLst>
        </p:spPr>
      </p:pic>
      <p:pic>
        <p:nvPicPr>
          <p:cNvPr id="439" name="Picture 32" descr="Image result for terraform hashicor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427788" y="2744935"/>
            <a:ext cx="546781" cy="546781"/>
          </a:xfrm>
          <a:prstGeom prst="rect">
            <a:avLst/>
          </a:prstGeom>
          <a:noFill/>
          <a:extLst>
            <a:ext uri="{909E8E84-426E-40DD-AFC4-6F175D3DCCD1}">
              <a14:hiddenFill xmlns:a14="http://schemas.microsoft.com/office/drawing/2010/main">
                <a:solidFill>
                  <a:srgbClr val="FFFFFF"/>
                </a:solidFill>
              </a14:hiddenFill>
            </a:ext>
          </a:extLst>
        </p:spPr>
      </p:pic>
      <p:pic>
        <p:nvPicPr>
          <p:cNvPr id="440" name="Picture 34" descr="Image result for SCAL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1360470" y="2948224"/>
            <a:ext cx="827906" cy="220021"/>
          </a:xfrm>
          <a:prstGeom prst="rect">
            <a:avLst/>
          </a:prstGeom>
          <a:noFill/>
          <a:extLst>
            <a:ext uri="{909E8E84-426E-40DD-AFC4-6F175D3DCCD1}">
              <a14:hiddenFill xmlns:a14="http://schemas.microsoft.com/office/drawing/2010/main">
                <a:solidFill>
                  <a:srgbClr val="FFFFFF"/>
                </a:solidFill>
              </a14:hiddenFill>
            </a:ext>
          </a:extLst>
        </p:spPr>
      </p:pic>
      <p:pic>
        <p:nvPicPr>
          <p:cNvPr id="441" name="Picture 10" descr="https://encrypted-tbn3.gstatic.com/images?q=tbn:ANd9GcQgAB8I4GUYPGAuHqEufTpFML_JWZior9mwUJP3P5Tro4I_bcL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231013" y="3670400"/>
            <a:ext cx="454720" cy="461137"/>
          </a:xfrm>
          <a:prstGeom prst="rect">
            <a:avLst/>
          </a:prstGeom>
          <a:extLst>
            <a:ext uri="{909E8E84-426E-40DD-AFC4-6F175D3DCCD1}">
              <a14:hiddenFill xmlns:a14="http://schemas.microsoft.com/office/drawing/2010/main">
                <a:solidFill>
                  <a:srgbClr val="FFFFFF"/>
                </a:solidFill>
              </a14:hiddenFill>
            </a:ext>
          </a:extLst>
        </p:spPr>
      </p:pic>
      <p:pic>
        <p:nvPicPr>
          <p:cNvPr id="442" name="Picture 44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157358" y="3667269"/>
            <a:ext cx="671680" cy="479006"/>
          </a:xfrm>
          <a:prstGeom prst="rect">
            <a:avLst/>
          </a:prstGeom>
        </p:spPr>
      </p:pic>
      <p:pic>
        <p:nvPicPr>
          <p:cNvPr id="443" name="Picture 38" descr="Image result for new drupal logo"/>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251664" y="3597966"/>
            <a:ext cx="590649" cy="606005"/>
          </a:xfrm>
          <a:prstGeom prst="rect">
            <a:avLst/>
          </a:prstGeom>
          <a:noFill/>
          <a:extLst>
            <a:ext uri="{909E8E84-426E-40DD-AFC4-6F175D3DCCD1}">
              <a14:hiddenFill xmlns:a14="http://schemas.microsoft.com/office/drawing/2010/main">
                <a:solidFill>
                  <a:srgbClr val="FFFFFF"/>
                </a:solidFill>
              </a14:hiddenFill>
            </a:ext>
          </a:extLst>
        </p:spPr>
      </p:pic>
      <p:pic>
        <p:nvPicPr>
          <p:cNvPr id="445" name="Picture 40" descr="Image result for apprenda logo"/>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185622" y="3499667"/>
            <a:ext cx="784941" cy="784941"/>
          </a:xfrm>
          <a:prstGeom prst="rect">
            <a:avLst/>
          </a:prstGeom>
          <a:noFill/>
          <a:extLst>
            <a:ext uri="{909E8E84-426E-40DD-AFC4-6F175D3DCCD1}">
              <a14:hiddenFill xmlns:a14="http://schemas.microsoft.com/office/drawing/2010/main">
                <a:solidFill>
                  <a:srgbClr val="FFFFFF"/>
                </a:solidFill>
              </a14:hiddenFill>
            </a:ext>
          </a:extLst>
        </p:spPr>
      </p:pic>
      <p:pic>
        <p:nvPicPr>
          <p:cNvPr id="446" name="Picture 42" descr="Image result for jelastic"/>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256246" y="3550087"/>
            <a:ext cx="705623" cy="705623"/>
          </a:xfrm>
          <a:prstGeom prst="rect">
            <a:avLst/>
          </a:prstGeom>
          <a:noFill/>
          <a:extLst>
            <a:ext uri="{909E8E84-426E-40DD-AFC4-6F175D3DCCD1}">
              <a14:hiddenFill xmlns:a14="http://schemas.microsoft.com/office/drawing/2010/main">
                <a:solidFill>
                  <a:srgbClr val="FFFFFF"/>
                </a:solidFill>
              </a14:hiddenFill>
            </a:ext>
          </a:extLst>
        </p:spPr>
      </p:pic>
      <p:pic>
        <p:nvPicPr>
          <p:cNvPr id="447" name="Picture 2"/>
          <p:cNvPicPr>
            <a:picLocks noChangeAspect="1" noChangeArrowheads="1"/>
          </p:cNvPicPr>
          <p:nvPr/>
        </p:nvPicPr>
        <p:blipFill>
          <a:blip r:embed="rId27"/>
          <a:stretch>
            <a:fillRect/>
          </a:stretch>
        </p:blipFill>
        <p:spPr bwMode="auto">
          <a:xfrm>
            <a:off x="8343394" y="3724382"/>
            <a:ext cx="609481" cy="406320"/>
          </a:xfrm>
          <a:prstGeom prst="rect">
            <a:avLst/>
          </a:prstGeom>
          <a:extLst>
            <a:ext uri="{909E8E84-426E-40DD-AFC4-6F175D3DCCD1}">
              <a14:hiddenFill xmlns:a14="http://schemas.microsoft.com/office/drawing/2010/main">
                <a:solidFill>
                  <a:srgbClr val="FFFFFF"/>
                </a:solidFill>
              </a14:hiddenFill>
            </a:ext>
          </a:extLst>
        </p:spPr>
      </p:pic>
      <p:pic>
        <p:nvPicPr>
          <p:cNvPr id="448" name="Picture 447"/>
          <p:cNvPicPr>
            <a:picLocks noChangeAspect="1"/>
          </p:cNvPicPr>
          <p:nvPr/>
        </p:nvPicPr>
        <p:blipFill>
          <a:blip r:embed="rId28"/>
          <a:stretch>
            <a:fillRect/>
          </a:stretch>
        </p:blipFill>
        <p:spPr>
          <a:xfrm>
            <a:off x="9411874" y="3659122"/>
            <a:ext cx="498617" cy="487154"/>
          </a:xfrm>
          <a:prstGeom prst="rect">
            <a:avLst/>
          </a:prstGeom>
        </p:spPr>
      </p:pic>
      <p:pic>
        <p:nvPicPr>
          <p:cNvPr id="449" name="Picture 448"/>
          <p:cNvPicPr>
            <a:picLocks noChangeAspect="1"/>
          </p:cNvPicPr>
          <p:nvPr/>
        </p:nvPicPr>
        <p:blipFill>
          <a:blip r:embed="rId29"/>
          <a:stretch>
            <a:fillRect/>
          </a:stretch>
        </p:blipFill>
        <p:spPr>
          <a:xfrm>
            <a:off x="5259675" y="3618594"/>
            <a:ext cx="543811" cy="551060"/>
          </a:xfrm>
          <a:prstGeom prst="rect">
            <a:avLst/>
          </a:prstGeom>
        </p:spPr>
      </p:pic>
      <p:pic>
        <p:nvPicPr>
          <p:cNvPr id="450" name="Picture 449"/>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170907" y="4695187"/>
            <a:ext cx="638258" cy="178125"/>
          </a:xfrm>
          <a:prstGeom prst="rect">
            <a:avLst/>
          </a:prstGeom>
        </p:spPr>
      </p:pic>
      <p:pic>
        <p:nvPicPr>
          <p:cNvPr id="451" name="Picture 450"/>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232878" y="4686955"/>
            <a:ext cx="796254" cy="186357"/>
          </a:xfrm>
          <a:prstGeom prst="rect">
            <a:avLst/>
          </a:prstGeom>
        </p:spPr>
      </p:pic>
      <p:pic>
        <p:nvPicPr>
          <p:cNvPr id="452" name="Picture 451" descr="File:Python-logo-notext.svg"/>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250977" y="4517978"/>
            <a:ext cx="518881" cy="518881"/>
          </a:xfrm>
          <a:prstGeom prst="rect">
            <a:avLst/>
          </a:prstGeom>
        </p:spPr>
      </p:pic>
      <p:pic>
        <p:nvPicPr>
          <p:cNvPr id="453" name="Picture 452"/>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189051" y="4632715"/>
            <a:ext cx="564542" cy="303070"/>
          </a:xfrm>
          <a:prstGeom prst="rect">
            <a:avLst/>
          </a:prstGeom>
        </p:spPr>
      </p:pic>
      <p:pic>
        <p:nvPicPr>
          <p:cNvPr id="454" name="Picture 44" descr="Image result for javascript logo"/>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275767" y="4507364"/>
            <a:ext cx="524589" cy="524589"/>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46" descr="Image result for ruby"/>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6340322" y="4517978"/>
            <a:ext cx="447954" cy="514242"/>
          </a:xfrm>
          <a:prstGeom prst="rect">
            <a:avLst/>
          </a:prstGeom>
          <a:noFill/>
          <a:extLst>
            <a:ext uri="{909E8E84-426E-40DD-AFC4-6F175D3DCCD1}">
              <a14:hiddenFill xmlns:a14="http://schemas.microsoft.com/office/drawing/2010/main">
                <a:solidFill>
                  <a:srgbClr val="FFFFFF"/>
                </a:solidFill>
              </a14:hiddenFill>
            </a:ext>
          </a:extLst>
        </p:spPr>
      </p:pic>
      <p:pic>
        <p:nvPicPr>
          <p:cNvPr id="456" name="Picture 48" descr="Image result for intellij idea"/>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284541" y="4484423"/>
            <a:ext cx="585989" cy="585989"/>
          </a:xfrm>
          <a:prstGeom prst="rect">
            <a:avLst/>
          </a:prstGeom>
          <a:noFill/>
          <a:extLst>
            <a:ext uri="{909E8E84-426E-40DD-AFC4-6F175D3DCCD1}">
              <a14:hiddenFill xmlns:a14="http://schemas.microsoft.com/office/drawing/2010/main">
                <a:solidFill>
                  <a:srgbClr val="FFFFFF"/>
                </a:solidFill>
              </a14:hiddenFill>
            </a:ext>
          </a:extLst>
        </p:spPr>
      </p:pic>
      <p:pic>
        <p:nvPicPr>
          <p:cNvPr id="457" name="Picture 456"/>
          <p:cNvPicPr>
            <a:picLocks noChangeAspect="1"/>
          </p:cNvPicPr>
          <p:nvPr/>
        </p:nvPicPr>
        <p:blipFill>
          <a:blip r:embed="rId37"/>
          <a:stretch>
            <a:fillRect/>
          </a:stretch>
        </p:blipFill>
        <p:spPr>
          <a:xfrm>
            <a:off x="8404081" y="5406910"/>
            <a:ext cx="453848" cy="463641"/>
          </a:xfrm>
          <a:prstGeom prst="rect">
            <a:avLst/>
          </a:prstGeom>
        </p:spPr>
      </p:pic>
      <p:pic>
        <p:nvPicPr>
          <p:cNvPr id="458" name="Picture 50" descr="Image result for hadoop logo"/>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2042092" y="5325680"/>
            <a:ext cx="858457" cy="601907"/>
          </a:xfrm>
          <a:prstGeom prst="rect">
            <a:avLst/>
          </a:prstGeom>
          <a:noFill/>
          <a:extLst>
            <a:ext uri="{909E8E84-426E-40DD-AFC4-6F175D3DCCD1}">
              <a14:hiddenFill xmlns:a14="http://schemas.microsoft.com/office/drawing/2010/main">
                <a:solidFill>
                  <a:srgbClr val="FFFFFF"/>
                </a:solidFill>
              </a14:hiddenFill>
            </a:ext>
          </a:extLst>
        </p:spPr>
      </p:pic>
      <p:pic>
        <p:nvPicPr>
          <p:cNvPr id="459" name="Picture 52" descr="Image result for redis"/>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155610" y="5323610"/>
            <a:ext cx="714378" cy="603046"/>
          </a:xfrm>
          <a:prstGeom prst="rect">
            <a:avLst/>
          </a:prstGeom>
          <a:noFill/>
          <a:extLst>
            <a:ext uri="{909E8E84-426E-40DD-AFC4-6F175D3DCCD1}">
              <a14:hiddenFill xmlns:a14="http://schemas.microsoft.com/office/drawing/2010/main">
                <a:solidFill>
                  <a:srgbClr val="FFFFFF"/>
                </a:solidFill>
              </a14:hiddenFill>
            </a:ext>
          </a:extLst>
        </p:spPr>
      </p:pic>
      <p:pic>
        <p:nvPicPr>
          <p:cNvPr id="460" name="Picture 54" descr="Image result for cleardb"/>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270205" y="5379712"/>
            <a:ext cx="490839" cy="490839"/>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56" descr="Image result for cloudera"/>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5131703" y="5507673"/>
            <a:ext cx="828981" cy="201028"/>
          </a:xfrm>
          <a:prstGeom prst="rect">
            <a:avLst/>
          </a:prstGeom>
          <a:noFill/>
          <a:extLst>
            <a:ext uri="{909E8E84-426E-40DD-AFC4-6F175D3DCCD1}">
              <a14:hiddenFill xmlns:a14="http://schemas.microsoft.com/office/drawing/2010/main">
                <a:solidFill>
                  <a:srgbClr val="FFFFFF"/>
                </a:solidFill>
              </a14:hiddenFill>
            </a:ext>
          </a:extLst>
        </p:spPr>
      </p:pic>
      <p:pic>
        <p:nvPicPr>
          <p:cNvPr id="462" name="Picture 58" descr="Image result for mySQL"/>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l="17179" t="17045" r="17179" b="17045"/>
          <a:stretch/>
        </p:blipFill>
        <p:spPr bwMode="auto">
          <a:xfrm>
            <a:off x="6185338" y="5358844"/>
            <a:ext cx="751691" cy="498685"/>
          </a:xfrm>
          <a:prstGeom prst="rect">
            <a:avLst/>
          </a:prstGeom>
          <a:noFill/>
          <a:extLst>
            <a:ext uri="{909E8E84-426E-40DD-AFC4-6F175D3DCCD1}">
              <a14:hiddenFill xmlns:a14="http://schemas.microsoft.com/office/drawing/2010/main">
                <a:solidFill>
                  <a:srgbClr val="FFFFFF"/>
                </a:solidFill>
              </a14:hiddenFill>
            </a:ext>
          </a:extLst>
        </p:spPr>
      </p:pic>
      <p:pic>
        <p:nvPicPr>
          <p:cNvPr id="463" name="Picture 60" descr="Image result for mongodb"/>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7171826" y="5534709"/>
            <a:ext cx="848070" cy="230348"/>
          </a:xfrm>
          <a:prstGeom prst="rect">
            <a:avLst/>
          </a:prstGeom>
          <a:noFill/>
          <a:extLst>
            <a:ext uri="{909E8E84-426E-40DD-AFC4-6F175D3DCCD1}">
              <a14:hiddenFill xmlns:a14="http://schemas.microsoft.com/office/drawing/2010/main">
                <a:solidFill>
                  <a:srgbClr val="FFFFFF"/>
                </a:solidFill>
              </a14:hiddenFill>
            </a:ext>
          </a:extLst>
        </p:spPr>
      </p:pic>
      <p:pic>
        <p:nvPicPr>
          <p:cNvPr id="464" name="Picture 62" descr="Image result for couchbase"/>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227472" y="5379147"/>
            <a:ext cx="860945" cy="491969"/>
          </a:xfrm>
          <a:prstGeom prst="rect">
            <a:avLst/>
          </a:prstGeom>
          <a:noFill/>
          <a:extLst>
            <a:ext uri="{909E8E84-426E-40DD-AFC4-6F175D3DCCD1}">
              <a14:hiddenFill xmlns:a14="http://schemas.microsoft.com/office/drawing/2010/main">
                <a:solidFill>
                  <a:srgbClr val="FFFFFF"/>
                </a:solidFill>
              </a14:hiddenFill>
            </a:ext>
          </a:extLst>
        </p:spPr>
      </p:pic>
      <p:pic>
        <p:nvPicPr>
          <p:cNvPr id="465" name="Picture 464"/>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5205108" y="6294630"/>
            <a:ext cx="672986" cy="409535"/>
          </a:xfrm>
          <a:prstGeom prst="rect">
            <a:avLst/>
          </a:prstGeom>
        </p:spPr>
      </p:pic>
      <p:pic>
        <p:nvPicPr>
          <p:cNvPr id="466" name="Picture 465"/>
          <p:cNvPicPr>
            <a:picLocks noChangeAspect="1"/>
          </p:cNvPicPr>
          <p:nvPr/>
        </p:nvPicPr>
        <p:blipFill>
          <a:blip r:embed="rId46"/>
          <a:stretch>
            <a:fillRect/>
          </a:stretch>
        </p:blipFill>
        <p:spPr>
          <a:xfrm>
            <a:off x="3252985" y="6257689"/>
            <a:ext cx="474102" cy="468321"/>
          </a:xfrm>
          <a:prstGeom prst="rect">
            <a:avLst/>
          </a:prstGeom>
        </p:spPr>
      </p:pic>
      <p:pic>
        <p:nvPicPr>
          <p:cNvPr id="467" name="Picture 4" descr="https://www.debian.org/logos/openlogo-nd-100.png"/>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6352222" y="6200982"/>
            <a:ext cx="427643" cy="525028"/>
          </a:xfrm>
          <a:prstGeom prst="rect">
            <a:avLst/>
          </a:prstGeom>
          <a:noFill/>
          <a:extLst>
            <a:ext uri="{909E8E84-426E-40DD-AFC4-6F175D3DCCD1}">
              <a14:hiddenFill xmlns:a14="http://schemas.microsoft.com/office/drawing/2010/main">
                <a:solidFill>
                  <a:srgbClr val="FFFFFF"/>
                </a:solidFill>
              </a14:hiddenFill>
            </a:ext>
          </a:extLst>
        </p:spPr>
      </p:pic>
      <p:pic>
        <p:nvPicPr>
          <p:cNvPr id="468" name="Picture 64" descr="Image result for linux"/>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2221709" y="6167171"/>
            <a:ext cx="495446" cy="584626"/>
          </a:xfrm>
          <a:prstGeom prst="rect">
            <a:avLst/>
          </a:prstGeom>
          <a:noFill/>
          <a:extLst>
            <a:ext uri="{909E8E84-426E-40DD-AFC4-6F175D3DCCD1}">
              <a14:hiddenFill xmlns:a14="http://schemas.microsoft.com/office/drawing/2010/main">
                <a:solidFill>
                  <a:srgbClr val="FFFFFF"/>
                </a:solidFill>
              </a14:hiddenFill>
            </a:ext>
          </a:extLst>
        </p:spPr>
      </p:pic>
      <p:pic>
        <p:nvPicPr>
          <p:cNvPr id="469" name="Picture 66" descr="Image result for redhat logo"/>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4258311" y="6238678"/>
            <a:ext cx="474035" cy="521438"/>
          </a:xfrm>
          <a:prstGeom prst="rect">
            <a:avLst/>
          </a:prstGeom>
          <a:noFill/>
          <a:extLst>
            <a:ext uri="{909E8E84-426E-40DD-AFC4-6F175D3DCCD1}">
              <a14:hiddenFill xmlns:a14="http://schemas.microsoft.com/office/drawing/2010/main">
                <a:solidFill>
                  <a:srgbClr val="FFFFFF"/>
                </a:solidFill>
              </a14:hiddenFill>
            </a:ext>
          </a:extLst>
        </p:spPr>
      </p:pic>
      <p:pic>
        <p:nvPicPr>
          <p:cNvPr id="470" name="Picture 68" descr="Image result for bitnami"/>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7231047" y="6112995"/>
            <a:ext cx="692976" cy="692976"/>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70" descr="Image result for oracle linux"/>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8215585" y="6301172"/>
            <a:ext cx="836491" cy="402993"/>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72" descr="Image result for freebsd"/>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9258589" y="6167171"/>
            <a:ext cx="827516" cy="556092"/>
          </a:xfrm>
          <a:prstGeom prst="rect">
            <a:avLst/>
          </a:prstGeom>
          <a:noFill/>
          <a:extLst>
            <a:ext uri="{909E8E84-426E-40DD-AFC4-6F175D3DCCD1}">
              <a14:hiddenFill xmlns:a14="http://schemas.microsoft.com/office/drawing/2010/main">
                <a:solidFill>
                  <a:srgbClr val="FFFFFF"/>
                </a:solidFill>
              </a14:hiddenFill>
            </a:ext>
          </a:extLst>
        </p:spPr>
      </p:pic>
      <p:pic>
        <p:nvPicPr>
          <p:cNvPr id="473" name="Picture 74" descr="Image result for docker"/>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282797" y="6139975"/>
            <a:ext cx="805702" cy="718843"/>
          </a:xfrm>
          <a:prstGeom prst="rect">
            <a:avLst/>
          </a:prstGeom>
          <a:noFill/>
          <a:extLst>
            <a:ext uri="{909E8E84-426E-40DD-AFC4-6F175D3DCCD1}">
              <a14:hiddenFill xmlns:a14="http://schemas.microsoft.com/office/drawing/2010/main">
                <a:solidFill>
                  <a:srgbClr val="FFFFFF"/>
                </a:solidFill>
              </a14:hiddenFill>
            </a:ext>
          </a:extLst>
        </p:spPr>
      </p:pic>
      <p:sp>
        <p:nvSpPr>
          <p:cNvPr id="474" name="TextBox 473"/>
          <p:cNvSpPr txBox="1"/>
          <p:nvPr/>
        </p:nvSpPr>
        <p:spPr>
          <a:xfrm>
            <a:off x="325878" y="3510868"/>
            <a:ext cx="1466194" cy="286306"/>
          </a:xfrm>
          <a:prstGeom prst="rect">
            <a:avLst/>
          </a:prstGeom>
          <a:noFill/>
        </p:spPr>
        <p:txBody>
          <a:bodyPr wrap="square" rtlCol="0">
            <a:spAutoFit/>
          </a:bodyPr>
          <a:lstStyle/>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475" name="TextBox 474"/>
          <p:cNvSpPr txBox="1"/>
          <p:nvPr/>
        </p:nvSpPr>
        <p:spPr>
          <a:xfrm>
            <a:off x="325878" y="6111276"/>
            <a:ext cx="1466194" cy="286306"/>
          </a:xfrm>
          <a:prstGeom prst="rect">
            <a:avLst/>
          </a:prstGeom>
          <a:noFill/>
        </p:spPr>
        <p:txBody>
          <a:bodyPr wrap="square" rtlCol="0">
            <a:spAutoFit/>
          </a:bodyPr>
          <a:lstStyle/>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Infrastructure</a:t>
            </a:r>
          </a:p>
        </p:txBody>
      </p:sp>
      <p:sp>
        <p:nvSpPr>
          <p:cNvPr id="476" name="TextBox 475"/>
          <p:cNvSpPr txBox="1"/>
          <p:nvPr/>
        </p:nvSpPr>
        <p:spPr>
          <a:xfrm>
            <a:off x="325878" y="2649492"/>
            <a:ext cx="1466194" cy="286306"/>
          </a:xfrm>
          <a:prstGeom prst="rect">
            <a:avLst/>
          </a:prstGeom>
          <a:noFill/>
        </p:spPr>
        <p:txBody>
          <a:bodyPr wrap="square" rtlCol="0">
            <a:spAutoFit/>
          </a:bodyPr>
          <a:lstStyle/>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Management</a:t>
            </a:r>
          </a:p>
        </p:txBody>
      </p:sp>
      <p:sp>
        <p:nvSpPr>
          <p:cNvPr id="477" name="TextBox 476"/>
          <p:cNvSpPr txBox="1"/>
          <p:nvPr/>
        </p:nvSpPr>
        <p:spPr>
          <a:xfrm>
            <a:off x="325878" y="5287066"/>
            <a:ext cx="1466194" cy="478442"/>
          </a:xfrm>
          <a:prstGeom prst="rect">
            <a:avLst/>
          </a:prstGeom>
          <a:noFill/>
        </p:spPr>
        <p:txBody>
          <a:bodyPr wrap="square" rtlCol="0">
            <a:spAutoFit/>
          </a:bodyPr>
          <a:lstStyle/>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Databases &amp;</a:t>
            </a:r>
          </a:p>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m</a:t>
            </a:r>
            <a:r>
              <a:rPr lang="en-US" sz="1224" b="1" err="1">
                <a:solidFill>
                  <a:srgbClr val="0078D7"/>
                </a:solidFill>
                <a:latin typeface="Segoe UI" panose="020B0502040204020203" pitchFamily="34" charset="0"/>
                <a:ea typeface="Segoe UI" panose="020B0502040204020203" pitchFamily="34" charset="0"/>
                <a:cs typeface="Segoe UI" panose="020B0502040204020203" pitchFamily="34" charset="0"/>
              </a:rPr>
              <a:t>iddleware</a:t>
            </a:r>
            <a:endPar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endParaRPr>
          </a:p>
        </p:txBody>
      </p:sp>
      <p:sp>
        <p:nvSpPr>
          <p:cNvPr id="478" name="TextBox 477"/>
          <p:cNvSpPr txBox="1"/>
          <p:nvPr/>
        </p:nvSpPr>
        <p:spPr>
          <a:xfrm>
            <a:off x="325878" y="4432450"/>
            <a:ext cx="1466194" cy="478442"/>
          </a:xfrm>
          <a:prstGeom prst="rect">
            <a:avLst/>
          </a:prstGeom>
          <a:noFill/>
        </p:spPr>
        <p:txBody>
          <a:bodyPr wrap="square" rtlCol="0">
            <a:spAutoFit/>
          </a:bodyPr>
          <a:lstStyle/>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App frameworks</a:t>
            </a:r>
          </a:p>
          <a:p>
            <a:pPr defTabSz="931424">
              <a:defRPr/>
            </a:pPr>
            <a:r>
              <a:rPr lang="en-US" sz="1224" b="1">
                <a:solidFill>
                  <a:srgbClr val="0078D7"/>
                </a:solidFill>
                <a:latin typeface="Segoe UI" panose="020B0502040204020203" pitchFamily="34" charset="0"/>
                <a:ea typeface="Segoe UI" panose="020B0502040204020203" pitchFamily="34" charset="0"/>
                <a:cs typeface="Segoe UI" panose="020B0502040204020203" pitchFamily="34" charset="0"/>
              </a:rPr>
              <a:t>&amp; tools</a:t>
            </a:r>
          </a:p>
        </p:txBody>
      </p:sp>
      <p:sp>
        <p:nvSpPr>
          <p:cNvPr id="479" name="TextBox 478"/>
          <p:cNvSpPr txBox="1"/>
          <p:nvPr/>
        </p:nvSpPr>
        <p:spPr>
          <a:xfrm>
            <a:off x="325878" y="1814717"/>
            <a:ext cx="1466194" cy="286306"/>
          </a:xfrm>
          <a:prstGeom prst="rect">
            <a:avLst/>
          </a:prstGeom>
          <a:noFill/>
        </p:spPr>
        <p:txBody>
          <a:bodyPr wrap="square" rtlCol="0">
            <a:spAutoFit/>
          </a:bodyPr>
          <a:lstStyle/>
          <a:p>
            <a:pPr defTabSz="931424">
              <a:defRPr/>
            </a:pPr>
            <a:r>
              <a:rPr lang="en-US" sz="1224" b="1" dirty="0">
                <a:solidFill>
                  <a:srgbClr val="0078D7"/>
                </a:solidFill>
                <a:latin typeface="Segoe UI" panose="020B0502040204020203" pitchFamily="34" charset="0"/>
                <a:ea typeface="Segoe UI" panose="020B0502040204020203" pitchFamily="34" charset="0"/>
                <a:cs typeface="Segoe UI" panose="020B0502040204020203" pitchFamily="34" charset="0"/>
              </a:rPr>
              <a:t>DevOps</a:t>
            </a:r>
          </a:p>
        </p:txBody>
      </p:sp>
      <p:pic>
        <p:nvPicPr>
          <p:cNvPr id="182" name="Picture 181">
            <a:extLst>
              <a:ext uri="{FF2B5EF4-FFF2-40B4-BE49-F238E27FC236}">
                <a16:creationId xmlns:a16="http://schemas.microsoft.com/office/drawing/2014/main" id="{AAEA7475-6206-48ED-B1E9-9AA57912AE29}"/>
              </a:ext>
            </a:extLst>
          </p:cNvPr>
          <p:cNvPicPr>
            <a:picLocks noChangeAspect="1"/>
          </p:cNvPicPr>
          <p:nvPr/>
        </p:nvPicPr>
        <p:blipFill rotWithShape="1">
          <a:blip r:embed="rId54" cstate="hqprint">
            <a:extLst>
              <a:ext uri="{28A0092B-C50C-407E-A947-70E740481C1C}">
                <a14:useLocalDpi xmlns:a14="http://schemas.microsoft.com/office/drawing/2010/main" val="0"/>
              </a:ext>
            </a:extLst>
          </a:blip>
          <a:srcRect l="2555" t="11928" r="30851" b="25993"/>
          <a:stretch/>
        </p:blipFill>
        <p:spPr>
          <a:xfrm>
            <a:off x="2160852" y="1798924"/>
            <a:ext cx="707733" cy="659751"/>
          </a:xfrm>
          <a:prstGeom prst="rect">
            <a:avLst/>
          </a:prstGeom>
        </p:spPr>
      </p:pic>
    </p:spTree>
    <p:extLst>
      <p:ext uri="{BB962C8B-B14F-4D97-AF65-F5344CB8AC3E}">
        <p14:creationId xmlns:p14="http://schemas.microsoft.com/office/powerpoint/2010/main" val="356871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5D350-A41F-4504-8C4D-241C9E848211}"/>
              </a:ext>
            </a:extLst>
          </p:cNvPr>
          <p:cNvSpPr>
            <a:spLocks noGrp="1"/>
          </p:cNvSpPr>
          <p:nvPr>
            <p:ph type="title"/>
          </p:nvPr>
        </p:nvSpPr>
        <p:spPr>
          <a:xfrm>
            <a:off x="275482" y="295730"/>
            <a:ext cx="11887878" cy="917444"/>
          </a:xfrm>
        </p:spPr>
        <p:txBody>
          <a:bodyPr/>
          <a:lstStyle/>
          <a:p>
            <a:r>
              <a:rPr lang="en-US" dirty="0"/>
              <a:t>Cognitive services</a:t>
            </a:r>
          </a:p>
        </p:txBody>
      </p:sp>
      <p:grpSp>
        <p:nvGrpSpPr>
          <p:cNvPr id="3" name="Group 2">
            <a:extLst>
              <a:ext uri="{FF2B5EF4-FFF2-40B4-BE49-F238E27FC236}">
                <a16:creationId xmlns:a16="http://schemas.microsoft.com/office/drawing/2014/main" id="{24BE2806-3CB3-4C29-84C5-FAD56F16817E}"/>
              </a:ext>
            </a:extLst>
          </p:cNvPr>
          <p:cNvGrpSpPr/>
          <p:nvPr/>
        </p:nvGrpSpPr>
        <p:grpSpPr>
          <a:xfrm>
            <a:off x="408861" y="1480150"/>
            <a:ext cx="11569597" cy="2526344"/>
            <a:chOff x="408037" y="1479862"/>
            <a:chExt cx="11571238" cy="2526703"/>
          </a:xfrm>
        </p:grpSpPr>
        <p:pic>
          <p:nvPicPr>
            <p:cNvPr id="113" name="Picture 112">
              <a:extLst>
                <a:ext uri="{FF2B5EF4-FFF2-40B4-BE49-F238E27FC236}">
                  <a16:creationId xmlns:a16="http://schemas.microsoft.com/office/drawing/2014/main" id="{FB9F27C5-72F0-4198-9790-DA13E0A6B787}"/>
                </a:ext>
              </a:extLst>
            </p:cNvPr>
            <p:cNvPicPr>
              <a:picLocks noChangeAspect="1"/>
            </p:cNvPicPr>
            <p:nvPr/>
          </p:nvPicPr>
          <p:blipFill rotWithShape="1">
            <a:blip r:embed="rId3"/>
            <a:srcRect l="24219" t="9470" r="32020"/>
            <a:stretch/>
          </p:blipFill>
          <p:spPr>
            <a:xfrm>
              <a:off x="5116059" y="1489979"/>
              <a:ext cx="2151134" cy="2516586"/>
            </a:xfrm>
            <a:prstGeom prst="rect">
              <a:avLst/>
            </a:prstGeom>
          </p:spPr>
        </p:pic>
        <p:pic>
          <p:nvPicPr>
            <p:cNvPr id="178" name="Picture 177">
              <a:extLst>
                <a:ext uri="{FF2B5EF4-FFF2-40B4-BE49-F238E27FC236}">
                  <a16:creationId xmlns:a16="http://schemas.microsoft.com/office/drawing/2014/main" id="{7C4F3927-AE20-487A-BB8B-0D0CCE23A8DC}"/>
                </a:ext>
              </a:extLst>
            </p:cNvPr>
            <p:cNvPicPr>
              <a:picLocks noChangeAspect="1"/>
            </p:cNvPicPr>
            <p:nvPr/>
          </p:nvPicPr>
          <p:blipFill rotWithShape="1">
            <a:blip r:embed="rId4"/>
            <a:srcRect l="18884" r="14436"/>
            <a:stretch/>
          </p:blipFill>
          <p:spPr>
            <a:xfrm>
              <a:off x="408037" y="1498225"/>
              <a:ext cx="2152600" cy="2508340"/>
            </a:xfrm>
            <a:prstGeom prst="rect">
              <a:avLst/>
            </a:prstGeom>
          </p:spPr>
        </p:pic>
        <p:pic>
          <p:nvPicPr>
            <p:cNvPr id="180" name="Picture 179">
              <a:extLst>
                <a:ext uri="{FF2B5EF4-FFF2-40B4-BE49-F238E27FC236}">
                  <a16:creationId xmlns:a16="http://schemas.microsoft.com/office/drawing/2014/main" id="{D55E9639-4018-4699-A6C0-D835892E59F5}"/>
                </a:ext>
              </a:extLst>
            </p:cNvPr>
            <p:cNvPicPr>
              <a:picLocks noChangeAspect="1"/>
            </p:cNvPicPr>
            <p:nvPr/>
          </p:nvPicPr>
          <p:blipFill rotWithShape="1">
            <a:blip r:embed="rId5"/>
            <a:srcRect l="20518" r="17140" b="2051"/>
            <a:stretch/>
          </p:blipFill>
          <p:spPr>
            <a:xfrm>
              <a:off x="2758558" y="1498225"/>
              <a:ext cx="2152599" cy="2508340"/>
            </a:xfrm>
            <a:prstGeom prst="rect">
              <a:avLst/>
            </a:prstGeom>
          </p:spPr>
        </p:pic>
        <p:pic>
          <p:nvPicPr>
            <p:cNvPr id="181" name="Picture 180">
              <a:extLst>
                <a:ext uri="{FF2B5EF4-FFF2-40B4-BE49-F238E27FC236}">
                  <a16:creationId xmlns:a16="http://schemas.microsoft.com/office/drawing/2014/main" id="{3E99A10E-714E-4255-A72B-D083C09F8BC3}"/>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20000" contrast="20000"/>
                      </a14:imgEffect>
                    </a14:imgLayer>
                  </a14:imgProps>
                </a:ext>
              </a:extLst>
            </a:blip>
            <a:srcRect l="35946" t="14871" r="26932" b="14871"/>
            <a:stretch/>
          </p:blipFill>
          <p:spPr>
            <a:xfrm>
              <a:off x="9834338" y="1479862"/>
              <a:ext cx="2144937" cy="2526703"/>
            </a:xfrm>
            <a:prstGeom prst="rect">
              <a:avLst/>
            </a:prstGeom>
          </p:spPr>
        </p:pic>
        <p:grpSp>
          <p:nvGrpSpPr>
            <p:cNvPr id="182" name="Group 181">
              <a:extLst>
                <a:ext uri="{FF2B5EF4-FFF2-40B4-BE49-F238E27FC236}">
                  <a16:creationId xmlns:a16="http://schemas.microsoft.com/office/drawing/2014/main" id="{5AAD4486-BB1A-41C0-918A-9217A3894A3E}"/>
                </a:ext>
              </a:extLst>
            </p:cNvPr>
            <p:cNvGrpSpPr/>
            <p:nvPr/>
          </p:nvGrpSpPr>
          <p:grpSpPr>
            <a:xfrm>
              <a:off x="7478297" y="1486833"/>
              <a:ext cx="2144938" cy="2519732"/>
              <a:chOff x="7422167" y="4263656"/>
              <a:chExt cx="2225198" cy="2594344"/>
            </a:xfrm>
          </p:grpSpPr>
          <p:pic>
            <p:nvPicPr>
              <p:cNvPr id="183" name="Picture 182">
                <a:extLst>
                  <a:ext uri="{FF2B5EF4-FFF2-40B4-BE49-F238E27FC236}">
                    <a16:creationId xmlns:a16="http://schemas.microsoft.com/office/drawing/2014/main" id="{E42EAC8F-18E3-404D-B6C8-644F56D558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422170" y="4263657"/>
                <a:ext cx="2225195" cy="2594343"/>
              </a:xfrm>
              <a:prstGeom prst="rect">
                <a:avLst/>
              </a:prstGeom>
            </p:spPr>
          </p:pic>
          <p:sp>
            <p:nvSpPr>
              <p:cNvPr id="184" name="Rectangle 183">
                <a:extLst>
                  <a:ext uri="{FF2B5EF4-FFF2-40B4-BE49-F238E27FC236}">
                    <a16:creationId xmlns:a16="http://schemas.microsoft.com/office/drawing/2014/main" id="{AECBC12E-13B9-4C75-AA27-2D97672032F9}"/>
                  </a:ext>
                </a:extLst>
              </p:cNvPr>
              <p:cNvSpPr/>
              <p:nvPr/>
            </p:nvSpPr>
            <p:spPr bwMode="auto">
              <a:xfrm>
                <a:off x="7422167" y="4263656"/>
                <a:ext cx="2225197" cy="2594343"/>
              </a:xfrm>
              <a:prstGeom prst="rect">
                <a:avLst/>
              </a:prstGeom>
              <a:gradFill flip="none" rotWithShape="1">
                <a:gsLst>
                  <a:gs pos="0">
                    <a:schemeClr val="bg2">
                      <a:lumMod val="0"/>
                      <a:alpha val="33000"/>
                    </a:schemeClr>
                  </a:gs>
                  <a:gs pos="59000">
                    <a:schemeClr val="bg2">
                      <a:alpha val="0"/>
                      <a:lumMod val="0"/>
                    </a:schemeClr>
                  </a:gs>
                </a:gsLst>
                <a:lin ang="36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7" name="Group 16">
            <a:extLst>
              <a:ext uri="{FF2B5EF4-FFF2-40B4-BE49-F238E27FC236}">
                <a16:creationId xmlns:a16="http://schemas.microsoft.com/office/drawing/2014/main" id="{DB46109E-FB0E-487D-81DA-512AF951414D}"/>
              </a:ext>
            </a:extLst>
          </p:cNvPr>
          <p:cNvGrpSpPr/>
          <p:nvPr/>
        </p:nvGrpSpPr>
        <p:grpSpPr>
          <a:xfrm>
            <a:off x="458018" y="4113930"/>
            <a:ext cx="11624120" cy="2133982"/>
            <a:chOff x="457200" y="4114021"/>
            <a:chExt cx="11625769" cy="2134287"/>
          </a:xfrm>
        </p:grpSpPr>
        <p:sp>
          <p:nvSpPr>
            <p:cNvPr id="18" name="TextBox 17">
              <a:extLst>
                <a:ext uri="{FF2B5EF4-FFF2-40B4-BE49-F238E27FC236}">
                  <a16:creationId xmlns:a16="http://schemas.microsoft.com/office/drawing/2014/main" id="{3F5B30AD-0C92-424A-93D1-54F0E923BFE4}"/>
                </a:ext>
              </a:extLst>
            </p:cNvPr>
            <p:cNvSpPr txBox="1"/>
            <p:nvPr/>
          </p:nvSpPr>
          <p:spPr>
            <a:xfrm>
              <a:off x="457200" y="4114021"/>
              <a:ext cx="2144934" cy="2134287"/>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3199">
                  <a:gradFill>
                    <a:gsLst>
                      <a:gs pos="2917">
                        <a:srgbClr val="0078D7"/>
                      </a:gs>
                      <a:gs pos="30000">
                        <a:srgbClr val="0078D7"/>
                      </a:gs>
                    </a:gsLst>
                    <a:lin ang="5400000" scaled="0"/>
                  </a:gradFill>
                  <a:latin typeface="Segoe UI Light"/>
                </a:rPr>
                <a:t>Vision</a:t>
              </a:r>
            </a:p>
            <a:p>
              <a:pPr defTabSz="932597">
                <a:lnSpc>
                  <a:spcPct val="90000"/>
                </a:lnSpc>
                <a:spcBef>
                  <a:spcPts val="600"/>
                </a:spcBef>
                <a:spcAft>
                  <a:spcPts val="600"/>
                </a:spcAft>
              </a:pPr>
              <a:r>
                <a:rPr lang="en-US" sz="1199" kern="0">
                  <a:gradFill>
                    <a:gsLst>
                      <a:gs pos="2917">
                        <a:srgbClr val="505050"/>
                      </a:gs>
                      <a:gs pos="30000">
                        <a:srgbClr val="505050"/>
                      </a:gs>
                    </a:gsLst>
                    <a:lin ang="5400000" scaled="0"/>
                  </a:gradFill>
                  <a:latin typeface="Segoe UI"/>
                  <a:cs typeface="Segoe UI" pitchFamily="34" charset="0"/>
                </a:rPr>
                <a:t>From faces to feelings, allow apps to understand images and video</a:t>
              </a:r>
              <a:br>
                <a:rPr lang="en-US" sz="1199" kern="0">
                  <a:gradFill>
                    <a:gsLst>
                      <a:gs pos="2917">
                        <a:srgbClr val="505050"/>
                      </a:gs>
                      <a:gs pos="30000">
                        <a:srgbClr val="505050"/>
                      </a:gs>
                    </a:gsLst>
                    <a:lin ang="5400000" scaled="0"/>
                  </a:gradFill>
                  <a:latin typeface="Segoe UI"/>
                  <a:cs typeface="Segoe UI" pitchFamily="34" charset="0"/>
                </a:rPr>
              </a:br>
              <a:endParaRPr lang="en-US" sz="1199" kern="0">
                <a:gradFill>
                  <a:gsLst>
                    <a:gs pos="2917">
                      <a:srgbClr val="505050"/>
                    </a:gs>
                    <a:gs pos="30000">
                      <a:srgbClr val="505050"/>
                    </a:gs>
                  </a:gsLst>
                  <a:lin ang="5400000" scaled="0"/>
                </a:gradFill>
                <a:latin typeface="Segoe UI"/>
                <a:cs typeface="Segoe UI" pitchFamily="34" charset="0"/>
              </a:endParaRPr>
            </a:p>
            <a:p>
              <a:pPr defTabSz="932597">
                <a:lnSpc>
                  <a:spcPct val="90000"/>
                </a:lnSpc>
                <a:spcBef>
                  <a:spcPts val="600"/>
                </a:spcBef>
                <a:spcAft>
                  <a:spcPts val="600"/>
                </a:spcAft>
              </a:pP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Show me what is </a:t>
              </a:r>
              <a:b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in the image</a:t>
              </a:r>
            </a:p>
          </p:txBody>
        </p:sp>
        <p:sp>
          <p:nvSpPr>
            <p:cNvPr id="191" name="TextBox 190">
              <a:extLst>
                <a:ext uri="{FF2B5EF4-FFF2-40B4-BE49-F238E27FC236}">
                  <a16:creationId xmlns:a16="http://schemas.microsoft.com/office/drawing/2014/main" id="{FCCBC498-05EF-4041-8E2E-4DD58BAB9394}"/>
                </a:ext>
              </a:extLst>
            </p:cNvPr>
            <p:cNvSpPr txBox="1"/>
            <p:nvPr/>
          </p:nvSpPr>
          <p:spPr>
            <a:xfrm>
              <a:off x="2766222" y="4114021"/>
              <a:ext cx="2144934" cy="2134287"/>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3199">
                  <a:gradFill>
                    <a:gsLst>
                      <a:gs pos="2917">
                        <a:srgbClr val="0078D7"/>
                      </a:gs>
                      <a:gs pos="30000">
                        <a:srgbClr val="0078D7"/>
                      </a:gs>
                    </a:gsLst>
                    <a:lin ang="5400000" scaled="0"/>
                  </a:gradFill>
                  <a:latin typeface="Segoe UI Light"/>
                </a:rPr>
                <a:t>Speech</a:t>
              </a:r>
            </a:p>
            <a:p>
              <a:pPr defTabSz="932597">
                <a:lnSpc>
                  <a:spcPct val="90000"/>
                </a:lnSpc>
                <a:spcBef>
                  <a:spcPts val="600"/>
                </a:spcBef>
                <a:spcAft>
                  <a:spcPts val="600"/>
                </a:spcAft>
              </a:pPr>
              <a:r>
                <a:rPr lang="en-US" sz="1199" kern="0">
                  <a:gradFill>
                    <a:gsLst>
                      <a:gs pos="2917">
                        <a:srgbClr val="505050"/>
                      </a:gs>
                      <a:gs pos="30000">
                        <a:srgbClr val="505050"/>
                      </a:gs>
                    </a:gsLst>
                    <a:lin ang="5400000" scaled="0"/>
                  </a:gradFill>
                  <a:latin typeface="Segoe UI"/>
                  <a:cs typeface="Segoe UI" pitchFamily="34" charset="0"/>
                </a:rPr>
                <a:t>Hear and speak to users by filtering noise, identifying speakers and understanding intent</a:t>
              </a:r>
            </a:p>
            <a:p>
              <a:pPr defTabSz="932597">
                <a:lnSpc>
                  <a:spcPct val="90000"/>
                </a:lnSpc>
                <a:spcBef>
                  <a:spcPts val="600"/>
                </a:spcBef>
                <a:spcAft>
                  <a:spcPts val="600"/>
                </a:spcAft>
              </a:pP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Convert this text to speech please…</a:t>
              </a:r>
            </a:p>
          </p:txBody>
        </p:sp>
        <p:sp>
          <p:nvSpPr>
            <p:cNvPr id="195" name="TextBox 194">
              <a:extLst>
                <a:ext uri="{FF2B5EF4-FFF2-40B4-BE49-F238E27FC236}">
                  <a16:creationId xmlns:a16="http://schemas.microsoft.com/office/drawing/2014/main" id="{F18B962E-8256-4AB6-AB96-A518CA3174FB}"/>
                </a:ext>
              </a:extLst>
            </p:cNvPr>
            <p:cNvSpPr txBox="1"/>
            <p:nvPr/>
          </p:nvSpPr>
          <p:spPr>
            <a:xfrm>
              <a:off x="5116059" y="4114021"/>
              <a:ext cx="2144934" cy="2134287"/>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3199">
                  <a:gradFill>
                    <a:gsLst>
                      <a:gs pos="2917">
                        <a:srgbClr val="0078D7"/>
                      </a:gs>
                      <a:gs pos="30000">
                        <a:srgbClr val="0078D7"/>
                      </a:gs>
                    </a:gsLst>
                    <a:lin ang="5400000" scaled="0"/>
                  </a:gradFill>
                  <a:latin typeface="Segoe UI Light"/>
                </a:rPr>
                <a:t>Language</a:t>
              </a:r>
            </a:p>
            <a:p>
              <a:pPr defTabSz="932597">
                <a:lnSpc>
                  <a:spcPct val="90000"/>
                </a:lnSpc>
                <a:spcBef>
                  <a:spcPts val="600"/>
                </a:spcBef>
                <a:spcAft>
                  <a:spcPts val="600"/>
                </a:spcAft>
              </a:pPr>
              <a:r>
                <a:rPr lang="en-US" sz="1199" kern="0">
                  <a:gradFill>
                    <a:gsLst>
                      <a:gs pos="2917">
                        <a:srgbClr val="505050"/>
                      </a:gs>
                      <a:gs pos="30000">
                        <a:srgbClr val="505050"/>
                      </a:gs>
                    </a:gsLst>
                    <a:lin ang="5400000" scaled="0"/>
                  </a:gradFill>
                  <a:latin typeface="Segoe UI"/>
                  <a:cs typeface="Segoe UI" pitchFamily="34" charset="0"/>
                </a:rPr>
                <a:t>Process text and learn how to recognize what </a:t>
              </a:r>
              <a:br>
                <a:rPr lang="en-US" sz="1199" kern="0">
                  <a:gradFill>
                    <a:gsLst>
                      <a:gs pos="2917">
                        <a:srgbClr val="505050"/>
                      </a:gs>
                      <a:gs pos="30000">
                        <a:srgbClr val="505050"/>
                      </a:gs>
                    </a:gsLst>
                    <a:lin ang="5400000" scaled="0"/>
                  </a:gradFill>
                  <a:latin typeface="Segoe UI"/>
                  <a:cs typeface="Segoe UI" pitchFamily="34" charset="0"/>
                </a:rPr>
              </a:br>
              <a:r>
                <a:rPr lang="en-US" sz="1199" kern="0">
                  <a:gradFill>
                    <a:gsLst>
                      <a:gs pos="2917">
                        <a:srgbClr val="505050"/>
                      </a:gs>
                      <a:gs pos="30000">
                        <a:srgbClr val="505050"/>
                      </a:gs>
                    </a:gsLst>
                    <a:lin ang="5400000" scaled="0"/>
                  </a:gradFill>
                  <a:latin typeface="Segoe UI"/>
                  <a:cs typeface="Segoe UI" pitchFamily="34" charset="0"/>
                </a:rPr>
                <a:t>users want</a:t>
              </a:r>
              <a:br>
                <a:rPr lang="en-US" sz="1199" kern="0">
                  <a:gradFill>
                    <a:gsLst>
                      <a:gs pos="2917">
                        <a:srgbClr val="505050"/>
                      </a:gs>
                      <a:gs pos="30000">
                        <a:srgbClr val="505050"/>
                      </a:gs>
                    </a:gsLst>
                    <a:lin ang="5400000" scaled="0"/>
                  </a:gradFill>
                  <a:latin typeface="Segoe UI"/>
                  <a:cs typeface="Segoe UI" pitchFamily="34" charset="0"/>
                </a:rPr>
              </a:br>
              <a:endParaRPr lang="en-US" sz="1199" kern="0">
                <a:gradFill>
                  <a:gsLst>
                    <a:gs pos="2917">
                      <a:srgbClr val="505050"/>
                    </a:gs>
                    <a:gs pos="30000">
                      <a:srgbClr val="505050"/>
                    </a:gs>
                  </a:gsLst>
                  <a:lin ang="5400000" scaled="0"/>
                </a:gradFill>
                <a:latin typeface="Segoe UI"/>
                <a:cs typeface="Segoe UI" pitchFamily="34" charset="0"/>
              </a:endParaRPr>
            </a:p>
            <a:p>
              <a:pPr defTabSz="932597">
                <a:lnSpc>
                  <a:spcPct val="90000"/>
                </a:lnSpc>
                <a:spcBef>
                  <a:spcPts val="600"/>
                </a:spcBef>
                <a:spcAft>
                  <a:spcPts val="600"/>
                </a:spcAft>
              </a:pP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Play today’s </a:t>
              </a:r>
              <a:b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conference call…</a:t>
              </a:r>
            </a:p>
          </p:txBody>
        </p:sp>
        <p:sp>
          <p:nvSpPr>
            <p:cNvPr id="199" name="TextBox 198">
              <a:extLst>
                <a:ext uri="{FF2B5EF4-FFF2-40B4-BE49-F238E27FC236}">
                  <a16:creationId xmlns:a16="http://schemas.microsoft.com/office/drawing/2014/main" id="{57CDBC68-DAC4-42EE-801B-F357B54AF137}"/>
                </a:ext>
              </a:extLst>
            </p:cNvPr>
            <p:cNvSpPr txBox="1"/>
            <p:nvPr/>
          </p:nvSpPr>
          <p:spPr>
            <a:xfrm>
              <a:off x="7478300" y="4114021"/>
              <a:ext cx="2267835" cy="2098395"/>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3199" dirty="0">
                  <a:gradFill>
                    <a:gsLst>
                      <a:gs pos="2917">
                        <a:srgbClr val="0078D7"/>
                      </a:gs>
                      <a:gs pos="30000">
                        <a:srgbClr val="0078D7"/>
                      </a:gs>
                    </a:gsLst>
                    <a:lin ang="5400000" scaled="0"/>
                  </a:gradFill>
                  <a:latin typeface="Segoe UI Light"/>
                </a:rPr>
                <a:t>Knowledge</a:t>
              </a:r>
            </a:p>
            <a:p>
              <a:pPr defTabSz="932597">
                <a:lnSpc>
                  <a:spcPct val="90000"/>
                </a:lnSpc>
                <a:spcBef>
                  <a:spcPts val="600"/>
                </a:spcBef>
                <a:spcAft>
                  <a:spcPts val="600"/>
                </a:spcAft>
              </a:pPr>
              <a:r>
                <a:rPr lang="en-US" sz="1199" kern="0" dirty="0">
                  <a:gradFill>
                    <a:gsLst>
                      <a:gs pos="2917">
                        <a:srgbClr val="505050"/>
                      </a:gs>
                      <a:gs pos="30000">
                        <a:srgbClr val="505050"/>
                      </a:gs>
                    </a:gsLst>
                    <a:lin ang="5400000" scaled="0"/>
                  </a:gradFill>
                  <a:latin typeface="Segoe UI"/>
                  <a:cs typeface="Segoe UI" pitchFamily="34" charset="0"/>
                </a:rPr>
                <a:t>Tap into rich knowledge amassed from the web, academia or your own data</a:t>
              </a:r>
              <a:br>
                <a:rPr lang="en-US" sz="1199" kern="0" dirty="0">
                  <a:gradFill>
                    <a:gsLst>
                      <a:gs pos="2917">
                        <a:srgbClr val="505050"/>
                      </a:gs>
                      <a:gs pos="30000">
                        <a:srgbClr val="505050"/>
                      </a:gs>
                    </a:gsLst>
                    <a:lin ang="5400000" scaled="0"/>
                  </a:gradFill>
                  <a:latin typeface="Segoe UI"/>
                  <a:cs typeface="Segoe UI" pitchFamily="34" charset="0"/>
                </a:rPr>
              </a:br>
              <a:endParaRPr lang="en-US" sz="1199" kern="0" dirty="0">
                <a:gradFill>
                  <a:gsLst>
                    <a:gs pos="2917">
                      <a:srgbClr val="505050"/>
                    </a:gs>
                    <a:gs pos="30000">
                      <a:srgbClr val="505050"/>
                    </a:gs>
                  </a:gsLst>
                  <a:lin ang="5400000" scaled="0"/>
                </a:gradFill>
                <a:latin typeface="Segoe UI"/>
                <a:cs typeface="Segoe UI" pitchFamily="34" charset="0"/>
              </a:endParaRPr>
            </a:p>
            <a:p>
              <a:pPr defTabSz="932597">
                <a:lnSpc>
                  <a:spcPct val="90000"/>
                </a:lnSpc>
                <a:spcBef>
                  <a:spcPts val="600"/>
                </a:spcBef>
                <a:spcAft>
                  <a:spcPts val="600"/>
                </a:spcAft>
              </a:pPr>
              <a:r>
                <a:rPr lang="en-US" sz="1399" kern="0"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Top publications </a:t>
              </a:r>
              <a:br>
                <a:rPr lang="en-US" sz="1399" kern="0"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br>
              <a:r>
                <a:rPr lang="en-US" sz="1399" kern="0" dirty="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in AI...</a:t>
              </a:r>
            </a:p>
          </p:txBody>
        </p:sp>
        <p:sp>
          <p:nvSpPr>
            <p:cNvPr id="203" name="TextBox 202">
              <a:extLst>
                <a:ext uri="{FF2B5EF4-FFF2-40B4-BE49-F238E27FC236}">
                  <a16:creationId xmlns:a16="http://schemas.microsoft.com/office/drawing/2014/main" id="{D889CFF1-A7C7-4BC8-B0E4-4B8234FC1AF6}"/>
                </a:ext>
              </a:extLst>
            </p:cNvPr>
            <p:cNvSpPr txBox="1"/>
            <p:nvPr/>
          </p:nvSpPr>
          <p:spPr>
            <a:xfrm>
              <a:off x="9834341" y="4114021"/>
              <a:ext cx="2248628" cy="2134287"/>
            </a:xfrm>
            <a:prstGeom prst="rect">
              <a:avLst/>
            </a:prstGeom>
            <a:noFill/>
          </p:spPr>
          <p:txBody>
            <a:bodyPr wrap="square" lIns="182854" tIns="146283" rIns="182854" bIns="146283" rtlCol="0">
              <a:spAutoFit/>
            </a:bodyPr>
            <a:lstStyle/>
            <a:p>
              <a:pPr defTabSz="932597">
                <a:lnSpc>
                  <a:spcPct val="90000"/>
                </a:lnSpc>
                <a:spcBef>
                  <a:spcPts val="600"/>
                </a:spcBef>
                <a:spcAft>
                  <a:spcPts val="600"/>
                </a:spcAft>
              </a:pPr>
              <a:r>
                <a:rPr lang="en-US" sz="3199">
                  <a:gradFill>
                    <a:gsLst>
                      <a:gs pos="2917">
                        <a:srgbClr val="0078D7"/>
                      </a:gs>
                      <a:gs pos="30000">
                        <a:srgbClr val="0078D7"/>
                      </a:gs>
                    </a:gsLst>
                    <a:lin ang="5400000" scaled="0"/>
                  </a:gradFill>
                  <a:latin typeface="Segoe UI Light"/>
                </a:rPr>
                <a:t>Search</a:t>
              </a:r>
            </a:p>
            <a:p>
              <a:pPr defTabSz="932597">
                <a:lnSpc>
                  <a:spcPct val="90000"/>
                </a:lnSpc>
                <a:spcBef>
                  <a:spcPts val="600"/>
                </a:spcBef>
                <a:spcAft>
                  <a:spcPts val="600"/>
                </a:spcAft>
              </a:pPr>
              <a:r>
                <a:rPr lang="en-US" sz="1199" kern="0">
                  <a:gradFill>
                    <a:gsLst>
                      <a:gs pos="2917">
                        <a:srgbClr val="505050"/>
                      </a:gs>
                      <a:gs pos="30000">
                        <a:srgbClr val="505050"/>
                      </a:gs>
                    </a:gsLst>
                    <a:lin ang="5400000" scaled="0"/>
                  </a:gradFill>
                  <a:latin typeface="Segoe UI"/>
                  <a:cs typeface="Segoe UI" pitchFamily="34" charset="0"/>
                </a:rPr>
                <a:t>Locate relevant information among billions of web pages, images, videos and news with Bing APIs</a:t>
              </a:r>
            </a:p>
            <a:p>
              <a:pPr defTabSz="932597">
                <a:lnSpc>
                  <a:spcPct val="90000"/>
                </a:lnSpc>
                <a:spcBef>
                  <a:spcPts val="600"/>
                </a:spcBef>
                <a:spcAft>
                  <a:spcPts val="600"/>
                </a:spcAft>
              </a:pPr>
              <a:r>
                <a:rPr lang="en-US" sz="1399" kern="0">
                  <a:gradFill>
                    <a:gsLst>
                      <a:gs pos="2917">
                        <a:srgbClr val="0078D7"/>
                      </a:gs>
                      <a:gs pos="30000">
                        <a:srgbClr val="0078D7"/>
                      </a:gs>
                    </a:gsLst>
                    <a:lin ang="5400000" scaled="0"/>
                  </a:gradFill>
                  <a:latin typeface="Segoe UI Semibold" panose="020B0702040204020203" pitchFamily="34" charset="0"/>
                  <a:cs typeface="Segoe UI Semibold" panose="020B0702040204020203" pitchFamily="34" charset="0"/>
                </a:rPr>
                <a:t>Fraud prevention results…</a:t>
              </a:r>
            </a:p>
          </p:txBody>
        </p:sp>
      </p:grpSp>
      <p:sp>
        <p:nvSpPr>
          <p:cNvPr id="52" name="Freeform 33">
            <a:extLst>
              <a:ext uri="{FF2B5EF4-FFF2-40B4-BE49-F238E27FC236}">
                <a16:creationId xmlns:a16="http://schemas.microsoft.com/office/drawing/2014/main" id="{F8DE18E3-A29C-4B51-8376-6AC363B9217F}"/>
              </a:ext>
            </a:extLst>
          </p:cNvPr>
          <p:cNvSpPr>
            <a:spLocks noChangeArrowheads="1"/>
          </p:cNvSpPr>
          <p:nvPr/>
        </p:nvSpPr>
        <p:spPr bwMode="auto">
          <a:xfrm>
            <a:off x="9468623" y="513712"/>
            <a:ext cx="234024" cy="227812"/>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tx1"/>
          </a:solidFill>
          <a:ln>
            <a:noFill/>
          </a:ln>
          <a:effectLst/>
        </p:spPr>
        <p:txBody>
          <a:bodyPr wrap="none" anchor="ctr"/>
          <a:lstStyle/>
          <a:p>
            <a:pPr defTabSz="914224">
              <a:defRPr/>
            </a:pPr>
            <a:endParaRPr lang="en-US">
              <a:solidFill>
                <a:srgbClr val="505050"/>
              </a:solidFill>
              <a:latin typeface="Segoe UI"/>
            </a:endParaRPr>
          </a:p>
        </p:txBody>
      </p:sp>
      <p:sp>
        <p:nvSpPr>
          <p:cNvPr id="53" name="Rectangle 52">
            <a:extLst>
              <a:ext uri="{FF2B5EF4-FFF2-40B4-BE49-F238E27FC236}">
                <a16:creationId xmlns:a16="http://schemas.microsoft.com/office/drawing/2014/main" id="{BCA03E09-9EA6-43CE-ADA8-2EDD689B4EEE}"/>
              </a:ext>
            </a:extLst>
          </p:cNvPr>
          <p:cNvSpPr/>
          <p:nvPr/>
        </p:nvSpPr>
        <p:spPr bwMode="auto">
          <a:xfrm>
            <a:off x="9205940" y="786401"/>
            <a:ext cx="759389" cy="3547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cs typeface="Segoe UI Semibold" panose="020B0702040204020203" pitchFamily="34" charset="0"/>
              </a:rPr>
              <a:t>Tools</a:t>
            </a:r>
          </a:p>
        </p:txBody>
      </p:sp>
      <p:grpSp>
        <p:nvGrpSpPr>
          <p:cNvPr id="54" name="Group 53">
            <a:extLst>
              <a:ext uri="{FF2B5EF4-FFF2-40B4-BE49-F238E27FC236}">
                <a16:creationId xmlns:a16="http://schemas.microsoft.com/office/drawing/2014/main" id="{3C687958-8643-424A-A95C-CDC23D76028F}"/>
              </a:ext>
            </a:extLst>
          </p:cNvPr>
          <p:cNvGrpSpPr/>
          <p:nvPr/>
        </p:nvGrpSpPr>
        <p:grpSpPr>
          <a:xfrm>
            <a:off x="10069857" y="515149"/>
            <a:ext cx="297134" cy="224936"/>
            <a:chOff x="3461033" y="4287838"/>
            <a:chExt cx="4351337" cy="3294062"/>
          </a:xfrm>
          <a:solidFill>
            <a:schemeClr val="accent1"/>
          </a:solidFill>
        </p:grpSpPr>
        <p:sp>
          <p:nvSpPr>
            <p:cNvPr id="55" name="Freeform 6">
              <a:extLst>
                <a:ext uri="{FF2B5EF4-FFF2-40B4-BE49-F238E27FC236}">
                  <a16:creationId xmlns:a16="http://schemas.microsoft.com/office/drawing/2014/main" id="{A39E2CC3-EA3F-4EE1-9768-2849773440FB}"/>
                </a:ext>
              </a:extLst>
            </p:cNvPr>
            <p:cNvSpPr>
              <a:spLocks noChangeArrowheads="1"/>
            </p:cNvSpPr>
            <p:nvPr/>
          </p:nvSpPr>
          <p:spPr bwMode="auto">
            <a:xfrm>
              <a:off x="346103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endParaRPr lang="en-US">
                <a:solidFill>
                  <a:srgbClr val="505050"/>
                </a:solidFill>
                <a:latin typeface="Segoe UI"/>
              </a:endParaRPr>
            </a:p>
          </p:txBody>
        </p:sp>
        <p:sp>
          <p:nvSpPr>
            <p:cNvPr id="56" name="Freeform 7">
              <a:extLst>
                <a:ext uri="{FF2B5EF4-FFF2-40B4-BE49-F238E27FC236}">
                  <a16:creationId xmlns:a16="http://schemas.microsoft.com/office/drawing/2014/main" id="{4C22AE93-33A5-4434-A882-D6510C3F7FBF}"/>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grpSp>
      <p:sp>
        <p:nvSpPr>
          <p:cNvPr id="57" name="Rectangle 56">
            <a:extLst>
              <a:ext uri="{FF2B5EF4-FFF2-40B4-BE49-F238E27FC236}">
                <a16:creationId xmlns:a16="http://schemas.microsoft.com/office/drawing/2014/main" id="{E69AB750-ACF7-4886-A2F6-3434CFC1660E}"/>
              </a:ext>
            </a:extLst>
          </p:cNvPr>
          <p:cNvSpPr/>
          <p:nvPr/>
        </p:nvSpPr>
        <p:spPr bwMode="auto">
          <a:xfrm>
            <a:off x="9721969" y="786401"/>
            <a:ext cx="992912" cy="3520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dvanced</a:t>
            </a:r>
            <a:b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br>
            <a:r>
              <a:rPr lang="en-US" sz="800">
                <a:gradFill>
                  <a:gsLst>
                    <a:gs pos="0">
                      <a:srgbClr val="0078D7"/>
                    </a:gs>
                    <a:gs pos="100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workloads</a:t>
            </a:r>
          </a:p>
        </p:txBody>
      </p:sp>
      <p:grpSp>
        <p:nvGrpSpPr>
          <p:cNvPr id="58" name="Group 57">
            <a:extLst>
              <a:ext uri="{FF2B5EF4-FFF2-40B4-BE49-F238E27FC236}">
                <a16:creationId xmlns:a16="http://schemas.microsoft.com/office/drawing/2014/main" id="{1BE4767B-1C67-4B9B-8E1E-7B26BD3896B8}"/>
              </a:ext>
            </a:extLst>
          </p:cNvPr>
          <p:cNvGrpSpPr/>
          <p:nvPr/>
        </p:nvGrpSpPr>
        <p:grpSpPr>
          <a:xfrm>
            <a:off x="10802952" y="503765"/>
            <a:ext cx="330048" cy="247703"/>
            <a:chOff x="3658178" y="5898425"/>
            <a:chExt cx="530263" cy="397965"/>
          </a:xfrm>
          <a:solidFill>
            <a:schemeClr val="tx1"/>
          </a:solidFill>
        </p:grpSpPr>
        <p:sp>
          <p:nvSpPr>
            <p:cNvPr id="59" name="Freeform 1">
              <a:extLst>
                <a:ext uri="{FF2B5EF4-FFF2-40B4-BE49-F238E27FC236}">
                  <a16:creationId xmlns:a16="http://schemas.microsoft.com/office/drawing/2014/main" id="{D5F0E5F8-12D7-4EA1-8A3F-4084B514F8AF}"/>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60" name="Freeform 2">
              <a:extLst>
                <a:ext uri="{FF2B5EF4-FFF2-40B4-BE49-F238E27FC236}">
                  <a16:creationId xmlns:a16="http://schemas.microsoft.com/office/drawing/2014/main" id="{F0D70BEF-4950-4BFC-89E6-6F25B20C98B3}"/>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61" name="Freeform 3">
              <a:extLst>
                <a:ext uri="{FF2B5EF4-FFF2-40B4-BE49-F238E27FC236}">
                  <a16:creationId xmlns:a16="http://schemas.microsoft.com/office/drawing/2014/main" id="{DFDD24B7-BEE5-446A-8FC2-9E1BA4CC8369}"/>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sp>
          <p:nvSpPr>
            <p:cNvPr id="62" name="Freeform 4">
              <a:extLst>
                <a:ext uri="{FF2B5EF4-FFF2-40B4-BE49-F238E27FC236}">
                  <a16:creationId xmlns:a16="http://schemas.microsoft.com/office/drawing/2014/main" id="{BBA1600F-16F9-4920-B5F3-46A6C46FC5FE}"/>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4">
                <a:defRPr/>
              </a:pPr>
              <a:endParaRPr lang="en-US">
                <a:solidFill>
                  <a:srgbClr val="505050"/>
                </a:solidFill>
                <a:latin typeface="Segoe UI"/>
              </a:endParaRPr>
            </a:p>
          </p:txBody>
        </p:sp>
      </p:grpSp>
      <p:sp>
        <p:nvSpPr>
          <p:cNvPr id="63" name="Rectangle 62">
            <a:extLst>
              <a:ext uri="{FF2B5EF4-FFF2-40B4-BE49-F238E27FC236}">
                <a16:creationId xmlns:a16="http://schemas.microsoft.com/office/drawing/2014/main" id="{C5C7BEDF-A30D-4924-8D75-20627D7631F4}"/>
              </a:ext>
            </a:extLst>
          </p:cNvPr>
          <p:cNvSpPr/>
          <p:nvPr/>
        </p:nvSpPr>
        <p:spPr bwMode="auto">
          <a:xfrm>
            <a:off x="10471520" y="786400"/>
            <a:ext cx="992912" cy="3508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cs typeface="Segoe UI Semibold" panose="020B0702040204020203" pitchFamily="34" charset="0"/>
              </a:rPr>
              <a:t>Core infrastructure</a:t>
            </a:r>
          </a:p>
        </p:txBody>
      </p:sp>
      <p:grpSp>
        <p:nvGrpSpPr>
          <p:cNvPr id="64" name="Group 63">
            <a:extLst>
              <a:ext uri="{FF2B5EF4-FFF2-40B4-BE49-F238E27FC236}">
                <a16:creationId xmlns:a16="http://schemas.microsoft.com/office/drawing/2014/main" id="{AC468FC0-6998-4190-96B0-28D000405AF9}"/>
              </a:ext>
            </a:extLst>
          </p:cNvPr>
          <p:cNvGrpSpPr/>
          <p:nvPr/>
        </p:nvGrpSpPr>
        <p:grpSpPr>
          <a:xfrm>
            <a:off x="11597877" y="475529"/>
            <a:ext cx="239304" cy="304175"/>
            <a:chOff x="11113218" y="-1760538"/>
            <a:chExt cx="439251" cy="558324"/>
          </a:xfrm>
          <a:solidFill>
            <a:schemeClr val="tx1"/>
          </a:solidFill>
        </p:grpSpPr>
        <p:sp>
          <p:nvSpPr>
            <p:cNvPr id="65" name="Freeform 21">
              <a:extLst>
                <a:ext uri="{FF2B5EF4-FFF2-40B4-BE49-F238E27FC236}">
                  <a16:creationId xmlns:a16="http://schemas.microsoft.com/office/drawing/2014/main" id="{34798EB8-ABAD-4705-B971-904AAA3E49FA}"/>
                </a:ext>
              </a:extLst>
            </p:cNvPr>
            <p:cNvSpPr>
              <a:spLocks noChangeArrowheads="1"/>
            </p:cNvSpPr>
            <p:nvPr/>
          </p:nvSpPr>
          <p:spPr bwMode="auto">
            <a:xfrm>
              <a:off x="11113218" y="-1760538"/>
              <a:ext cx="439251" cy="558324"/>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sp>
          <p:nvSpPr>
            <p:cNvPr id="66" name="Freeform 22">
              <a:extLst>
                <a:ext uri="{FF2B5EF4-FFF2-40B4-BE49-F238E27FC236}">
                  <a16:creationId xmlns:a16="http://schemas.microsoft.com/office/drawing/2014/main" id="{5395F1D9-C6B4-4869-96AD-D429CDFCB362}"/>
                </a:ext>
              </a:extLst>
            </p:cNvPr>
            <p:cNvSpPr>
              <a:spLocks noChangeArrowheads="1"/>
            </p:cNvSpPr>
            <p:nvPr/>
          </p:nvSpPr>
          <p:spPr bwMode="auto">
            <a:xfrm>
              <a:off x="11449873" y="-1297715"/>
              <a:ext cx="37286" cy="37286"/>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sp>
          <p:nvSpPr>
            <p:cNvPr id="67" name="Freeform 23">
              <a:extLst>
                <a:ext uri="{FF2B5EF4-FFF2-40B4-BE49-F238E27FC236}">
                  <a16:creationId xmlns:a16="http://schemas.microsoft.com/office/drawing/2014/main" id="{6996F0F7-10C9-4E3D-9D9E-A9867376048E}"/>
                </a:ext>
              </a:extLst>
            </p:cNvPr>
            <p:cNvSpPr>
              <a:spLocks noChangeArrowheads="1"/>
            </p:cNvSpPr>
            <p:nvPr/>
          </p:nvSpPr>
          <p:spPr bwMode="auto">
            <a:xfrm>
              <a:off x="11174559" y="-1291461"/>
              <a:ext cx="205794" cy="24777"/>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w="9525" cap="flat">
              <a:noFill/>
              <a:bevel/>
              <a:headEnd/>
              <a:tailEnd/>
            </a:ln>
            <a:effectLst/>
            <a:extLst/>
          </p:spPr>
          <p:txBody>
            <a:bodyPr wrap="none" anchor="ctr"/>
            <a:lstStyle/>
            <a:p>
              <a:pPr defTabSz="914224">
                <a:defRPr/>
              </a:pPr>
              <a:endParaRPr lang="en-US" kern="0">
                <a:solidFill>
                  <a:srgbClr val="FFFFFF"/>
                </a:solidFill>
                <a:latin typeface="Segoe UI"/>
              </a:endParaRPr>
            </a:p>
          </p:txBody>
        </p:sp>
      </p:grpSp>
      <p:sp>
        <p:nvSpPr>
          <p:cNvPr id="68" name="Rectangle 67">
            <a:extLst>
              <a:ext uri="{FF2B5EF4-FFF2-40B4-BE49-F238E27FC236}">
                <a16:creationId xmlns:a16="http://schemas.microsoft.com/office/drawing/2014/main" id="{9D28A0C7-B2B5-4F66-A6C6-C3CF9250AF45}"/>
              </a:ext>
            </a:extLst>
          </p:cNvPr>
          <p:cNvSpPr/>
          <p:nvPr/>
        </p:nvSpPr>
        <p:spPr bwMode="auto">
          <a:xfrm>
            <a:off x="11221073" y="786401"/>
            <a:ext cx="992912" cy="3493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800">
                <a:gradFill>
                  <a:gsLst>
                    <a:gs pos="0">
                      <a:srgbClr val="008272"/>
                    </a:gs>
                    <a:gs pos="100000">
                      <a:srgbClr val="008272"/>
                    </a:gs>
                  </a:gsLst>
                  <a:lin ang="5400000" scaled="1"/>
                </a:gradFill>
                <a:latin typeface="Segoe UI Semibold" panose="020B0702040204020203" pitchFamily="34" charset="0"/>
                <a:ea typeface="Segoe UI" pitchFamily="34" charset="0"/>
                <a:cs typeface="Segoe UI Semibold" panose="020B0702040204020203" pitchFamily="34" charset="0"/>
              </a:rPr>
              <a:t>Azure Stack + Hybrid</a:t>
            </a:r>
          </a:p>
        </p:txBody>
      </p:sp>
    </p:spTree>
    <p:extLst>
      <p:ext uri="{BB962C8B-B14F-4D97-AF65-F5344CB8AC3E}">
        <p14:creationId xmlns:p14="http://schemas.microsoft.com/office/powerpoint/2010/main" val="3005684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42" presetClass="path" presetSubtype="0" decel="100000" fill="hold" nodeType="withEffect">
                                  <p:stCondLst>
                                    <p:cond delay="0"/>
                                  </p:stCondLst>
                                  <p:childTnLst>
                                    <p:animMotion origin="layout" path="M 2.37937E-6 -2.46482E-6 L 2.37937E-6 0.07513 " pathEditMode="relative" rAng="0" ptsTypes="AA">
                                      <p:cBhvr>
                                        <p:cTn id="9" dur="1000" spd="-100000" fill="hold"/>
                                        <p:tgtEl>
                                          <p:spTgt spid="3"/>
                                        </p:tgtEl>
                                        <p:attrNameLst>
                                          <p:attrName>ppt_x</p:attrName>
                                          <p:attrName>ppt_y</p:attrName>
                                        </p:attrNameLst>
                                      </p:cBhvr>
                                      <p:rCtr x="0" y="3745"/>
                                    </p:animMotion>
                                  </p:childTnLst>
                                </p:cTn>
                              </p:par>
                              <p:par>
                                <p:cTn id="10" presetID="10"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childTnLst>
                                </p:cTn>
                              </p:par>
                              <p:par>
                                <p:cTn id="13" presetID="42" presetClass="path" presetSubtype="0" decel="100000" fill="hold" nodeType="withEffect">
                                  <p:stCondLst>
                                    <p:cond delay="0"/>
                                  </p:stCondLst>
                                  <p:childTnLst>
                                    <p:animMotion origin="layout" path="M 3.33333E-6 2.59259E-6 L 3.33333E-6 -0.08588 " pathEditMode="relative" rAng="0" ptsTypes="AA">
                                      <p:cBhvr>
                                        <p:cTn id="14" dur="1000" spd="-100000" fill="hold"/>
                                        <p:tgtEl>
                                          <p:spTgt spid="17"/>
                                        </p:tgtEl>
                                        <p:attrNameLst>
                                          <p:attrName>ppt_x</p:attrName>
                                          <p:attrName>ppt_y</p:attrName>
                                        </p:attrNameLst>
                                      </p:cBhvr>
                                      <p:rCtr x="0" y="-43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ognitive Services capabilities</a:t>
            </a:r>
            <a:br>
              <a:rPr lang="en-US"/>
            </a:br>
            <a:r>
              <a:rPr lang="en-US" sz="2448"/>
              <a:t>Infuse your apps, websites, and bots with human-like intelligence</a:t>
            </a:r>
            <a:br>
              <a:rPr lang="en-US" sz="2448"/>
            </a:br>
            <a:endParaRPr lang="en-US" sz="2448"/>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7219" y="1715007"/>
            <a:ext cx="2358532" cy="4826169"/>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Object, scene, and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ctivity detection </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Face recogni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identific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elebrity and landmark recognition </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Emotion recognition </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Text and handwriting recognition (OCR)</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Video metadata, audio,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keyframe extrac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analysi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Explicit or offensive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content moderation </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572007"/>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5048031" y="1715007"/>
            <a:ext cx="2377542" cy="4818636"/>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Language detec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Text sentiment analysi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Key phrase extrac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Entity recogni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pell checking</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Explicit or offensive text content moderation, PII detec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Text transl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ustomizable text transl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ontextual language understanding</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572007"/>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819878" y="1715007"/>
            <a:ext cx="2395517" cy="4826169"/>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Ad-free web, news, image,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video search result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Trends for video, new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Image identification, classification and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knowledge extrac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Identification of similar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images and product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Named entity recogni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classific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Knowledge acquisi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for named entitie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earch query autosuggest</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Ad-free custom search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572007"/>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62108" y="1715007"/>
            <a:ext cx="2368554" cy="4818636"/>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peech transcrip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Speech-to-text)</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peech Synthesis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Text-to-speech)</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Real-time speech transl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peaker identifica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and verific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ustom Speech models for transcription and translation</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ustom voice</a:t>
                </a:r>
              </a:p>
              <a:p>
                <a:pPr algn="ctr" defTabSz="969929" fontAlgn="base">
                  <a:lnSpc>
                    <a:spcPct val="90000"/>
                  </a:lnSpc>
                  <a:spcBef>
                    <a:spcPct val="0"/>
                  </a:spcBef>
                  <a:spcAft>
                    <a:spcPts val="816"/>
                  </a:spcAft>
                  <a:defRPr/>
                </a:pPr>
                <a:endParaRPr lang="en-US" sz="1122" kern="0">
                  <a:gradFill>
                    <a:gsLst>
                      <a:gs pos="1250">
                        <a:srgbClr val="1A1A1A"/>
                      </a:gs>
                      <a:gs pos="100000">
                        <a:srgbClr val="1A1A1A"/>
                      </a:gs>
                    </a:gsLst>
                    <a:lin ang="0" scaled="0"/>
                  </a:gradFill>
                  <a:latin typeface="Segoe UI"/>
                  <a:cs typeface="Segoe UI Semibold" panose="020B0702040204020203" pitchFamily="34" charset="0"/>
                </a:endParaRPr>
              </a:p>
              <a:p>
                <a:pPr algn="ctr" defTabSz="969929" fontAlgn="base">
                  <a:lnSpc>
                    <a:spcPct val="90000"/>
                  </a:lnSpc>
                  <a:spcBef>
                    <a:spcPct val="0"/>
                  </a:spcBef>
                  <a:spcAft>
                    <a:spcPts val="816"/>
                  </a:spcAft>
                  <a:defRPr/>
                </a:pPr>
                <a:endParaRPr lang="en-US" sz="1122" kern="0">
                  <a:gradFill>
                    <a:gsLst>
                      <a:gs pos="1250">
                        <a:srgbClr val="1A1A1A"/>
                      </a:gs>
                      <a:gs pos="100000">
                        <a:srgbClr val="1A1A1A"/>
                      </a:gs>
                    </a:gsLst>
                    <a:lin ang="0" scaled="0"/>
                  </a:gra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572007"/>
            </a:xfrm>
            <a:prstGeom prst="rect">
              <a:avLst/>
            </a:prstGeom>
            <a:noFill/>
          </p:spPr>
          <p:txBody>
            <a:bodyPr wrap="square" lIns="182750" tIns="146201" rIns="91401" bIns="146201" rtlCol="0" anchor="t">
              <a:spAutoFit/>
            </a:bodyPr>
            <a:lstStyle/>
            <a:p>
              <a:pPr algn="ctr" defTabSz="913522">
                <a:lnSpc>
                  <a:spcPct val="90000"/>
                </a:lnSpc>
                <a:spcAft>
                  <a:spcPts val="600"/>
                </a:spcAft>
                <a:defRPr/>
              </a:pPr>
              <a:r>
                <a:rPr lang="en-US" sz="204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433955" y="1715007"/>
            <a:ext cx="2386529" cy="4826169"/>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Q&amp;A extraction from unstructured text</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Knowledge base creation </a:t>
                </a:r>
                <a:br>
                  <a:rPr lang="en-US" sz="1122" kern="0">
                    <a:gradFill>
                      <a:gsLst>
                        <a:gs pos="1250">
                          <a:srgbClr val="1A1A1A"/>
                        </a:gs>
                        <a:gs pos="100000">
                          <a:srgbClr val="1A1A1A"/>
                        </a:gs>
                      </a:gsLst>
                      <a:lin ang="0" scaled="0"/>
                    </a:gradFill>
                    <a:latin typeface="Segoe UI"/>
                    <a:cs typeface="Segoe UI Semibold" panose="020B0702040204020203" pitchFamily="34" charset="0"/>
                  </a:rPr>
                </a:br>
                <a:r>
                  <a:rPr lang="en-US" sz="1122" kern="0">
                    <a:gradFill>
                      <a:gsLst>
                        <a:gs pos="1250">
                          <a:srgbClr val="1A1A1A"/>
                        </a:gs>
                        <a:gs pos="100000">
                          <a:srgbClr val="1A1A1A"/>
                        </a:gs>
                      </a:gsLst>
                      <a:lin ang="0" scaled="0"/>
                    </a:gradFill>
                    <a:latin typeface="Segoe UI"/>
                    <a:cs typeface="Segoe UI Semibold" panose="020B0702040204020203" pitchFamily="34" charset="0"/>
                  </a:rPr>
                  <a:t>from collections of Q&amp;A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Semantic matching for knowledge bases</a:t>
                </a:r>
              </a:p>
              <a:p>
                <a:pPr algn="ctr" defTabSz="969929" fontAlgn="base">
                  <a:lnSpc>
                    <a:spcPct val="90000"/>
                  </a:lnSpc>
                  <a:spcBef>
                    <a:spcPct val="0"/>
                  </a:spcBef>
                  <a:spcAft>
                    <a:spcPts val="816"/>
                  </a:spcAft>
                  <a:defRPr/>
                </a:pPr>
                <a:r>
                  <a:rPr lang="en-US" sz="1122" kern="0">
                    <a:gradFill>
                      <a:gsLst>
                        <a:gs pos="1250">
                          <a:srgbClr val="1A1A1A"/>
                        </a:gs>
                        <a:gs pos="100000">
                          <a:srgbClr val="1A1A1A"/>
                        </a:gs>
                      </a:gsLst>
                      <a:lin ang="0" scaled="0"/>
                    </a:gradFill>
                    <a:latin typeface="Segoe UI"/>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2448">
                    <a:solidFill>
                      <a:srgbClr val="505050"/>
                    </a:soli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572007"/>
            </a:xfrm>
            <a:prstGeom prst="rect">
              <a:avLst/>
            </a:prstGeom>
            <a:noFill/>
          </p:spPr>
          <p:txBody>
            <a:bodyPr wrap="square" lIns="182750" tIns="146201" rIns="182750" bIns="146201"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3522">
                <a:defRPr/>
              </a:pPr>
              <a:r>
                <a:rPr lang="en-US" sz="2040"/>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63" presetClass="path" presetSubtype="0" decel="100000" fill="hold" nodeType="withEffect">
                                  <p:stCondLst>
                                    <p:cond delay="0"/>
                                  </p:stCondLst>
                                  <p:childTnLst>
                                    <p:animMotion origin="layout" path="M 2.70833E-6 3.7037E-6 L 0.04674 3.7037E-6 " pathEditMode="relative" rAng="0" ptsTypes="AA">
                                      <p:cBhvr>
                                        <p:cTn id="15" dur="750" spd="-100000" fill="hold"/>
                                        <p:tgtEl>
                                          <p:spTgt spid="26"/>
                                        </p:tgtEl>
                                        <p:attrNameLst>
                                          <p:attrName>ppt_x</p:attrName>
                                          <p:attrName>ppt_y</p:attrName>
                                        </p:attrNameLst>
                                      </p:cBhvr>
                                      <p:rCtr x="2331" y="0"/>
                                    </p:animMotion>
                                  </p:childTnLst>
                                </p:cTn>
                              </p:par>
                              <p:par>
                                <p:cTn id="16" presetID="10" presetClass="entr" presetSubtype="0" fill="hold" nodeType="withEffect">
                                  <p:stCondLst>
                                    <p:cond delay="1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63" presetClass="path" presetSubtype="0" decel="100000" fill="hold" nodeType="withEffect">
                                  <p:stCondLst>
                                    <p:cond delay="100"/>
                                  </p:stCondLst>
                                  <p:childTnLst>
                                    <p:animMotion origin="layout" path="M -2.08333E-7 2.22222E-6 L 0.04675 2.22222E-6 " pathEditMode="relative" rAng="0" ptsTypes="AA">
                                      <p:cBhvr>
                                        <p:cTn id="20" dur="750" spd="-100000" fill="hold"/>
                                        <p:tgtEl>
                                          <p:spTgt spid="27"/>
                                        </p:tgtEl>
                                        <p:attrNameLst>
                                          <p:attrName>ppt_x</p:attrName>
                                          <p:attrName>ppt_y</p:attrName>
                                        </p:attrNameLst>
                                      </p:cBhvr>
                                      <p:rCtr x="2331" y="0"/>
                                    </p:animMotion>
                                  </p:childTnLst>
                                </p:cTn>
                              </p:par>
                              <p:par>
                                <p:cTn id="21" presetID="10" presetClass="entr" presetSubtype="0" fill="hold" nodeType="withEffect">
                                  <p:stCondLst>
                                    <p:cond delay="2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63" presetClass="path" presetSubtype="0" decel="100000" fill="hold" nodeType="withEffect">
                                  <p:stCondLst>
                                    <p:cond delay="200"/>
                                  </p:stCondLst>
                                  <p:childTnLst>
                                    <p:animMotion origin="layout" path="M -2.08333E-7 2.22222E-6 L 0.04675 2.22222E-6 " pathEditMode="relative" rAng="0" ptsTypes="AA">
                                      <p:cBhvr>
                                        <p:cTn id="25" dur="750" spd="-100000" fill="hold"/>
                                        <p:tgtEl>
                                          <p:spTgt spid="28"/>
                                        </p:tgtEl>
                                        <p:attrNameLst>
                                          <p:attrName>ppt_x</p:attrName>
                                          <p:attrName>ppt_y</p:attrName>
                                        </p:attrNameLst>
                                      </p:cBhvr>
                                      <p:rCtr x="2331" y="0"/>
                                    </p:animMotion>
                                  </p:childTnLst>
                                </p:cTn>
                              </p:par>
                              <p:par>
                                <p:cTn id="26" presetID="10" presetClass="entr" presetSubtype="0" fill="hold" nodeType="withEffect">
                                  <p:stCondLst>
                                    <p:cond delay="3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63" presetClass="path" presetSubtype="0" decel="100000" fill="hold" nodeType="withEffect">
                                  <p:stCondLst>
                                    <p:cond delay="300"/>
                                  </p:stCondLst>
                                  <p:childTnLst>
                                    <p:animMotion origin="layout" path="M -2.08333E-7 2.22222E-6 L 0.04675 2.22222E-6 " pathEditMode="relative" rAng="0" ptsTypes="AA">
                                      <p:cBhvr>
                                        <p:cTn id="30" dur="750" spd="-100000" fill="hold"/>
                                        <p:tgtEl>
                                          <p:spTgt spid="39"/>
                                        </p:tgtEl>
                                        <p:attrNameLst>
                                          <p:attrName>ppt_x</p:attrName>
                                          <p:attrName>ppt_y</p:attrName>
                                        </p:attrNameLst>
                                      </p:cBhvr>
                                      <p:rCtr x="2331" y="0"/>
                                    </p:animMotion>
                                  </p:childTnLst>
                                </p:cTn>
                              </p:par>
                              <p:par>
                                <p:cTn id="31" presetID="10" presetClass="entr" presetSubtype="0" fill="hold" nodeType="withEffect">
                                  <p:stCondLst>
                                    <p:cond delay="4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decel="100000" fill="hold" nodeType="withEffect">
                                  <p:stCondLst>
                                    <p:cond delay="400"/>
                                  </p:stCondLst>
                                  <p:childTnLst>
                                    <p:animMotion origin="layout" path="M -2.08333E-7 2.22222E-6 L 0.04675 2.22222E-6 " pathEditMode="relative" rAng="0" ptsTypes="AA">
                                      <p:cBhvr>
                                        <p:cTn id="35"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s.aolcdn.com/hss/storage/midas/ed7f9c63f516a87c7cdc6a785eeaf1d7/205556445/asos-ed.jpg">
            <a:extLst>
              <a:ext uri="{FF2B5EF4-FFF2-40B4-BE49-F238E27FC236}">
                <a16:creationId xmlns:a16="http://schemas.microsoft.com/office/drawing/2014/main" id="{0E18FDDE-7BEC-4005-A562-B2B17E90177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82" y="-1"/>
            <a:ext cx="12434250" cy="6994525"/>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bwMode="auto">
          <a:xfrm>
            <a:off x="882" y="-1"/>
            <a:ext cx="12434711" cy="6994525"/>
          </a:xfrm>
          <a:prstGeom prst="rect">
            <a:avLst/>
          </a:prstGeom>
          <a:solidFill>
            <a:schemeClr val="bg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B868855A-E426-4B09-97E6-6CCB9959395E}"/>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80000"/>
                    </a14:imgEffect>
                  </a14:imgLayer>
                </a14:imgProps>
              </a:ext>
              <a:ext uri="{28A0092B-C50C-407E-A947-70E740481C1C}">
                <a14:useLocalDpi xmlns:a14="http://schemas.microsoft.com/office/drawing/2010/main" val="0"/>
              </a:ext>
            </a:extLst>
          </a:blip>
          <a:stretch>
            <a:fillRect/>
          </a:stretch>
        </p:blipFill>
        <p:spPr>
          <a:xfrm>
            <a:off x="491829" y="612481"/>
            <a:ext cx="1206870" cy="350745"/>
          </a:xfrm>
          <a:prstGeom prst="rect">
            <a:avLst/>
          </a:prstGeom>
        </p:spPr>
      </p:pic>
      <p:sp>
        <p:nvSpPr>
          <p:cNvPr id="8" name="TextBox 12">
            <a:extLst>
              <a:ext uri="{FF2B5EF4-FFF2-40B4-BE49-F238E27FC236}">
                <a16:creationId xmlns:a16="http://schemas.microsoft.com/office/drawing/2014/main" id="{4C891932-6F7D-4C27-AD18-7984BD04B311}"/>
              </a:ext>
            </a:extLst>
          </p:cNvPr>
          <p:cNvSpPr txBox="1"/>
          <p:nvPr/>
        </p:nvSpPr>
        <p:spPr>
          <a:xfrm>
            <a:off x="298083" y="1526620"/>
            <a:ext cx="3446875" cy="4835554"/>
          </a:xfrm>
          <a:prstGeom prst="rect">
            <a:avLst/>
          </a:prstGeom>
          <a:noFill/>
        </p:spPr>
        <p:txBody>
          <a:bodyPr wrap="square" lIns="186521" tIns="149217" rIns="186521" bIns="14921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86111" defTabSz="932597">
              <a:spcAft>
                <a:spcPts val="1224"/>
              </a:spcAft>
              <a:defRPr/>
            </a:pPr>
            <a:r>
              <a:rPr lang="en-US" sz="3672" dirty="0">
                <a:gradFill>
                  <a:gsLst>
                    <a:gs pos="35000">
                      <a:srgbClr val="008272"/>
                    </a:gs>
                    <a:gs pos="99000">
                      <a:srgbClr val="008272"/>
                    </a:gs>
                  </a:gsLst>
                  <a:lin ang="18900000" scaled="1"/>
                </a:gradFill>
                <a:latin typeface="Segoe UI Light"/>
              </a:rPr>
              <a:t>Scenario</a:t>
            </a:r>
          </a:p>
          <a:p>
            <a:pPr defTabSz="932597">
              <a:spcAft>
                <a:spcPts val="1224"/>
              </a:spcAft>
              <a:defRPr/>
            </a:pPr>
            <a:r>
              <a:rPr lang="en-US" sz="1632" b="1" dirty="0">
                <a:gradFill>
                  <a:gsLst>
                    <a:gs pos="35000">
                      <a:srgbClr val="505050"/>
                    </a:gs>
                    <a:gs pos="99000">
                      <a:srgbClr val="505050"/>
                    </a:gs>
                  </a:gsLst>
                  <a:lin ang="18900000" scaled="1"/>
                </a:gradFill>
                <a:latin typeface="Segoe UI"/>
              </a:rPr>
              <a:t>Replace on-premises platform that was unable to support customized shopping experiences for global market</a:t>
            </a:r>
          </a:p>
          <a:p>
            <a:pPr defTabSz="932597">
              <a:spcAft>
                <a:spcPts val="1224"/>
              </a:spcAft>
              <a:defRPr/>
            </a:pPr>
            <a:r>
              <a:rPr lang="en-US" sz="1632" b="1" dirty="0">
                <a:gradFill>
                  <a:gsLst>
                    <a:gs pos="35000">
                      <a:srgbClr val="505050"/>
                    </a:gs>
                    <a:gs pos="99000">
                      <a:srgbClr val="505050"/>
                    </a:gs>
                  </a:gsLst>
                  <a:lin ang="18900000" scaled="1"/>
                </a:gradFill>
                <a:latin typeface="Segoe UI"/>
              </a:rPr>
              <a:t>Create a more personalized, mobile-first experience </a:t>
            </a:r>
            <a:br>
              <a:rPr lang="en-US" sz="1632" b="1" dirty="0">
                <a:gradFill>
                  <a:gsLst>
                    <a:gs pos="35000">
                      <a:srgbClr val="505050"/>
                    </a:gs>
                    <a:gs pos="99000">
                      <a:srgbClr val="505050"/>
                    </a:gs>
                  </a:gsLst>
                  <a:lin ang="18900000" scaled="1"/>
                </a:gradFill>
                <a:latin typeface="Segoe UI"/>
              </a:rPr>
            </a:br>
            <a:r>
              <a:rPr lang="en-US" sz="1632" b="1" dirty="0">
                <a:gradFill>
                  <a:gsLst>
                    <a:gs pos="35000">
                      <a:srgbClr val="505050"/>
                    </a:gs>
                    <a:gs pos="99000">
                      <a:srgbClr val="505050"/>
                    </a:gs>
                  </a:gsLst>
                  <a:lin ang="18900000" scaled="1"/>
                </a:gradFill>
                <a:latin typeface="Segoe UI"/>
              </a:rPr>
              <a:t>for customers</a:t>
            </a:r>
          </a:p>
          <a:p>
            <a:pPr defTabSz="932597">
              <a:spcAft>
                <a:spcPts val="1224"/>
              </a:spcAft>
              <a:defRPr/>
            </a:pPr>
            <a:r>
              <a:rPr lang="en-US" sz="1632" b="1" dirty="0">
                <a:gradFill>
                  <a:gsLst>
                    <a:gs pos="35000">
                      <a:srgbClr val="505050"/>
                    </a:gs>
                    <a:gs pos="99000">
                      <a:srgbClr val="505050"/>
                    </a:gs>
                  </a:gsLst>
                  <a:lin ang="18900000" scaled="1"/>
                </a:gradFill>
                <a:latin typeface="Segoe UI"/>
              </a:rPr>
              <a:t>Reduce big data domain maintenance costs/time through PaaS services</a:t>
            </a:r>
          </a:p>
          <a:p>
            <a:pPr defTabSz="932597">
              <a:spcAft>
                <a:spcPts val="1224"/>
              </a:spcAft>
              <a:defRPr/>
            </a:pPr>
            <a:r>
              <a:rPr lang="en-US" sz="1632" b="1" dirty="0">
                <a:gradFill>
                  <a:gsLst>
                    <a:gs pos="35000">
                      <a:srgbClr val="505050"/>
                    </a:gs>
                    <a:gs pos="99000">
                      <a:srgbClr val="505050"/>
                    </a:gs>
                  </a:gsLst>
                  <a:lin ang="18900000" scaled="1"/>
                </a:gradFill>
                <a:latin typeface="Segoe UI"/>
              </a:rPr>
              <a:t>Improve flexibility to keep pace with marketplace and consumer technology trends</a:t>
            </a:r>
          </a:p>
        </p:txBody>
      </p:sp>
      <p:sp>
        <p:nvSpPr>
          <p:cNvPr id="9" name="TextBox 13">
            <a:extLst>
              <a:ext uri="{FF2B5EF4-FFF2-40B4-BE49-F238E27FC236}">
                <a16:creationId xmlns:a16="http://schemas.microsoft.com/office/drawing/2014/main" id="{21140B1C-34C6-4E89-A0FE-E7C561910251}"/>
              </a:ext>
            </a:extLst>
          </p:cNvPr>
          <p:cNvSpPr txBox="1"/>
          <p:nvPr/>
        </p:nvSpPr>
        <p:spPr>
          <a:xfrm>
            <a:off x="4476479" y="1526620"/>
            <a:ext cx="3722441" cy="4747053"/>
          </a:xfrm>
          <a:prstGeom prst="rect">
            <a:avLst/>
          </a:prstGeom>
          <a:noFill/>
        </p:spPr>
        <p:txBody>
          <a:bodyPr wrap="square" lIns="186521" tIns="149217" rIns="186521" bIns="14921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86111" defTabSz="932597">
              <a:spcAft>
                <a:spcPts val="1224"/>
              </a:spcAft>
              <a:defRPr/>
            </a:pPr>
            <a:r>
              <a:rPr lang="en-US" sz="3672" dirty="0">
                <a:gradFill>
                  <a:gsLst>
                    <a:gs pos="35000">
                      <a:srgbClr val="008272"/>
                    </a:gs>
                    <a:gs pos="99000">
                      <a:srgbClr val="008272"/>
                    </a:gs>
                  </a:gsLst>
                  <a:lin ang="18900000" scaled="1"/>
                </a:gradFill>
                <a:latin typeface="Segoe UI Light"/>
              </a:rPr>
              <a:t>Solution</a:t>
            </a:r>
          </a:p>
          <a:p>
            <a:pPr defTabSz="932597">
              <a:spcAft>
                <a:spcPts val="1224"/>
              </a:spcAft>
              <a:defRPr/>
            </a:pPr>
            <a:r>
              <a:rPr lang="en-US" sz="1632" b="1" dirty="0">
                <a:gradFill>
                  <a:gsLst>
                    <a:gs pos="35000">
                      <a:srgbClr val="505050"/>
                    </a:gs>
                    <a:gs pos="99000">
                      <a:srgbClr val="505050"/>
                    </a:gs>
                  </a:gsLst>
                  <a:lin ang="18900000" scaled="1"/>
                </a:gradFill>
                <a:latin typeface="Segoe UI"/>
              </a:rPr>
              <a:t>Eliminate risk of a single point of failure with automated resiliency across multiple Azure datacenters</a:t>
            </a:r>
          </a:p>
          <a:p>
            <a:pPr defTabSz="932597">
              <a:spcAft>
                <a:spcPts val="1224"/>
              </a:spcAft>
              <a:defRPr/>
            </a:pPr>
            <a:r>
              <a:rPr lang="en-US" sz="1632" b="1" dirty="0">
                <a:gradFill>
                  <a:gsLst>
                    <a:gs pos="35000">
                      <a:srgbClr val="505050"/>
                    </a:gs>
                    <a:gs pos="99000">
                      <a:srgbClr val="505050"/>
                    </a:gs>
                  </a:gsLst>
                  <a:lin ang="18900000" scaled="1"/>
                </a:gradFill>
                <a:latin typeface="Segoe UI"/>
              </a:rPr>
              <a:t>Quickly tailor end-user experience using APIs integrated with customer-facing applications</a:t>
            </a:r>
          </a:p>
          <a:p>
            <a:pPr defTabSz="932597">
              <a:spcAft>
                <a:spcPts val="1224"/>
              </a:spcAft>
              <a:defRPr/>
            </a:pPr>
            <a:r>
              <a:rPr lang="en-US" sz="1632" b="1" dirty="0">
                <a:gradFill>
                  <a:gsLst>
                    <a:gs pos="35000">
                      <a:srgbClr val="505050"/>
                    </a:gs>
                    <a:gs pos="99000">
                      <a:srgbClr val="505050"/>
                    </a:gs>
                  </a:gsLst>
                  <a:lin ang="18900000" scaled="1"/>
                </a:gradFill>
                <a:latin typeface="Segoe UI"/>
              </a:rPr>
              <a:t>Connect users to the most appropriate region based on </a:t>
            </a:r>
            <a:br>
              <a:rPr lang="en-US" sz="1632" b="1" dirty="0">
                <a:gradFill>
                  <a:gsLst>
                    <a:gs pos="35000">
                      <a:srgbClr val="505050"/>
                    </a:gs>
                    <a:gs pos="99000">
                      <a:srgbClr val="505050"/>
                    </a:gs>
                  </a:gsLst>
                  <a:lin ang="18900000" scaled="1"/>
                </a:gradFill>
                <a:latin typeface="Segoe UI"/>
              </a:rPr>
            </a:br>
            <a:r>
              <a:rPr lang="en-US" sz="1632" b="1" dirty="0">
                <a:gradFill>
                  <a:gsLst>
                    <a:gs pos="35000">
                      <a:srgbClr val="505050"/>
                    </a:gs>
                    <a:gs pos="99000">
                      <a:srgbClr val="505050"/>
                    </a:gs>
                  </a:gsLst>
                  <a:lin ang="18900000" scaled="1"/>
                </a:gradFill>
                <a:latin typeface="Segoe UI"/>
              </a:rPr>
              <a:t>real-time service health with Azure Traffic Manager</a:t>
            </a:r>
          </a:p>
          <a:p>
            <a:pPr defTabSz="932597">
              <a:spcAft>
                <a:spcPts val="1224"/>
              </a:spcAft>
              <a:defRPr/>
            </a:pPr>
            <a:r>
              <a:rPr lang="en-US" sz="1632" b="1" dirty="0">
                <a:gradFill>
                  <a:gsLst>
                    <a:gs pos="35000">
                      <a:srgbClr val="505050"/>
                    </a:gs>
                    <a:gs pos="99000">
                      <a:srgbClr val="505050"/>
                    </a:gs>
                  </a:gsLst>
                  <a:lin ang="18900000" scaled="1"/>
                </a:gradFill>
                <a:latin typeface="Segoe UI"/>
              </a:rPr>
              <a:t>Optimize operational functions </a:t>
            </a:r>
            <a:br>
              <a:rPr lang="en-US" sz="1632" b="1" dirty="0">
                <a:gradFill>
                  <a:gsLst>
                    <a:gs pos="35000">
                      <a:srgbClr val="505050"/>
                    </a:gs>
                    <a:gs pos="99000">
                      <a:srgbClr val="505050"/>
                    </a:gs>
                  </a:gsLst>
                  <a:lin ang="18900000" scaled="1"/>
                </a:gradFill>
                <a:latin typeface="Segoe UI"/>
              </a:rPr>
            </a:br>
            <a:r>
              <a:rPr lang="en-US" sz="1632" b="1" dirty="0">
                <a:gradFill>
                  <a:gsLst>
                    <a:gs pos="35000">
                      <a:srgbClr val="505050"/>
                    </a:gs>
                    <a:gs pos="99000">
                      <a:srgbClr val="505050"/>
                    </a:gs>
                  </a:gsLst>
                  <a:lin ang="18900000" scaled="1"/>
                </a:gradFill>
                <a:latin typeface="Segoe UI"/>
              </a:rPr>
              <a:t>on the back-end with </a:t>
            </a:r>
            <a:br>
              <a:rPr lang="en-US" sz="1632" b="1" dirty="0">
                <a:gradFill>
                  <a:gsLst>
                    <a:gs pos="35000">
                      <a:srgbClr val="505050"/>
                    </a:gs>
                    <a:gs pos="99000">
                      <a:srgbClr val="505050"/>
                    </a:gs>
                  </a:gsLst>
                  <a:lin ang="18900000" scaled="1"/>
                </a:gradFill>
                <a:latin typeface="Segoe UI"/>
              </a:rPr>
            </a:br>
            <a:r>
              <a:rPr lang="en-US" sz="1632" b="1" dirty="0">
                <a:gradFill>
                  <a:gsLst>
                    <a:gs pos="35000">
                      <a:srgbClr val="505050"/>
                    </a:gs>
                    <a:gs pos="99000">
                      <a:srgbClr val="505050"/>
                    </a:gs>
                  </a:gsLst>
                  <a:lin ang="18900000" scaled="1"/>
                </a:gradFill>
                <a:latin typeface="Segoe UI"/>
              </a:rPr>
              <a:t>Azure Cosmos DB</a:t>
            </a:r>
          </a:p>
        </p:txBody>
      </p:sp>
      <p:sp>
        <p:nvSpPr>
          <p:cNvPr id="10" name="TextBox 10">
            <a:extLst>
              <a:ext uri="{FF2B5EF4-FFF2-40B4-BE49-F238E27FC236}">
                <a16:creationId xmlns:a16="http://schemas.microsoft.com/office/drawing/2014/main" id="{A7F3C934-0725-464F-ADBF-180C4DFD571D}"/>
              </a:ext>
            </a:extLst>
          </p:cNvPr>
          <p:cNvSpPr txBox="1"/>
          <p:nvPr/>
        </p:nvSpPr>
        <p:spPr>
          <a:xfrm>
            <a:off x="8615221" y="1526620"/>
            <a:ext cx="3523168" cy="4941593"/>
          </a:xfrm>
          <a:prstGeom prst="rect">
            <a:avLst/>
          </a:prstGeom>
          <a:noFill/>
        </p:spPr>
        <p:txBody>
          <a:bodyPr wrap="square" lIns="186521" tIns="149217" rIns="186521" bIns="14921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79635" defTabSz="932597">
              <a:spcAft>
                <a:spcPts val="1224"/>
              </a:spcAft>
              <a:defRPr/>
            </a:pPr>
            <a:r>
              <a:rPr lang="en-US" sz="3672" dirty="0">
                <a:gradFill>
                  <a:gsLst>
                    <a:gs pos="35000">
                      <a:srgbClr val="008272"/>
                    </a:gs>
                    <a:gs pos="99000">
                      <a:srgbClr val="008272"/>
                    </a:gs>
                  </a:gsLst>
                  <a:lin ang="18900000" scaled="1"/>
                </a:gradFill>
                <a:latin typeface="Segoe UI Light"/>
              </a:rPr>
              <a:t>Impact</a:t>
            </a:r>
          </a:p>
          <a:p>
            <a:pPr defTabSz="932597"/>
            <a:r>
              <a:rPr lang="en-US" sz="1632" b="1" dirty="0">
                <a:gradFill>
                  <a:gsLst>
                    <a:gs pos="35000">
                      <a:srgbClr val="505050"/>
                    </a:gs>
                    <a:gs pos="99000">
                      <a:srgbClr val="505050"/>
                    </a:gs>
                  </a:gsLst>
                  <a:lin ang="18900000" scaled="1"/>
                </a:gradFill>
                <a:latin typeface="Segoe UI"/>
              </a:rPr>
              <a:t>High scalability and fast performance translated to more sales, more than doubling Black Friday and Cyber Monday orders from the previous year</a:t>
            </a:r>
            <a:endParaRPr lang="en-US" sz="1632" b="1" i="1" dirty="0">
              <a:gradFill>
                <a:gsLst>
                  <a:gs pos="35000">
                    <a:srgbClr val="505050"/>
                  </a:gs>
                  <a:gs pos="99000">
                    <a:srgbClr val="505050"/>
                  </a:gs>
                </a:gsLst>
                <a:lin ang="18900000" scaled="1"/>
              </a:gradFill>
              <a:latin typeface="Segoe UI"/>
            </a:endParaRPr>
          </a:p>
          <a:p>
            <a:pPr marL="123051" indent="-123051" defTabSz="932597">
              <a:spcBef>
                <a:spcPts val="1224"/>
              </a:spcBef>
            </a:pPr>
            <a:r>
              <a:rPr lang="en-US" sz="1632" b="1" i="1" dirty="0">
                <a:gradFill>
                  <a:gsLst>
                    <a:gs pos="35000">
                      <a:srgbClr val="505050"/>
                    </a:gs>
                    <a:gs pos="99000">
                      <a:srgbClr val="505050"/>
                    </a:gs>
                  </a:gsLst>
                  <a:lin ang="18900000" scaled="1"/>
                </a:gradFill>
                <a:latin typeface="Segoe UI"/>
              </a:rPr>
              <a:t>“We can react to changes in </a:t>
            </a:r>
            <a:br>
              <a:rPr lang="en-US" sz="1632" b="1" i="1" dirty="0">
                <a:gradFill>
                  <a:gsLst>
                    <a:gs pos="35000">
                      <a:srgbClr val="505050"/>
                    </a:gs>
                    <a:gs pos="99000">
                      <a:srgbClr val="505050"/>
                    </a:gs>
                  </a:gsLst>
                  <a:lin ang="18900000" scaled="1"/>
                </a:gradFill>
                <a:latin typeface="Segoe UI"/>
              </a:rPr>
            </a:br>
            <a:r>
              <a:rPr lang="en-US" sz="1632" b="1" i="1" dirty="0">
                <a:gradFill>
                  <a:gsLst>
                    <a:gs pos="35000">
                      <a:srgbClr val="505050"/>
                    </a:gs>
                    <a:gs pos="99000">
                      <a:srgbClr val="505050"/>
                    </a:gs>
                  </a:gsLst>
                  <a:lin ang="18900000" scaled="1"/>
                </a:gradFill>
                <a:latin typeface="Segoe UI"/>
              </a:rPr>
              <a:t>our global customer base. For example, if we expand our marketing spend in the US, we can simultaneously beef up services to support those new consumers. We can introduce new features and ramp up deployment wherever our customers are in the world.”</a:t>
            </a:r>
          </a:p>
        </p:txBody>
      </p:sp>
      <p:sp>
        <p:nvSpPr>
          <p:cNvPr id="11" name="CRMArticles_EFF5" title="Icon of two documents stacked together with writing on them">
            <a:extLst>
              <a:ext uri="{FF2B5EF4-FFF2-40B4-BE49-F238E27FC236}">
                <a16:creationId xmlns:a16="http://schemas.microsoft.com/office/drawing/2014/main" id="{E86BE30F-D740-4D00-99E9-7D406B44FB5A}"/>
              </a:ext>
            </a:extLst>
          </p:cNvPr>
          <p:cNvSpPr>
            <a:spLocks noChangeAspect="1" noEditPoints="1"/>
          </p:cNvSpPr>
          <p:nvPr/>
        </p:nvSpPr>
        <p:spPr bwMode="auto">
          <a:xfrm>
            <a:off x="551697" y="1794938"/>
            <a:ext cx="323164" cy="373041"/>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13" name="star_2" title="Icon of a person inside a star shape">
            <a:extLst>
              <a:ext uri="{FF2B5EF4-FFF2-40B4-BE49-F238E27FC236}">
                <a16:creationId xmlns:a16="http://schemas.microsoft.com/office/drawing/2014/main" id="{326EFADF-535C-4F71-A61C-13C7E626D678}"/>
              </a:ext>
            </a:extLst>
          </p:cNvPr>
          <p:cNvSpPr>
            <a:spLocks noChangeAspect="1" noEditPoints="1"/>
          </p:cNvSpPr>
          <p:nvPr/>
        </p:nvSpPr>
        <p:spPr bwMode="auto">
          <a:xfrm>
            <a:off x="8774640" y="1794938"/>
            <a:ext cx="394458" cy="373041"/>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 name="Quest_ED40" title="Icon of a map with a dotted line leading to an ex">
            <a:extLst>
              <a:ext uri="{FF2B5EF4-FFF2-40B4-BE49-F238E27FC236}">
                <a16:creationId xmlns:a16="http://schemas.microsoft.com/office/drawing/2014/main" id="{D0BAE845-A405-4F9D-B6D2-01FFA5A1A2CE}"/>
              </a:ext>
            </a:extLst>
          </p:cNvPr>
          <p:cNvSpPr>
            <a:spLocks noChangeAspect="1" noEditPoints="1"/>
          </p:cNvSpPr>
          <p:nvPr/>
        </p:nvSpPr>
        <p:spPr bwMode="auto">
          <a:xfrm>
            <a:off x="4714087" y="1794938"/>
            <a:ext cx="372951" cy="373041"/>
          </a:xfrm>
          <a:custGeom>
            <a:avLst/>
            <a:gdLst>
              <a:gd name="T0" fmla="*/ 2625 w 3750"/>
              <a:gd name="T1" fmla="*/ 3000 h 3750"/>
              <a:gd name="T2" fmla="*/ 2360 w 3750"/>
              <a:gd name="T3" fmla="*/ 3110 h 3750"/>
              <a:gd name="T4" fmla="*/ 2250 w 3750"/>
              <a:gd name="T5" fmla="*/ 3375 h 3750"/>
              <a:gd name="T6" fmla="*/ 2360 w 3750"/>
              <a:gd name="T7" fmla="*/ 3640 h 3750"/>
              <a:gd name="T8" fmla="*/ 2625 w 3750"/>
              <a:gd name="T9" fmla="*/ 3750 h 3750"/>
              <a:gd name="T10" fmla="*/ 375 w 3750"/>
              <a:gd name="T11" fmla="*/ 3750 h 3750"/>
              <a:gd name="T12" fmla="*/ 110 w 3750"/>
              <a:gd name="T13" fmla="*/ 3640 h 3750"/>
              <a:gd name="T14" fmla="*/ 0 w 3750"/>
              <a:gd name="T15" fmla="*/ 3375 h 3750"/>
              <a:gd name="T16" fmla="*/ 110 w 3750"/>
              <a:gd name="T17" fmla="*/ 3110 h 3750"/>
              <a:gd name="T18" fmla="*/ 375 w 3750"/>
              <a:gd name="T19" fmla="*/ 3000 h 3750"/>
              <a:gd name="T20" fmla="*/ 2625 w 3750"/>
              <a:gd name="T21" fmla="*/ 3000 h 3750"/>
              <a:gd name="T22" fmla="*/ 500 w 3750"/>
              <a:gd name="T23" fmla="*/ 2875 h 3750"/>
              <a:gd name="T24" fmla="*/ 500 w 3750"/>
              <a:gd name="T25" fmla="*/ 375 h 3750"/>
              <a:gd name="T26" fmla="*/ 3000 w 3750"/>
              <a:gd name="T27" fmla="*/ 750 h 3750"/>
              <a:gd name="T28" fmla="*/ 3375 w 3750"/>
              <a:gd name="T29" fmla="*/ 750 h 3750"/>
              <a:gd name="T30" fmla="*/ 3750 w 3750"/>
              <a:gd name="T31" fmla="*/ 375 h 3750"/>
              <a:gd name="T32" fmla="*/ 3375 w 3750"/>
              <a:gd name="T33" fmla="*/ 0 h 3750"/>
              <a:gd name="T34" fmla="*/ 3000 w 3750"/>
              <a:gd name="T35" fmla="*/ 375 h 3750"/>
              <a:gd name="T36" fmla="*/ 3000 w 3750"/>
              <a:gd name="T37" fmla="*/ 2375 h 3750"/>
              <a:gd name="T38" fmla="*/ 3366 w 3750"/>
              <a:gd name="T39" fmla="*/ 0 h 3750"/>
              <a:gd name="T40" fmla="*/ 875 w 3750"/>
              <a:gd name="T41" fmla="*/ 0 h 3750"/>
              <a:gd name="T42" fmla="*/ 500 w 3750"/>
              <a:gd name="T43" fmla="*/ 375 h 3750"/>
              <a:gd name="T44" fmla="*/ 3000 w 3750"/>
              <a:gd name="T45" fmla="*/ 2375 h 3750"/>
              <a:gd name="T46" fmla="*/ 3000 w 3750"/>
              <a:gd name="T47" fmla="*/ 3375 h 3750"/>
              <a:gd name="T48" fmla="*/ 375 w 3750"/>
              <a:gd name="T49" fmla="*/ 3750 h 3750"/>
              <a:gd name="T50" fmla="*/ 2625 w 3750"/>
              <a:gd name="T51" fmla="*/ 3750 h 3750"/>
              <a:gd name="T52" fmla="*/ 3000 w 3750"/>
              <a:gd name="T53" fmla="*/ 3375 h 3750"/>
              <a:gd name="T54" fmla="*/ 1625 w 3750"/>
              <a:gd name="T55" fmla="*/ 375 h 3750"/>
              <a:gd name="T56" fmla="*/ 2375 w 3750"/>
              <a:gd name="T57" fmla="*/ 1125 h 3750"/>
              <a:gd name="T58" fmla="*/ 2375 w 3750"/>
              <a:gd name="T59" fmla="*/ 375 h 3750"/>
              <a:gd name="T60" fmla="*/ 1625 w 3750"/>
              <a:gd name="T61" fmla="*/ 1125 h 3750"/>
              <a:gd name="T62" fmla="*/ 1000 w 3750"/>
              <a:gd name="T63" fmla="*/ 1875 h 3750"/>
              <a:gd name="T64" fmla="*/ 1000 w 3750"/>
              <a:gd name="T65" fmla="*/ 2125 h 3750"/>
              <a:gd name="T66" fmla="*/ 1338 w 3750"/>
              <a:gd name="T67" fmla="*/ 1412 h 3750"/>
              <a:gd name="T68" fmla="*/ 1162 w 3750"/>
              <a:gd name="T69" fmla="*/ 1588 h 3750"/>
              <a:gd name="T70" fmla="*/ 1162 w 3750"/>
              <a:gd name="T71" fmla="*/ 2412 h 3750"/>
              <a:gd name="T72" fmla="*/ 1338 w 3750"/>
              <a:gd name="T73" fmla="*/ 2588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50" h="3750">
                <a:moveTo>
                  <a:pt x="2625" y="3000"/>
                </a:moveTo>
                <a:cubicBezTo>
                  <a:pt x="2521" y="3000"/>
                  <a:pt x="2428" y="3042"/>
                  <a:pt x="2360" y="3110"/>
                </a:cubicBezTo>
                <a:cubicBezTo>
                  <a:pt x="2292" y="3178"/>
                  <a:pt x="2250" y="3271"/>
                  <a:pt x="2250" y="3375"/>
                </a:cubicBezTo>
                <a:cubicBezTo>
                  <a:pt x="2250" y="3479"/>
                  <a:pt x="2292" y="3572"/>
                  <a:pt x="2360" y="3640"/>
                </a:cubicBezTo>
                <a:cubicBezTo>
                  <a:pt x="2428" y="3708"/>
                  <a:pt x="2521" y="3750"/>
                  <a:pt x="2625" y="3750"/>
                </a:cubicBezTo>
                <a:moveTo>
                  <a:pt x="375" y="3750"/>
                </a:moveTo>
                <a:cubicBezTo>
                  <a:pt x="271" y="3750"/>
                  <a:pt x="178" y="3708"/>
                  <a:pt x="110" y="3640"/>
                </a:cubicBezTo>
                <a:cubicBezTo>
                  <a:pt x="42" y="3572"/>
                  <a:pt x="0" y="3479"/>
                  <a:pt x="0" y="3375"/>
                </a:cubicBezTo>
                <a:cubicBezTo>
                  <a:pt x="0" y="3271"/>
                  <a:pt x="42" y="3178"/>
                  <a:pt x="110" y="3110"/>
                </a:cubicBezTo>
                <a:cubicBezTo>
                  <a:pt x="178" y="3042"/>
                  <a:pt x="271" y="3000"/>
                  <a:pt x="375" y="3000"/>
                </a:cubicBezTo>
                <a:cubicBezTo>
                  <a:pt x="2625" y="3000"/>
                  <a:pt x="2625" y="3000"/>
                  <a:pt x="2625" y="3000"/>
                </a:cubicBezTo>
                <a:moveTo>
                  <a:pt x="500" y="2875"/>
                </a:moveTo>
                <a:cubicBezTo>
                  <a:pt x="500" y="375"/>
                  <a:pt x="500" y="375"/>
                  <a:pt x="500" y="375"/>
                </a:cubicBezTo>
                <a:moveTo>
                  <a:pt x="3000" y="750"/>
                </a:moveTo>
                <a:cubicBezTo>
                  <a:pt x="3375" y="750"/>
                  <a:pt x="3375" y="750"/>
                  <a:pt x="3375" y="750"/>
                </a:cubicBezTo>
                <a:cubicBezTo>
                  <a:pt x="3582" y="750"/>
                  <a:pt x="3750" y="582"/>
                  <a:pt x="3750" y="375"/>
                </a:cubicBezTo>
                <a:cubicBezTo>
                  <a:pt x="3750" y="168"/>
                  <a:pt x="3582" y="0"/>
                  <a:pt x="3375" y="0"/>
                </a:cubicBezTo>
                <a:cubicBezTo>
                  <a:pt x="3168" y="0"/>
                  <a:pt x="3000" y="168"/>
                  <a:pt x="3000" y="375"/>
                </a:cubicBezTo>
                <a:cubicBezTo>
                  <a:pt x="3000" y="2375"/>
                  <a:pt x="3000" y="2375"/>
                  <a:pt x="3000" y="2375"/>
                </a:cubicBezTo>
                <a:moveTo>
                  <a:pt x="3366" y="0"/>
                </a:moveTo>
                <a:cubicBezTo>
                  <a:pt x="875" y="0"/>
                  <a:pt x="875" y="0"/>
                  <a:pt x="875" y="0"/>
                </a:cubicBezTo>
                <a:cubicBezTo>
                  <a:pt x="668" y="0"/>
                  <a:pt x="500" y="168"/>
                  <a:pt x="500" y="375"/>
                </a:cubicBezTo>
                <a:moveTo>
                  <a:pt x="3000" y="2375"/>
                </a:moveTo>
                <a:cubicBezTo>
                  <a:pt x="3000" y="3375"/>
                  <a:pt x="3000" y="3375"/>
                  <a:pt x="3000" y="3375"/>
                </a:cubicBezTo>
                <a:moveTo>
                  <a:pt x="375" y="3750"/>
                </a:moveTo>
                <a:cubicBezTo>
                  <a:pt x="2625" y="3750"/>
                  <a:pt x="2625" y="3750"/>
                  <a:pt x="2625" y="3750"/>
                </a:cubicBezTo>
                <a:cubicBezTo>
                  <a:pt x="2832" y="3750"/>
                  <a:pt x="3000" y="3582"/>
                  <a:pt x="3000" y="3375"/>
                </a:cubicBezTo>
                <a:moveTo>
                  <a:pt x="1625" y="375"/>
                </a:moveTo>
                <a:cubicBezTo>
                  <a:pt x="2375" y="1125"/>
                  <a:pt x="2375" y="1125"/>
                  <a:pt x="2375" y="1125"/>
                </a:cubicBezTo>
                <a:moveTo>
                  <a:pt x="2375" y="375"/>
                </a:moveTo>
                <a:cubicBezTo>
                  <a:pt x="1625" y="1125"/>
                  <a:pt x="1625" y="1125"/>
                  <a:pt x="1625" y="1125"/>
                </a:cubicBezTo>
                <a:moveTo>
                  <a:pt x="1000" y="1875"/>
                </a:moveTo>
                <a:cubicBezTo>
                  <a:pt x="1000" y="2125"/>
                  <a:pt x="1000" y="2125"/>
                  <a:pt x="1000" y="2125"/>
                </a:cubicBezTo>
                <a:moveTo>
                  <a:pt x="1338" y="1412"/>
                </a:moveTo>
                <a:cubicBezTo>
                  <a:pt x="1162" y="1588"/>
                  <a:pt x="1162" y="1588"/>
                  <a:pt x="1162" y="1588"/>
                </a:cubicBezTo>
                <a:moveTo>
                  <a:pt x="1162" y="2412"/>
                </a:moveTo>
                <a:cubicBezTo>
                  <a:pt x="1338" y="2588"/>
                  <a:pt x="1338" y="2588"/>
                  <a:pt x="1338" y="2588"/>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918">
              <a:gradFill>
                <a:gsLst>
                  <a:gs pos="0">
                    <a:srgbClr val="505050"/>
                  </a:gs>
                  <a:gs pos="100000">
                    <a:srgbClr val="505050"/>
                  </a:gs>
                </a:gsLst>
                <a:lin ang="5400000" scaled="1"/>
              </a:gradFill>
              <a:latin typeface="Segoe UI"/>
            </a:endParaRPr>
          </a:p>
        </p:txBody>
      </p:sp>
    </p:spTree>
    <p:extLst>
      <p:ext uri="{BB962C8B-B14F-4D97-AF65-F5344CB8AC3E}">
        <p14:creationId xmlns:p14="http://schemas.microsoft.com/office/powerpoint/2010/main" val="324949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50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42" presetClass="path" presetSubtype="0" decel="100000" fill="hold" grpId="1" nodeType="withEffect">
                                  <p:stCondLst>
                                    <p:cond delay="0"/>
                                  </p:stCondLst>
                                  <p:childTnLst>
                                    <p:animMotion origin="layout" path="M -4.375E-6 2.22222E-6 L 0.0004 0.04699 " pathEditMode="relative" rAng="0" ptsTypes="AA">
                                      <p:cBhvr>
                                        <p:cTn id="17" dur="500" spd="-100000" fill="hold"/>
                                        <p:tgtEl>
                                          <p:spTgt spid="8"/>
                                        </p:tgtEl>
                                        <p:attrNameLst>
                                          <p:attrName>ppt_x</p:attrName>
                                          <p:attrName>ppt_y</p:attrName>
                                        </p:attrNameLst>
                                      </p:cBhvr>
                                      <p:rCtr x="13" y="2338"/>
                                    </p:animMotion>
                                  </p:childTnLst>
                                </p:cTn>
                              </p:par>
                              <p:par>
                                <p:cTn id="18" presetID="10" presetClass="entr" presetSubtype="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42" presetClass="path" presetSubtype="0" decel="100000" fill="hold" grpId="1" nodeType="withEffect">
                                  <p:stCondLst>
                                    <p:cond delay="0"/>
                                  </p:stCondLst>
                                  <p:childTnLst>
                                    <p:animMotion origin="layout" path="M -4.375E-6 2.22222E-6 L 0.0004 0.04699 " pathEditMode="relative" rAng="0" ptsTypes="AA">
                                      <p:cBhvr>
                                        <p:cTn id="22" dur="500" spd="-100000" fill="hold"/>
                                        <p:tgtEl>
                                          <p:spTgt spid="11"/>
                                        </p:tgtEl>
                                        <p:attrNameLst>
                                          <p:attrName>ppt_x</p:attrName>
                                          <p:attrName>ppt_y</p:attrName>
                                        </p:attrNameLst>
                                      </p:cBhvr>
                                      <p:rCtr x="13" y="2338"/>
                                    </p:animMotion>
                                  </p:childTnLst>
                                </p:cTn>
                              </p:par>
                            </p:childTnLst>
                          </p:cTn>
                        </p:par>
                        <p:par>
                          <p:cTn id="23" fill="hold">
                            <p:stCondLst>
                              <p:cond delay="1500"/>
                            </p:stCondLst>
                            <p:childTnLst>
                              <p:par>
                                <p:cTn id="24" presetID="10" presetClass="entr" presetSubtype="0" fill="hold" grpId="0"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42" presetClass="path" presetSubtype="0" decel="100000" fill="hold" grpId="1" nodeType="withEffect">
                                  <p:stCondLst>
                                    <p:cond delay="0"/>
                                  </p:stCondLst>
                                  <p:childTnLst>
                                    <p:animMotion origin="layout" path="M -4.375E-6 2.22222E-6 L 0.0004 0.04699 " pathEditMode="relative" rAng="0" ptsTypes="AA">
                                      <p:cBhvr>
                                        <p:cTn id="28" dur="500" spd="-100000" fill="hold"/>
                                        <p:tgtEl>
                                          <p:spTgt spid="9"/>
                                        </p:tgtEl>
                                        <p:attrNameLst>
                                          <p:attrName>ppt_x</p:attrName>
                                          <p:attrName>ppt_y</p:attrName>
                                        </p:attrNameLst>
                                      </p:cBhvr>
                                      <p:rCtr x="13" y="2338"/>
                                    </p:animMotion>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42" presetClass="path" presetSubtype="0" decel="100000" fill="hold" grpId="1" nodeType="withEffect">
                                  <p:stCondLst>
                                    <p:cond delay="0"/>
                                  </p:stCondLst>
                                  <p:childTnLst>
                                    <p:animMotion origin="layout" path="M -4.375E-6 2.22222E-6 L 0.0004 0.04699 " pathEditMode="relative" rAng="0" ptsTypes="AA">
                                      <p:cBhvr>
                                        <p:cTn id="33" dur="500" spd="-100000" fill="hold"/>
                                        <p:tgtEl>
                                          <p:spTgt spid="14"/>
                                        </p:tgtEl>
                                        <p:attrNameLst>
                                          <p:attrName>ppt_x</p:attrName>
                                          <p:attrName>ppt_y</p:attrName>
                                        </p:attrNameLst>
                                      </p:cBhvr>
                                      <p:rCtr x="13" y="2338"/>
                                    </p:animMotion>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decel="100000" fill="hold" grpId="1" nodeType="withEffect">
                                  <p:stCondLst>
                                    <p:cond delay="0"/>
                                  </p:stCondLst>
                                  <p:childTnLst>
                                    <p:animMotion origin="layout" path="M 5E-6 7.40741E-7 L 0.0004 0.04699 " pathEditMode="relative" rAng="0" ptsTypes="AA">
                                      <p:cBhvr>
                                        <p:cTn id="39" dur="500" spd="-100000" fill="hold"/>
                                        <p:tgtEl>
                                          <p:spTgt spid="10"/>
                                        </p:tgtEl>
                                        <p:attrNameLst>
                                          <p:attrName>ppt_x</p:attrName>
                                          <p:attrName>ppt_y</p:attrName>
                                        </p:attrNameLst>
                                      </p:cBhvr>
                                      <p:rCtr x="13" y="2338"/>
                                    </p:animMotion>
                                  </p:childTnLst>
                                </p:cTn>
                              </p:par>
                              <p:par>
                                <p:cTn id="40" presetID="10" presetClass="entr" presetSubtype="0"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42" presetClass="path" presetSubtype="0" decel="100000" fill="hold" grpId="1" nodeType="withEffect">
                                  <p:stCondLst>
                                    <p:cond delay="0"/>
                                  </p:stCondLst>
                                  <p:childTnLst>
                                    <p:animMotion origin="layout" path="M -4.375E-6 -3.33333E-6 L 0.0004 0.04699 " pathEditMode="relative" rAng="0" ptsTypes="AA">
                                      <p:cBhvr>
                                        <p:cTn id="44" dur="500" spd="-100000" fill="hold"/>
                                        <p:tgtEl>
                                          <p:spTgt spid="13"/>
                                        </p:tgtEl>
                                        <p:attrNameLst>
                                          <p:attrName>ppt_x</p:attrName>
                                          <p:attrName>ppt_y</p:attrName>
                                        </p:attrNameLst>
                                      </p:cBhvr>
                                      <p:rCtr x="13" y="23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8" grpId="0"/>
      <p:bldP spid="8" grpId="1"/>
      <p:bldP spid="9" grpId="0"/>
      <p:bldP spid="9" grpId="1"/>
      <p:bldP spid="10" grpId="0"/>
      <p:bldP spid="10" grpId="1"/>
      <p:bldP spid="11" grpId="0" animBg="1"/>
      <p:bldP spid="11" grpId="1" animBg="1"/>
      <p:bldP spid="13" grpId="0" animBg="1"/>
      <p:bldP spid="13" grpId="1" animBg="1"/>
      <p:bldP spid="14" grpId="0" animBg="1"/>
      <p:bldP spid="14" grpId="1"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148" y="62938"/>
            <a:ext cx="0" cy="0"/>
          </a:xfrm>
        </p:spPr>
        <p:txBody>
          <a:bodyPr/>
          <a:lstStyle/>
          <a:p>
            <a:r>
              <a:rPr lang="en-US" dirty="0"/>
              <a:t>Chat bots </a:t>
            </a:r>
          </a:p>
        </p:txBody>
      </p:sp>
      <p:sp>
        <p:nvSpPr>
          <p:cNvPr id="5" name="Freeform 5">
            <a:extLst>
              <a:ext uri="{FF2B5EF4-FFF2-40B4-BE49-F238E27FC236}">
                <a16:creationId xmlns:a16="http://schemas.microsoft.com/office/drawing/2014/main" id="{3551D4DE-D310-4E06-BADE-77317931C6A8}"/>
              </a:ext>
            </a:extLst>
          </p:cNvPr>
          <p:cNvSpPr>
            <a:spLocks/>
          </p:cNvSpPr>
          <p:nvPr/>
        </p:nvSpPr>
        <p:spPr bwMode="auto">
          <a:xfrm>
            <a:off x="9091436" y="1873047"/>
            <a:ext cx="2399727" cy="4302212"/>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12" name="Freeform 7">
            <a:extLst>
              <a:ext uri="{FF2B5EF4-FFF2-40B4-BE49-F238E27FC236}">
                <a16:creationId xmlns:a16="http://schemas.microsoft.com/office/drawing/2014/main" id="{20AE2BA1-BF87-4726-BB4C-0A3A6BABBCA3}"/>
              </a:ext>
            </a:extLst>
          </p:cNvPr>
          <p:cNvSpPr>
            <a:spLocks/>
          </p:cNvSpPr>
          <p:nvPr/>
        </p:nvSpPr>
        <p:spPr bwMode="auto">
          <a:xfrm>
            <a:off x="9624706" y="2118064"/>
            <a:ext cx="1311562" cy="64858"/>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13" name="Freeform 8">
            <a:extLst>
              <a:ext uri="{FF2B5EF4-FFF2-40B4-BE49-F238E27FC236}">
                <a16:creationId xmlns:a16="http://schemas.microsoft.com/office/drawing/2014/main" id="{A224DBC2-CAF4-4C70-9800-3B1A66E3B984}"/>
              </a:ext>
            </a:extLst>
          </p:cNvPr>
          <p:cNvSpPr>
            <a:spLocks/>
          </p:cNvSpPr>
          <p:nvPr/>
        </p:nvSpPr>
        <p:spPr bwMode="auto">
          <a:xfrm>
            <a:off x="9199530" y="5800529"/>
            <a:ext cx="245016" cy="129715"/>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14" name="Freeform 9">
            <a:extLst>
              <a:ext uri="{FF2B5EF4-FFF2-40B4-BE49-F238E27FC236}">
                <a16:creationId xmlns:a16="http://schemas.microsoft.com/office/drawing/2014/main" id="{1A3117E7-1661-4BCF-9320-2E11EF78B9C5}"/>
              </a:ext>
            </a:extLst>
          </p:cNvPr>
          <p:cNvSpPr>
            <a:spLocks/>
          </p:cNvSpPr>
          <p:nvPr/>
        </p:nvSpPr>
        <p:spPr bwMode="auto">
          <a:xfrm>
            <a:off x="11116429" y="5800529"/>
            <a:ext cx="245016" cy="129715"/>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15" name="Freeform 10">
            <a:extLst>
              <a:ext uri="{FF2B5EF4-FFF2-40B4-BE49-F238E27FC236}">
                <a16:creationId xmlns:a16="http://schemas.microsoft.com/office/drawing/2014/main" id="{AB76AA29-2877-4013-9765-1BE2F847EFBD}"/>
              </a:ext>
            </a:extLst>
          </p:cNvPr>
          <p:cNvSpPr>
            <a:spLocks/>
          </p:cNvSpPr>
          <p:nvPr/>
        </p:nvSpPr>
        <p:spPr bwMode="auto">
          <a:xfrm>
            <a:off x="10028265" y="5735667"/>
            <a:ext cx="504447" cy="266636"/>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pic>
        <p:nvPicPr>
          <p:cNvPr id="108" name="BotFrameworkLoopingVideo">
            <a:hlinkClick r:id="" action="ppaction://media"/>
            <a:extLst>
              <a:ext uri="{FF2B5EF4-FFF2-40B4-BE49-F238E27FC236}">
                <a16:creationId xmlns:a16="http://schemas.microsoft.com/office/drawing/2014/main" id="{BD805836-A295-48F6-9EA7-A0AEC91B1EA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200279" y="2485590"/>
            <a:ext cx="2182036" cy="3142604"/>
          </a:xfrm>
          <a:prstGeom prst="rect">
            <a:avLst/>
          </a:prstGeom>
        </p:spPr>
      </p:pic>
      <p:sp>
        <p:nvSpPr>
          <p:cNvPr id="111" name="Freeform: Shape 110">
            <a:extLst>
              <a:ext uri="{FF2B5EF4-FFF2-40B4-BE49-F238E27FC236}">
                <a16:creationId xmlns:a16="http://schemas.microsoft.com/office/drawing/2014/main" id="{CCD2D443-E773-4935-B651-6A2FA6D5332A}"/>
              </a:ext>
            </a:extLst>
          </p:cNvPr>
          <p:cNvSpPr/>
          <p:nvPr/>
        </p:nvSpPr>
        <p:spPr bwMode="auto">
          <a:xfrm>
            <a:off x="2933744" y="4211397"/>
            <a:ext cx="4080320" cy="458179"/>
          </a:xfrm>
          <a:custGeom>
            <a:avLst/>
            <a:gdLst>
              <a:gd name="connsiteX0" fmla="*/ 0 w 3183467"/>
              <a:gd name="connsiteY0" fmla="*/ 338667 h 338667"/>
              <a:gd name="connsiteX1" fmla="*/ 300567 w 3183467"/>
              <a:gd name="connsiteY1" fmla="*/ 338667 h 338667"/>
              <a:gd name="connsiteX2" fmla="*/ 465667 w 3183467"/>
              <a:gd name="connsiteY2" fmla="*/ 173567 h 338667"/>
              <a:gd name="connsiteX3" fmla="*/ 1494367 w 3183467"/>
              <a:gd name="connsiteY3" fmla="*/ 173567 h 338667"/>
              <a:gd name="connsiteX4" fmla="*/ 1600200 w 3183467"/>
              <a:gd name="connsiteY4" fmla="*/ 0 h 338667"/>
              <a:gd name="connsiteX5" fmla="*/ 3183467 w 3183467"/>
              <a:gd name="connsiteY5" fmla="*/ 0 h 33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3467" h="338667">
                <a:moveTo>
                  <a:pt x="0" y="338667"/>
                </a:moveTo>
                <a:lnTo>
                  <a:pt x="300567" y="338667"/>
                </a:lnTo>
                <a:lnTo>
                  <a:pt x="465667" y="173567"/>
                </a:lnTo>
                <a:lnTo>
                  <a:pt x="1494367" y="173567"/>
                </a:lnTo>
                <a:lnTo>
                  <a:pt x="1600200" y="0"/>
                </a:lnTo>
                <a:lnTo>
                  <a:pt x="3183467" y="0"/>
                </a:lnTo>
              </a:path>
            </a:pathLst>
          </a:custGeom>
          <a:noFill/>
          <a:ln w="3175" cap="flat">
            <a:solidFill>
              <a:schemeClr val="accent5"/>
            </a:solidFill>
            <a:prstDash val="solid"/>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2400">
              <a:solidFill>
                <a:srgbClr val="414241"/>
              </a:solidFill>
              <a:latin typeface="Segoe UI Light"/>
            </a:endParaRPr>
          </a:p>
        </p:txBody>
      </p:sp>
      <p:sp>
        <p:nvSpPr>
          <p:cNvPr id="110" name="Freeform: Shape 109">
            <a:extLst>
              <a:ext uri="{FF2B5EF4-FFF2-40B4-BE49-F238E27FC236}">
                <a16:creationId xmlns:a16="http://schemas.microsoft.com/office/drawing/2014/main" id="{44BA6E20-095F-4935-8EF6-2F32719FD895}"/>
              </a:ext>
            </a:extLst>
          </p:cNvPr>
          <p:cNvSpPr/>
          <p:nvPr/>
        </p:nvSpPr>
        <p:spPr bwMode="auto">
          <a:xfrm>
            <a:off x="2265052" y="3864667"/>
            <a:ext cx="4144941" cy="656310"/>
          </a:xfrm>
          <a:custGeom>
            <a:avLst/>
            <a:gdLst>
              <a:gd name="connsiteX0" fmla="*/ 0 w 3860800"/>
              <a:gd name="connsiteY0" fmla="*/ 673100 h 673100"/>
              <a:gd name="connsiteX1" fmla="*/ 0 w 3860800"/>
              <a:gd name="connsiteY1" fmla="*/ 0 h 673100"/>
              <a:gd name="connsiteX2" fmla="*/ 3860800 w 3860800"/>
              <a:gd name="connsiteY2" fmla="*/ 0 h 673100"/>
            </a:gdLst>
            <a:ahLst/>
            <a:cxnLst>
              <a:cxn ang="0">
                <a:pos x="connsiteX0" y="connsiteY0"/>
              </a:cxn>
              <a:cxn ang="0">
                <a:pos x="connsiteX1" y="connsiteY1"/>
              </a:cxn>
              <a:cxn ang="0">
                <a:pos x="connsiteX2" y="connsiteY2"/>
              </a:cxn>
            </a:cxnLst>
            <a:rect l="l" t="t" r="r" b="b"/>
            <a:pathLst>
              <a:path w="3860800" h="673100">
                <a:moveTo>
                  <a:pt x="0" y="673100"/>
                </a:moveTo>
                <a:lnTo>
                  <a:pt x="0" y="0"/>
                </a:lnTo>
                <a:lnTo>
                  <a:pt x="3860800" y="0"/>
                </a:lnTo>
              </a:path>
            </a:pathLst>
          </a:custGeom>
          <a:noFill/>
          <a:ln w="3175" cap="flat">
            <a:solidFill>
              <a:schemeClr val="accent5"/>
            </a:solidFill>
            <a:prstDash val="solid"/>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2400">
              <a:solidFill>
                <a:srgbClr val="414241"/>
              </a:solidFill>
              <a:latin typeface="Segoe UI Light"/>
            </a:endParaRPr>
          </a:p>
        </p:txBody>
      </p:sp>
      <p:sp>
        <p:nvSpPr>
          <p:cNvPr id="104" name="Freeform: Shape 103">
            <a:extLst>
              <a:ext uri="{FF2B5EF4-FFF2-40B4-BE49-F238E27FC236}">
                <a16:creationId xmlns:a16="http://schemas.microsoft.com/office/drawing/2014/main" id="{BB752716-3F16-4927-8D3E-437F187FCA60}"/>
              </a:ext>
            </a:extLst>
          </p:cNvPr>
          <p:cNvSpPr/>
          <p:nvPr/>
        </p:nvSpPr>
        <p:spPr bwMode="auto">
          <a:xfrm>
            <a:off x="1583974" y="3992626"/>
            <a:ext cx="4826015" cy="885082"/>
          </a:xfrm>
          <a:custGeom>
            <a:avLst/>
            <a:gdLst>
              <a:gd name="connsiteX0" fmla="*/ 254000 w 4546600"/>
              <a:gd name="connsiteY0" fmla="*/ 825500 h 825500"/>
              <a:gd name="connsiteX1" fmla="*/ 84667 w 4546600"/>
              <a:gd name="connsiteY1" fmla="*/ 825500 h 825500"/>
              <a:gd name="connsiteX2" fmla="*/ 0 w 4546600"/>
              <a:gd name="connsiteY2" fmla="*/ 736600 h 825500"/>
              <a:gd name="connsiteX3" fmla="*/ 0 w 4546600"/>
              <a:gd name="connsiteY3" fmla="*/ 0 h 825500"/>
              <a:gd name="connsiteX4" fmla="*/ 3259667 w 4546600"/>
              <a:gd name="connsiteY4" fmla="*/ 0 h 825500"/>
              <a:gd name="connsiteX5" fmla="*/ 3352800 w 4546600"/>
              <a:gd name="connsiteY5" fmla="*/ 93133 h 825500"/>
              <a:gd name="connsiteX6" fmla="*/ 3352800 w 4546600"/>
              <a:gd name="connsiteY6" fmla="*/ 520700 h 825500"/>
              <a:gd name="connsiteX7" fmla="*/ 4546600 w 4546600"/>
              <a:gd name="connsiteY7" fmla="*/ 520700 h 82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6600" h="825500">
                <a:moveTo>
                  <a:pt x="254000" y="825500"/>
                </a:moveTo>
                <a:lnTo>
                  <a:pt x="84667" y="825500"/>
                </a:lnTo>
                <a:lnTo>
                  <a:pt x="0" y="736600"/>
                </a:lnTo>
                <a:lnTo>
                  <a:pt x="0" y="0"/>
                </a:lnTo>
                <a:lnTo>
                  <a:pt x="3259667" y="0"/>
                </a:lnTo>
                <a:lnTo>
                  <a:pt x="3352800" y="93133"/>
                </a:lnTo>
                <a:lnTo>
                  <a:pt x="3352800" y="520700"/>
                </a:lnTo>
                <a:lnTo>
                  <a:pt x="4546600" y="520700"/>
                </a:lnTo>
              </a:path>
            </a:pathLst>
          </a:custGeom>
          <a:noFill/>
          <a:ln w="3175" cap="flat">
            <a:solidFill>
              <a:schemeClr val="accent5"/>
            </a:solidFill>
            <a:prstDash val="solid"/>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2400">
              <a:solidFill>
                <a:srgbClr val="414241"/>
              </a:solidFill>
              <a:latin typeface="Segoe UI Light"/>
            </a:endParaRPr>
          </a:p>
        </p:txBody>
      </p:sp>
      <p:grpSp>
        <p:nvGrpSpPr>
          <p:cNvPr id="96" name="Group 95">
            <a:extLst>
              <a:ext uri="{FF2B5EF4-FFF2-40B4-BE49-F238E27FC236}">
                <a16:creationId xmlns:a16="http://schemas.microsoft.com/office/drawing/2014/main" id="{708BF256-1E55-4495-B8FA-ACAA793FA52A}"/>
              </a:ext>
            </a:extLst>
          </p:cNvPr>
          <p:cNvGrpSpPr/>
          <p:nvPr/>
        </p:nvGrpSpPr>
        <p:grpSpPr>
          <a:xfrm>
            <a:off x="1003803" y="1596432"/>
            <a:ext cx="6933814" cy="1522956"/>
            <a:chOff x="774499" y="2427216"/>
            <a:chExt cx="5080398" cy="992474"/>
          </a:xfrm>
        </p:grpSpPr>
        <p:grpSp>
          <p:nvGrpSpPr>
            <p:cNvPr id="227" name="Group 226">
              <a:extLst>
                <a:ext uri="{FF2B5EF4-FFF2-40B4-BE49-F238E27FC236}">
                  <a16:creationId xmlns:a16="http://schemas.microsoft.com/office/drawing/2014/main" id="{1674D713-1EE9-4622-93FD-52FAA7EFDDB8}"/>
                </a:ext>
              </a:extLst>
            </p:cNvPr>
            <p:cNvGrpSpPr/>
            <p:nvPr/>
          </p:nvGrpSpPr>
          <p:grpSpPr>
            <a:xfrm>
              <a:off x="774499" y="2427219"/>
              <a:ext cx="1507414" cy="992471"/>
              <a:chOff x="774499" y="2486488"/>
              <a:chExt cx="1507414" cy="992471"/>
            </a:xfrm>
          </p:grpSpPr>
          <p:sp>
            <p:nvSpPr>
              <p:cNvPr id="27" name="Rectangle 26">
                <a:extLst>
                  <a:ext uri="{FF2B5EF4-FFF2-40B4-BE49-F238E27FC236}">
                    <a16:creationId xmlns:a16="http://schemas.microsoft.com/office/drawing/2014/main" id="{65C290FC-1691-430F-A033-552D1B1DB7A1}"/>
                  </a:ext>
                </a:extLst>
              </p:cNvPr>
              <p:cNvSpPr/>
              <p:nvPr/>
            </p:nvSpPr>
            <p:spPr bwMode="auto">
              <a:xfrm>
                <a:off x="774499" y="2655999"/>
                <a:ext cx="1507414" cy="822960"/>
              </a:xfrm>
              <a:prstGeom prst="rect">
                <a:avLst/>
              </a:prstGeom>
              <a:noFill/>
              <a:ln w="31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endParaRPr lang="en-US" sz="2800">
                  <a:solidFill>
                    <a:srgbClr val="FFFFFF"/>
                  </a:solidFill>
                  <a:latin typeface="Segoe UI Light"/>
                  <a:ea typeface="Segoe UI" pitchFamily="34" charset="0"/>
                  <a:cs typeface="Segoe UI" pitchFamily="34" charset="0"/>
                </a:endParaRPr>
              </a:p>
            </p:txBody>
          </p:sp>
          <p:sp>
            <p:nvSpPr>
              <p:cNvPr id="144" name="Rectangle 143">
                <a:extLst>
                  <a:ext uri="{FF2B5EF4-FFF2-40B4-BE49-F238E27FC236}">
                    <a16:creationId xmlns:a16="http://schemas.microsoft.com/office/drawing/2014/main" id="{298D27D0-EBEA-47C8-99E5-71AC8B8A81F2}"/>
                  </a:ext>
                </a:extLst>
              </p:cNvPr>
              <p:cNvSpPr/>
              <p:nvPr/>
            </p:nvSpPr>
            <p:spPr bwMode="auto">
              <a:xfrm>
                <a:off x="983327" y="2486488"/>
                <a:ext cx="1089757" cy="290826"/>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r>
                  <a:rPr lang="en-US" sz="2400">
                    <a:gradFill>
                      <a:gsLst>
                        <a:gs pos="1250">
                          <a:srgbClr val="FFFFFF"/>
                        </a:gs>
                        <a:gs pos="100000">
                          <a:srgbClr val="FFFFFF"/>
                        </a:gs>
                      </a:gsLst>
                      <a:lin ang="5400000" scaled="0"/>
                    </a:gradFill>
                    <a:latin typeface="Segoe UI Light"/>
                    <a:ea typeface="Segoe UI" pitchFamily="34" charset="0"/>
                    <a:cs typeface="Segoe UI" pitchFamily="34" charset="0"/>
                  </a:rPr>
                  <a:t>TYPE</a:t>
                </a:r>
              </a:p>
            </p:txBody>
          </p:sp>
          <p:grpSp>
            <p:nvGrpSpPr>
              <p:cNvPr id="17" name="Group 16">
                <a:extLst>
                  <a:ext uri="{FF2B5EF4-FFF2-40B4-BE49-F238E27FC236}">
                    <a16:creationId xmlns:a16="http://schemas.microsoft.com/office/drawing/2014/main" id="{586B5B07-9EB7-4189-9932-8DD8121CA3E6}"/>
                  </a:ext>
                </a:extLst>
              </p:cNvPr>
              <p:cNvGrpSpPr/>
              <p:nvPr/>
            </p:nvGrpSpPr>
            <p:grpSpPr>
              <a:xfrm>
                <a:off x="1188959" y="2816962"/>
                <a:ext cx="678492" cy="537678"/>
                <a:chOff x="-883702" y="2865968"/>
                <a:chExt cx="4841870" cy="3836989"/>
              </a:xfrm>
              <a:solidFill>
                <a:schemeClr val="tx1"/>
              </a:solidFill>
            </p:grpSpPr>
            <p:sp>
              <p:nvSpPr>
                <p:cNvPr id="114" name="Freeform 6">
                  <a:extLst>
                    <a:ext uri="{FF2B5EF4-FFF2-40B4-BE49-F238E27FC236}">
                      <a16:creationId xmlns:a16="http://schemas.microsoft.com/office/drawing/2014/main" id="{100944CC-C055-4953-A449-1E31E79CCB42}"/>
                    </a:ext>
                  </a:extLst>
                </p:cNvPr>
                <p:cNvSpPr>
                  <a:spLocks noEditPoints="1"/>
                </p:cNvSpPr>
                <p:nvPr/>
              </p:nvSpPr>
              <p:spPr bwMode="auto">
                <a:xfrm>
                  <a:off x="-883702" y="2865968"/>
                  <a:ext cx="4841870" cy="3836989"/>
                </a:xfrm>
                <a:custGeom>
                  <a:avLst/>
                  <a:gdLst>
                    <a:gd name="T0" fmla="*/ 0 w 2504"/>
                    <a:gd name="T1" fmla="*/ 813 h 1993"/>
                    <a:gd name="T2" fmla="*/ 46 w 2504"/>
                    <a:gd name="T3" fmla="*/ 713 h 1993"/>
                    <a:gd name="T4" fmla="*/ 206 w 2504"/>
                    <a:gd name="T5" fmla="*/ 641 h 1993"/>
                    <a:gd name="T6" fmla="*/ 578 w 2504"/>
                    <a:gd name="T7" fmla="*/ 641 h 1993"/>
                    <a:gd name="T8" fmla="*/ 1178 w 2504"/>
                    <a:gd name="T9" fmla="*/ 641 h 1993"/>
                    <a:gd name="T10" fmla="*/ 1207 w 2504"/>
                    <a:gd name="T11" fmla="*/ 641 h 1993"/>
                    <a:gd name="T12" fmla="*/ 1194 w 2504"/>
                    <a:gd name="T13" fmla="*/ 556 h 1993"/>
                    <a:gd name="T14" fmla="*/ 1108 w 2504"/>
                    <a:gd name="T15" fmla="*/ 361 h 1993"/>
                    <a:gd name="T16" fmla="*/ 1028 w 2504"/>
                    <a:gd name="T17" fmla="*/ 52 h 1993"/>
                    <a:gd name="T18" fmla="*/ 1069 w 2504"/>
                    <a:gd name="T19" fmla="*/ 2 h 1993"/>
                    <a:gd name="T20" fmla="*/ 1117 w 2504"/>
                    <a:gd name="T21" fmla="*/ 46 h 1993"/>
                    <a:gd name="T22" fmla="*/ 1122 w 2504"/>
                    <a:gd name="T23" fmla="*/ 125 h 1993"/>
                    <a:gd name="T24" fmla="*/ 1195 w 2504"/>
                    <a:gd name="T25" fmla="*/ 333 h 1993"/>
                    <a:gd name="T26" fmla="*/ 1295 w 2504"/>
                    <a:gd name="T27" fmla="*/ 641 h 1993"/>
                    <a:gd name="T28" fmla="*/ 1320 w 2504"/>
                    <a:gd name="T29" fmla="*/ 641 h 1993"/>
                    <a:gd name="T30" fmla="*/ 2294 w 2504"/>
                    <a:gd name="T31" fmla="*/ 641 h 1993"/>
                    <a:gd name="T32" fmla="*/ 2468 w 2504"/>
                    <a:gd name="T33" fmla="*/ 728 h 1993"/>
                    <a:gd name="T34" fmla="*/ 2504 w 2504"/>
                    <a:gd name="T35" fmla="*/ 813 h 1993"/>
                    <a:gd name="T36" fmla="*/ 2504 w 2504"/>
                    <a:gd name="T37" fmla="*/ 1817 h 1993"/>
                    <a:gd name="T38" fmla="*/ 2475 w 2504"/>
                    <a:gd name="T39" fmla="*/ 1895 h 1993"/>
                    <a:gd name="T40" fmla="*/ 2289 w 2504"/>
                    <a:gd name="T41" fmla="*/ 1993 h 1993"/>
                    <a:gd name="T42" fmla="*/ 407 w 2504"/>
                    <a:gd name="T43" fmla="*/ 1993 h 1993"/>
                    <a:gd name="T44" fmla="*/ 207 w 2504"/>
                    <a:gd name="T45" fmla="*/ 1993 h 1993"/>
                    <a:gd name="T46" fmla="*/ 48 w 2504"/>
                    <a:gd name="T47" fmla="*/ 1923 h 1993"/>
                    <a:gd name="T48" fmla="*/ 0 w 2504"/>
                    <a:gd name="T49" fmla="*/ 1817 h 1993"/>
                    <a:gd name="T50" fmla="*/ 0 w 2504"/>
                    <a:gd name="T51" fmla="*/ 813 h 1993"/>
                    <a:gd name="T52" fmla="*/ 1250 w 2504"/>
                    <a:gd name="T53" fmla="*/ 1904 h 1993"/>
                    <a:gd name="T54" fmla="*/ 2284 w 2504"/>
                    <a:gd name="T55" fmla="*/ 1904 h 1993"/>
                    <a:gd name="T56" fmla="*/ 2318 w 2504"/>
                    <a:gd name="T57" fmla="*/ 1902 h 1993"/>
                    <a:gd name="T58" fmla="*/ 2370 w 2504"/>
                    <a:gd name="T59" fmla="*/ 1881 h 1993"/>
                    <a:gd name="T60" fmla="*/ 2415 w 2504"/>
                    <a:gd name="T61" fmla="*/ 1779 h 1993"/>
                    <a:gd name="T62" fmla="*/ 2415 w 2504"/>
                    <a:gd name="T63" fmla="*/ 855 h 1993"/>
                    <a:gd name="T64" fmla="*/ 2413 w 2504"/>
                    <a:gd name="T65" fmla="*/ 825 h 1993"/>
                    <a:gd name="T66" fmla="*/ 2318 w 2504"/>
                    <a:gd name="T67" fmla="*/ 733 h 1993"/>
                    <a:gd name="T68" fmla="*/ 2088 w 2504"/>
                    <a:gd name="T69" fmla="*/ 731 h 1993"/>
                    <a:gd name="T70" fmla="*/ 216 w 2504"/>
                    <a:gd name="T71" fmla="*/ 730 h 1993"/>
                    <a:gd name="T72" fmla="*/ 89 w 2504"/>
                    <a:gd name="T73" fmla="*/ 851 h 1993"/>
                    <a:gd name="T74" fmla="*/ 90 w 2504"/>
                    <a:gd name="T75" fmla="*/ 1785 h 1993"/>
                    <a:gd name="T76" fmla="*/ 101 w 2504"/>
                    <a:gd name="T77" fmla="*/ 1841 h 1993"/>
                    <a:gd name="T78" fmla="*/ 214 w 2504"/>
                    <a:gd name="T79" fmla="*/ 1904 h 1993"/>
                    <a:gd name="T80" fmla="*/ 1250 w 2504"/>
                    <a:gd name="T81" fmla="*/ 1904 h 1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04" h="1993">
                      <a:moveTo>
                        <a:pt x="0" y="813"/>
                      </a:moveTo>
                      <a:cubicBezTo>
                        <a:pt x="11" y="778"/>
                        <a:pt x="21" y="742"/>
                        <a:pt x="46" y="713"/>
                      </a:cubicBezTo>
                      <a:cubicBezTo>
                        <a:pt x="89" y="664"/>
                        <a:pt x="142" y="641"/>
                        <a:pt x="206" y="641"/>
                      </a:cubicBezTo>
                      <a:cubicBezTo>
                        <a:pt x="330" y="642"/>
                        <a:pt x="454" y="641"/>
                        <a:pt x="578" y="641"/>
                      </a:cubicBezTo>
                      <a:cubicBezTo>
                        <a:pt x="778" y="641"/>
                        <a:pt x="978" y="641"/>
                        <a:pt x="1178" y="641"/>
                      </a:cubicBezTo>
                      <a:cubicBezTo>
                        <a:pt x="1186" y="641"/>
                        <a:pt x="1194" y="641"/>
                        <a:pt x="1207" y="641"/>
                      </a:cubicBezTo>
                      <a:cubicBezTo>
                        <a:pt x="1203" y="611"/>
                        <a:pt x="1199" y="583"/>
                        <a:pt x="1194" y="556"/>
                      </a:cubicBezTo>
                      <a:cubicBezTo>
                        <a:pt x="1180" y="485"/>
                        <a:pt x="1144" y="423"/>
                        <a:pt x="1108" y="361"/>
                      </a:cubicBezTo>
                      <a:cubicBezTo>
                        <a:pt x="1054" y="265"/>
                        <a:pt x="1027" y="162"/>
                        <a:pt x="1028" y="52"/>
                      </a:cubicBezTo>
                      <a:cubicBezTo>
                        <a:pt x="1028" y="22"/>
                        <a:pt x="1043" y="4"/>
                        <a:pt x="1069" y="2"/>
                      </a:cubicBezTo>
                      <a:cubicBezTo>
                        <a:pt x="1095" y="0"/>
                        <a:pt x="1114" y="17"/>
                        <a:pt x="1117" y="46"/>
                      </a:cubicBezTo>
                      <a:cubicBezTo>
                        <a:pt x="1119" y="72"/>
                        <a:pt x="1119" y="99"/>
                        <a:pt x="1122" y="125"/>
                      </a:cubicBezTo>
                      <a:cubicBezTo>
                        <a:pt x="1129" y="200"/>
                        <a:pt x="1157" y="268"/>
                        <a:pt x="1195" y="333"/>
                      </a:cubicBezTo>
                      <a:cubicBezTo>
                        <a:pt x="1251" y="428"/>
                        <a:pt x="1291" y="527"/>
                        <a:pt x="1295" y="641"/>
                      </a:cubicBezTo>
                      <a:cubicBezTo>
                        <a:pt x="1305" y="641"/>
                        <a:pt x="1312" y="641"/>
                        <a:pt x="1320" y="641"/>
                      </a:cubicBezTo>
                      <a:cubicBezTo>
                        <a:pt x="1645" y="641"/>
                        <a:pt x="1969" y="642"/>
                        <a:pt x="2294" y="641"/>
                      </a:cubicBezTo>
                      <a:cubicBezTo>
                        <a:pt x="2367" y="641"/>
                        <a:pt x="2427" y="667"/>
                        <a:pt x="2468" y="728"/>
                      </a:cubicBezTo>
                      <a:cubicBezTo>
                        <a:pt x="2485" y="753"/>
                        <a:pt x="2492" y="785"/>
                        <a:pt x="2504" y="813"/>
                      </a:cubicBezTo>
                      <a:cubicBezTo>
                        <a:pt x="2504" y="1148"/>
                        <a:pt x="2504" y="1483"/>
                        <a:pt x="2504" y="1817"/>
                      </a:cubicBezTo>
                      <a:cubicBezTo>
                        <a:pt x="2495" y="1843"/>
                        <a:pt x="2489" y="1872"/>
                        <a:pt x="2475" y="1895"/>
                      </a:cubicBezTo>
                      <a:cubicBezTo>
                        <a:pt x="2434" y="1965"/>
                        <a:pt x="2369" y="1993"/>
                        <a:pt x="2289" y="1993"/>
                      </a:cubicBezTo>
                      <a:cubicBezTo>
                        <a:pt x="1662" y="1993"/>
                        <a:pt x="1035" y="1993"/>
                        <a:pt x="407" y="1993"/>
                      </a:cubicBezTo>
                      <a:cubicBezTo>
                        <a:pt x="341" y="1993"/>
                        <a:pt x="274" y="1993"/>
                        <a:pt x="207" y="1993"/>
                      </a:cubicBezTo>
                      <a:cubicBezTo>
                        <a:pt x="144" y="1993"/>
                        <a:pt x="91" y="1971"/>
                        <a:pt x="48" y="1923"/>
                      </a:cubicBezTo>
                      <a:cubicBezTo>
                        <a:pt x="22" y="1893"/>
                        <a:pt x="9" y="1856"/>
                        <a:pt x="0" y="1817"/>
                      </a:cubicBezTo>
                      <a:cubicBezTo>
                        <a:pt x="0" y="1483"/>
                        <a:pt x="0" y="1148"/>
                        <a:pt x="0" y="813"/>
                      </a:cubicBezTo>
                      <a:close/>
                      <a:moveTo>
                        <a:pt x="1250" y="1904"/>
                      </a:moveTo>
                      <a:cubicBezTo>
                        <a:pt x="1595" y="1904"/>
                        <a:pt x="1939" y="1904"/>
                        <a:pt x="2284" y="1904"/>
                      </a:cubicBezTo>
                      <a:cubicBezTo>
                        <a:pt x="2295" y="1904"/>
                        <a:pt x="2307" y="1905"/>
                        <a:pt x="2318" y="1902"/>
                      </a:cubicBezTo>
                      <a:cubicBezTo>
                        <a:pt x="2336" y="1897"/>
                        <a:pt x="2355" y="1891"/>
                        <a:pt x="2370" y="1881"/>
                      </a:cubicBezTo>
                      <a:cubicBezTo>
                        <a:pt x="2405" y="1857"/>
                        <a:pt x="2415" y="1820"/>
                        <a:pt x="2415" y="1779"/>
                      </a:cubicBezTo>
                      <a:cubicBezTo>
                        <a:pt x="2415" y="1471"/>
                        <a:pt x="2415" y="1163"/>
                        <a:pt x="2415" y="855"/>
                      </a:cubicBezTo>
                      <a:cubicBezTo>
                        <a:pt x="2415" y="845"/>
                        <a:pt x="2414" y="835"/>
                        <a:pt x="2413" y="825"/>
                      </a:cubicBezTo>
                      <a:cubicBezTo>
                        <a:pt x="2407" y="776"/>
                        <a:pt x="2368" y="735"/>
                        <a:pt x="2318" y="733"/>
                      </a:cubicBezTo>
                      <a:cubicBezTo>
                        <a:pt x="2241" y="730"/>
                        <a:pt x="2165" y="731"/>
                        <a:pt x="2088" y="731"/>
                      </a:cubicBezTo>
                      <a:cubicBezTo>
                        <a:pt x="1464" y="730"/>
                        <a:pt x="840" y="731"/>
                        <a:pt x="216" y="730"/>
                      </a:cubicBezTo>
                      <a:cubicBezTo>
                        <a:pt x="132" y="730"/>
                        <a:pt x="89" y="784"/>
                        <a:pt x="89" y="851"/>
                      </a:cubicBezTo>
                      <a:cubicBezTo>
                        <a:pt x="90" y="1162"/>
                        <a:pt x="89" y="1474"/>
                        <a:pt x="90" y="1785"/>
                      </a:cubicBezTo>
                      <a:cubicBezTo>
                        <a:pt x="90" y="1804"/>
                        <a:pt x="94" y="1824"/>
                        <a:pt x="101" y="1841"/>
                      </a:cubicBezTo>
                      <a:cubicBezTo>
                        <a:pt x="123" y="1888"/>
                        <a:pt x="164" y="1904"/>
                        <a:pt x="214" y="1904"/>
                      </a:cubicBezTo>
                      <a:cubicBezTo>
                        <a:pt x="559" y="1904"/>
                        <a:pt x="905" y="1904"/>
                        <a:pt x="1250" y="19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15" name="Freeform 7">
                  <a:extLst>
                    <a:ext uri="{FF2B5EF4-FFF2-40B4-BE49-F238E27FC236}">
                      <a16:creationId xmlns:a16="http://schemas.microsoft.com/office/drawing/2014/main" id="{6E316A58-1B61-49A0-988A-864673233D63}"/>
                    </a:ext>
                  </a:extLst>
                </p:cNvPr>
                <p:cNvSpPr>
                  <a:spLocks/>
                </p:cNvSpPr>
                <p:nvPr/>
              </p:nvSpPr>
              <p:spPr bwMode="auto">
                <a:xfrm>
                  <a:off x="310097" y="5825069"/>
                  <a:ext cx="2457447" cy="512763"/>
                </a:xfrm>
                <a:custGeom>
                  <a:avLst/>
                  <a:gdLst>
                    <a:gd name="T0" fmla="*/ 635 w 1271"/>
                    <a:gd name="T1" fmla="*/ 0 h 266"/>
                    <a:gd name="T2" fmla="*/ 1207 w 1271"/>
                    <a:gd name="T3" fmla="*/ 0 h 266"/>
                    <a:gd name="T4" fmla="*/ 1271 w 1271"/>
                    <a:gd name="T5" fmla="*/ 65 h 266"/>
                    <a:gd name="T6" fmla="*/ 1271 w 1271"/>
                    <a:gd name="T7" fmla="*/ 203 h 266"/>
                    <a:gd name="T8" fmla="*/ 1206 w 1271"/>
                    <a:gd name="T9" fmla="*/ 266 h 266"/>
                    <a:gd name="T10" fmla="*/ 342 w 1271"/>
                    <a:gd name="T11" fmla="*/ 266 h 266"/>
                    <a:gd name="T12" fmla="*/ 61 w 1271"/>
                    <a:gd name="T13" fmla="*/ 266 h 266"/>
                    <a:gd name="T14" fmla="*/ 0 w 1271"/>
                    <a:gd name="T15" fmla="*/ 205 h 266"/>
                    <a:gd name="T16" fmla="*/ 0 w 1271"/>
                    <a:gd name="T17" fmla="*/ 59 h 266"/>
                    <a:gd name="T18" fmla="*/ 59 w 1271"/>
                    <a:gd name="T19" fmla="*/ 0 h 266"/>
                    <a:gd name="T20" fmla="*/ 635 w 127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1" h="266">
                      <a:moveTo>
                        <a:pt x="635" y="0"/>
                      </a:moveTo>
                      <a:cubicBezTo>
                        <a:pt x="826" y="0"/>
                        <a:pt x="1016" y="0"/>
                        <a:pt x="1207" y="0"/>
                      </a:cubicBezTo>
                      <a:cubicBezTo>
                        <a:pt x="1257" y="0"/>
                        <a:pt x="1271" y="14"/>
                        <a:pt x="1271" y="65"/>
                      </a:cubicBezTo>
                      <a:cubicBezTo>
                        <a:pt x="1271" y="111"/>
                        <a:pt x="1271" y="157"/>
                        <a:pt x="1271" y="203"/>
                      </a:cubicBezTo>
                      <a:cubicBezTo>
                        <a:pt x="1271" y="253"/>
                        <a:pt x="1257" y="266"/>
                        <a:pt x="1206" y="266"/>
                      </a:cubicBezTo>
                      <a:cubicBezTo>
                        <a:pt x="918" y="266"/>
                        <a:pt x="630" y="266"/>
                        <a:pt x="342" y="266"/>
                      </a:cubicBezTo>
                      <a:cubicBezTo>
                        <a:pt x="248" y="266"/>
                        <a:pt x="155" y="266"/>
                        <a:pt x="61" y="266"/>
                      </a:cubicBezTo>
                      <a:cubicBezTo>
                        <a:pt x="15" y="266"/>
                        <a:pt x="0" y="251"/>
                        <a:pt x="0" y="205"/>
                      </a:cubicBezTo>
                      <a:cubicBezTo>
                        <a:pt x="0" y="156"/>
                        <a:pt x="0" y="107"/>
                        <a:pt x="0" y="59"/>
                      </a:cubicBezTo>
                      <a:cubicBezTo>
                        <a:pt x="0" y="16"/>
                        <a:pt x="16" y="0"/>
                        <a:pt x="59" y="0"/>
                      </a:cubicBezTo>
                      <a:cubicBezTo>
                        <a:pt x="251" y="0"/>
                        <a:pt x="443" y="0"/>
                        <a:pt x="6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16" name="Freeform 8">
                  <a:extLst>
                    <a:ext uri="{FF2B5EF4-FFF2-40B4-BE49-F238E27FC236}">
                      <a16:creationId xmlns:a16="http://schemas.microsoft.com/office/drawing/2014/main" id="{D97D3184-9233-4A23-97A9-14783D86C41C}"/>
                    </a:ext>
                  </a:extLst>
                </p:cNvPr>
                <p:cNvSpPr>
                  <a:spLocks/>
                </p:cNvSpPr>
                <p:nvPr/>
              </p:nvSpPr>
              <p:spPr bwMode="auto">
                <a:xfrm>
                  <a:off x="-336015" y="5174194"/>
                  <a:ext cx="841374" cy="514350"/>
                </a:xfrm>
                <a:custGeom>
                  <a:avLst/>
                  <a:gdLst>
                    <a:gd name="T0" fmla="*/ 217 w 435"/>
                    <a:gd name="T1" fmla="*/ 267 h 267"/>
                    <a:gd name="T2" fmla="*/ 56 w 435"/>
                    <a:gd name="T3" fmla="*/ 267 h 267"/>
                    <a:gd name="T4" fmla="*/ 0 w 435"/>
                    <a:gd name="T5" fmla="*/ 211 h 267"/>
                    <a:gd name="T6" fmla="*/ 1 w 435"/>
                    <a:gd name="T7" fmla="*/ 53 h 267"/>
                    <a:gd name="T8" fmla="*/ 51 w 435"/>
                    <a:gd name="T9" fmla="*/ 0 h 267"/>
                    <a:gd name="T10" fmla="*/ 383 w 435"/>
                    <a:gd name="T11" fmla="*/ 0 h 267"/>
                    <a:gd name="T12" fmla="*/ 434 w 435"/>
                    <a:gd name="T13" fmla="*/ 51 h 267"/>
                    <a:gd name="T14" fmla="*/ 434 w 435"/>
                    <a:gd name="T15" fmla="*/ 217 h 267"/>
                    <a:gd name="T16" fmla="*/ 383 w 435"/>
                    <a:gd name="T17" fmla="*/ 267 h 267"/>
                    <a:gd name="T18" fmla="*/ 217 w 435"/>
                    <a:gd name="T19"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267">
                      <a:moveTo>
                        <a:pt x="217" y="267"/>
                      </a:moveTo>
                      <a:cubicBezTo>
                        <a:pt x="163" y="267"/>
                        <a:pt x="110" y="267"/>
                        <a:pt x="56" y="267"/>
                      </a:cubicBezTo>
                      <a:cubicBezTo>
                        <a:pt x="15" y="267"/>
                        <a:pt x="1" y="252"/>
                        <a:pt x="0" y="211"/>
                      </a:cubicBezTo>
                      <a:cubicBezTo>
                        <a:pt x="0" y="158"/>
                        <a:pt x="0" y="106"/>
                        <a:pt x="1" y="53"/>
                      </a:cubicBezTo>
                      <a:cubicBezTo>
                        <a:pt x="1" y="18"/>
                        <a:pt x="17" y="1"/>
                        <a:pt x="51" y="0"/>
                      </a:cubicBezTo>
                      <a:cubicBezTo>
                        <a:pt x="162" y="0"/>
                        <a:pt x="273" y="0"/>
                        <a:pt x="383" y="0"/>
                      </a:cubicBezTo>
                      <a:cubicBezTo>
                        <a:pt x="416" y="0"/>
                        <a:pt x="434" y="18"/>
                        <a:pt x="434" y="51"/>
                      </a:cubicBezTo>
                      <a:cubicBezTo>
                        <a:pt x="435" y="106"/>
                        <a:pt x="435" y="162"/>
                        <a:pt x="434" y="217"/>
                      </a:cubicBezTo>
                      <a:cubicBezTo>
                        <a:pt x="434" y="251"/>
                        <a:pt x="418" y="266"/>
                        <a:pt x="383" y="267"/>
                      </a:cubicBezTo>
                      <a:cubicBezTo>
                        <a:pt x="328" y="267"/>
                        <a:pt x="273" y="267"/>
                        <a:pt x="217"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17" name="Freeform 9">
                  <a:extLst>
                    <a:ext uri="{FF2B5EF4-FFF2-40B4-BE49-F238E27FC236}">
                      <a16:creationId xmlns:a16="http://schemas.microsoft.com/office/drawing/2014/main" id="{51168EFF-FF8C-4FBB-BB2C-C8E351172FA1}"/>
                    </a:ext>
                  </a:extLst>
                </p:cNvPr>
                <p:cNvSpPr>
                  <a:spLocks/>
                </p:cNvSpPr>
                <p:nvPr/>
              </p:nvSpPr>
              <p:spPr bwMode="auto">
                <a:xfrm>
                  <a:off x="2572282" y="5174194"/>
                  <a:ext cx="838199" cy="515938"/>
                </a:xfrm>
                <a:custGeom>
                  <a:avLst/>
                  <a:gdLst>
                    <a:gd name="T0" fmla="*/ 218 w 434"/>
                    <a:gd name="T1" fmla="*/ 0 h 268"/>
                    <a:gd name="T2" fmla="*/ 374 w 434"/>
                    <a:gd name="T3" fmla="*/ 0 h 268"/>
                    <a:gd name="T4" fmla="*/ 434 w 434"/>
                    <a:gd name="T5" fmla="*/ 60 h 268"/>
                    <a:gd name="T6" fmla="*/ 434 w 434"/>
                    <a:gd name="T7" fmla="*/ 213 h 268"/>
                    <a:gd name="T8" fmla="*/ 380 w 434"/>
                    <a:gd name="T9" fmla="*/ 267 h 268"/>
                    <a:gd name="T10" fmla="*/ 53 w 434"/>
                    <a:gd name="T11" fmla="*/ 268 h 268"/>
                    <a:gd name="T12" fmla="*/ 0 w 434"/>
                    <a:gd name="T13" fmla="*/ 215 h 268"/>
                    <a:gd name="T14" fmla="*/ 0 w 434"/>
                    <a:gd name="T15" fmla="*/ 55 h 268"/>
                    <a:gd name="T16" fmla="*/ 56 w 434"/>
                    <a:gd name="T17" fmla="*/ 0 h 268"/>
                    <a:gd name="T18" fmla="*/ 218 w 434"/>
                    <a:gd name="T1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4" h="268">
                      <a:moveTo>
                        <a:pt x="218" y="0"/>
                      </a:moveTo>
                      <a:cubicBezTo>
                        <a:pt x="270" y="0"/>
                        <a:pt x="322" y="0"/>
                        <a:pt x="374" y="0"/>
                      </a:cubicBezTo>
                      <a:cubicBezTo>
                        <a:pt x="419" y="0"/>
                        <a:pt x="434" y="15"/>
                        <a:pt x="434" y="60"/>
                      </a:cubicBezTo>
                      <a:cubicBezTo>
                        <a:pt x="434" y="111"/>
                        <a:pt x="434" y="162"/>
                        <a:pt x="434" y="213"/>
                      </a:cubicBezTo>
                      <a:cubicBezTo>
                        <a:pt x="434" y="251"/>
                        <a:pt x="418" y="267"/>
                        <a:pt x="380" y="267"/>
                      </a:cubicBezTo>
                      <a:cubicBezTo>
                        <a:pt x="271" y="268"/>
                        <a:pt x="162" y="268"/>
                        <a:pt x="53" y="268"/>
                      </a:cubicBezTo>
                      <a:cubicBezTo>
                        <a:pt x="16" y="267"/>
                        <a:pt x="0" y="251"/>
                        <a:pt x="0" y="215"/>
                      </a:cubicBezTo>
                      <a:cubicBezTo>
                        <a:pt x="0" y="161"/>
                        <a:pt x="0" y="108"/>
                        <a:pt x="0" y="55"/>
                      </a:cubicBezTo>
                      <a:cubicBezTo>
                        <a:pt x="0" y="17"/>
                        <a:pt x="17" y="0"/>
                        <a:pt x="56" y="0"/>
                      </a:cubicBezTo>
                      <a:cubicBezTo>
                        <a:pt x="110" y="0"/>
                        <a:pt x="164" y="0"/>
                        <a:pt x="2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18" name="Freeform 10">
                  <a:extLst>
                    <a:ext uri="{FF2B5EF4-FFF2-40B4-BE49-F238E27FC236}">
                      <a16:creationId xmlns:a16="http://schemas.microsoft.com/office/drawing/2014/main" id="{E1C5D1B4-EDA4-4C55-962C-4839E481DCB3}"/>
                    </a:ext>
                  </a:extLst>
                </p:cNvPr>
                <p:cNvSpPr>
                  <a:spLocks/>
                </p:cNvSpPr>
                <p:nvPr/>
              </p:nvSpPr>
              <p:spPr bwMode="auto">
                <a:xfrm>
                  <a:off x="-336015" y="4531256"/>
                  <a:ext cx="517524" cy="515938"/>
                </a:xfrm>
                <a:custGeom>
                  <a:avLst/>
                  <a:gdLst>
                    <a:gd name="T0" fmla="*/ 0 w 268"/>
                    <a:gd name="T1" fmla="*/ 133 h 268"/>
                    <a:gd name="T2" fmla="*/ 1 w 268"/>
                    <a:gd name="T3" fmla="*/ 49 h 268"/>
                    <a:gd name="T4" fmla="*/ 49 w 268"/>
                    <a:gd name="T5" fmla="*/ 0 h 268"/>
                    <a:gd name="T6" fmla="*/ 219 w 268"/>
                    <a:gd name="T7" fmla="*/ 0 h 268"/>
                    <a:gd name="T8" fmla="*/ 266 w 268"/>
                    <a:gd name="T9" fmla="*/ 46 h 268"/>
                    <a:gd name="T10" fmla="*/ 267 w 268"/>
                    <a:gd name="T11" fmla="*/ 222 h 268"/>
                    <a:gd name="T12" fmla="*/ 223 w 268"/>
                    <a:gd name="T13" fmla="*/ 266 h 268"/>
                    <a:gd name="T14" fmla="*/ 43 w 268"/>
                    <a:gd name="T15" fmla="*/ 266 h 268"/>
                    <a:gd name="T16" fmla="*/ 1 w 268"/>
                    <a:gd name="T17" fmla="*/ 219 h 268"/>
                    <a:gd name="T18" fmla="*/ 0 w 268"/>
                    <a:gd name="T19" fmla="*/ 13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8">
                      <a:moveTo>
                        <a:pt x="0" y="133"/>
                      </a:moveTo>
                      <a:cubicBezTo>
                        <a:pt x="0" y="105"/>
                        <a:pt x="0" y="77"/>
                        <a:pt x="1" y="49"/>
                      </a:cubicBezTo>
                      <a:cubicBezTo>
                        <a:pt x="1" y="18"/>
                        <a:pt x="19" y="1"/>
                        <a:pt x="49" y="0"/>
                      </a:cubicBezTo>
                      <a:cubicBezTo>
                        <a:pt x="106" y="0"/>
                        <a:pt x="162" y="0"/>
                        <a:pt x="219" y="0"/>
                      </a:cubicBezTo>
                      <a:cubicBezTo>
                        <a:pt x="247" y="1"/>
                        <a:pt x="266" y="18"/>
                        <a:pt x="266" y="46"/>
                      </a:cubicBezTo>
                      <a:cubicBezTo>
                        <a:pt x="268" y="104"/>
                        <a:pt x="268" y="163"/>
                        <a:pt x="267" y="222"/>
                      </a:cubicBezTo>
                      <a:cubicBezTo>
                        <a:pt x="266" y="249"/>
                        <a:pt x="251" y="266"/>
                        <a:pt x="223" y="266"/>
                      </a:cubicBezTo>
                      <a:cubicBezTo>
                        <a:pt x="163" y="268"/>
                        <a:pt x="103" y="268"/>
                        <a:pt x="43" y="266"/>
                      </a:cubicBezTo>
                      <a:cubicBezTo>
                        <a:pt x="15" y="265"/>
                        <a:pt x="1" y="247"/>
                        <a:pt x="1" y="219"/>
                      </a:cubicBezTo>
                      <a:cubicBezTo>
                        <a:pt x="0" y="190"/>
                        <a:pt x="0" y="162"/>
                        <a:pt x="0"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19" name="Freeform 11">
                  <a:extLst>
                    <a:ext uri="{FF2B5EF4-FFF2-40B4-BE49-F238E27FC236}">
                      <a16:creationId xmlns:a16="http://schemas.microsoft.com/office/drawing/2014/main" id="{8A8A0185-2D37-41FE-BB46-2CBB8240CE93}"/>
                    </a:ext>
                  </a:extLst>
                </p:cNvPr>
                <p:cNvSpPr>
                  <a:spLocks/>
                </p:cNvSpPr>
                <p:nvPr/>
              </p:nvSpPr>
              <p:spPr bwMode="auto">
                <a:xfrm>
                  <a:off x="306922" y="4531256"/>
                  <a:ext cx="520699" cy="515938"/>
                </a:xfrm>
                <a:custGeom>
                  <a:avLst/>
                  <a:gdLst>
                    <a:gd name="T0" fmla="*/ 137 w 269"/>
                    <a:gd name="T1" fmla="*/ 0 h 268"/>
                    <a:gd name="T2" fmla="*/ 219 w 269"/>
                    <a:gd name="T3" fmla="*/ 0 h 268"/>
                    <a:gd name="T4" fmla="*/ 268 w 269"/>
                    <a:gd name="T5" fmla="*/ 48 h 268"/>
                    <a:gd name="T6" fmla="*/ 268 w 269"/>
                    <a:gd name="T7" fmla="*/ 218 h 268"/>
                    <a:gd name="T8" fmla="*/ 222 w 269"/>
                    <a:gd name="T9" fmla="*/ 267 h 268"/>
                    <a:gd name="T10" fmla="*/ 48 w 269"/>
                    <a:gd name="T11" fmla="*/ 267 h 268"/>
                    <a:gd name="T12" fmla="*/ 1 w 269"/>
                    <a:gd name="T13" fmla="*/ 216 h 268"/>
                    <a:gd name="T14" fmla="*/ 1 w 269"/>
                    <a:gd name="T15" fmla="*/ 53 h 268"/>
                    <a:gd name="T16" fmla="*/ 55 w 269"/>
                    <a:gd name="T17" fmla="*/ 0 h 268"/>
                    <a:gd name="T18" fmla="*/ 59 w 269"/>
                    <a:gd name="T19" fmla="*/ 0 h 268"/>
                    <a:gd name="T20" fmla="*/ 137 w 269"/>
                    <a:gd name="T2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8">
                      <a:moveTo>
                        <a:pt x="137" y="0"/>
                      </a:moveTo>
                      <a:cubicBezTo>
                        <a:pt x="164" y="0"/>
                        <a:pt x="191" y="0"/>
                        <a:pt x="219" y="0"/>
                      </a:cubicBezTo>
                      <a:cubicBezTo>
                        <a:pt x="249" y="1"/>
                        <a:pt x="267" y="18"/>
                        <a:pt x="268" y="48"/>
                      </a:cubicBezTo>
                      <a:cubicBezTo>
                        <a:pt x="269" y="105"/>
                        <a:pt x="268" y="162"/>
                        <a:pt x="268" y="218"/>
                      </a:cubicBezTo>
                      <a:cubicBezTo>
                        <a:pt x="267" y="249"/>
                        <a:pt x="252" y="266"/>
                        <a:pt x="222" y="267"/>
                      </a:cubicBezTo>
                      <a:cubicBezTo>
                        <a:pt x="164" y="268"/>
                        <a:pt x="106" y="268"/>
                        <a:pt x="48" y="267"/>
                      </a:cubicBezTo>
                      <a:cubicBezTo>
                        <a:pt x="18" y="266"/>
                        <a:pt x="1" y="247"/>
                        <a:pt x="1" y="216"/>
                      </a:cubicBezTo>
                      <a:cubicBezTo>
                        <a:pt x="0" y="162"/>
                        <a:pt x="0" y="107"/>
                        <a:pt x="1" y="53"/>
                      </a:cubicBezTo>
                      <a:cubicBezTo>
                        <a:pt x="1" y="18"/>
                        <a:pt x="20" y="1"/>
                        <a:pt x="55" y="0"/>
                      </a:cubicBezTo>
                      <a:cubicBezTo>
                        <a:pt x="56" y="0"/>
                        <a:pt x="58" y="0"/>
                        <a:pt x="59" y="0"/>
                      </a:cubicBezTo>
                      <a:cubicBezTo>
                        <a:pt x="85" y="0"/>
                        <a:pt x="111" y="0"/>
                        <a:pt x="1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0" name="Freeform 12">
                  <a:extLst>
                    <a:ext uri="{FF2B5EF4-FFF2-40B4-BE49-F238E27FC236}">
                      <a16:creationId xmlns:a16="http://schemas.microsoft.com/office/drawing/2014/main" id="{99AB241C-DDF9-447F-97C7-999BCDBE7421}"/>
                    </a:ext>
                  </a:extLst>
                </p:cNvPr>
                <p:cNvSpPr>
                  <a:spLocks/>
                </p:cNvSpPr>
                <p:nvPr/>
              </p:nvSpPr>
              <p:spPr bwMode="auto">
                <a:xfrm>
                  <a:off x="2248432" y="4531256"/>
                  <a:ext cx="519112" cy="515938"/>
                </a:xfrm>
                <a:custGeom>
                  <a:avLst/>
                  <a:gdLst>
                    <a:gd name="T0" fmla="*/ 132 w 268"/>
                    <a:gd name="T1" fmla="*/ 0 h 268"/>
                    <a:gd name="T2" fmla="*/ 218 w 268"/>
                    <a:gd name="T3" fmla="*/ 0 h 268"/>
                    <a:gd name="T4" fmla="*/ 267 w 268"/>
                    <a:gd name="T5" fmla="*/ 49 h 268"/>
                    <a:gd name="T6" fmla="*/ 267 w 268"/>
                    <a:gd name="T7" fmla="*/ 219 h 268"/>
                    <a:gd name="T8" fmla="*/ 222 w 268"/>
                    <a:gd name="T9" fmla="*/ 267 h 268"/>
                    <a:gd name="T10" fmla="*/ 45 w 268"/>
                    <a:gd name="T11" fmla="*/ 266 h 268"/>
                    <a:gd name="T12" fmla="*/ 1 w 268"/>
                    <a:gd name="T13" fmla="*/ 220 h 268"/>
                    <a:gd name="T14" fmla="*/ 1 w 268"/>
                    <a:gd name="T15" fmla="*/ 48 h 268"/>
                    <a:gd name="T16" fmla="*/ 50 w 268"/>
                    <a:gd name="T17" fmla="*/ 0 h 268"/>
                    <a:gd name="T18" fmla="*/ 132 w 268"/>
                    <a:gd name="T1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8">
                      <a:moveTo>
                        <a:pt x="132" y="0"/>
                      </a:moveTo>
                      <a:cubicBezTo>
                        <a:pt x="161" y="0"/>
                        <a:pt x="189" y="0"/>
                        <a:pt x="218" y="0"/>
                      </a:cubicBezTo>
                      <a:cubicBezTo>
                        <a:pt x="248" y="1"/>
                        <a:pt x="267" y="19"/>
                        <a:pt x="267" y="49"/>
                      </a:cubicBezTo>
                      <a:cubicBezTo>
                        <a:pt x="268" y="106"/>
                        <a:pt x="268" y="162"/>
                        <a:pt x="267" y="219"/>
                      </a:cubicBezTo>
                      <a:cubicBezTo>
                        <a:pt x="267" y="247"/>
                        <a:pt x="251" y="266"/>
                        <a:pt x="222" y="267"/>
                      </a:cubicBezTo>
                      <a:cubicBezTo>
                        <a:pt x="163" y="268"/>
                        <a:pt x="104" y="268"/>
                        <a:pt x="45" y="266"/>
                      </a:cubicBezTo>
                      <a:cubicBezTo>
                        <a:pt x="16" y="266"/>
                        <a:pt x="1" y="249"/>
                        <a:pt x="1" y="220"/>
                      </a:cubicBezTo>
                      <a:cubicBezTo>
                        <a:pt x="0" y="163"/>
                        <a:pt x="0" y="105"/>
                        <a:pt x="1" y="48"/>
                      </a:cubicBezTo>
                      <a:cubicBezTo>
                        <a:pt x="1" y="17"/>
                        <a:pt x="19" y="1"/>
                        <a:pt x="50" y="0"/>
                      </a:cubicBezTo>
                      <a:cubicBezTo>
                        <a:pt x="78" y="0"/>
                        <a:pt x="105" y="0"/>
                        <a:pt x="1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1" name="Freeform 13">
                  <a:extLst>
                    <a:ext uri="{FF2B5EF4-FFF2-40B4-BE49-F238E27FC236}">
                      <a16:creationId xmlns:a16="http://schemas.microsoft.com/office/drawing/2014/main" id="{DD3DE50E-4D47-4B39-99F6-514A0DA0C773}"/>
                    </a:ext>
                  </a:extLst>
                </p:cNvPr>
                <p:cNvSpPr>
                  <a:spLocks/>
                </p:cNvSpPr>
                <p:nvPr/>
              </p:nvSpPr>
              <p:spPr bwMode="auto">
                <a:xfrm>
                  <a:off x="954621" y="4531256"/>
                  <a:ext cx="519112" cy="515938"/>
                </a:xfrm>
                <a:custGeom>
                  <a:avLst/>
                  <a:gdLst>
                    <a:gd name="T0" fmla="*/ 135 w 268"/>
                    <a:gd name="T1" fmla="*/ 0 h 268"/>
                    <a:gd name="T2" fmla="*/ 219 w 268"/>
                    <a:gd name="T3" fmla="*/ 0 h 268"/>
                    <a:gd name="T4" fmla="*/ 266 w 268"/>
                    <a:gd name="T5" fmla="*/ 44 h 268"/>
                    <a:gd name="T6" fmla="*/ 266 w 268"/>
                    <a:gd name="T7" fmla="*/ 225 h 268"/>
                    <a:gd name="T8" fmla="*/ 226 w 268"/>
                    <a:gd name="T9" fmla="*/ 266 h 268"/>
                    <a:gd name="T10" fmla="*/ 44 w 268"/>
                    <a:gd name="T11" fmla="*/ 266 h 268"/>
                    <a:gd name="T12" fmla="*/ 1 w 268"/>
                    <a:gd name="T13" fmla="*/ 222 h 268"/>
                    <a:gd name="T14" fmla="*/ 1 w 268"/>
                    <a:gd name="T15" fmla="*/ 44 h 268"/>
                    <a:gd name="T16" fmla="*/ 49 w 268"/>
                    <a:gd name="T17" fmla="*/ 0 h 268"/>
                    <a:gd name="T18" fmla="*/ 135 w 268"/>
                    <a:gd name="T1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8">
                      <a:moveTo>
                        <a:pt x="135" y="0"/>
                      </a:moveTo>
                      <a:cubicBezTo>
                        <a:pt x="163" y="0"/>
                        <a:pt x="191" y="0"/>
                        <a:pt x="219" y="0"/>
                      </a:cubicBezTo>
                      <a:cubicBezTo>
                        <a:pt x="247" y="1"/>
                        <a:pt x="265" y="15"/>
                        <a:pt x="266" y="44"/>
                      </a:cubicBezTo>
                      <a:cubicBezTo>
                        <a:pt x="268" y="104"/>
                        <a:pt x="268" y="165"/>
                        <a:pt x="266" y="225"/>
                      </a:cubicBezTo>
                      <a:cubicBezTo>
                        <a:pt x="266" y="251"/>
                        <a:pt x="251" y="265"/>
                        <a:pt x="226" y="266"/>
                      </a:cubicBezTo>
                      <a:cubicBezTo>
                        <a:pt x="165" y="268"/>
                        <a:pt x="104" y="268"/>
                        <a:pt x="44" y="266"/>
                      </a:cubicBezTo>
                      <a:cubicBezTo>
                        <a:pt x="18" y="266"/>
                        <a:pt x="2" y="249"/>
                        <a:pt x="1" y="222"/>
                      </a:cubicBezTo>
                      <a:cubicBezTo>
                        <a:pt x="0" y="163"/>
                        <a:pt x="0" y="104"/>
                        <a:pt x="1" y="44"/>
                      </a:cubicBezTo>
                      <a:cubicBezTo>
                        <a:pt x="2" y="17"/>
                        <a:pt x="21" y="1"/>
                        <a:pt x="49" y="0"/>
                      </a:cubicBezTo>
                      <a:cubicBezTo>
                        <a:pt x="77" y="0"/>
                        <a:pt x="106" y="0"/>
                        <a:pt x="1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2" name="Freeform 14">
                  <a:extLst>
                    <a:ext uri="{FF2B5EF4-FFF2-40B4-BE49-F238E27FC236}">
                      <a16:creationId xmlns:a16="http://schemas.microsoft.com/office/drawing/2014/main" id="{070BF143-4A50-431E-A431-89D974D1FF7C}"/>
                    </a:ext>
                  </a:extLst>
                </p:cNvPr>
                <p:cNvSpPr>
                  <a:spLocks/>
                </p:cNvSpPr>
                <p:nvPr/>
              </p:nvSpPr>
              <p:spPr bwMode="auto">
                <a:xfrm>
                  <a:off x="1600733" y="4531256"/>
                  <a:ext cx="519112" cy="515938"/>
                </a:xfrm>
                <a:custGeom>
                  <a:avLst/>
                  <a:gdLst>
                    <a:gd name="T0" fmla="*/ 135 w 268"/>
                    <a:gd name="T1" fmla="*/ 0 h 268"/>
                    <a:gd name="T2" fmla="*/ 219 w 268"/>
                    <a:gd name="T3" fmla="*/ 0 h 268"/>
                    <a:gd name="T4" fmla="*/ 267 w 268"/>
                    <a:gd name="T5" fmla="*/ 46 h 268"/>
                    <a:gd name="T6" fmla="*/ 267 w 268"/>
                    <a:gd name="T7" fmla="*/ 222 h 268"/>
                    <a:gd name="T8" fmla="*/ 223 w 268"/>
                    <a:gd name="T9" fmla="*/ 267 h 268"/>
                    <a:gd name="T10" fmla="*/ 45 w 268"/>
                    <a:gd name="T11" fmla="*/ 266 h 268"/>
                    <a:gd name="T12" fmla="*/ 1 w 268"/>
                    <a:gd name="T13" fmla="*/ 222 h 268"/>
                    <a:gd name="T14" fmla="*/ 2 w 268"/>
                    <a:gd name="T15" fmla="*/ 46 h 268"/>
                    <a:gd name="T16" fmla="*/ 52 w 268"/>
                    <a:gd name="T17" fmla="*/ 0 h 268"/>
                    <a:gd name="T18" fmla="*/ 135 w 268"/>
                    <a:gd name="T1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8">
                      <a:moveTo>
                        <a:pt x="135" y="0"/>
                      </a:moveTo>
                      <a:cubicBezTo>
                        <a:pt x="163" y="0"/>
                        <a:pt x="191" y="0"/>
                        <a:pt x="219" y="0"/>
                      </a:cubicBezTo>
                      <a:cubicBezTo>
                        <a:pt x="248" y="1"/>
                        <a:pt x="267" y="18"/>
                        <a:pt x="267" y="46"/>
                      </a:cubicBezTo>
                      <a:cubicBezTo>
                        <a:pt x="268" y="105"/>
                        <a:pt x="268" y="163"/>
                        <a:pt x="267" y="222"/>
                      </a:cubicBezTo>
                      <a:cubicBezTo>
                        <a:pt x="267" y="249"/>
                        <a:pt x="250" y="266"/>
                        <a:pt x="223" y="267"/>
                      </a:cubicBezTo>
                      <a:cubicBezTo>
                        <a:pt x="164" y="268"/>
                        <a:pt x="105" y="268"/>
                        <a:pt x="45" y="266"/>
                      </a:cubicBezTo>
                      <a:cubicBezTo>
                        <a:pt x="18" y="266"/>
                        <a:pt x="2" y="250"/>
                        <a:pt x="1" y="222"/>
                      </a:cubicBezTo>
                      <a:cubicBezTo>
                        <a:pt x="0" y="163"/>
                        <a:pt x="0" y="104"/>
                        <a:pt x="2" y="46"/>
                      </a:cubicBezTo>
                      <a:cubicBezTo>
                        <a:pt x="2" y="16"/>
                        <a:pt x="21" y="1"/>
                        <a:pt x="52" y="0"/>
                      </a:cubicBezTo>
                      <a:cubicBezTo>
                        <a:pt x="79" y="0"/>
                        <a:pt x="107" y="0"/>
                        <a:pt x="1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3" name="Freeform 15">
                  <a:extLst>
                    <a:ext uri="{FF2B5EF4-FFF2-40B4-BE49-F238E27FC236}">
                      <a16:creationId xmlns:a16="http://schemas.microsoft.com/office/drawing/2014/main" id="{8D801E67-3D78-4B2B-9F22-44656B1BD71F}"/>
                    </a:ext>
                  </a:extLst>
                </p:cNvPr>
                <p:cNvSpPr>
                  <a:spLocks/>
                </p:cNvSpPr>
                <p:nvPr/>
              </p:nvSpPr>
              <p:spPr bwMode="auto">
                <a:xfrm>
                  <a:off x="632359" y="5174194"/>
                  <a:ext cx="517524" cy="515938"/>
                </a:xfrm>
                <a:custGeom>
                  <a:avLst/>
                  <a:gdLst>
                    <a:gd name="T0" fmla="*/ 268 w 268"/>
                    <a:gd name="T1" fmla="*/ 135 h 268"/>
                    <a:gd name="T2" fmla="*/ 268 w 268"/>
                    <a:gd name="T3" fmla="*/ 215 h 268"/>
                    <a:gd name="T4" fmla="*/ 216 w 268"/>
                    <a:gd name="T5" fmla="*/ 267 h 268"/>
                    <a:gd name="T6" fmla="*/ 50 w 268"/>
                    <a:gd name="T7" fmla="*/ 267 h 268"/>
                    <a:gd name="T8" fmla="*/ 1 w 268"/>
                    <a:gd name="T9" fmla="*/ 217 h 268"/>
                    <a:gd name="T10" fmla="*/ 1 w 268"/>
                    <a:gd name="T11" fmla="*/ 51 h 268"/>
                    <a:gd name="T12" fmla="*/ 52 w 268"/>
                    <a:gd name="T13" fmla="*/ 0 h 268"/>
                    <a:gd name="T14" fmla="*/ 216 w 268"/>
                    <a:gd name="T15" fmla="*/ 0 h 268"/>
                    <a:gd name="T16" fmla="*/ 268 w 268"/>
                    <a:gd name="T17" fmla="*/ 53 h 268"/>
                    <a:gd name="T18" fmla="*/ 268 w 268"/>
                    <a:gd name="T19" fmla="*/ 95 h 268"/>
                    <a:gd name="T20" fmla="*/ 268 w 268"/>
                    <a:gd name="T21" fmla="*/ 13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 h="268">
                      <a:moveTo>
                        <a:pt x="268" y="135"/>
                      </a:moveTo>
                      <a:cubicBezTo>
                        <a:pt x="268" y="161"/>
                        <a:pt x="268" y="188"/>
                        <a:pt x="268" y="215"/>
                      </a:cubicBezTo>
                      <a:cubicBezTo>
                        <a:pt x="267" y="250"/>
                        <a:pt x="251" y="267"/>
                        <a:pt x="216" y="267"/>
                      </a:cubicBezTo>
                      <a:cubicBezTo>
                        <a:pt x="161" y="268"/>
                        <a:pt x="106" y="268"/>
                        <a:pt x="50" y="267"/>
                      </a:cubicBezTo>
                      <a:cubicBezTo>
                        <a:pt x="18" y="267"/>
                        <a:pt x="1" y="250"/>
                        <a:pt x="1" y="217"/>
                      </a:cubicBezTo>
                      <a:cubicBezTo>
                        <a:pt x="0" y="162"/>
                        <a:pt x="0" y="107"/>
                        <a:pt x="1" y="51"/>
                      </a:cubicBezTo>
                      <a:cubicBezTo>
                        <a:pt x="1" y="18"/>
                        <a:pt x="19" y="1"/>
                        <a:pt x="52" y="0"/>
                      </a:cubicBezTo>
                      <a:cubicBezTo>
                        <a:pt x="107" y="0"/>
                        <a:pt x="161" y="0"/>
                        <a:pt x="216" y="0"/>
                      </a:cubicBezTo>
                      <a:cubicBezTo>
                        <a:pt x="250" y="1"/>
                        <a:pt x="267" y="19"/>
                        <a:pt x="268" y="53"/>
                      </a:cubicBezTo>
                      <a:cubicBezTo>
                        <a:pt x="268" y="67"/>
                        <a:pt x="268" y="81"/>
                        <a:pt x="268" y="95"/>
                      </a:cubicBezTo>
                      <a:cubicBezTo>
                        <a:pt x="268" y="108"/>
                        <a:pt x="268" y="122"/>
                        <a:pt x="268"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4" name="Freeform 16">
                  <a:extLst>
                    <a:ext uri="{FF2B5EF4-FFF2-40B4-BE49-F238E27FC236}">
                      <a16:creationId xmlns:a16="http://schemas.microsoft.com/office/drawing/2014/main" id="{1B1DD3EC-B67D-499A-B985-3D28DFC46F19}"/>
                    </a:ext>
                  </a:extLst>
                </p:cNvPr>
                <p:cNvSpPr>
                  <a:spLocks/>
                </p:cNvSpPr>
                <p:nvPr/>
              </p:nvSpPr>
              <p:spPr bwMode="auto">
                <a:xfrm>
                  <a:off x="1924582" y="5172606"/>
                  <a:ext cx="517524" cy="517525"/>
                </a:xfrm>
                <a:custGeom>
                  <a:avLst/>
                  <a:gdLst>
                    <a:gd name="T0" fmla="*/ 1 w 268"/>
                    <a:gd name="T1" fmla="*/ 135 h 269"/>
                    <a:gd name="T2" fmla="*/ 1 w 268"/>
                    <a:gd name="T3" fmla="*/ 54 h 269"/>
                    <a:gd name="T4" fmla="*/ 51 w 268"/>
                    <a:gd name="T5" fmla="*/ 1 h 269"/>
                    <a:gd name="T6" fmla="*/ 219 w 268"/>
                    <a:gd name="T7" fmla="*/ 1 h 269"/>
                    <a:gd name="T8" fmla="*/ 267 w 268"/>
                    <a:gd name="T9" fmla="*/ 51 h 269"/>
                    <a:gd name="T10" fmla="*/ 267 w 268"/>
                    <a:gd name="T11" fmla="*/ 219 h 269"/>
                    <a:gd name="T12" fmla="*/ 218 w 268"/>
                    <a:gd name="T13" fmla="*/ 268 h 269"/>
                    <a:gd name="T14" fmla="*/ 52 w 268"/>
                    <a:gd name="T15" fmla="*/ 268 h 269"/>
                    <a:gd name="T16" fmla="*/ 1 w 268"/>
                    <a:gd name="T17" fmla="*/ 215 h 269"/>
                    <a:gd name="T18" fmla="*/ 1 w 268"/>
                    <a:gd name="T19" fmla="*/ 13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9">
                      <a:moveTo>
                        <a:pt x="1" y="135"/>
                      </a:moveTo>
                      <a:cubicBezTo>
                        <a:pt x="1" y="108"/>
                        <a:pt x="0" y="81"/>
                        <a:pt x="1" y="54"/>
                      </a:cubicBezTo>
                      <a:cubicBezTo>
                        <a:pt x="1" y="20"/>
                        <a:pt x="18" y="2"/>
                        <a:pt x="51" y="1"/>
                      </a:cubicBezTo>
                      <a:cubicBezTo>
                        <a:pt x="107" y="0"/>
                        <a:pt x="163" y="0"/>
                        <a:pt x="219" y="1"/>
                      </a:cubicBezTo>
                      <a:cubicBezTo>
                        <a:pt x="250" y="2"/>
                        <a:pt x="267" y="20"/>
                        <a:pt x="267" y="51"/>
                      </a:cubicBezTo>
                      <a:cubicBezTo>
                        <a:pt x="268" y="107"/>
                        <a:pt x="268" y="163"/>
                        <a:pt x="267" y="219"/>
                      </a:cubicBezTo>
                      <a:cubicBezTo>
                        <a:pt x="267" y="252"/>
                        <a:pt x="251" y="268"/>
                        <a:pt x="218" y="268"/>
                      </a:cubicBezTo>
                      <a:cubicBezTo>
                        <a:pt x="162" y="269"/>
                        <a:pt x="107" y="269"/>
                        <a:pt x="52" y="268"/>
                      </a:cubicBezTo>
                      <a:cubicBezTo>
                        <a:pt x="17" y="268"/>
                        <a:pt x="1" y="250"/>
                        <a:pt x="1" y="215"/>
                      </a:cubicBezTo>
                      <a:cubicBezTo>
                        <a:pt x="1" y="189"/>
                        <a:pt x="1" y="162"/>
                        <a:pt x="1"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5" name="Freeform 17">
                  <a:extLst>
                    <a:ext uri="{FF2B5EF4-FFF2-40B4-BE49-F238E27FC236}">
                      <a16:creationId xmlns:a16="http://schemas.microsoft.com/office/drawing/2014/main" id="{502E05E8-614C-4C5A-8C6D-50125323DEAD}"/>
                    </a:ext>
                  </a:extLst>
                </p:cNvPr>
                <p:cNvSpPr>
                  <a:spLocks/>
                </p:cNvSpPr>
                <p:nvPr/>
              </p:nvSpPr>
              <p:spPr bwMode="auto">
                <a:xfrm>
                  <a:off x="-336015" y="5825069"/>
                  <a:ext cx="517524" cy="514350"/>
                </a:xfrm>
                <a:custGeom>
                  <a:avLst/>
                  <a:gdLst>
                    <a:gd name="T0" fmla="*/ 0 w 268"/>
                    <a:gd name="T1" fmla="*/ 132 h 267"/>
                    <a:gd name="T2" fmla="*/ 1 w 268"/>
                    <a:gd name="T3" fmla="*/ 48 h 267"/>
                    <a:gd name="T4" fmla="*/ 48 w 268"/>
                    <a:gd name="T5" fmla="*/ 1 h 267"/>
                    <a:gd name="T6" fmla="*/ 220 w 268"/>
                    <a:gd name="T7" fmla="*/ 1 h 267"/>
                    <a:gd name="T8" fmla="*/ 267 w 268"/>
                    <a:gd name="T9" fmla="*/ 46 h 267"/>
                    <a:gd name="T10" fmla="*/ 267 w 268"/>
                    <a:gd name="T11" fmla="*/ 220 h 267"/>
                    <a:gd name="T12" fmla="*/ 219 w 268"/>
                    <a:gd name="T13" fmla="*/ 266 h 267"/>
                    <a:gd name="T14" fmla="*/ 48 w 268"/>
                    <a:gd name="T15" fmla="*/ 266 h 267"/>
                    <a:gd name="T16" fmla="*/ 1 w 268"/>
                    <a:gd name="T17" fmla="*/ 216 h 267"/>
                    <a:gd name="T18" fmla="*/ 0 w 268"/>
                    <a:gd name="T19" fmla="*/ 13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132"/>
                      </a:moveTo>
                      <a:cubicBezTo>
                        <a:pt x="0" y="104"/>
                        <a:pt x="0" y="76"/>
                        <a:pt x="1" y="48"/>
                      </a:cubicBezTo>
                      <a:cubicBezTo>
                        <a:pt x="1" y="18"/>
                        <a:pt x="17" y="1"/>
                        <a:pt x="48" y="1"/>
                      </a:cubicBezTo>
                      <a:cubicBezTo>
                        <a:pt x="105" y="0"/>
                        <a:pt x="162" y="0"/>
                        <a:pt x="220" y="1"/>
                      </a:cubicBezTo>
                      <a:cubicBezTo>
                        <a:pt x="249" y="1"/>
                        <a:pt x="266" y="17"/>
                        <a:pt x="267" y="46"/>
                      </a:cubicBezTo>
                      <a:cubicBezTo>
                        <a:pt x="268" y="104"/>
                        <a:pt x="268" y="162"/>
                        <a:pt x="267" y="220"/>
                      </a:cubicBezTo>
                      <a:cubicBezTo>
                        <a:pt x="266" y="250"/>
                        <a:pt x="249" y="265"/>
                        <a:pt x="219" y="266"/>
                      </a:cubicBezTo>
                      <a:cubicBezTo>
                        <a:pt x="162" y="267"/>
                        <a:pt x="105" y="267"/>
                        <a:pt x="48" y="266"/>
                      </a:cubicBezTo>
                      <a:cubicBezTo>
                        <a:pt x="16" y="265"/>
                        <a:pt x="1" y="248"/>
                        <a:pt x="1" y="216"/>
                      </a:cubicBezTo>
                      <a:cubicBezTo>
                        <a:pt x="0" y="188"/>
                        <a:pt x="0" y="160"/>
                        <a:pt x="0"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6" name="Freeform 18">
                  <a:extLst>
                    <a:ext uri="{FF2B5EF4-FFF2-40B4-BE49-F238E27FC236}">
                      <a16:creationId xmlns:a16="http://schemas.microsoft.com/office/drawing/2014/main" id="{F7DF80DE-4238-4B09-9B1F-F889DB82EB65}"/>
                    </a:ext>
                  </a:extLst>
                </p:cNvPr>
                <p:cNvSpPr>
                  <a:spLocks/>
                </p:cNvSpPr>
                <p:nvPr/>
              </p:nvSpPr>
              <p:spPr bwMode="auto">
                <a:xfrm>
                  <a:off x="1280058" y="5172606"/>
                  <a:ext cx="515937" cy="517525"/>
                </a:xfrm>
                <a:custGeom>
                  <a:avLst/>
                  <a:gdLst>
                    <a:gd name="T0" fmla="*/ 266 w 267"/>
                    <a:gd name="T1" fmla="*/ 135 h 269"/>
                    <a:gd name="T2" fmla="*/ 266 w 267"/>
                    <a:gd name="T3" fmla="*/ 219 h 269"/>
                    <a:gd name="T4" fmla="*/ 220 w 267"/>
                    <a:gd name="T5" fmla="*/ 268 h 269"/>
                    <a:gd name="T6" fmla="*/ 46 w 267"/>
                    <a:gd name="T7" fmla="*/ 268 h 269"/>
                    <a:gd name="T8" fmla="*/ 0 w 267"/>
                    <a:gd name="T9" fmla="*/ 219 h 269"/>
                    <a:gd name="T10" fmla="*/ 0 w 267"/>
                    <a:gd name="T11" fmla="*/ 51 h 269"/>
                    <a:gd name="T12" fmla="*/ 48 w 267"/>
                    <a:gd name="T13" fmla="*/ 2 h 269"/>
                    <a:gd name="T14" fmla="*/ 218 w 267"/>
                    <a:gd name="T15" fmla="*/ 2 h 269"/>
                    <a:gd name="T16" fmla="*/ 266 w 267"/>
                    <a:gd name="T17" fmla="*/ 51 h 269"/>
                    <a:gd name="T18" fmla="*/ 266 w 267"/>
                    <a:gd name="T19" fmla="*/ 13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7" h="269">
                      <a:moveTo>
                        <a:pt x="266" y="135"/>
                      </a:moveTo>
                      <a:cubicBezTo>
                        <a:pt x="266" y="163"/>
                        <a:pt x="267" y="191"/>
                        <a:pt x="266" y="219"/>
                      </a:cubicBezTo>
                      <a:cubicBezTo>
                        <a:pt x="265" y="250"/>
                        <a:pt x="250" y="268"/>
                        <a:pt x="220" y="268"/>
                      </a:cubicBezTo>
                      <a:cubicBezTo>
                        <a:pt x="162" y="269"/>
                        <a:pt x="104" y="269"/>
                        <a:pt x="46" y="268"/>
                      </a:cubicBezTo>
                      <a:cubicBezTo>
                        <a:pt x="16" y="267"/>
                        <a:pt x="1" y="250"/>
                        <a:pt x="0" y="219"/>
                      </a:cubicBezTo>
                      <a:cubicBezTo>
                        <a:pt x="0" y="163"/>
                        <a:pt x="0" y="107"/>
                        <a:pt x="0" y="51"/>
                      </a:cubicBezTo>
                      <a:cubicBezTo>
                        <a:pt x="1" y="20"/>
                        <a:pt x="17" y="2"/>
                        <a:pt x="48" y="2"/>
                      </a:cubicBezTo>
                      <a:cubicBezTo>
                        <a:pt x="105" y="0"/>
                        <a:pt x="162" y="0"/>
                        <a:pt x="218" y="2"/>
                      </a:cubicBezTo>
                      <a:cubicBezTo>
                        <a:pt x="249" y="2"/>
                        <a:pt x="265" y="20"/>
                        <a:pt x="266" y="51"/>
                      </a:cubicBezTo>
                      <a:cubicBezTo>
                        <a:pt x="267" y="79"/>
                        <a:pt x="266" y="107"/>
                        <a:pt x="266"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7" name="Freeform 19">
                  <a:extLst>
                    <a:ext uri="{FF2B5EF4-FFF2-40B4-BE49-F238E27FC236}">
                      <a16:creationId xmlns:a16="http://schemas.microsoft.com/office/drawing/2014/main" id="{F59B0563-716D-4821-850A-2BA79C443A82}"/>
                    </a:ext>
                  </a:extLst>
                </p:cNvPr>
                <p:cNvSpPr>
                  <a:spLocks/>
                </p:cNvSpPr>
                <p:nvPr/>
              </p:nvSpPr>
              <p:spPr bwMode="auto">
                <a:xfrm>
                  <a:off x="2894544" y="4531256"/>
                  <a:ext cx="515937" cy="515938"/>
                </a:xfrm>
                <a:custGeom>
                  <a:avLst/>
                  <a:gdLst>
                    <a:gd name="T0" fmla="*/ 267 w 267"/>
                    <a:gd name="T1" fmla="*/ 134 h 268"/>
                    <a:gd name="T2" fmla="*/ 267 w 267"/>
                    <a:gd name="T3" fmla="*/ 216 h 268"/>
                    <a:gd name="T4" fmla="*/ 219 w 267"/>
                    <a:gd name="T5" fmla="*/ 267 h 268"/>
                    <a:gd name="T6" fmla="*/ 49 w 267"/>
                    <a:gd name="T7" fmla="*/ 267 h 268"/>
                    <a:gd name="T8" fmla="*/ 1 w 267"/>
                    <a:gd name="T9" fmla="*/ 217 h 268"/>
                    <a:gd name="T10" fmla="*/ 1 w 267"/>
                    <a:gd name="T11" fmla="*/ 53 h 268"/>
                    <a:gd name="T12" fmla="*/ 54 w 267"/>
                    <a:gd name="T13" fmla="*/ 0 h 268"/>
                    <a:gd name="T14" fmla="*/ 214 w 267"/>
                    <a:gd name="T15" fmla="*/ 0 h 268"/>
                    <a:gd name="T16" fmla="*/ 267 w 267"/>
                    <a:gd name="T17" fmla="*/ 54 h 268"/>
                    <a:gd name="T18" fmla="*/ 267 w 267"/>
                    <a:gd name="T19" fmla="*/ 13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7" h="268">
                      <a:moveTo>
                        <a:pt x="267" y="134"/>
                      </a:moveTo>
                      <a:cubicBezTo>
                        <a:pt x="267" y="162"/>
                        <a:pt x="267" y="189"/>
                        <a:pt x="267" y="216"/>
                      </a:cubicBezTo>
                      <a:cubicBezTo>
                        <a:pt x="266" y="249"/>
                        <a:pt x="251" y="267"/>
                        <a:pt x="219" y="267"/>
                      </a:cubicBezTo>
                      <a:cubicBezTo>
                        <a:pt x="162" y="268"/>
                        <a:pt x="106" y="268"/>
                        <a:pt x="49" y="267"/>
                      </a:cubicBezTo>
                      <a:cubicBezTo>
                        <a:pt x="16" y="267"/>
                        <a:pt x="1" y="250"/>
                        <a:pt x="1" y="217"/>
                      </a:cubicBezTo>
                      <a:cubicBezTo>
                        <a:pt x="0" y="162"/>
                        <a:pt x="0" y="107"/>
                        <a:pt x="1" y="53"/>
                      </a:cubicBezTo>
                      <a:cubicBezTo>
                        <a:pt x="1" y="16"/>
                        <a:pt x="18" y="1"/>
                        <a:pt x="54" y="0"/>
                      </a:cubicBezTo>
                      <a:cubicBezTo>
                        <a:pt x="107" y="0"/>
                        <a:pt x="160" y="0"/>
                        <a:pt x="214" y="0"/>
                      </a:cubicBezTo>
                      <a:cubicBezTo>
                        <a:pt x="250" y="0"/>
                        <a:pt x="267" y="17"/>
                        <a:pt x="267" y="54"/>
                      </a:cubicBezTo>
                      <a:cubicBezTo>
                        <a:pt x="267" y="81"/>
                        <a:pt x="267" y="108"/>
                        <a:pt x="26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128" name="Freeform 20">
                  <a:extLst>
                    <a:ext uri="{FF2B5EF4-FFF2-40B4-BE49-F238E27FC236}">
                      <a16:creationId xmlns:a16="http://schemas.microsoft.com/office/drawing/2014/main" id="{EDD2577E-320B-44FB-A929-4F8ABC5A3F91}"/>
                    </a:ext>
                  </a:extLst>
                </p:cNvPr>
                <p:cNvSpPr>
                  <a:spLocks/>
                </p:cNvSpPr>
                <p:nvPr/>
              </p:nvSpPr>
              <p:spPr bwMode="auto">
                <a:xfrm>
                  <a:off x="2894544" y="5825069"/>
                  <a:ext cx="515937" cy="514350"/>
                </a:xfrm>
                <a:custGeom>
                  <a:avLst/>
                  <a:gdLst>
                    <a:gd name="T0" fmla="*/ 267 w 267"/>
                    <a:gd name="T1" fmla="*/ 135 h 267"/>
                    <a:gd name="T2" fmla="*/ 267 w 267"/>
                    <a:gd name="T3" fmla="*/ 217 h 267"/>
                    <a:gd name="T4" fmla="*/ 219 w 267"/>
                    <a:gd name="T5" fmla="*/ 266 h 267"/>
                    <a:gd name="T6" fmla="*/ 49 w 267"/>
                    <a:gd name="T7" fmla="*/ 266 h 267"/>
                    <a:gd name="T8" fmla="*/ 1 w 267"/>
                    <a:gd name="T9" fmla="*/ 217 h 267"/>
                    <a:gd name="T10" fmla="*/ 1 w 267"/>
                    <a:gd name="T11" fmla="*/ 49 h 267"/>
                    <a:gd name="T12" fmla="*/ 51 w 267"/>
                    <a:gd name="T13" fmla="*/ 0 h 267"/>
                    <a:gd name="T14" fmla="*/ 217 w 267"/>
                    <a:gd name="T15" fmla="*/ 0 h 267"/>
                    <a:gd name="T16" fmla="*/ 267 w 267"/>
                    <a:gd name="T17" fmla="*/ 51 h 267"/>
                    <a:gd name="T18" fmla="*/ 267 w 267"/>
                    <a:gd name="T19" fmla="*/ 13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7" h="267">
                      <a:moveTo>
                        <a:pt x="267" y="135"/>
                      </a:moveTo>
                      <a:cubicBezTo>
                        <a:pt x="267" y="162"/>
                        <a:pt x="267" y="190"/>
                        <a:pt x="267" y="217"/>
                      </a:cubicBezTo>
                      <a:cubicBezTo>
                        <a:pt x="266" y="249"/>
                        <a:pt x="251" y="265"/>
                        <a:pt x="219" y="266"/>
                      </a:cubicBezTo>
                      <a:cubicBezTo>
                        <a:pt x="162" y="267"/>
                        <a:pt x="106" y="267"/>
                        <a:pt x="49" y="266"/>
                      </a:cubicBezTo>
                      <a:cubicBezTo>
                        <a:pt x="17" y="265"/>
                        <a:pt x="1" y="249"/>
                        <a:pt x="1" y="217"/>
                      </a:cubicBezTo>
                      <a:cubicBezTo>
                        <a:pt x="0" y="161"/>
                        <a:pt x="0" y="105"/>
                        <a:pt x="1" y="49"/>
                      </a:cubicBezTo>
                      <a:cubicBezTo>
                        <a:pt x="1" y="17"/>
                        <a:pt x="18" y="1"/>
                        <a:pt x="51" y="0"/>
                      </a:cubicBezTo>
                      <a:cubicBezTo>
                        <a:pt x="106" y="0"/>
                        <a:pt x="161" y="0"/>
                        <a:pt x="217" y="0"/>
                      </a:cubicBezTo>
                      <a:cubicBezTo>
                        <a:pt x="251" y="1"/>
                        <a:pt x="266" y="17"/>
                        <a:pt x="267" y="51"/>
                      </a:cubicBezTo>
                      <a:cubicBezTo>
                        <a:pt x="267" y="79"/>
                        <a:pt x="267" y="107"/>
                        <a:pt x="267"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grpSp>
          <p:nvGrpSpPr>
            <p:cNvPr id="226" name="Group 225">
              <a:extLst>
                <a:ext uri="{FF2B5EF4-FFF2-40B4-BE49-F238E27FC236}">
                  <a16:creationId xmlns:a16="http://schemas.microsoft.com/office/drawing/2014/main" id="{52612FF3-5471-49B9-905F-5D90767DF28E}"/>
                </a:ext>
              </a:extLst>
            </p:cNvPr>
            <p:cNvGrpSpPr/>
            <p:nvPr/>
          </p:nvGrpSpPr>
          <p:grpSpPr>
            <a:xfrm>
              <a:off x="2560991" y="2427218"/>
              <a:ext cx="1507414" cy="992472"/>
              <a:chOff x="2560991" y="2486487"/>
              <a:chExt cx="1507414" cy="992472"/>
            </a:xfrm>
          </p:grpSpPr>
          <p:sp>
            <p:nvSpPr>
              <p:cNvPr id="148" name="Rectangle 147">
                <a:extLst>
                  <a:ext uri="{FF2B5EF4-FFF2-40B4-BE49-F238E27FC236}">
                    <a16:creationId xmlns:a16="http://schemas.microsoft.com/office/drawing/2014/main" id="{CB7CBEC2-EF62-4BF4-B0CB-7A93D0F0E613}"/>
                  </a:ext>
                </a:extLst>
              </p:cNvPr>
              <p:cNvSpPr/>
              <p:nvPr/>
            </p:nvSpPr>
            <p:spPr bwMode="auto">
              <a:xfrm>
                <a:off x="2560991" y="2655999"/>
                <a:ext cx="1507414" cy="822960"/>
              </a:xfrm>
              <a:prstGeom prst="rect">
                <a:avLst/>
              </a:prstGeom>
              <a:noFill/>
              <a:ln w="31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endParaRPr lang="en-US" sz="2800">
                  <a:solidFill>
                    <a:srgbClr val="FFFFFF"/>
                  </a:solidFill>
                  <a:latin typeface="Segoe UI Light"/>
                  <a:ea typeface="Segoe UI" pitchFamily="34" charset="0"/>
                  <a:cs typeface="Segoe UI" pitchFamily="34" charset="0"/>
                </a:endParaRPr>
              </a:p>
            </p:txBody>
          </p:sp>
          <p:sp>
            <p:nvSpPr>
              <p:cNvPr id="149" name="Rectangle 148">
                <a:extLst>
                  <a:ext uri="{FF2B5EF4-FFF2-40B4-BE49-F238E27FC236}">
                    <a16:creationId xmlns:a16="http://schemas.microsoft.com/office/drawing/2014/main" id="{29DA4FD1-2E13-470B-8B3A-CE75A1F6B634}"/>
                  </a:ext>
                </a:extLst>
              </p:cNvPr>
              <p:cNvSpPr/>
              <p:nvPr/>
            </p:nvSpPr>
            <p:spPr bwMode="auto">
              <a:xfrm>
                <a:off x="2769819" y="2486487"/>
                <a:ext cx="1089757" cy="290827"/>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r>
                  <a:rPr lang="en-US" sz="2400">
                    <a:gradFill>
                      <a:gsLst>
                        <a:gs pos="1250">
                          <a:srgbClr val="FFFFFF"/>
                        </a:gs>
                        <a:gs pos="100000">
                          <a:srgbClr val="FFFFFF"/>
                        </a:gs>
                      </a:gsLst>
                      <a:lin ang="5400000" scaled="0"/>
                    </a:gradFill>
                    <a:latin typeface="Segoe UI Light"/>
                    <a:cs typeface="Segoe UI" pitchFamily="34" charset="0"/>
                  </a:rPr>
                  <a:t>TALK</a:t>
                </a:r>
              </a:p>
            </p:txBody>
          </p:sp>
          <p:sp>
            <p:nvSpPr>
              <p:cNvPr id="20" name="Freeform 16">
                <a:extLst>
                  <a:ext uri="{FF2B5EF4-FFF2-40B4-BE49-F238E27FC236}">
                    <a16:creationId xmlns:a16="http://schemas.microsoft.com/office/drawing/2014/main" id="{6A5B070C-DF18-415A-9DCB-4B9B4BF3B602}"/>
                  </a:ext>
                </a:extLst>
              </p:cNvPr>
              <p:cNvSpPr>
                <a:spLocks noEditPoints="1"/>
              </p:cNvSpPr>
              <p:nvPr/>
            </p:nvSpPr>
            <p:spPr bwMode="auto">
              <a:xfrm>
                <a:off x="3022545" y="2889681"/>
                <a:ext cx="584305" cy="464960"/>
              </a:xfrm>
              <a:custGeom>
                <a:avLst/>
                <a:gdLst>
                  <a:gd name="T0" fmla="*/ 339 w 1390"/>
                  <a:gd name="T1" fmla="*/ 864 h 1111"/>
                  <a:gd name="T2" fmla="*/ 282 w 1390"/>
                  <a:gd name="T3" fmla="*/ 837 h 1111"/>
                  <a:gd name="T4" fmla="*/ 63 w 1390"/>
                  <a:gd name="T5" fmla="*/ 626 h 1111"/>
                  <a:gd name="T6" fmla="*/ 94 w 1390"/>
                  <a:gd name="T7" fmla="*/ 265 h 1111"/>
                  <a:gd name="T8" fmla="*/ 280 w 1390"/>
                  <a:gd name="T9" fmla="*/ 106 h 1111"/>
                  <a:gd name="T10" fmla="*/ 739 w 1390"/>
                  <a:gd name="T11" fmla="*/ 7 h 1111"/>
                  <a:gd name="T12" fmla="*/ 1091 w 1390"/>
                  <a:gd name="T13" fmla="*/ 95 h 1111"/>
                  <a:gd name="T14" fmla="*/ 1307 w 1390"/>
                  <a:gd name="T15" fmla="*/ 279 h 1111"/>
                  <a:gd name="T16" fmla="*/ 1297 w 1390"/>
                  <a:gd name="T17" fmla="*/ 677 h 1111"/>
                  <a:gd name="T18" fmla="*/ 1038 w 1390"/>
                  <a:gd name="T19" fmla="*/ 871 h 1111"/>
                  <a:gd name="T20" fmla="*/ 638 w 1390"/>
                  <a:gd name="T21" fmla="*/ 934 h 1111"/>
                  <a:gd name="T22" fmla="*/ 616 w 1390"/>
                  <a:gd name="T23" fmla="*/ 942 h 1111"/>
                  <a:gd name="T24" fmla="*/ 328 w 1390"/>
                  <a:gd name="T25" fmla="*/ 1101 h 1111"/>
                  <a:gd name="T26" fmla="*/ 233 w 1390"/>
                  <a:gd name="T27" fmla="*/ 1110 h 1111"/>
                  <a:gd name="T28" fmla="*/ 202 w 1390"/>
                  <a:gd name="T29" fmla="*/ 1093 h 1111"/>
                  <a:gd name="T30" fmla="*/ 209 w 1390"/>
                  <a:gd name="T31" fmla="*/ 1058 h 1111"/>
                  <a:gd name="T32" fmla="*/ 255 w 1390"/>
                  <a:gd name="T33" fmla="*/ 1002 h 1111"/>
                  <a:gd name="T34" fmla="*/ 336 w 1390"/>
                  <a:gd name="T35" fmla="*/ 871 h 1111"/>
                  <a:gd name="T36" fmla="*/ 339 w 1390"/>
                  <a:gd name="T37" fmla="*/ 864 h 1111"/>
                  <a:gd name="T38" fmla="*/ 298 w 1390"/>
                  <a:gd name="T39" fmla="*/ 1047 h 1111"/>
                  <a:gd name="T40" fmla="*/ 317 w 1390"/>
                  <a:gd name="T41" fmla="*/ 1044 h 1111"/>
                  <a:gd name="T42" fmla="*/ 584 w 1390"/>
                  <a:gd name="T43" fmla="*/ 891 h 1111"/>
                  <a:gd name="T44" fmla="*/ 628 w 1390"/>
                  <a:gd name="T45" fmla="*/ 874 h 1111"/>
                  <a:gd name="T46" fmla="*/ 951 w 1390"/>
                  <a:gd name="T47" fmla="*/ 841 h 1111"/>
                  <a:gd name="T48" fmla="*/ 1217 w 1390"/>
                  <a:gd name="T49" fmla="*/ 685 h 1111"/>
                  <a:gd name="T50" fmla="*/ 1308 w 1390"/>
                  <a:gd name="T51" fmla="*/ 485 h 1111"/>
                  <a:gd name="T52" fmla="*/ 1230 w 1390"/>
                  <a:gd name="T53" fmla="*/ 272 h 1111"/>
                  <a:gd name="T54" fmla="*/ 983 w 1390"/>
                  <a:gd name="T55" fmla="*/ 111 h 1111"/>
                  <a:gd name="T56" fmla="*/ 620 w 1390"/>
                  <a:gd name="T57" fmla="*/ 67 h 1111"/>
                  <a:gd name="T58" fmla="*/ 280 w 1390"/>
                  <a:gd name="T59" fmla="*/ 172 h 1111"/>
                  <a:gd name="T60" fmla="*/ 145 w 1390"/>
                  <a:gd name="T61" fmla="*/ 291 h 1111"/>
                  <a:gd name="T62" fmla="*/ 88 w 1390"/>
                  <a:gd name="T63" fmla="*/ 525 h 1111"/>
                  <a:gd name="T64" fmla="*/ 186 w 1390"/>
                  <a:gd name="T65" fmla="*/ 696 h 1111"/>
                  <a:gd name="T66" fmla="*/ 383 w 1390"/>
                  <a:gd name="T67" fmla="*/ 819 h 1111"/>
                  <a:gd name="T68" fmla="*/ 402 w 1390"/>
                  <a:gd name="T69" fmla="*/ 864 h 1111"/>
                  <a:gd name="T70" fmla="*/ 316 w 1390"/>
                  <a:gd name="T71" fmla="*/ 1020 h 1111"/>
                  <a:gd name="T72" fmla="*/ 298 w 1390"/>
                  <a:gd name="T73" fmla="*/ 1047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0" h="1111">
                    <a:moveTo>
                      <a:pt x="339" y="864"/>
                    </a:moveTo>
                    <a:cubicBezTo>
                      <a:pt x="319" y="855"/>
                      <a:pt x="300" y="847"/>
                      <a:pt x="282" y="837"/>
                    </a:cubicBezTo>
                    <a:cubicBezTo>
                      <a:pt x="190" y="787"/>
                      <a:pt x="111" y="721"/>
                      <a:pt x="63" y="626"/>
                    </a:cubicBezTo>
                    <a:cubicBezTo>
                      <a:pt x="0" y="500"/>
                      <a:pt x="14" y="379"/>
                      <a:pt x="94" y="265"/>
                    </a:cubicBezTo>
                    <a:cubicBezTo>
                      <a:pt x="142" y="196"/>
                      <a:pt x="206" y="145"/>
                      <a:pt x="280" y="106"/>
                    </a:cubicBezTo>
                    <a:cubicBezTo>
                      <a:pt x="423" y="30"/>
                      <a:pt x="577" y="0"/>
                      <a:pt x="739" y="7"/>
                    </a:cubicBezTo>
                    <a:cubicBezTo>
                      <a:pt x="863" y="13"/>
                      <a:pt x="981" y="39"/>
                      <a:pt x="1091" y="95"/>
                    </a:cubicBezTo>
                    <a:cubicBezTo>
                      <a:pt x="1178" y="139"/>
                      <a:pt x="1253" y="197"/>
                      <a:pt x="1307" y="279"/>
                    </a:cubicBezTo>
                    <a:cubicBezTo>
                      <a:pt x="1390" y="405"/>
                      <a:pt x="1386" y="555"/>
                      <a:pt x="1297" y="677"/>
                    </a:cubicBezTo>
                    <a:cubicBezTo>
                      <a:pt x="1231" y="768"/>
                      <a:pt x="1141" y="828"/>
                      <a:pt x="1038" y="871"/>
                    </a:cubicBezTo>
                    <a:cubicBezTo>
                      <a:pt x="910" y="924"/>
                      <a:pt x="776" y="941"/>
                      <a:pt x="638" y="934"/>
                    </a:cubicBezTo>
                    <a:cubicBezTo>
                      <a:pt x="629" y="933"/>
                      <a:pt x="622" y="935"/>
                      <a:pt x="616" y="942"/>
                    </a:cubicBezTo>
                    <a:cubicBezTo>
                      <a:pt x="536" y="1025"/>
                      <a:pt x="441" y="1081"/>
                      <a:pt x="328" y="1101"/>
                    </a:cubicBezTo>
                    <a:cubicBezTo>
                      <a:pt x="296" y="1107"/>
                      <a:pt x="264" y="1108"/>
                      <a:pt x="233" y="1110"/>
                    </a:cubicBezTo>
                    <a:cubicBezTo>
                      <a:pt x="219" y="1111"/>
                      <a:pt x="208" y="1106"/>
                      <a:pt x="202" y="1093"/>
                    </a:cubicBezTo>
                    <a:cubicBezTo>
                      <a:pt x="196" y="1080"/>
                      <a:pt x="200" y="1069"/>
                      <a:pt x="209" y="1058"/>
                    </a:cubicBezTo>
                    <a:cubicBezTo>
                      <a:pt x="225" y="1040"/>
                      <a:pt x="241" y="1022"/>
                      <a:pt x="255" y="1002"/>
                    </a:cubicBezTo>
                    <a:cubicBezTo>
                      <a:pt x="286" y="961"/>
                      <a:pt x="315" y="918"/>
                      <a:pt x="336" y="871"/>
                    </a:cubicBezTo>
                    <a:cubicBezTo>
                      <a:pt x="337" y="869"/>
                      <a:pt x="338" y="867"/>
                      <a:pt x="339" y="864"/>
                    </a:cubicBezTo>
                    <a:close/>
                    <a:moveTo>
                      <a:pt x="298" y="1047"/>
                    </a:moveTo>
                    <a:cubicBezTo>
                      <a:pt x="307" y="1046"/>
                      <a:pt x="312" y="1045"/>
                      <a:pt x="317" y="1044"/>
                    </a:cubicBezTo>
                    <a:cubicBezTo>
                      <a:pt x="424" y="1024"/>
                      <a:pt x="511" y="970"/>
                      <a:pt x="584" y="891"/>
                    </a:cubicBezTo>
                    <a:cubicBezTo>
                      <a:pt x="597" y="877"/>
                      <a:pt x="610" y="873"/>
                      <a:pt x="628" y="874"/>
                    </a:cubicBezTo>
                    <a:cubicBezTo>
                      <a:pt x="738" y="883"/>
                      <a:pt x="846" y="873"/>
                      <a:pt x="951" y="841"/>
                    </a:cubicBezTo>
                    <a:cubicBezTo>
                      <a:pt x="1052" y="810"/>
                      <a:pt x="1143" y="763"/>
                      <a:pt x="1217" y="685"/>
                    </a:cubicBezTo>
                    <a:cubicBezTo>
                      <a:pt x="1270" y="629"/>
                      <a:pt x="1304" y="563"/>
                      <a:pt x="1308" y="485"/>
                    </a:cubicBezTo>
                    <a:cubicBezTo>
                      <a:pt x="1312" y="403"/>
                      <a:pt x="1282" y="333"/>
                      <a:pt x="1230" y="272"/>
                    </a:cubicBezTo>
                    <a:cubicBezTo>
                      <a:pt x="1164" y="194"/>
                      <a:pt x="1078" y="145"/>
                      <a:pt x="983" y="111"/>
                    </a:cubicBezTo>
                    <a:cubicBezTo>
                      <a:pt x="866" y="70"/>
                      <a:pt x="744" y="58"/>
                      <a:pt x="620" y="67"/>
                    </a:cubicBezTo>
                    <a:cubicBezTo>
                      <a:pt x="499" y="77"/>
                      <a:pt x="385" y="111"/>
                      <a:pt x="280" y="172"/>
                    </a:cubicBezTo>
                    <a:cubicBezTo>
                      <a:pt x="227" y="203"/>
                      <a:pt x="182" y="242"/>
                      <a:pt x="145" y="291"/>
                    </a:cubicBezTo>
                    <a:cubicBezTo>
                      <a:pt x="94" y="361"/>
                      <a:pt x="71" y="438"/>
                      <a:pt x="88" y="525"/>
                    </a:cubicBezTo>
                    <a:cubicBezTo>
                      <a:pt x="102" y="592"/>
                      <a:pt x="138" y="647"/>
                      <a:pt x="186" y="696"/>
                    </a:cubicBezTo>
                    <a:cubicBezTo>
                      <a:pt x="242" y="752"/>
                      <a:pt x="310" y="789"/>
                      <a:pt x="383" y="819"/>
                    </a:cubicBezTo>
                    <a:cubicBezTo>
                      <a:pt x="405" y="829"/>
                      <a:pt x="411" y="842"/>
                      <a:pt x="402" y="864"/>
                    </a:cubicBezTo>
                    <a:cubicBezTo>
                      <a:pt x="380" y="920"/>
                      <a:pt x="350" y="971"/>
                      <a:pt x="316" y="1020"/>
                    </a:cubicBezTo>
                    <a:cubicBezTo>
                      <a:pt x="311" y="1028"/>
                      <a:pt x="306" y="1036"/>
                      <a:pt x="298" y="1047"/>
                    </a:cubicBezTo>
                    <a:close/>
                  </a:path>
                </a:pathLst>
              </a:custGeom>
              <a:solidFill>
                <a:schemeClr val="tx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nvGrpSpPr>
            <p:cNvPr id="228" name="Group 227">
              <a:extLst>
                <a:ext uri="{FF2B5EF4-FFF2-40B4-BE49-F238E27FC236}">
                  <a16:creationId xmlns:a16="http://schemas.microsoft.com/office/drawing/2014/main" id="{6CED46FE-32F3-4649-86FF-7B7CB22BE8A6}"/>
                </a:ext>
              </a:extLst>
            </p:cNvPr>
            <p:cNvGrpSpPr/>
            <p:nvPr/>
          </p:nvGrpSpPr>
          <p:grpSpPr>
            <a:xfrm>
              <a:off x="4347483" y="2427216"/>
              <a:ext cx="1507414" cy="992474"/>
              <a:chOff x="4347483" y="2486485"/>
              <a:chExt cx="1507414" cy="992474"/>
            </a:xfrm>
          </p:grpSpPr>
          <p:sp>
            <p:nvSpPr>
              <p:cNvPr id="167" name="Rectangle 166">
                <a:extLst>
                  <a:ext uri="{FF2B5EF4-FFF2-40B4-BE49-F238E27FC236}">
                    <a16:creationId xmlns:a16="http://schemas.microsoft.com/office/drawing/2014/main" id="{E9FBB436-9C6E-4230-B405-77025EE934E9}"/>
                  </a:ext>
                </a:extLst>
              </p:cNvPr>
              <p:cNvSpPr/>
              <p:nvPr/>
            </p:nvSpPr>
            <p:spPr bwMode="auto">
              <a:xfrm>
                <a:off x="4347483" y="2655999"/>
                <a:ext cx="1507414" cy="822960"/>
              </a:xfrm>
              <a:prstGeom prst="rect">
                <a:avLst/>
              </a:prstGeom>
              <a:noFill/>
              <a:ln w="31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endParaRPr lang="en-US" sz="2800">
                  <a:solidFill>
                    <a:srgbClr val="FFFFFF"/>
                  </a:solidFill>
                  <a:latin typeface="Segoe UI Light"/>
                  <a:ea typeface="Segoe UI" pitchFamily="34" charset="0"/>
                  <a:cs typeface="Segoe UI" pitchFamily="34" charset="0"/>
                </a:endParaRPr>
              </a:p>
            </p:txBody>
          </p:sp>
          <p:sp>
            <p:nvSpPr>
              <p:cNvPr id="168" name="Rectangle 167">
                <a:extLst>
                  <a:ext uri="{FF2B5EF4-FFF2-40B4-BE49-F238E27FC236}">
                    <a16:creationId xmlns:a16="http://schemas.microsoft.com/office/drawing/2014/main" id="{A8B54027-16BF-4357-873D-998683A6A8C6}"/>
                  </a:ext>
                </a:extLst>
              </p:cNvPr>
              <p:cNvSpPr/>
              <p:nvPr/>
            </p:nvSpPr>
            <p:spPr bwMode="auto">
              <a:xfrm>
                <a:off x="4556311" y="2486485"/>
                <a:ext cx="1089757" cy="290826"/>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r>
                  <a:rPr lang="en-US" sz="2400">
                    <a:gradFill>
                      <a:gsLst>
                        <a:gs pos="1250">
                          <a:srgbClr val="FFFFFF"/>
                        </a:gs>
                        <a:gs pos="100000">
                          <a:srgbClr val="FFFFFF"/>
                        </a:gs>
                      </a:gsLst>
                      <a:lin ang="5400000" scaled="0"/>
                    </a:gradFill>
                    <a:latin typeface="Segoe UI Light"/>
                    <a:cs typeface="Segoe UI" pitchFamily="34" charset="0"/>
                  </a:rPr>
                  <a:t>TAP</a:t>
                </a:r>
              </a:p>
            </p:txBody>
          </p:sp>
          <p:grpSp>
            <p:nvGrpSpPr>
              <p:cNvPr id="26" name="Group 25">
                <a:extLst>
                  <a:ext uri="{FF2B5EF4-FFF2-40B4-BE49-F238E27FC236}">
                    <a16:creationId xmlns:a16="http://schemas.microsoft.com/office/drawing/2014/main" id="{9A2F6B86-D24A-454B-8A99-0F5038DB5309}"/>
                  </a:ext>
                </a:extLst>
              </p:cNvPr>
              <p:cNvGrpSpPr/>
              <p:nvPr/>
            </p:nvGrpSpPr>
            <p:grpSpPr>
              <a:xfrm>
                <a:off x="4889537" y="2808008"/>
                <a:ext cx="423306" cy="576801"/>
                <a:chOff x="-3352800" y="-1859841"/>
                <a:chExt cx="1970088" cy="2684462"/>
              </a:xfrm>
              <a:solidFill>
                <a:schemeClr val="tx1"/>
              </a:solidFill>
            </p:grpSpPr>
            <p:sp>
              <p:nvSpPr>
                <p:cNvPr id="23" name="Freeform 20">
                  <a:extLst>
                    <a:ext uri="{FF2B5EF4-FFF2-40B4-BE49-F238E27FC236}">
                      <a16:creationId xmlns:a16="http://schemas.microsoft.com/office/drawing/2014/main" id="{E433AE31-1482-464F-8C86-5A0558E7B639}"/>
                    </a:ext>
                  </a:extLst>
                </p:cNvPr>
                <p:cNvSpPr>
                  <a:spLocks noEditPoints="1"/>
                </p:cNvSpPr>
                <p:nvPr/>
              </p:nvSpPr>
              <p:spPr bwMode="auto">
                <a:xfrm>
                  <a:off x="-3352800" y="-1445505"/>
                  <a:ext cx="1970088" cy="2270126"/>
                </a:xfrm>
                <a:custGeom>
                  <a:avLst/>
                  <a:gdLst>
                    <a:gd name="T0" fmla="*/ 610 w 1017"/>
                    <a:gd name="T1" fmla="*/ 1179 h 1179"/>
                    <a:gd name="T2" fmla="*/ 542 w 1017"/>
                    <a:gd name="T3" fmla="*/ 1167 h 1179"/>
                    <a:gd name="T4" fmla="*/ 291 w 1017"/>
                    <a:gd name="T5" fmla="*/ 979 h 1179"/>
                    <a:gd name="T6" fmla="*/ 187 w 1017"/>
                    <a:gd name="T7" fmla="*/ 807 h 1179"/>
                    <a:gd name="T8" fmla="*/ 87 w 1017"/>
                    <a:gd name="T9" fmla="*/ 656 h 1179"/>
                    <a:gd name="T10" fmla="*/ 15 w 1017"/>
                    <a:gd name="T11" fmla="*/ 531 h 1179"/>
                    <a:gd name="T12" fmla="*/ 3 w 1017"/>
                    <a:gd name="T13" fmla="*/ 464 h 1179"/>
                    <a:gd name="T14" fmla="*/ 103 w 1017"/>
                    <a:gd name="T15" fmla="*/ 397 h 1179"/>
                    <a:gd name="T16" fmla="*/ 178 w 1017"/>
                    <a:gd name="T17" fmla="*/ 426 h 1179"/>
                    <a:gd name="T18" fmla="*/ 257 w 1017"/>
                    <a:gd name="T19" fmla="*/ 484 h 1179"/>
                    <a:gd name="T20" fmla="*/ 272 w 1017"/>
                    <a:gd name="T21" fmla="*/ 498 h 1179"/>
                    <a:gd name="T22" fmla="*/ 272 w 1017"/>
                    <a:gd name="T23" fmla="*/ 480 h 1179"/>
                    <a:gd name="T24" fmla="*/ 272 w 1017"/>
                    <a:gd name="T25" fmla="*/ 113 h 1179"/>
                    <a:gd name="T26" fmla="*/ 376 w 1017"/>
                    <a:gd name="T27" fmla="*/ 3 h 1179"/>
                    <a:gd name="T28" fmla="*/ 490 w 1017"/>
                    <a:gd name="T29" fmla="*/ 111 h 1179"/>
                    <a:gd name="T30" fmla="*/ 490 w 1017"/>
                    <a:gd name="T31" fmla="*/ 311 h 1179"/>
                    <a:gd name="T32" fmla="*/ 490 w 1017"/>
                    <a:gd name="T33" fmla="*/ 328 h 1179"/>
                    <a:gd name="T34" fmla="*/ 585 w 1017"/>
                    <a:gd name="T35" fmla="*/ 312 h 1179"/>
                    <a:gd name="T36" fmla="*/ 658 w 1017"/>
                    <a:gd name="T37" fmla="*/ 378 h 1179"/>
                    <a:gd name="T38" fmla="*/ 775 w 1017"/>
                    <a:gd name="T39" fmla="*/ 360 h 1179"/>
                    <a:gd name="T40" fmla="*/ 842 w 1017"/>
                    <a:gd name="T41" fmla="*/ 457 h 1179"/>
                    <a:gd name="T42" fmla="*/ 889 w 1017"/>
                    <a:gd name="T43" fmla="*/ 441 h 1179"/>
                    <a:gd name="T44" fmla="*/ 1016 w 1017"/>
                    <a:gd name="T45" fmla="*/ 547 h 1179"/>
                    <a:gd name="T46" fmla="*/ 1016 w 1017"/>
                    <a:gd name="T47" fmla="*/ 816 h 1179"/>
                    <a:gd name="T48" fmla="*/ 686 w 1017"/>
                    <a:gd name="T49" fmla="*/ 1177 h 1179"/>
                    <a:gd name="T50" fmla="*/ 675 w 1017"/>
                    <a:gd name="T51" fmla="*/ 1179 h 1179"/>
                    <a:gd name="T52" fmla="*/ 610 w 1017"/>
                    <a:gd name="T53" fmla="*/ 1179 h 1179"/>
                    <a:gd name="T54" fmla="*/ 316 w 1017"/>
                    <a:gd name="T55" fmla="*/ 600 h 1179"/>
                    <a:gd name="T56" fmla="*/ 312 w 1017"/>
                    <a:gd name="T57" fmla="*/ 602 h 1179"/>
                    <a:gd name="T58" fmla="*/ 302 w 1017"/>
                    <a:gd name="T59" fmla="*/ 590 h 1179"/>
                    <a:gd name="T60" fmla="*/ 160 w 1017"/>
                    <a:gd name="T61" fmla="*/ 466 h 1179"/>
                    <a:gd name="T62" fmla="*/ 98 w 1017"/>
                    <a:gd name="T63" fmla="*/ 440 h 1179"/>
                    <a:gd name="T64" fmla="*/ 48 w 1017"/>
                    <a:gd name="T65" fmla="*/ 492 h 1179"/>
                    <a:gd name="T66" fmla="*/ 60 w 1017"/>
                    <a:gd name="T67" fmla="*/ 525 h 1179"/>
                    <a:gd name="T68" fmla="*/ 105 w 1017"/>
                    <a:gd name="T69" fmla="*/ 602 h 1179"/>
                    <a:gd name="T70" fmla="*/ 310 w 1017"/>
                    <a:gd name="T71" fmla="*/ 925 h 1179"/>
                    <a:gd name="T72" fmla="*/ 351 w 1017"/>
                    <a:gd name="T73" fmla="*/ 985 h 1179"/>
                    <a:gd name="T74" fmla="*/ 682 w 1017"/>
                    <a:gd name="T75" fmla="*/ 1133 h 1179"/>
                    <a:gd name="T76" fmla="*/ 972 w 1017"/>
                    <a:gd name="T77" fmla="*/ 822 h 1179"/>
                    <a:gd name="T78" fmla="*/ 972 w 1017"/>
                    <a:gd name="T79" fmla="*/ 546 h 1179"/>
                    <a:gd name="T80" fmla="*/ 906 w 1017"/>
                    <a:gd name="T81" fmla="*/ 482 h 1179"/>
                    <a:gd name="T82" fmla="*/ 842 w 1017"/>
                    <a:gd name="T83" fmla="*/ 546 h 1179"/>
                    <a:gd name="T84" fmla="*/ 842 w 1017"/>
                    <a:gd name="T85" fmla="*/ 568 h 1179"/>
                    <a:gd name="T86" fmla="*/ 798 w 1017"/>
                    <a:gd name="T87" fmla="*/ 568 h 1179"/>
                    <a:gd name="T88" fmla="*/ 798 w 1017"/>
                    <a:gd name="T89" fmla="*/ 554 h 1179"/>
                    <a:gd name="T90" fmla="*/ 798 w 1017"/>
                    <a:gd name="T91" fmla="*/ 460 h 1179"/>
                    <a:gd name="T92" fmla="*/ 752 w 1017"/>
                    <a:gd name="T93" fmla="*/ 398 h 1179"/>
                    <a:gd name="T94" fmla="*/ 667 w 1017"/>
                    <a:gd name="T95" fmla="*/ 459 h 1179"/>
                    <a:gd name="T96" fmla="*/ 667 w 1017"/>
                    <a:gd name="T97" fmla="*/ 525 h 1179"/>
                    <a:gd name="T98" fmla="*/ 621 w 1017"/>
                    <a:gd name="T99" fmla="*/ 525 h 1179"/>
                    <a:gd name="T100" fmla="*/ 621 w 1017"/>
                    <a:gd name="T101" fmla="*/ 420 h 1179"/>
                    <a:gd name="T102" fmla="*/ 555 w 1017"/>
                    <a:gd name="T103" fmla="*/ 351 h 1179"/>
                    <a:gd name="T104" fmla="*/ 490 w 1017"/>
                    <a:gd name="T105" fmla="*/ 420 h 1179"/>
                    <a:gd name="T106" fmla="*/ 490 w 1017"/>
                    <a:gd name="T107" fmla="*/ 554 h 1179"/>
                    <a:gd name="T108" fmla="*/ 490 w 1017"/>
                    <a:gd name="T109" fmla="*/ 568 h 1179"/>
                    <a:gd name="T110" fmla="*/ 447 w 1017"/>
                    <a:gd name="T111" fmla="*/ 568 h 1179"/>
                    <a:gd name="T112" fmla="*/ 447 w 1017"/>
                    <a:gd name="T113" fmla="*/ 551 h 1179"/>
                    <a:gd name="T114" fmla="*/ 447 w 1017"/>
                    <a:gd name="T115" fmla="*/ 148 h 1179"/>
                    <a:gd name="T116" fmla="*/ 446 w 1017"/>
                    <a:gd name="T117" fmla="*/ 110 h 1179"/>
                    <a:gd name="T118" fmla="*/ 400 w 1017"/>
                    <a:gd name="T119" fmla="*/ 49 h 1179"/>
                    <a:gd name="T120" fmla="*/ 316 w 1017"/>
                    <a:gd name="T121" fmla="*/ 115 h 1179"/>
                    <a:gd name="T122" fmla="*/ 316 w 1017"/>
                    <a:gd name="T123" fmla="*/ 585 h 1179"/>
                    <a:gd name="T124" fmla="*/ 316 w 1017"/>
                    <a:gd name="T125" fmla="*/ 60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7" h="1179">
                      <a:moveTo>
                        <a:pt x="610" y="1179"/>
                      </a:moveTo>
                      <a:cubicBezTo>
                        <a:pt x="587" y="1175"/>
                        <a:pt x="564" y="1172"/>
                        <a:pt x="542" y="1167"/>
                      </a:cubicBezTo>
                      <a:cubicBezTo>
                        <a:pt x="432" y="1139"/>
                        <a:pt x="351" y="1072"/>
                        <a:pt x="291" y="979"/>
                      </a:cubicBezTo>
                      <a:cubicBezTo>
                        <a:pt x="255" y="923"/>
                        <a:pt x="223" y="864"/>
                        <a:pt x="187" y="807"/>
                      </a:cubicBezTo>
                      <a:cubicBezTo>
                        <a:pt x="155" y="756"/>
                        <a:pt x="122" y="705"/>
                        <a:pt x="87" y="656"/>
                      </a:cubicBezTo>
                      <a:cubicBezTo>
                        <a:pt x="58" y="616"/>
                        <a:pt x="33" y="575"/>
                        <a:pt x="15" y="531"/>
                      </a:cubicBezTo>
                      <a:cubicBezTo>
                        <a:pt x="6" y="510"/>
                        <a:pt x="0" y="488"/>
                        <a:pt x="3" y="464"/>
                      </a:cubicBezTo>
                      <a:cubicBezTo>
                        <a:pt x="10" y="419"/>
                        <a:pt x="55" y="386"/>
                        <a:pt x="103" y="397"/>
                      </a:cubicBezTo>
                      <a:cubicBezTo>
                        <a:pt x="129" y="402"/>
                        <a:pt x="155" y="412"/>
                        <a:pt x="178" y="426"/>
                      </a:cubicBezTo>
                      <a:cubicBezTo>
                        <a:pt x="206" y="442"/>
                        <a:pt x="231" y="464"/>
                        <a:pt x="257" y="484"/>
                      </a:cubicBezTo>
                      <a:cubicBezTo>
                        <a:pt x="261" y="487"/>
                        <a:pt x="265" y="492"/>
                        <a:pt x="272" y="498"/>
                      </a:cubicBezTo>
                      <a:cubicBezTo>
                        <a:pt x="272" y="490"/>
                        <a:pt x="272" y="485"/>
                        <a:pt x="272" y="480"/>
                      </a:cubicBezTo>
                      <a:cubicBezTo>
                        <a:pt x="272" y="358"/>
                        <a:pt x="272" y="235"/>
                        <a:pt x="272" y="113"/>
                      </a:cubicBezTo>
                      <a:cubicBezTo>
                        <a:pt x="272" y="53"/>
                        <a:pt x="318" y="5"/>
                        <a:pt x="376" y="3"/>
                      </a:cubicBezTo>
                      <a:cubicBezTo>
                        <a:pt x="439" y="0"/>
                        <a:pt x="489" y="48"/>
                        <a:pt x="490" y="111"/>
                      </a:cubicBezTo>
                      <a:cubicBezTo>
                        <a:pt x="491" y="178"/>
                        <a:pt x="490" y="244"/>
                        <a:pt x="490" y="311"/>
                      </a:cubicBezTo>
                      <a:cubicBezTo>
                        <a:pt x="490" y="316"/>
                        <a:pt x="490" y="321"/>
                        <a:pt x="490" y="328"/>
                      </a:cubicBezTo>
                      <a:cubicBezTo>
                        <a:pt x="521" y="309"/>
                        <a:pt x="552" y="302"/>
                        <a:pt x="585" y="312"/>
                      </a:cubicBezTo>
                      <a:cubicBezTo>
                        <a:pt x="619" y="322"/>
                        <a:pt x="643" y="344"/>
                        <a:pt x="658" y="378"/>
                      </a:cubicBezTo>
                      <a:cubicBezTo>
                        <a:pt x="694" y="353"/>
                        <a:pt x="733" y="341"/>
                        <a:pt x="775" y="360"/>
                      </a:cubicBezTo>
                      <a:cubicBezTo>
                        <a:pt x="817" y="378"/>
                        <a:pt x="838" y="412"/>
                        <a:pt x="842" y="457"/>
                      </a:cubicBezTo>
                      <a:cubicBezTo>
                        <a:pt x="858" y="451"/>
                        <a:pt x="873" y="444"/>
                        <a:pt x="889" y="441"/>
                      </a:cubicBezTo>
                      <a:cubicBezTo>
                        <a:pt x="956" y="429"/>
                        <a:pt x="1016" y="479"/>
                        <a:pt x="1016" y="547"/>
                      </a:cubicBezTo>
                      <a:cubicBezTo>
                        <a:pt x="1016" y="637"/>
                        <a:pt x="1017" y="726"/>
                        <a:pt x="1016" y="816"/>
                      </a:cubicBezTo>
                      <a:cubicBezTo>
                        <a:pt x="1014" y="1001"/>
                        <a:pt x="870" y="1157"/>
                        <a:pt x="686" y="1177"/>
                      </a:cubicBezTo>
                      <a:cubicBezTo>
                        <a:pt x="682" y="1177"/>
                        <a:pt x="679" y="1179"/>
                        <a:pt x="675" y="1179"/>
                      </a:cubicBezTo>
                      <a:cubicBezTo>
                        <a:pt x="654" y="1179"/>
                        <a:pt x="632" y="1179"/>
                        <a:pt x="610" y="1179"/>
                      </a:cubicBezTo>
                      <a:close/>
                      <a:moveTo>
                        <a:pt x="316" y="600"/>
                      </a:moveTo>
                      <a:cubicBezTo>
                        <a:pt x="315" y="601"/>
                        <a:pt x="313" y="601"/>
                        <a:pt x="312" y="602"/>
                      </a:cubicBezTo>
                      <a:cubicBezTo>
                        <a:pt x="309" y="598"/>
                        <a:pt x="306" y="594"/>
                        <a:pt x="302" y="590"/>
                      </a:cubicBezTo>
                      <a:cubicBezTo>
                        <a:pt x="258" y="544"/>
                        <a:pt x="214" y="499"/>
                        <a:pt x="160" y="466"/>
                      </a:cubicBezTo>
                      <a:cubicBezTo>
                        <a:pt x="141" y="454"/>
                        <a:pt x="119" y="445"/>
                        <a:pt x="98" y="440"/>
                      </a:cubicBezTo>
                      <a:cubicBezTo>
                        <a:pt x="63" y="433"/>
                        <a:pt x="41" y="458"/>
                        <a:pt x="48" y="492"/>
                      </a:cubicBezTo>
                      <a:cubicBezTo>
                        <a:pt x="51" y="503"/>
                        <a:pt x="54" y="515"/>
                        <a:pt x="60" y="525"/>
                      </a:cubicBezTo>
                      <a:cubicBezTo>
                        <a:pt x="74" y="551"/>
                        <a:pt x="89" y="576"/>
                        <a:pt x="105" y="602"/>
                      </a:cubicBezTo>
                      <a:cubicBezTo>
                        <a:pt x="173" y="709"/>
                        <a:pt x="241" y="817"/>
                        <a:pt x="310" y="925"/>
                      </a:cubicBezTo>
                      <a:cubicBezTo>
                        <a:pt x="323" y="945"/>
                        <a:pt x="336" y="966"/>
                        <a:pt x="351" y="985"/>
                      </a:cubicBezTo>
                      <a:cubicBezTo>
                        <a:pt x="434" y="1096"/>
                        <a:pt x="543" y="1147"/>
                        <a:pt x="682" y="1133"/>
                      </a:cubicBezTo>
                      <a:cubicBezTo>
                        <a:pt x="835" y="1118"/>
                        <a:pt x="968" y="976"/>
                        <a:pt x="972" y="822"/>
                      </a:cubicBezTo>
                      <a:cubicBezTo>
                        <a:pt x="974" y="730"/>
                        <a:pt x="973" y="638"/>
                        <a:pt x="972" y="546"/>
                      </a:cubicBezTo>
                      <a:cubicBezTo>
                        <a:pt x="972" y="510"/>
                        <a:pt x="942" y="482"/>
                        <a:pt x="906" y="482"/>
                      </a:cubicBezTo>
                      <a:cubicBezTo>
                        <a:pt x="871" y="482"/>
                        <a:pt x="843" y="511"/>
                        <a:pt x="842" y="546"/>
                      </a:cubicBezTo>
                      <a:cubicBezTo>
                        <a:pt x="841" y="554"/>
                        <a:pt x="842" y="561"/>
                        <a:pt x="842" y="568"/>
                      </a:cubicBezTo>
                      <a:cubicBezTo>
                        <a:pt x="826" y="568"/>
                        <a:pt x="813" y="568"/>
                        <a:pt x="798" y="568"/>
                      </a:cubicBezTo>
                      <a:cubicBezTo>
                        <a:pt x="798" y="563"/>
                        <a:pt x="798" y="559"/>
                        <a:pt x="798" y="554"/>
                      </a:cubicBezTo>
                      <a:cubicBezTo>
                        <a:pt x="798" y="523"/>
                        <a:pt x="798" y="492"/>
                        <a:pt x="798" y="460"/>
                      </a:cubicBezTo>
                      <a:cubicBezTo>
                        <a:pt x="798" y="431"/>
                        <a:pt x="779" y="406"/>
                        <a:pt x="752" y="398"/>
                      </a:cubicBezTo>
                      <a:cubicBezTo>
                        <a:pt x="711" y="385"/>
                        <a:pt x="668" y="415"/>
                        <a:pt x="667" y="459"/>
                      </a:cubicBezTo>
                      <a:cubicBezTo>
                        <a:pt x="667" y="481"/>
                        <a:pt x="667" y="503"/>
                        <a:pt x="667" y="525"/>
                      </a:cubicBezTo>
                      <a:cubicBezTo>
                        <a:pt x="651" y="525"/>
                        <a:pt x="637" y="525"/>
                        <a:pt x="621" y="525"/>
                      </a:cubicBezTo>
                      <a:cubicBezTo>
                        <a:pt x="621" y="489"/>
                        <a:pt x="621" y="455"/>
                        <a:pt x="621" y="420"/>
                      </a:cubicBezTo>
                      <a:cubicBezTo>
                        <a:pt x="621" y="380"/>
                        <a:pt x="593" y="351"/>
                        <a:pt x="555" y="351"/>
                      </a:cubicBezTo>
                      <a:cubicBezTo>
                        <a:pt x="518" y="351"/>
                        <a:pt x="490" y="381"/>
                        <a:pt x="490" y="420"/>
                      </a:cubicBezTo>
                      <a:cubicBezTo>
                        <a:pt x="490" y="465"/>
                        <a:pt x="490" y="509"/>
                        <a:pt x="490" y="554"/>
                      </a:cubicBezTo>
                      <a:cubicBezTo>
                        <a:pt x="490" y="559"/>
                        <a:pt x="490" y="563"/>
                        <a:pt x="490" y="568"/>
                      </a:cubicBezTo>
                      <a:cubicBezTo>
                        <a:pt x="475" y="568"/>
                        <a:pt x="461" y="568"/>
                        <a:pt x="447" y="568"/>
                      </a:cubicBezTo>
                      <a:cubicBezTo>
                        <a:pt x="447" y="562"/>
                        <a:pt x="447" y="556"/>
                        <a:pt x="447" y="551"/>
                      </a:cubicBezTo>
                      <a:cubicBezTo>
                        <a:pt x="447" y="416"/>
                        <a:pt x="447" y="282"/>
                        <a:pt x="447" y="148"/>
                      </a:cubicBezTo>
                      <a:cubicBezTo>
                        <a:pt x="447" y="135"/>
                        <a:pt x="447" y="122"/>
                        <a:pt x="446" y="110"/>
                      </a:cubicBezTo>
                      <a:cubicBezTo>
                        <a:pt x="445" y="81"/>
                        <a:pt x="427" y="57"/>
                        <a:pt x="400" y="49"/>
                      </a:cubicBezTo>
                      <a:cubicBezTo>
                        <a:pt x="356" y="36"/>
                        <a:pt x="316" y="68"/>
                        <a:pt x="316" y="115"/>
                      </a:cubicBezTo>
                      <a:cubicBezTo>
                        <a:pt x="316" y="272"/>
                        <a:pt x="316" y="428"/>
                        <a:pt x="316" y="585"/>
                      </a:cubicBezTo>
                      <a:cubicBezTo>
                        <a:pt x="316" y="590"/>
                        <a:pt x="316" y="595"/>
                        <a:pt x="316" y="6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24" name="Freeform 21">
                  <a:extLst>
                    <a:ext uri="{FF2B5EF4-FFF2-40B4-BE49-F238E27FC236}">
                      <a16:creationId xmlns:a16="http://schemas.microsoft.com/office/drawing/2014/main" id="{953558CF-2224-4ED0-BDB8-D8A011C49710}"/>
                    </a:ext>
                  </a:extLst>
                </p:cNvPr>
                <p:cNvSpPr>
                  <a:spLocks/>
                </p:cNvSpPr>
                <p:nvPr/>
              </p:nvSpPr>
              <p:spPr bwMode="auto">
                <a:xfrm>
                  <a:off x="-3251202" y="-1859841"/>
                  <a:ext cx="1246187" cy="1085851"/>
                </a:xfrm>
                <a:custGeom>
                  <a:avLst/>
                  <a:gdLst>
                    <a:gd name="T0" fmla="*/ 176 w 643"/>
                    <a:gd name="T1" fmla="*/ 564 h 564"/>
                    <a:gd name="T2" fmla="*/ 90 w 643"/>
                    <a:gd name="T3" fmla="*/ 173 h 564"/>
                    <a:gd name="T4" fmla="*/ 501 w 643"/>
                    <a:gd name="T5" fmla="*/ 103 h 564"/>
                    <a:gd name="T6" fmla="*/ 559 w 643"/>
                    <a:gd name="T7" fmla="*/ 489 h 564"/>
                    <a:gd name="T8" fmla="*/ 515 w 643"/>
                    <a:gd name="T9" fmla="*/ 478 h 564"/>
                    <a:gd name="T10" fmla="*/ 525 w 643"/>
                    <a:gd name="T11" fmla="*/ 463 h 564"/>
                    <a:gd name="T12" fmla="*/ 535 w 643"/>
                    <a:gd name="T13" fmla="*/ 207 h 564"/>
                    <a:gd name="T14" fmla="*/ 310 w 643"/>
                    <a:gd name="T15" fmla="*/ 88 h 564"/>
                    <a:gd name="T16" fmla="*/ 103 w 643"/>
                    <a:gd name="T17" fmla="*/ 246 h 564"/>
                    <a:gd name="T18" fmla="*/ 165 w 643"/>
                    <a:gd name="T19" fmla="*/ 501 h 564"/>
                    <a:gd name="T20" fmla="*/ 176 w 643"/>
                    <a:gd name="T21" fmla="*/ 527 h 564"/>
                    <a:gd name="T22" fmla="*/ 176 w 643"/>
                    <a:gd name="T23"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3" h="564">
                      <a:moveTo>
                        <a:pt x="176" y="564"/>
                      </a:moveTo>
                      <a:cubicBezTo>
                        <a:pt x="53" y="488"/>
                        <a:pt x="0" y="313"/>
                        <a:pt x="90" y="173"/>
                      </a:cubicBezTo>
                      <a:cubicBezTo>
                        <a:pt x="180" y="33"/>
                        <a:pt x="371" y="0"/>
                        <a:pt x="501" y="103"/>
                      </a:cubicBezTo>
                      <a:cubicBezTo>
                        <a:pt x="632" y="206"/>
                        <a:pt x="643" y="378"/>
                        <a:pt x="559" y="489"/>
                      </a:cubicBezTo>
                      <a:cubicBezTo>
                        <a:pt x="544" y="485"/>
                        <a:pt x="530" y="482"/>
                        <a:pt x="515" y="478"/>
                      </a:cubicBezTo>
                      <a:cubicBezTo>
                        <a:pt x="518" y="473"/>
                        <a:pt x="522" y="468"/>
                        <a:pt x="525" y="463"/>
                      </a:cubicBezTo>
                      <a:cubicBezTo>
                        <a:pt x="579" y="380"/>
                        <a:pt x="585" y="294"/>
                        <a:pt x="535" y="207"/>
                      </a:cubicBezTo>
                      <a:cubicBezTo>
                        <a:pt x="486" y="122"/>
                        <a:pt x="409" y="81"/>
                        <a:pt x="310" y="88"/>
                      </a:cubicBezTo>
                      <a:cubicBezTo>
                        <a:pt x="209" y="96"/>
                        <a:pt x="137" y="150"/>
                        <a:pt x="103" y="246"/>
                      </a:cubicBezTo>
                      <a:cubicBezTo>
                        <a:pt x="69" y="342"/>
                        <a:pt x="92" y="429"/>
                        <a:pt x="165" y="501"/>
                      </a:cubicBezTo>
                      <a:cubicBezTo>
                        <a:pt x="172" y="509"/>
                        <a:pt x="177" y="516"/>
                        <a:pt x="176" y="527"/>
                      </a:cubicBezTo>
                      <a:cubicBezTo>
                        <a:pt x="175" y="539"/>
                        <a:pt x="176" y="550"/>
                        <a:pt x="176" y="5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25" name="Freeform 22">
                  <a:extLst>
                    <a:ext uri="{FF2B5EF4-FFF2-40B4-BE49-F238E27FC236}">
                      <a16:creationId xmlns:a16="http://schemas.microsoft.com/office/drawing/2014/main" id="{688780A7-8AEE-4E3E-B8A9-C411CBCD79C3}"/>
                    </a:ext>
                  </a:extLst>
                </p:cNvPr>
                <p:cNvSpPr>
                  <a:spLocks/>
                </p:cNvSpPr>
                <p:nvPr/>
              </p:nvSpPr>
              <p:spPr bwMode="auto">
                <a:xfrm>
                  <a:off x="-3044823" y="-1659815"/>
                  <a:ext cx="846139" cy="661988"/>
                </a:xfrm>
                <a:custGeom>
                  <a:avLst/>
                  <a:gdLst>
                    <a:gd name="T0" fmla="*/ 375 w 437"/>
                    <a:gd name="T1" fmla="*/ 344 h 344"/>
                    <a:gd name="T2" fmla="*/ 375 w 437"/>
                    <a:gd name="T3" fmla="*/ 223 h 344"/>
                    <a:gd name="T4" fmla="*/ 215 w 437"/>
                    <a:gd name="T5" fmla="*/ 70 h 344"/>
                    <a:gd name="T6" fmla="*/ 70 w 437"/>
                    <a:gd name="T7" fmla="*/ 216 h 344"/>
                    <a:gd name="T8" fmla="*/ 70 w 437"/>
                    <a:gd name="T9" fmla="*/ 342 h 344"/>
                    <a:gd name="T10" fmla="*/ 67 w 437"/>
                    <a:gd name="T11" fmla="*/ 103 h 344"/>
                    <a:gd name="T12" fmla="*/ 347 w 437"/>
                    <a:gd name="T13" fmla="*/ 71 h 344"/>
                    <a:gd name="T14" fmla="*/ 375 w 437"/>
                    <a:gd name="T15" fmla="*/ 344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7" h="344">
                      <a:moveTo>
                        <a:pt x="375" y="344"/>
                      </a:moveTo>
                      <a:cubicBezTo>
                        <a:pt x="375" y="302"/>
                        <a:pt x="375" y="263"/>
                        <a:pt x="375" y="223"/>
                      </a:cubicBezTo>
                      <a:cubicBezTo>
                        <a:pt x="374" y="135"/>
                        <a:pt x="303" y="67"/>
                        <a:pt x="215" y="70"/>
                      </a:cubicBezTo>
                      <a:cubicBezTo>
                        <a:pt x="137" y="73"/>
                        <a:pt x="72" y="138"/>
                        <a:pt x="70" y="216"/>
                      </a:cubicBezTo>
                      <a:cubicBezTo>
                        <a:pt x="69" y="258"/>
                        <a:pt x="70" y="299"/>
                        <a:pt x="70" y="342"/>
                      </a:cubicBezTo>
                      <a:cubicBezTo>
                        <a:pt x="26" y="300"/>
                        <a:pt x="0" y="189"/>
                        <a:pt x="67" y="103"/>
                      </a:cubicBezTo>
                      <a:cubicBezTo>
                        <a:pt x="134" y="15"/>
                        <a:pt x="262" y="0"/>
                        <a:pt x="347" y="71"/>
                      </a:cubicBezTo>
                      <a:cubicBezTo>
                        <a:pt x="437" y="146"/>
                        <a:pt x="436" y="271"/>
                        <a:pt x="375" y="3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grpSp>
      <p:sp>
        <p:nvSpPr>
          <p:cNvPr id="99" name="Rectangle 98">
            <a:extLst>
              <a:ext uri="{FF2B5EF4-FFF2-40B4-BE49-F238E27FC236}">
                <a16:creationId xmlns:a16="http://schemas.microsoft.com/office/drawing/2014/main" id="{12FBA2EB-F4B7-4CA7-9C70-81E10F23D988}"/>
              </a:ext>
            </a:extLst>
          </p:cNvPr>
          <p:cNvSpPr/>
          <p:nvPr/>
        </p:nvSpPr>
        <p:spPr bwMode="auto">
          <a:xfrm>
            <a:off x="275482" y="6167942"/>
            <a:ext cx="11887878" cy="346730"/>
          </a:xfrm>
          <a:prstGeom prst="rect">
            <a:avLst/>
          </a:prstGeom>
          <a:solidFill>
            <a:schemeClr val="accent6">
              <a:lumMod val="7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3828" fontAlgn="base">
              <a:spcBef>
                <a:spcPct val="0"/>
              </a:spcBef>
              <a:spcAft>
                <a:spcPct val="0"/>
              </a:spcAft>
              <a:defRPr/>
            </a:pPr>
            <a:endParaRPr lang="en-US" sz="2800">
              <a:solidFill>
                <a:srgbClr val="FFFFFF"/>
              </a:solidFill>
              <a:latin typeface="Segoe UI Light"/>
              <a:ea typeface="Segoe UI" pitchFamily="34" charset="0"/>
              <a:cs typeface="Segoe UI" pitchFamily="34" charset="0"/>
            </a:endParaRPr>
          </a:p>
        </p:txBody>
      </p:sp>
      <p:grpSp>
        <p:nvGrpSpPr>
          <p:cNvPr id="98" name="Group 97">
            <a:extLst>
              <a:ext uri="{FF2B5EF4-FFF2-40B4-BE49-F238E27FC236}">
                <a16:creationId xmlns:a16="http://schemas.microsoft.com/office/drawing/2014/main" id="{E6DCB4A8-2723-4861-AF3A-909C24D6BC56}"/>
              </a:ext>
            </a:extLst>
          </p:cNvPr>
          <p:cNvGrpSpPr/>
          <p:nvPr/>
        </p:nvGrpSpPr>
        <p:grpSpPr>
          <a:xfrm>
            <a:off x="1640992" y="4494578"/>
            <a:ext cx="1870635" cy="1698133"/>
            <a:chOff x="486042" y="5289232"/>
            <a:chExt cx="1728131" cy="1568768"/>
          </a:xfrm>
        </p:grpSpPr>
        <p:pic>
          <p:nvPicPr>
            <p:cNvPr id="402" name="Picture 401">
              <a:extLst>
                <a:ext uri="{FF2B5EF4-FFF2-40B4-BE49-F238E27FC236}">
                  <a16:creationId xmlns:a16="http://schemas.microsoft.com/office/drawing/2014/main" id="{79991B63-C944-4779-BEC4-8716A56D1326}"/>
                </a:ext>
              </a:extLst>
            </p:cNvPr>
            <p:cNvPicPr>
              <a:picLocks noChangeAspect="1"/>
            </p:cNvPicPr>
            <p:nvPr/>
          </p:nvPicPr>
          <p:blipFill>
            <a:blip r:embed="rId6"/>
            <a:stretch>
              <a:fillRect/>
            </a:stretch>
          </p:blipFill>
          <p:spPr>
            <a:xfrm>
              <a:off x="648512" y="5289232"/>
              <a:ext cx="1032968" cy="782233"/>
            </a:xfrm>
            <a:prstGeom prst="rect">
              <a:avLst/>
            </a:prstGeom>
          </p:spPr>
        </p:pic>
        <p:grpSp>
          <p:nvGrpSpPr>
            <p:cNvPr id="272" name="Group 271">
              <a:extLst>
                <a:ext uri="{FF2B5EF4-FFF2-40B4-BE49-F238E27FC236}">
                  <a16:creationId xmlns:a16="http://schemas.microsoft.com/office/drawing/2014/main" id="{CAC19CF4-F74B-4801-81EB-E44C74D6F23B}"/>
                </a:ext>
              </a:extLst>
            </p:cNvPr>
            <p:cNvGrpSpPr/>
            <p:nvPr/>
          </p:nvGrpSpPr>
          <p:grpSpPr>
            <a:xfrm>
              <a:off x="486042" y="6197503"/>
              <a:ext cx="1728131" cy="644725"/>
              <a:chOff x="4160492" y="5377912"/>
              <a:chExt cx="2585360" cy="1280165"/>
            </a:xfrm>
          </p:grpSpPr>
          <p:grpSp>
            <p:nvGrpSpPr>
              <p:cNvPr id="392" name="Group 391">
                <a:extLst>
                  <a:ext uri="{FF2B5EF4-FFF2-40B4-BE49-F238E27FC236}">
                    <a16:creationId xmlns:a16="http://schemas.microsoft.com/office/drawing/2014/main" id="{B030FDA1-1336-4AB1-9CB8-58B07FFB8BBB}"/>
                  </a:ext>
                </a:extLst>
              </p:cNvPr>
              <p:cNvGrpSpPr/>
              <p:nvPr/>
            </p:nvGrpSpPr>
            <p:grpSpPr>
              <a:xfrm>
                <a:off x="4352925" y="5495925"/>
                <a:ext cx="2201139" cy="1162152"/>
                <a:chOff x="4352925" y="5495925"/>
                <a:chExt cx="2201139" cy="1162152"/>
              </a:xfrm>
            </p:grpSpPr>
            <p:sp>
              <p:nvSpPr>
                <p:cNvPr id="397" name="Rectangle 396">
                  <a:extLst>
                    <a:ext uri="{FF2B5EF4-FFF2-40B4-BE49-F238E27FC236}">
                      <a16:creationId xmlns:a16="http://schemas.microsoft.com/office/drawing/2014/main" id="{1A8466CC-7C8D-487B-B7B2-D0C640F3708C}"/>
                    </a:ext>
                  </a:extLst>
                </p:cNvPr>
                <p:cNvSpPr/>
                <p:nvPr/>
              </p:nvSpPr>
              <p:spPr>
                <a:xfrm>
                  <a:off x="4352925" y="5495925"/>
                  <a:ext cx="2201139" cy="262166"/>
                </a:xfrm>
                <a:prstGeom prst="rect">
                  <a:avLst/>
                </a:prstGeom>
                <a:solidFill>
                  <a:srgbClr val="FFFFFF">
                    <a:lumMod val="8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98" name="Rectangle 397">
                  <a:extLst>
                    <a:ext uri="{FF2B5EF4-FFF2-40B4-BE49-F238E27FC236}">
                      <a16:creationId xmlns:a16="http://schemas.microsoft.com/office/drawing/2014/main" id="{E07DA36E-7718-4209-B2ED-64AD8FE004F8}"/>
                    </a:ext>
                  </a:extLst>
                </p:cNvPr>
                <p:cNvSpPr/>
                <p:nvPr/>
              </p:nvSpPr>
              <p:spPr>
                <a:xfrm rot="5400000">
                  <a:off x="4016269" y="6065695"/>
                  <a:ext cx="991698" cy="193058"/>
                </a:xfrm>
                <a:prstGeom prst="rect">
                  <a:avLst/>
                </a:prstGeom>
                <a:solidFill>
                  <a:srgbClr val="FFFFFF">
                    <a:lumMod val="8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99" name="Rectangle 398">
                  <a:extLst>
                    <a:ext uri="{FF2B5EF4-FFF2-40B4-BE49-F238E27FC236}">
                      <a16:creationId xmlns:a16="http://schemas.microsoft.com/office/drawing/2014/main" id="{FF29AE72-832F-49F2-B7B7-AE143F2103B0}"/>
                    </a:ext>
                  </a:extLst>
                </p:cNvPr>
                <p:cNvSpPr/>
                <p:nvPr/>
              </p:nvSpPr>
              <p:spPr>
                <a:xfrm rot="5400000">
                  <a:off x="5982014" y="6086027"/>
                  <a:ext cx="991698" cy="152401"/>
                </a:xfrm>
                <a:prstGeom prst="rect">
                  <a:avLst/>
                </a:prstGeom>
                <a:solidFill>
                  <a:srgbClr val="FFFFFF">
                    <a:lumMod val="8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grpSp>
          <p:sp>
            <p:nvSpPr>
              <p:cNvPr id="393" name="Rectangle 392">
                <a:extLst>
                  <a:ext uri="{FF2B5EF4-FFF2-40B4-BE49-F238E27FC236}">
                    <a16:creationId xmlns:a16="http://schemas.microsoft.com/office/drawing/2014/main" id="{29A68E5D-8397-4714-B1E5-B6FA16DFCD51}"/>
                  </a:ext>
                </a:extLst>
              </p:cNvPr>
              <p:cNvSpPr/>
              <p:nvPr/>
            </p:nvSpPr>
            <p:spPr>
              <a:xfrm rot="5400000">
                <a:off x="3719060" y="5920886"/>
                <a:ext cx="1280160" cy="194213"/>
              </a:xfrm>
              <a:prstGeom prst="rect">
                <a:avLst/>
              </a:pr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94" name="Rectangle 393">
                <a:extLst>
                  <a:ext uri="{FF2B5EF4-FFF2-40B4-BE49-F238E27FC236}">
                    <a16:creationId xmlns:a16="http://schemas.microsoft.com/office/drawing/2014/main" id="{3EA63E53-8757-4214-B25C-53CE08CD828F}"/>
                  </a:ext>
                </a:extLst>
              </p:cNvPr>
              <p:cNvSpPr/>
              <p:nvPr/>
            </p:nvSpPr>
            <p:spPr>
              <a:xfrm rot="5400000">
                <a:off x="6008666" y="5920887"/>
                <a:ext cx="1280159" cy="194213"/>
              </a:xfrm>
              <a:prstGeom prst="rect">
                <a:avLst/>
              </a:pr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95" name="Rectangle 394">
                <a:extLst>
                  <a:ext uri="{FF2B5EF4-FFF2-40B4-BE49-F238E27FC236}">
                    <a16:creationId xmlns:a16="http://schemas.microsoft.com/office/drawing/2014/main" id="{FA99620C-8012-4EEB-80C8-DD82CB5E5E20}"/>
                  </a:ext>
                </a:extLst>
              </p:cNvPr>
              <p:cNvSpPr/>
              <p:nvPr/>
            </p:nvSpPr>
            <p:spPr>
              <a:xfrm>
                <a:off x="4262034" y="5377912"/>
                <a:ext cx="2477277" cy="194213"/>
              </a:xfrm>
              <a:prstGeom prst="rect">
                <a:avLst/>
              </a:pr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96" name="Rectangle 395">
                <a:extLst>
                  <a:ext uri="{FF2B5EF4-FFF2-40B4-BE49-F238E27FC236}">
                    <a16:creationId xmlns:a16="http://schemas.microsoft.com/office/drawing/2014/main" id="{B84D4480-84D3-46FB-A4DD-E77826109077}"/>
                  </a:ext>
                </a:extLst>
              </p:cNvPr>
              <p:cNvSpPr/>
              <p:nvPr/>
            </p:nvSpPr>
            <p:spPr>
              <a:xfrm rot="5400000">
                <a:off x="3617519" y="5920888"/>
                <a:ext cx="1280160" cy="194213"/>
              </a:xfrm>
              <a:prstGeom prst="rect">
                <a:avLst/>
              </a:pr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grpSp>
        <p:grpSp>
          <p:nvGrpSpPr>
            <p:cNvPr id="274" name="Group 273">
              <a:extLst>
                <a:ext uri="{FF2B5EF4-FFF2-40B4-BE49-F238E27FC236}">
                  <a16:creationId xmlns:a16="http://schemas.microsoft.com/office/drawing/2014/main" id="{F080D900-6F71-4635-9D95-742D3717DFC2}"/>
                </a:ext>
              </a:extLst>
            </p:cNvPr>
            <p:cNvGrpSpPr/>
            <p:nvPr/>
          </p:nvGrpSpPr>
          <p:grpSpPr>
            <a:xfrm>
              <a:off x="1588348" y="6376423"/>
              <a:ext cx="216637" cy="481577"/>
              <a:chOff x="6013796" y="6118930"/>
              <a:chExt cx="216637" cy="481577"/>
            </a:xfrm>
          </p:grpSpPr>
          <p:cxnSp>
            <p:nvCxnSpPr>
              <p:cNvPr id="371" name="Straight Connector 370">
                <a:extLst>
                  <a:ext uri="{FF2B5EF4-FFF2-40B4-BE49-F238E27FC236}">
                    <a16:creationId xmlns:a16="http://schemas.microsoft.com/office/drawing/2014/main" id="{B58DD8A0-A643-4517-B2FA-09065E5A30F0}"/>
                  </a:ext>
                </a:extLst>
              </p:cNvPr>
              <p:cNvCxnSpPr/>
              <p:nvPr/>
            </p:nvCxnSpPr>
            <p:spPr>
              <a:xfrm flipH="1" flipV="1">
                <a:off x="6122114" y="6118930"/>
                <a:ext cx="0" cy="69268"/>
              </a:xfrm>
              <a:prstGeom prst="line">
                <a:avLst/>
              </a:prstGeom>
              <a:noFill/>
              <a:ln w="9525" cap="flat" cmpd="sng" algn="ctr">
                <a:solidFill>
                  <a:srgbClr val="68217A"/>
                </a:solidFill>
                <a:prstDash val="solid"/>
              </a:ln>
              <a:effectLst/>
            </p:spPr>
          </p:cxnSp>
          <p:pic>
            <p:nvPicPr>
              <p:cNvPr id="372" name="Picture 371">
                <a:extLst>
                  <a:ext uri="{FF2B5EF4-FFF2-40B4-BE49-F238E27FC236}">
                    <a16:creationId xmlns:a16="http://schemas.microsoft.com/office/drawing/2014/main" id="{90E7FCD4-EF1E-4DE7-842C-6CB08285BF19}"/>
                  </a:ext>
                </a:extLst>
              </p:cNvPr>
              <p:cNvPicPr>
                <a:picLocks noChangeAspect="1"/>
              </p:cNvPicPr>
              <p:nvPr/>
            </p:nvPicPr>
            <p:blipFill>
              <a:blip r:embed="rId7"/>
              <a:stretch>
                <a:fillRect/>
              </a:stretch>
            </p:blipFill>
            <p:spPr>
              <a:xfrm>
                <a:off x="6013796" y="6188198"/>
                <a:ext cx="216637" cy="412309"/>
              </a:xfrm>
              <a:prstGeom prst="rect">
                <a:avLst/>
              </a:prstGeom>
            </p:spPr>
          </p:pic>
        </p:grpSp>
        <p:grpSp>
          <p:nvGrpSpPr>
            <p:cNvPr id="275" name="Group 274">
              <a:extLst>
                <a:ext uri="{FF2B5EF4-FFF2-40B4-BE49-F238E27FC236}">
                  <a16:creationId xmlns:a16="http://schemas.microsoft.com/office/drawing/2014/main" id="{21A12A06-F661-4AD9-84B7-B5F4B441C2B6}"/>
                </a:ext>
              </a:extLst>
            </p:cNvPr>
            <p:cNvGrpSpPr/>
            <p:nvPr/>
          </p:nvGrpSpPr>
          <p:grpSpPr>
            <a:xfrm>
              <a:off x="718726" y="5392636"/>
              <a:ext cx="1144775" cy="1441515"/>
              <a:chOff x="1232899" y="5003799"/>
              <a:chExt cx="1473811" cy="1855838"/>
            </a:xfrm>
          </p:grpSpPr>
          <p:sp>
            <p:nvSpPr>
              <p:cNvPr id="283" name="Rectangle: Rounded Corners 282">
                <a:extLst>
                  <a:ext uri="{FF2B5EF4-FFF2-40B4-BE49-F238E27FC236}">
                    <a16:creationId xmlns:a16="http://schemas.microsoft.com/office/drawing/2014/main" id="{A35F31EB-201E-4B50-A227-CF5066326EDF}"/>
                  </a:ext>
                </a:extLst>
              </p:cNvPr>
              <p:cNvSpPr/>
              <p:nvPr/>
            </p:nvSpPr>
            <p:spPr>
              <a:xfrm>
                <a:off x="2200750" y="5935263"/>
                <a:ext cx="505960" cy="100698"/>
              </a:xfrm>
              <a:prstGeom prst="roundRect">
                <a:avLst>
                  <a:gd name="adj" fmla="val 50000"/>
                </a:avLst>
              </a:prstGeom>
              <a:solidFill>
                <a:srgbClr val="505050">
                  <a:lumMod val="50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284" name="Rectangle: Rounded Corners 283">
                <a:extLst>
                  <a:ext uri="{FF2B5EF4-FFF2-40B4-BE49-F238E27FC236}">
                    <a16:creationId xmlns:a16="http://schemas.microsoft.com/office/drawing/2014/main" id="{15BD0180-0D43-42F9-AEEA-8EEAB4C3CF6E}"/>
                  </a:ext>
                </a:extLst>
              </p:cNvPr>
              <p:cNvSpPr/>
              <p:nvPr/>
            </p:nvSpPr>
            <p:spPr>
              <a:xfrm>
                <a:off x="2167622" y="5874433"/>
                <a:ext cx="505960" cy="161529"/>
              </a:xfrm>
              <a:prstGeom prst="roundRect">
                <a:avLst>
                  <a:gd name="adj" fmla="val 50000"/>
                </a:avLst>
              </a:prstGeom>
              <a:solidFill>
                <a:srgbClr val="D8B195"/>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285" name="Rectangle: Rounded Corners 284">
                <a:extLst>
                  <a:ext uri="{FF2B5EF4-FFF2-40B4-BE49-F238E27FC236}">
                    <a16:creationId xmlns:a16="http://schemas.microsoft.com/office/drawing/2014/main" id="{9ABBECFF-D033-42F8-9F89-D6615D1E77D4}"/>
                  </a:ext>
                </a:extLst>
              </p:cNvPr>
              <p:cNvSpPr/>
              <p:nvPr/>
            </p:nvSpPr>
            <p:spPr>
              <a:xfrm>
                <a:off x="1262328" y="5916833"/>
                <a:ext cx="505960" cy="131631"/>
              </a:xfrm>
              <a:prstGeom prst="roundRect">
                <a:avLst>
                  <a:gd name="adj" fmla="val 50000"/>
                </a:avLst>
              </a:prstGeom>
              <a:solidFill>
                <a:srgbClr val="68217A">
                  <a:lumMod val="50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288" name="Freeform 60">
                <a:extLst>
                  <a:ext uri="{FF2B5EF4-FFF2-40B4-BE49-F238E27FC236}">
                    <a16:creationId xmlns:a16="http://schemas.microsoft.com/office/drawing/2014/main" id="{8A4FE5AE-16AD-487E-ADDA-1D5B97B2E823}"/>
                  </a:ext>
                </a:extLst>
              </p:cNvPr>
              <p:cNvSpPr>
                <a:spLocks/>
              </p:cNvSpPr>
              <p:nvPr/>
            </p:nvSpPr>
            <p:spPr bwMode="auto">
              <a:xfrm>
                <a:off x="1590373" y="5185381"/>
                <a:ext cx="366207" cy="85964"/>
              </a:xfrm>
              <a:custGeom>
                <a:avLst/>
                <a:gdLst>
                  <a:gd name="T0" fmla="*/ 0 w 184"/>
                  <a:gd name="T1" fmla="*/ 41 h 54"/>
                  <a:gd name="T2" fmla="*/ 9 w 184"/>
                  <a:gd name="T3" fmla="*/ 54 h 54"/>
                  <a:gd name="T4" fmla="*/ 175 w 184"/>
                  <a:gd name="T5" fmla="*/ 54 h 54"/>
                  <a:gd name="T6" fmla="*/ 184 w 184"/>
                  <a:gd name="T7" fmla="*/ 41 h 54"/>
                  <a:gd name="T8" fmla="*/ 184 w 184"/>
                  <a:gd name="T9" fmla="*/ 13 h 54"/>
                  <a:gd name="T10" fmla="*/ 175 w 184"/>
                  <a:gd name="T11" fmla="*/ 0 h 54"/>
                  <a:gd name="T12" fmla="*/ 9 w 184"/>
                  <a:gd name="T13" fmla="*/ 0 h 54"/>
                  <a:gd name="T14" fmla="*/ 0 w 184"/>
                  <a:gd name="T15" fmla="*/ 13 h 54"/>
                  <a:gd name="T16" fmla="*/ 0 w 184"/>
                  <a:gd name="T1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54">
                    <a:moveTo>
                      <a:pt x="0" y="41"/>
                    </a:moveTo>
                    <a:cubicBezTo>
                      <a:pt x="0" y="48"/>
                      <a:pt x="4" y="54"/>
                      <a:pt x="9" y="54"/>
                    </a:cubicBezTo>
                    <a:cubicBezTo>
                      <a:pt x="175" y="54"/>
                      <a:pt x="175" y="54"/>
                      <a:pt x="175" y="54"/>
                    </a:cubicBezTo>
                    <a:cubicBezTo>
                      <a:pt x="180" y="54"/>
                      <a:pt x="184" y="48"/>
                      <a:pt x="184" y="41"/>
                    </a:cubicBezTo>
                    <a:cubicBezTo>
                      <a:pt x="184" y="13"/>
                      <a:pt x="184" y="13"/>
                      <a:pt x="184" y="13"/>
                    </a:cubicBezTo>
                    <a:cubicBezTo>
                      <a:pt x="184" y="5"/>
                      <a:pt x="180" y="0"/>
                      <a:pt x="175" y="0"/>
                    </a:cubicBezTo>
                    <a:cubicBezTo>
                      <a:pt x="9" y="0"/>
                      <a:pt x="9" y="0"/>
                      <a:pt x="9" y="0"/>
                    </a:cubicBezTo>
                    <a:cubicBezTo>
                      <a:pt x="4" y="0"/>
                      <a:pt x="0" y="5"/>
                      <a:pt x="0" y="13"/>
                    </a:cubicBezTo>
                    <a:lnTo>
                      <a:pt x="0" y="41"/>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289" name="Freeform: Shape 288">
                <a:extLst>
                  <a:ext uri="{FF2B5EF4-FFF2-40B4-BE49-F238E27FC236}">
                    <a16:creationId xmlns:a16="http://schemas.microsoft.com/office/drawing/2014/main" id="{C00E955C-3483-406D-8E8B-393147D741C0}"/>
                  </a:ext>
                </a:extLst>
              </p:cNvPr>
              <p:cNvSpPr>
                <a:spLocks/>
              </p:cNvSpPr>
              <p:nvPr/>
            </p:nvSpPr>
            <p:spPr bwMode="auto">
              <a:xfrm>
                <a:off x="1629232" y="5068408"/>
                <a:ext cx="292278" cy="470947"/>
              </a:xfrm>
              <a:custGeom>
                <a:avLst/>
                <a:gdLst>
                  <a:gd name="connsiteX0" fmla="*/ 44980 w 269876"/>
                  <a:gd name="connsiteY0" fmla="*/ 0 h 434850"/>
                  <a:gd name="connsiteX1" fmla="*/ 224896 w 269876"/>
                  <a:gd name="connsiteY1" fmla="*/ 0 h 434850"/>
                  <a:gd name="connsiteX2" fmla="*/ 269876 w 269876"/>
                  <a:gd name="connsiteY2" fmla="*/ 44980 h 434850"/>
                  <a:gd name="connsiteX3" fmla="*/ 269876 w 269876"/>
                  <a:gd name="connsiteY3" fmla="*/ 292016 h 434850"/>
                  <a:gd name="connsiteX4" fmla="*/ 224896 w 269876"/>
                  <a:gd name="connsiteY4" fmla="*/ 336996 h 434850"/>
                  <a:gd name="connsiteX5" fmla="*/ 203995 w 269876"/>
                  <a:gd name="connsiteY5" fmla="*/ 336996 h 434850"/>
                  <a:gd name="connsiteX6" fmla="*/ 203995 w 269876"/>
                  <a:gd name="connsiteY6" fmla="*/ 345992 h 434850"/>
                  <a:gd name="connsiteX7" fmla="*/ 203995 w 269876"/>
                  <a:gd name="connsiteY7" fmla="*/ 368613 h 434850"/>
                  <a:gd name="connsiteX8" fmla="*/ 134939 w 269876"/>
                  <a:gd name="connsiteY8" fmla="*/ 434850 h 434850"/>
                  <a:gd name="connsiteX9" fmla="*/ 65882 w 269876"/>
                  <a:gd name="connsiteY9" fmla="*/ 368613 h 434850"/>
                  <a:gd name="connsiteX10" fmla="*/ 65882 w 269876"/>
                  <a:gd name="connsiteY10" fmla="*/ 337614 h 434850"/>
                  <a:gd name="connsiteX11" fmla="*/ 65882 w 269876"/>
                  <a:gd name="connsiteY11" fmla="*/ 336996 h 434850"/>
                  <a:gd name="connsiteX12" fmla="*/ 44980 w 269876"/>
                  <a:gd name="connsiteY12" fmla="*/ 336996 h 434850"/>
                  <a:gd name="connsiteX13" fmla="*/ 0 w 269876"/>
                  <a:gd name="connsiteY13" fmla="*/ 292016 h 434850"/>
                  <a:gd name="connsiteX14" fmla="*/ 0 w 269876"/>
                  <a:gd name="connsiteY14" fmla="*/ 44980 h 434850"/>
                  <a:gd name="connsiteX15" fmla="*/ 44980 w 269876"/>
                  <a:gd name="connsiteY15" fmla="*/ 0 h 43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9876" h="434850">
                    <a:moveTo>
                      <a:pt x="44980" y="0"/>
                    </a:moveTo>
                    <a:lnTo>
                      <a:pt x="224896" y="0"/>
                    </a:lnTo>
                    <a:cubicBezTo>
                      <a:pt x="249738" y="0"/>
                      <a:pt x="269876" y="20138"/>
                      <a:pt x="269876" y="44980"/>
                    </a:cubicBezTo>
                    <a:lnTo>
                      <a:pt x="269876" y="292016"/>
                    </a:lnTo>
                    <a:cubicBezTo>
                      <a:pt x="269876" y="316858"/>
                      <a:pt x="249738" y="336996"/>
                      <a:pt x="224896" y="336996"/>
                    </a:cubicBezTo>
                    <a:lnTo>
                      <a:pt x="203995" y="336996"/>
                    </a:lnTo>
                    <a:lnTo>
                      <a:pt x="203995" y="345992"/>
                    </a:lnTo>
                    <a:cubicBezTo>
                      <a:pt x="203995" y="368613"/>
                      <a:pt x="203995" y="368613"/>
                      <a:pt x="203995" y="368613"/>
                    </a:cubicBezTo>
                    <a:cubicBezTo>
                      <a:pt x="203995" y="409617"/>
                      <a:pt x="173140" y="434850"/>
                      <a:pt x="134939" y="434850"/>
                    </a:cubicBezTo>
                    <a:cubicBezTo>
                      <a:pt x="96737" y="434850"/>
                      <a:pt x="65882" y="409617"/>
                      <a:pt x="65882" y="368613"/>
                    </a:cubicBezTo>
                    <a:cubicBezTo>
                      <a:pt x="65882" y="355208"/>
                      <a:pt x="65882" y="345155"/>
                      <a:pt x="65882" y="337614"/>
                    </a:cubicBezTo>
                    <a:lnTo>
                      <a:pt x="65882" y="336996"/>
                    </a:lnTo>
                    <a:lnTo>
                      <a:pt x="44980" y="336996"/>
                    </a:lnTo>
                    <a:cubicBezTo>
                      <a:pt x="20138" y="336996"/>
                      <a:pt x="0" y="316858"/>
                      <a:pt x="0" y="292016"/>
                    </a:cubicBezTo>
                    <a:lnTo>
                      <a:pt x="0" y="44980"/>
                    </a:lnTo>
                    <a:cubicBezTo>
                      <a:pt x="0" y="20138"/>
                      <a:pt x="20138" y="0"/>
                      <a:pt x="44980" y="0"/>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noAutofit/>
              </a:bodyPr>
              <a:lstStyle/>
              <a:p>
                <a:pPr defTabSz="764049">
                  <a:defRPr/>
                </a:pPr>
                <a:endParaRPr lang="en-US" sz="2000" kern="0">
                  <a:solidFill>
                    <a:srgbClr val="505050"/>
                  </a:solidFill>
                  <a:latin typeface="Segoe UI"/>
                </a:endParaRPr>
              </a:p>
            </p:txBody>
          </p:sp>
          <p:sp>
            <p:nvSpPr>
              <p:cNvPr id="290" name="Rectangle: Rounded Corners 84">
                <a:extLst>
                  <a:ext uri="{FF2B5EF4-FFF2-40B4-BE49-F238E27FC236}">
                    <a16:creationId xmlns:a16="http://schemas.microsoft.com/office/drawing/2014/main" id="{55FE6E1F-6BCD-46A4-8C87-361A0AD36A4E}"/>
                  </a:ext>
                </a:extLst>
              </p:cNvPr>
              <p:cNvSpPr/>
              <p:nvPr/>
            </p:nvSpPr>
            <p:spPr>
              <a:xfrm>
                <a:off x="1601873" y="5003799"/>
                <a:ext cx="342136" cy="447675"/>
              </a:xfrm>
              <a:custGeom>
                <a:avLst/>
                <a:gdLst>
                  <a:gd name="connsiteX0" fmla="*/ 0 w 303212"/>
                  <a:gd name="connsiteY0" fmla="*/ 114284 h 315841"/>
                  <a:gd name="connsiteX1" fmla="*/ 114284 w 303212"/>
                  <a:gd name="connsiteY1" fmla="*/ 0 h 315841"/>
                  <a:gd name="connsiteX2" fmla="*/ 188928 w 303212"/>
                  <a:gd name="connsiteY2" fmla="*/ 0 h 315841"/>
                  <a:gd name="connsiteX3" fmla="*/ 303212 w 303212"/>
                  <a:gd name="connsiteY3" fmla="*/ 114284 h 315841"/>
                  <a:gd name="connsiteX4" fmla="*/ 303212 w 303212"/>
                  <a:gd name="connsiteY4" fmla="*/ 201557 h 315841"/>
                  <a:gd name="connsiteX5" fmla="*/ 188928 w 303212"/>
                  <a:gd name="connsiteY5" fmla="*/ 315841 h 315841"/>
                  <a:gd name="connsiteX6" fmla="*/ 114284 w 303212"/>
                  <a:gd name="connsiteY6" fmla="*/ 315841 h 315841"/>
                  <a:gd name="connsiteX7" fmla="*/ 0 w 303212"/>
                  <a:gd name="connsiteY7" fmla="*/ 201557 h 315841"/>
                  <a:gd name="connsiteX8" fmla="*/ 0 w 303212"/>
                  <a:gd name="connsiteY8" fmla="*/ 114284 h 315841"/>
                  <a:gd name="connsiteX0" fmla="*/ 151 w 303363"/>
                  <a:gd name="connsiteY0" fmla="*/ 114284 h 315841"/>
                  <a:gd name="connsiteX1" fmla="*/ 114435 w 303363"/>
                  <a:gd name="connsiteY1" fmla="*/ 0 h 315841"/>
                  <a:gd name="connsiteX2" fmla="*/ 189079 w 303363"/>
                  <a:gd name="connsiteY2" fmla="*/ 0 h 315841"/>
                  <a:gd name="connsiteX3" fmla="*/ 303363 w 303363"/>
                  <a:gd name="connsiteY3" fmla="*/ 114284 h 315841"/>
                  <a:gd name="connsiteX4" fmla="*/ 303363 w 303363"/>
                  <a:gd name="connsiteY4" fmla="*/ 201557 h 315841"/>
                  <a:gd name="connsiteX5" fmla="*/ 189079 w 303363"/>
                  <a:gd name="connsiteY5" fmla="*/ 315841 h 315841"/>
                  <a:gd name="connsiteX6" fmla="*/ 57285 w 303363"/>
                  <a:gd name="connsiteY6" fmla="*/ 309491 h 315841"/>
                  <a:gd name="connsiteX7" fmla="*/ 151 w 303363"/>
                  <a:gd name="connsiteY7" fmla="*/ 201557 h 315841"/>
                  <a:gd name="connsiteX8" fmla="*/ 151 w 303363"/>
                  <a:gd name="connsiteY8" fmla="*/ 114284 h 315841"/>
                  <a:gd name="connsiteX0" fmla="*/ 151 w 308261"/>
                  <a:gd name="connsiteY0" fmla="*/ 114284 h 319016"/>
                  <a:gd name="connsiteX1" fmla="*/ 114435 w 308261"/>
                  <a:gd name="connsiteY1" fmla="*/ 0 h 319016"/>
                  <a:gd name="connsiteX2" fmla="*/ 189079 w 308261"/>
                  <a:gd name="connsiteY2" fmla="*/ 0 h 319016"/>
                  <a:gd name="connsiteX3" fmla="*/ 303363 w 308261"/>
                  <a:gd name="connsiteY3" fmla="*/ 114284 h 319016"/>
                  <a:gd name="connsiteX4" fmla="*/ 303363 w 308261"/>
                  <a:gd name="connsiteY4" fmla="*/ 201557 h 319016"/>
                  <a:gd name="connsiteX5" fmla="*/ 265279 w 308261"/>
                  <a:gd name="connsiteY5" fmla="*/ 319016 h 319016"/>
                  <a:gd name="connsiteX6" fmla="*/ 57285 w 308261"/>
                  <a:gd name="connsiteY6" fmla="*/ 309491 h 319016"/>
                  <a:gd name="connsiteX7" fmla="*/ 151 w 308261"/>
                  <a:gd name="connsiteY7" fmla="*/ 201557 h 319016"/>
                  <a:gd name="connsiteX8" fmla="*/ 151 w 308261"/>
                  <a:gd name="connsiteY8" fmla="*/ 114284 h 319016"/>
                  <a:gd name="connsiteX0" fmla="*/ 7802 w 315912"/>
                  <a:gd name="connsiteY0" fmla="*/ 114284 h 319016"/>
                  <a:gd name="connsiteX1" fmla="*/ 122086 w 315912"/>
                  <a:gd name="connsiteY1" fmla="*/ 0 h 319016"/>
                  <a:gd name="connsiteX2" fmla="*/ 196730 w 315912"/>
                  <a:gd name="connsiteY2" fmla="*/ 0 h 319016"/>
                  <a:gd name="connsiteX3" fmla="*/ 311014 w 315912"/>
                  <a:gd name="connsiteY3" fmla="*/ 114284 h 319016"/>
                  <a:gd name="connsiteX4" fmla="*/ 311014 w 315912"/>
                  <a:gd name="connsiteY4" fmla="*/ 201557 h 319016"/>
                  <a:gd name="connsiteX5" fmla="*/ 272930 w 315912"/>
                  <a:gd name="connsiteY5" fmla="*/ 319016 h 319016"/>
                  <a:gd name="connsiteX6" fmla="*/ 39536 w 315912"/>
                  <a:gd name="connsiteY6" fmla="*/ 319016 h 319016"/>
                  <a:gd name="connsiteX7" fmla="*/ 7802 w 315912"/>
                  <a:gd name="connsiteY7" fmla="*/ 201557 h 319016"/>
                  <a:gd name="connsiteX8" fmla="*/ 7802 w 315912"/>
                  <a:gd name="connsiteY8" fmla="*/ 114284 h 31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912" h="319016">
                    <a:moveTo>
                      <a:pt x="7802" y="114284"/>
                    </a:moveTo>
                    <a:cubicBezTo>
                      <a:pt x="7802" y="51167"/>
                      <a:pt x="58969" y="0"/>
                      <a:pt x="122086" y="0"/>
                    </a:cubicBezTo>
                    <a:lnTo>
                      <a:pt x="196730" y="0"/>
                    </a:lnTo>
                    <a:cubicBezTo>
                      <a:pt x="259847" y="0"/>
                      <a:pt x="311014" y="51167"/>
                      <a:pt x="311014" y="114284"/>
                    </a:cubicBezTo>
                    <a:lnTo>
                      <a:pt x="311014" y="201557"/>
                    </a:lnTo>
                    <a:cubicBezTo>
                      <a:pt x="311014" y="264674"/>
                      <a:pt x="336047" y="319016"/>
                      <a:pt x="272930" y="319016"/>
                    </a:cubicBezTo>
                    <a:lnTo>
                      <a:pt x="39536" y="319016"/>
                    </a:lnTo>
                    <a:cubicBezTo>
                      <a:pt x="-23581" y="319016"/>
                      <a:pt x="7802" y="264674"/>
                      <a:pt x="7802" y="201557"/>
                    </a:cubicBezTo>
                    <a:lnTo>
                      <a:pt x="7802" y="114284"/>
                    </a:lnTo>
                    <a:close/>
                  </a:path>
                </a:pathLst>
              </a:custGeom>
              <a:solidFill>
                <a:srgbClr val="000000"/>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295" name="Freeform: Shape 294">
                <a:extLst>
                  <a:ext uri="{FF2B5EF4-FFF2-40B4-BE49-F238E27FC236}">
                    <a16:creationId xmlns:a16="http://schemas.microsoft.com/office/drawing/2014/main" id="{A64E9730-7AC0-4563-93A9-0E3CC29626D7}"/>
                  </a:ext>
                </a:extLst>
              </p:cNvPr>
              <p:cNvSpPr/>
              <p:nvPr/>
            </p:nvSpPr>
            <p:spPr>
              <a:xfrm>
                <a:off x="1427904" y="6285262"/>
                <a:ext cx="222972" cy="574374"/>
              </a:xfrm>
              <a:custGeom>
                <a:avLst/>
                <a:gdLst>
                  <a:gd name="connsiteX0" fmla="*/ 102941 w 205882"/>
                  <a:gd name="connsiteY0" fmla="*/ 0 h 530350"/>
                  <a:gd name="connsiteX1" fmla="*/ 205882 w 205882"/>
                  <a:gd name="connsiteY1" fmla="*/ 102941 h 530350"/>
                  <a:gd name="connsiteX2" fmla="*/ 205882 w 205882"/>
                  <a:gd name="connsiteY2" fmla="*/ 530350 h 530350"/>
                  <a:gd name="connsiteX3" fmla="*/ 0 w 205882"/>
                  <a:gd name="connsiteY3" fmla="*/ 530350 h 530350"/>
                  <a:gd name="connsiteX4" fmla="*/ 0 w 205882"/>
                  <a:gd name="connsiteY4" fmla="*/ 102941 h 530350"/>
                  <a:gd name="connsiteX5" fmla="*/ 102941 w 205882"/>
                  <a:gd name="connsiteY5" fmla="*/ 0 h 53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882" h="530350">
                    <a:moveTo>
                      <a:pt x="102941" y="0"/>
                    </a:moveTo>
                    <a:cubicBezTo>
                      <a:pt x="159794" y="0"/>
                      <a:pt x="205882" y="46088"/>
                      <a:pt x="205882" y="102941"/>
                    </a:cubicBezTo>
                    <a:lnTo>
                      <a:pt x="205882" y="530350"/>
                    </a:lnTo>
                    <a:lnTo>
                      <a:pt x="0" y="530350"/>
                    </a:lnTo>
                    <a:lnTo>
                      <a:pt x="0" y="102941"/>
                    </a:lnTo>
                    <a:cubicBezTo>
                      <a:pt x="0" y="46088"/>
                      <a:pt x="46088" y="0"/>
                      <a:pt x="102941" y="0"/>
                    </a:cubicBezTo>
                    <a:close/>
                  </a:path>
                </a:pathLst>
              </a:cu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03" name="Freeform: Shape 302">
                <a:extLst>
                  <a:ext uri="{FF2B5EF4-FFF2-40B4-BE49-F238E27FC236}">
                    <a16:creationId xmlns:a16="http://schemas.microsoft.com/office/drawing/2014/main" id="{B5598B8D-1AF6-4F7C-88F5-DA3633E0D389}"/>
                  </a:ext>
                </a:extLst>
              </p:cNvPr>
              <p:cNvSpPr/>
              <p:nvPr/>
            </p:nvSpPr>
            <p:spPr>
              <a:xfrm>
                <a:off x="1938527" y="6285262"/>
                <a:ext cx="218766" cy="574375"/>
              </a:xfrm>
              <a:custGeom>
                <a:avLst/>
                <a:gdLst>
                  <a:gd name="connsiteX0" fmla="*/ 100999 w 201998"/>
                  <a:gd name="connsiteY0" fmla="*/ 0 h 530351"/>
                  <a:gd name="connsiteX1" fmla="*/ 201998 w 201998"/>
                  <a:gd name="connsiteY1" fmla="*/ 100999 h 530351"/>
                  <a:gd name="connsiteX2" fmla="*/ 201998 w 201998"/>
                  <a:gd name="connsiteY2" fmla="*/ 530351 h 530351"/>
                  <a:gd name="connsiteX3" fmla="*/ 0 w 201998"/>
                  <a:gd name="connsiteY3" fmla="*/ 530351 h 530351"/>
                  <a:gd name="connsiteX4" fmla="*/ 0 w 201998"/>
                  <a:gd name="connsiteY4" fmla="*/ 100999 h 530351"/>
                  <a:gd name="connsiteX5" fmla="*/ 100999 w 201998"/>
                  <a:gd name="connsiteY5" fmla="*/ 0 h 53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998" h="530351">
                    <a:moveTo>
                      <a:pt x="100999" y="0"/>
                    </a:moveTo>
                    <a:cubicBezTo>
                      <a:pt x="156779" y="0"/>
                      <a:pt x="201998" y="45219"/>
                      <a:pt x="201998" y="100999"/>
                    </a:cubicBezTo>
                    <a:lnTo>
                      <a:pt x="201998" y="530351"/>
                    </a:lnTo>
                    <a:lnTo>
                      <a:pt x="0" y="530351"/>
                    </a:lnTo>
                    <a:lnTo>
                      <a:pt x="0" y="100999"/>
                    </a:lnTo>
                    <a:cubicBezTo>
                      <a:pt x="0" y="45219"/>
                      <a:pt x="45219" y="0"/>
                      <a:pt x="100999" y="0"/>
                    </a:cubicBezTo>
                    <a:close/>
                  </a:path>
                </a:pathLst>
              </a:custGeom>
              <a:solidFill>
                <a:srgbClr val="FFFFFF">
                  <a:lumMod val="65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sp>
            <p:nvSpPr>
              <p:cNvPr id="304" name="Freeform: Shape 303">
                <a:extLst>
                  <a:ext uri="{FF2B5EF4-FFF2-40B4-BE49-F238E27FC236}">
                    <a16:creationId xmlns:a16="http://schemas.microsoft.com/office/drawing/2014/main" id="{3A87AB9A-A474-4DDD-9DD4-7EB150C1A31D}"/>
                  </a:ext>
                </a:extLst>
              </p:cNvPr>
              <p:cNvSpPr/>
              <p:nvPr/>
            </p:nvSpPr>
            <p:spPr>
              <a:xfrm>
                <a:off x="1232899" y="5480041"/>
                <a:ext cx="1330989" cy="990304"/>
              </a:xfrm>
              <a:custGeom>
                <a:avLst/>
                <a:gdLst>
                  <a:gd name="connsiteX0" fmla="*/ 323097 w 1228972"/>
                  <a:gd name="connsiteY0" fmla="*/ 0 h 914400"/>
                  <a:gd name="connsiteX1" fmla="*/ 704093 w 1228972"/>
                  <a:gd name="connsiteY1" fmla="*/ 0 h 914400"/>
                  <a:gd name="connsiteX2" fmla="*/ 734728 w 1228972"/>
                  <a:gd name="connsiteY2" fmla="*/ 6185 h 914400"/>
                  <a:gd name="connsiteX3" fmla="*/ 743472 w 1228972"/>
                  <a:gd name="connsiteY3" fmla="*/ 6340 h 914400"/>
                  <a:gd name="connsiteX4" fmla="*/ 805041 w 1228972"/>
                  <a:gd name="connsiteY4" fmla="*/ 48694 h 914400"/>
                  <a:gd name="connsiteX5" fmla="*/ 981548 w 1228972"/>
                  <a:gd name="connsiteY5" fmla="*/ 351630 h 914400"/>
                  <a:gd name="connsiteX6" fmla="*/ 1204765 w 1228972"/>
                  <a:gd name="connsiteY6" fmla="*/ 351630 h 914400"/>
                  <a:gd name="connsiteX7" fmla="*/ 1228972 w 1228972"/>
                  <a:gd name="connsiteY7" fmla="*/ 356518 h 914400"/>
                  <a:gd name="connsiteX8" fmla="*/ 1228972 w 1228972"/>
                  <a:gd name="connsiteY8" fmla="*/ 516979 h 914400"/>
                  <a:gd name="connsiteX9" fmla="*/ 1204765 w 1228972"/>
                  <a:gd name="connsiteY9" fmla="*/ 521866 h 914400"/>
                  <a:gd name="connsiteX10" fmla="*/ 940796 w 1228972"/>
                  <a:gd name="connsiteY10" fmla="*/ 521866 h 914400"/>
                  <a:gd name="connsiteX11" fmla="*/ 940049 w 1228972"/>
                  <a:gd name="connsiteY11" fmla="*/ 522121 h 914400"/>
                  <a:gd name="connsiteX12" fmla="*/ 936178 w 1228972"/>
                  <a:gd name="connsiteY12" fmla="*/ 521866 h 914400"/>
                  <a:gd name="connsiteX13" fmla="*/ 925739 w 1228972"/>
                  <a:gd name="connsiteY13" fmla="*/ 521866 h 914400"/>
                  <a:gd name="connsiteX14" fmla="*/ 920699 w 1228972"/>
                  <a:gd name="connsiteY14" fmla="*/ 520849 h 914400"/>
                  <a:gd name="connsiteX15" fmla="*/ 906543 w 1228972"/>
                  <a:gd name="connsiteY15" fmla="*/ 519918 h 914400"/>
                  <a:gd name="connsiteX16" fmla="*/ 899688 w 1228972"/>
                  <a:gd name="connsiteY16" fmla="*/ 516606 h 914400"/>
                  <a:gd name="connsiteX17" fmla="*/ 892608 w 1228972"/>
                  <a:gd name="connsiteY17" fmla="*/ 515177 h 914400"/>
                  <a:gd name="connsiteX18" fmla="*/ 882193 w 1228972"/>
                  <a:gd name="connsiteY18" fmla="*/ 508155 h 914400"/>
                  <a:gd name="connsiteX19" fmla="*/ 876307 w 1228972"/>
                  <a:gd name="connsiteY19" fmla="*/ 505312 h 914400"/>
                  <a:gd name="connsiteX20" fmla="*/ 873809 w 1228972"/>
                  <a:gd name="connsiteY20" fmla="*/ 502503 h 914400"/>
                  <a:gd name="connsiteX21" fmla="*/ 865552 w 1228972"/>
                  <a:gd name="connsiteY21" fmla="*/ 496936 h 914400"/>
                  <a:gd name="connsiteX22" fmla="*/ 855176 w 1228972"/>
                  <a:gd name="connsiteY22" fmla="*/ 481546 h 914400"/>
                  <a:gd name="connsiteX23" fmla="*/ 853195 w 1228972"/>
                  <a:gd name="connsiteY23" fmla="*/ 479318 h 914400"/>
                  <a:gd name="connsiteX24" fmla="*/ 850147 w 1228972"/>
                  <a:gd name="connsiteY24" fmla="*/ 474087 h 914400"/>
                  <a:gd name="connsiteX25" fmla="*/ 847310 w 1228972"/>
                  <a:gd name="connsiteY25" fmla="*/ 469880 h 914400"/>
                  <a:gd name="connsiteX26" fmla="*/ 847106 w 1228972"/>
                  <a:gd name="connsiteY26" fmla="*/ 468868 h 914400"/>
                  <a:gd name="connsiteX27" fmla="*/ 799345 w 1228972"/>
                  <a:gd name="connsiteY27" fmla="*/ 386896 h 914400"/>
                  <a:gd name="connsiteX28" fmla="*/ 799345 w 1228972"/>
                  <a:gd name="connsiteY28" fmla="*/ 819148 h 914400"/>
                  <a:gd name="connsiteX29" fmla="*/ 704093 w 1228972"/>
                  <a:gd name="connsiteY29" fmla="*/ 914400 h 914400"/>
                  <a:gd name="connsiteX30" fmla="*/ 323097 w 1228972"/>
                  <a:gd name="connsiteY30" fmla="*/ 914400 h 914400"/>
                  <a:gd name="connsiteX31" fmla="*/ 227845 w 1228972"/>
                  <a:gd name="connsiteY31" fmla="*/ 819148 h 914400"/>
                  <a:gd name="connsiteX32" fmla="*/ 227845 w 1228972"/>
                  <a:gd name="connsiteY32" fmla="*/ 366140 h 914400"/>
                  <a:gd name="connsiteX33" fmla="*/ 163288 w 1228972"/>
                  <a:gd name="connsiteY33" fmla="*/ 476938 h 914400"/>
                  <a:gd name="connsiteX34" fmla="*/ 43509 w 1228972"/>
                  <a:gd name="connsiteY34" fmla="*/ 508524 h 914400"/>
                  <a:gd name="connsiteX35" fmla="*/ 43509 w 1228972"/>
                  <a:gd name="connsiteY35" fmla="*/ 508525 h 914400"/>
                  <a:gd name="connsiteX36" fmla="*/ 11923 w 1228972"/>
                  <a:gd name="connsiteY36" fmla="*/ 388745 h 914400"/>
                  <a:gd name="connsiteX37" fmla="*/ 211442 w 1228972"/>
                  <a:gd name="connsiteY37" fmla="*/ 46314 h 914400"/>
                  <a:gd name="connsiteX38" fmla="*/ 298297 w 1228972"/>
                  <a:gd name="connsiteY38" fmla="*/ 3511 h 914400"/>
                  <a:gd name="connsiteX39" fmla="*/ 301054 w 1228972"/>
                  <a:gd name="connsiteY39" fmla="*/ 445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28972" h="914400">
                    <a:moveTo>
                      <a:pt x="323097" y="0"/>
                    </a:moveTo>
                    <a:lnTo>
                      <a:pt x="704093" y="0"/>
                    </a:lnTo>
                    <a:lnTo>
                      <a:pt x="734728" y="6185"/>
                    </a:lnTo>
                    <a:lnTo>
                      <a:pt x="743472" y="6340"/>
                    </a:lnTo>
                    <a:cubicBezTo>
                      <a:pt x="768380" y="10421"/>
                      <a:pt x="791341" y="25182"/>
                      <a:pt x="805041" y="48694"/>
                    </a:cubicBezTo>
                    <a:lnTo>
                      <a:pt x="981548" y="351630"/>
                    </a:lnTo>
                    <a:lnTo>
                      <a:pt x="1204765" y="351630"/>
                    </a:lnTo>
                    <a:lnTo>
                      <a:pt x="1228972" y="356518"/>
                    </a:lnTo>
                    <a:lnTo>
                      <a:pt x="1228972" y="516979"/>
                    </a:lnTo>
                    <a:lnTo>
                      <a:pt x="1204765" y="521866"/>
                    </a:lnTo>
                    <a:lnTo>
                      <a:pt x="940796" y="521866"/>
                    </a:lnTo>
                    <a:lnTo>
                      <a:pt x="940049" y="522121"/>
                    </a:lnTo>
                    <a:lnTo>
                      <a:pt x="936178" y="521866"/>
                    </a:lnTo>
                    <a:lnTo>
                      <a:pt x="925739" y="521866"/>
                    </a:lnTo>
                    <a:lnTo>
                      <a:pt x="920699" y="520849"/>
                    </a:lnTo>
                    <a:lnTo>
                      <a:pt x="906543" y="519918"/>
                    </a:lnTo>
                    <a:lnTo>
                      <a:pt x="899688" y="516606"/>
                    </a:lnTo>
                    <a:lnTo>
                      <a:pt x="892608" y="515177"/>
                    </a:lnTo>
                    <a:lnTo>
                      <a:pt x="882193" y="508155"/>
                    </a:lnTo>
                    <a:lnTo>
                      <a:pt x="876307" y="505312"/>
                    </a:lnTo>
                    <a:lnTo>
                      <a:pt x="873809" y="502503"/>
                    </a:lnTo>
                    <a:lnTo>
                      <a:pt x="865552" y="496936"/>
                    </a:lnTo>
                    <a:lnTo>
                      <a:pt x="855176" y="481546"/>
                    </a:lnTo>
                    <a:lnTo>
                      <a:pt x="853195" y="479318"/>
                    </a:lnTo>
                    <a:lnTo>
                      <a:pt x="850147" y="474087"/>
                    </a:lnTo>
                    <a:lnTo>
                      <a:pt x="847310" y="469880"/>
                    </a:lnTo>
                    <a:lnTo>
                      <a:pt x="847106" y="468868"/>
                    </a:lnTo>
                    <a:lnTo>
                      <a:pt x="799345" y="386896"/>
                    </a:lnTo>
                    <a:lnTo>
                      <a:pt x="799345" y="819148"/>
                    </a:lnTo>
                    <a:cubicBezTo>
                      <a:pt x="799345" y="871754"/>
                      <a:pt x="756699" y="914400"/>
                      <a:pt x="704093" y="914400"/>
                    </a:cubicBezTo>
                    <a:lnTo>
                      <a:pt x="323097" y="914400"/>
                    </a:lnTo>
                    <a:cubicBezTo>
                      <a:pt x="270491" y="914400"/>
                      <a:pt x="227845" y="871754"/>
                      <a:pt x="227845" y="819148"/>
                    </a:cubicBezTo>
                    <a:lnTo>
                      <a:pt x="227845" y="366140"/>
                    </a:lnTo>
                    <a:lnTo>
                      <a:pt x="163288" y="476938"/>
                    </a:lnTo>
                    <a:cubicBezTo>
                      <a:pt x="138934" y="518736"/>
                      <a:pt x="85308" y="532878"/>
                      <a:pt x="43509" y="508524"/>
                    </a:cubicBezTo>
                    <a:lnTo>
                      <a:pt x="43509" y="508525"/>
                    </a:lnTo>
                    <a:cubicBezTo>
                      <a:pt x="1710" y="484170"/>
                      <a:pt x="-12431" y="430544"/>
                      <a:pt x="11923" y="388745"/>
                    </a:cubicBezTo>
                    <a:lnTo>
                      <a:pt x="211442" y="46314"/>
                    </a:lnTo>
                    <a:cubicBezTo>
                      <a:pt x="229708" y="14965"/>
                      <a:pt x="264439" y="-827"/>
                      <a:pt x="298297" y="3511"/>
                    </a:cubicBezTo>
                    <a:lnTo>
                      <a:pt x="301054" y="4450"/>
                    </a:lnTo>
                    <a:close/>
                  </a:path>
                </a:pathLst>
              </a:custGeom>
              <a:solidFill>
                <a:srgbClr val="B4009E">
                  <a:lumMod val="50000"/>
                </a:srgbClr>
              </a:solidFill>
              <a:ln w="10795" cap="flat" cmpd="sng" algn="ctr">
                <a:noFill/>
                <a:prstDash val="solid"/>
              </a:ln>
              <a:effectLst/>
            </p:spPr>
            <p:txBody>
              <a:bodyPr rtlCol="0" anchor="ctr"/>
              <a:lstStyle/>
              <a:p>
                <a:pPr algn="ctr" defTabSz="764049">
                  <a:defRPr/>
                </a:pPr>
                <a:endParaRPr lang="en-US" sz="2000" kern="0">
                  <a:solidFill>
                    <a:srgbClr val="FFFFFF"/>
                  </a:solidFill>
                  <a:latin typeface="Segoe UI"/>
                </a:endParaRPr>
              </a:p>
            </p:txBody>
          </p:sp>
          <p:grpSp>
            <p:nvGrpSpPr>
              <p:cNvPr id="308" name="Group 307">
                <a:extLst>
                  <a:ext uri="{FF2B5EF4-FFF2-40B4-BE49-F238E27FC236}">
                    <a16:creationId xmlns:a16="http://schemas.microsoft.com/office/drawing/2014/main" id="{E3A66E4F-2E66-440F-8987-945F26452D3F}"/>
                  </a:ext>
                </a:extLst>
              </p:cNvPr>
              <p:cNvGrpSpPr/>
              <p:nvPr/>
            </p:nvGrpSpPr>
            <p:grpSpPr>
              <a:xfrm>
                <a:off x="1397646" y="5850619"/>
                <a:ext cx="757129" cy="1006385"/>
                <a:chOff x="3666811" y="5009099"/>
                <a:chExt cx="1108389" cy="1473283"/>
              </a:xfrm>
            </p:grpSpPr>
            <p:sp>
              <p:nvSpPr>
                <p:cNvPr id="309" name="Freeform 148">
                  <a:extLst>
                    <a:ext uri="{FF2B5EF4-FFF2-40B4-BE49-F238E27FC236}">
                      <a16:creationId xmlns:a16="http://schemas.microsoft.com/office/drawing/2014/main" id="{6A47D367-8ABA-420F-9908-446754B80D50}"/>
                    </a:ext>
                  </a:extLst>
                </p:cNvPr>
                <p:cNvSpPr>
                  <a:spLocks/>
                </p:cNvSpPr>
                <p:nvPr/>
              </p:nvSpPr>
              <p:spPr bwMode="auto">
                <a:xfrm>
                  <a:off x="4147135" y="6218594"/>
                  <a:ext cx="154774" cy="263788"/>
                </a:xfrm>
                <a:custGeom>
                  <a:avLst/>
                  <a:gdLst>
                    <a:gd name="T0" fmla="*/ 48 w 48"/>
                    <a:gd name="T1" fmla="*/ 90 h 90"/>
                    <a:gd name="T2" fmla="*/ 0 w 48"/>
                    <a:gd name="T3" fmla="*/ 90 h 90"/>
                    <a:gd name="T4" fmla="*/ 5 w 48"/>
                    <a:gd name="T5" fmla="*/ 0 h 90"/>
                    <a:gd name="T6" fmla="*/ 41 w 48"/>
                    <a:gd name="T7" fmla="*/ 0 h 90"/>
                    <a:gd name="T8" fmla="*/ 48 w 48"/>
                    <a:gd name="T9" fmla="*/ 90 h 90"/>
                  </a:gdLst>
                  <a:ahLst/>
                  <a:cxnLst>
                    <a:cxn ang="0">
                      <a:pos x="T0" y="T1"/>
                    </a:cxn>
                    <a:cxn ang="0">
                      <a:pos x="T2" y="T3"/>
                    </a:cxn>
                    <a:cxn ang="0">
                      <a:pos x="T4" y="T5"/>
                    </a:cxn>
                    <a:cxn ang="0">
                      <a:pos x="T6" y="T7"/>
                    </a:cxn>
                    <a:cxn ang="0">
                      <a:pos x="T8" y="T9"/>
                    </a:cxn>
                  </a:cxnLst>
                  <a:rect l="0" t="0" r="r" b="b"/>
                  <a:pathLst>
                    <a:path w="48" h="90">
                      <a:moveTo>
                        <a:pt x="48" y="90"/>
                      </a:moveTo>
                      <a:lnTo>
                        <a:pt x="0" y="90"/>
                      </a:lnTo>
                      <a:lnTo>
                        <a:pt x="5" y="0"/>
                      </a:lnTo>
                      <a:lnTo>
                        <a:pt x="41" y="0"/>
                      </a:lnTo>
                      <a:lnTo>
                        <a:pt x="48" y="9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10" name="Freeform 149">
                  <a:extLst>
                    <a:ext uri="{FF2B5EF4-FFF2-40B4-BE49-F238E27FC236}">
                      <a16:creationId xmlns:a16="http://schemas.microsoft.com/office/drawing/2014/main" id="{0940654D-5907-4860-9519-C6E34B98A762}"/>
                    </a:ext>
                  </a:extLst>
                </p:cNvPr>
                <p:cNvSpPr>
                  <a:spLocks/>
                </p:cNvSpPr>
                <p:nvPr/>
              </p:nvSpPr>
              <p:spPr bwMode="auto">
                <a:xfrm>
                  <a:off x="4176071" y="6080042"/>
                  <a:ext cx="89869" cy="138550"/>
                </a:xfrm>
                <a:custGeom>
                  <a:avLst/>
                  <a:gdLst>
                    <a:gd name="T0" fmla="*/ 24 w 24"/>
                    <a:gd name="T1" fmla="*/ 37 h 37"/>
                    <a:gd name="T2" fmla="*/ 0 w 24"/>
                    <a:gd name="T3" fmla="*/ 37 h 37"/>
                    <a:gd name="T4" fmla="*/ 2 w 24"/>
                    <a:gd name="T5" fmla="*/ 0 h 37"/>
                    <a:gd name="T6" fmla="*/ 22 w 24"/>
                    <a:gd name="T7" fmla="*/ 0 h 37"/>
                    <a:gd name="T8" fmla="*/ 24 w 24"/>
                    <a:gd name="T9" fmla="*/ 37 h 37"/>
                  </a:gdLst>
                  <a:ahLst/>
                  <a:cxnLst>
                    <a:cxn ang="0">
                      <a:pos x="T0" y="T1"/>
                    </a:cxn>
                    <a:cxn ang="0">
                      <a:pos x="T2" y="T3"/>
                    </a:cxn>
                    <a:cxn ang="0">
                      <a:pos x="T4" y="T5"/>
                    </a:cxn>
                    <a:cxn ang="0">
                      <a:pos x="T6" y="T7"/>
                    </a:cxn>
                    <a:cxn ang="0">
                      <a:pos x="T8" y="T9"/>
                    </a:cxn>
                  </a:cxnLst>
                  <a:rect l="0" t="0" r="r" b="b"/>
                  <a:pathLst>
                    <a:path w="24" h="37">
                      <a:moveTo>
                        <a:pt x="24" y="37"/>
                      </a:moveTo>
                      <a:lnTo>
                        <a:pt x="0" y="37"/>
                      </a:lnTo>
                      <a:lnTo>
                        <a:pt x="2" y="0"/>
                      </a:lnTo>
                      <a:lnTo>
                        <a:pt x="22" y="0"/>
                      </a:lnTo>
                      <a:lnTo>
                        <a:pt x="24" y="37"/>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20" name="Freeform 152">
                  <a:extLst>
                    <a:ext uri="{FF2B5EF4-FFF2-40B4-BE49-F238E27FC236}">
                      <a16:creationId xmlns:a16="http://schemas.microsoft.com/office/drawing/2014/main" id="{051525D5-7373-412E-A991-64EAA2C4152B}"/>
                    </a:ext>
                  </a:extLst>
                </p:cNvPr>
                <p:cNvSpPr>
                  <a:spLocks/>
                </p:cNvSpPr>
                <p:nvPr/>
              </p:nvSpPr>
              <p:spPr bwMode="auto">
                <a:xfrm>
                  <a:off x="3839061" y="6095021"/>
                  <a:ext cx="265865" cy="82380"/>
                </a:xfrm>
                <a:custGeom>
                  <a:avLst/>
                  <a:gdLst>
                    <a:gd name="T0" fmla="*/ 33 w 33"/>
                    <a:gd name="T1" fmla="*/ 0 h 10"/>
                    <a:gd name="T2" fmla="*/ 33 w 33"/>
                    <a:gd name="T3" fmla="*/ 3 h 10"/>
                    <a:gd name="T4" fmla="*/ 26 w 33"/>
                    <a:gd name="T5" fmla="*/ 10 h 10"/>
                    <a:gd name="T6" fmla="*/ 0 w 33"/>
                    <a:gd name="T7" fmla="*/ 10 h 10"/>
                  </a:gdLst>
                  <a:ahLst/>
                  <a:cxnLst>
                    <a:cxn ang="0">
                      <a:pos x="T0" y="T1"/>
                    </a:cxn>
                    <a:cxn ang="0">
                      <a:pos x="T2" y="T3"/>
                    </a:cxn>
                    <a:cxn ang="0">
                      <a:pos x="T4" y="T5"/>
                    </a:cxn>
                    <a:cxn ang="0">
                      <a:pos x="T6" y="T7"/>
                    </a:cxn>
                  </a:cxnLst>
                  <a:rect l="0" t="0" r="r" b="b"/>
                  <a:pathLst>
                    <a:path w="33" h="10">
                      <a:moveTo>
                        <a:pt x="33" y="0"/>
                      </a:moveTo>
                      <a:cubicBezTo>
                        <a:pt x="33" y="3"/>
                        <a:pt x="33" y="3"/>
                        <a:pt x="33" y="3"/>
                      </a:cubicBezTo>
                      <a:cubicBezTo>
                        <a:pt x="33" y="7"/>
                        <a:pt x="30" y="10"/>
                        <a:pt x="26" y="10"/>
                      </a:cubicBezTo>
                      <a:cubicBezTo>
                        <a:pt x="0" y="10"/>
                        <a:pt x="0" y="10"/>
                        <a:pt x="0" y="10"/>
                      </a:cubicBezTo>
                    </a:path>
                  </a:pathLst>
                </a:custGeom>
                <a:noFill/>
                <a:ln w="63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21" name="Freeform 153">
                  <a:extLst>
                    <a:ext uri="{FF2B5EF4-FFF2-40B4-BE49-F238E27FC236}">
                      <a16:creationId xmlns:a16="http://schemas.microsoft.com/office/drawing/2014/main" id="{D19F19EE-A2B8-4B41-877E-3CCDC149A350}"/>
                    </a:ext>
                  </a:extLst>
                </p:cNvPr>
                <p:cNvSpPr>
                  <a:spLocks/>
                </p:cNvSpPr>
                <p:nvPr/>
              </p:nvSpPr>
              <p:spPr bwMode="auto">
                <a:xfrm>
                  <a:off x="3693022" y="6143699"/>
                  <a:ext cx="161017" cy="67402"/>
                </a:xfrm>
                <a:custGeom>
                  <a:avLst/>
                  <a:gdLst>
                    <a:gd name="T0" fmla="*/ 43 w 43"/>
                    <a:gd name="T1" fmla="*/ 13 h 18"/>
                    <a:gd name="T2" fmla="*/ 0 w 43"/>
                    <a:gd name="T3" fmla="*/ 18 h 18"/>
                    <a:gd name="T4" fmla="*/ 0 w 43"/>
                    <a:gd name="T5" fmla="*/ 0 h 18"/>
                    <a:gd name="T6" fmla="*/ 43 w 43"/>
                    <a:gd name="T7" fmla="*/ 2 h 18"/>
                    <a:gd name="T8" fmla="*/ 43 w 43"/>
                    <a:gd name="T9" fmla="*/ 13 h 18"/>
                  </a:gdLst>
                  <a:ahLst/>
                  <a:cxnLst>
                    <a:cxn ang="0">
                      <a:pos x="T0" y="T1"/>
                    </a:cxn>
                    <a:cxn ang="0">
                      <a:pos x="T2" y="T3"/>
                    </a:cxn>
                    <a:cxn ang="0">
                      <a:pos x="T4" y="T5"/>
                    </a:cxn>
                    <a:cxn ang="0">
                      <a:pos x="T6" y="T7"/>
                    </a:cxn>
                    <a:cxn ang="0">
                      <a:pos x="T8" y="T9"/>
                    </a:cxn>
                  </a:cxnLst>
                  <a:rect l="0" t="0" r="r" b="b"/>
                  <a:pathLst>
                    <a:path w="43" h="18">
                      <a:moveTo>
                        <a:pt x="43" y="13"/>
                      </a:moveTo>
                      <a:lnTo>
                        <a:pt x="0" y="18"/>
                      </a:lnTo>
                      <a:lnTo>
                        <a:pt x="0" y="0"/>
                      </a:lnTo>
                      <a:lnTo>
                        <a:pt x="43" y="2"/>
                      </a:lnTo>
                      <a:lnTo>
                        <a:pt x="43" y="1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grpSp>
              <p:nvGrpSpPr>
                <p:cNvPr id="366" name="Group 365">
                  <a:extLst>
                    <a:ext uri="{FF2B5EF4-FFF2-40B4-BE49-F238E27FC236}">
                      <a16:creationId xmlns:a16="http://schemas.microsoft.com/office/drawing/2014/main" id="{89ACDBB4-E9A8-4251-93B3-0D07B2401A07}"/>
                    </a:ext>
                  </a:extLst>
                </p:cNvPr>
                <p:cNvGrpSpPr/>
                <p:nvPr/>
              </p:nvGrpSpPr>
              <p:grpSpPr>
                <a:xfrm>
                  <a:off x="3666811" y="5009099"/>
                  <a:ext cx="1108389" cy="1085922"/>
                  <a:chOff x="3666811" y="5009099"/>
                  <a:chExt cx="1108389" cy="1085922"/>
                </a:xfrm>
              </p:grpSpPr>
              <p:sp>
                <p:nvSpPr>
                  <p:cNvPr id="367" name="Freeform 145">
                    <a:extLst>
                      <a:ext uri="{FF2B5EF4-FFF2-40B4-BE49-F238E27FC236}">
                        <a16:creationId xmlns:a16="http://schemas.microsoft.com/office/drawing/2014/main" id="{8B2AE9D6-BC3D-4D75-BEE5-E4E7E3B60FDE}"/>
                      </a:ext>
                    </a:extLst>
                  </p:cNvPr>
                  <p:cNvSpPr>
                    <a:spLocks/>
                  </p:cNvSpPr>
                  <p:nvPr/>
                </p:nvSpPr>
                <p:spPr bwMode="auto">
                  <a:xfrm>
                    <a:off x="4003821" y="6016384"/>
                    <a:ext cx="434369" cy="78637"/>
                  </a:xfrm>
                  <a:custGeom>
                    <a:avLst/>
                    <a:gdLst>
                      <a:gd name="T0" fmla="*/ 54 w 54"/>
                      <a:gd name="T1" fmla="*/ 5 h 10"/>
                      <a:gd name="T2" fmla="*/ 49 w 54"/>
                      <a:gd name="T3" fmla="*/ 10 h 10"/>
                      <a:gd name="T4" fmla="*/ 4 w 54"/>
                      <a:gd name="T5" fmla="*/ 10 h 10"/>
                      <a:gd name="T6" fmla="*/ 0 w 54"/>
                      <a:gd name="T7" fmla="*/ 5 h 10"/>
                      <a:gd name="T8" fmla="*/ 0 w 54"/>
                      <a:gd name="T9" fmla="*/ 5 h 10"/>
                      <a:gd name="T10" fmla="*/ 4 w 54"/>
                      <a:gd name="T11" fmla="*/ 0 h 10"/>
                      <a:gd name="T12" fmla="*/ 49 w 54"/>
                      <a:gd name="T13" fmla="*/ 0 h 10"/>
                      <a:gd name="T14" fmla="*/ 54 w 54"/>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0">
                        <a:moveTo>
                          <a:pt x="54" y="5"/>
                        </a:moveTo>
                        <a:cubicBezTo>
                          <a:pt x="54" y="8"/>
                          <a:pt x="52" y="10"/>
                          <a:pt x="49" y="10"/>
                        </a:cubicBezTo>
                        <a:cubicBezTo>
                          <a:pt x="4" y="10"/>
                          <a:pt x="4" y="10"/>
                          <a:pt x="4" y="10"/>
                        </a:cubicBezTo>
                        <a:cubicBezTo>
                          <a:pt x="2" y="10"/>
                          <a:pt x="0" y="8"/>
                          <a:pt x="0" y="5"/>
                        </a:cubicBezTo>
                        <a:cubicBezTo>
                          <a:pt x="0" y="5"/>
                          <a:pt x="0" y="5"/>
                          <a:pt x="0" y="5"/>
                        </a:cubicBezTo>
                        <a:cubicBezTo>
                          <a:pt x="0" y="2"/>
                          <a:pt x="2" y="0"/>
                          <a:pt x="4" y="0"/>
                        </a:cubicBezTo>
                        <a:cubicBezTo>
                          <a:pt x="49" y="0"/>
                          <a:pt x="49" y="0"/>
                          <a:pt x="49" y="0"/>
                        </a:cubicBezTo>
                        <a:cubicBezTo>
                          <a:pt x="52" y="0"/>
                          <a:pt x="54" y="2"/>
                          <a:pt x="54"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68" name="Freeform 146">
                    <a:extLst>
                      <a:ext uri="{FF2B5EF4-FFF2-40B4-BE49-F238E27FC236}">
                        <a16:creationId xmlns:a16="http://schemas.microsoft.com/office/drawing/2014/main" id="{CD2884AA-0066-4D8D-81A1-CC87A8EA4D36}"/>
                      </a:ext>
                    </a:extLst>
                  </p:cNvPr>
                  <p:cNvSpPr>
                    <a:spLocks/>
                  </p:cNvSpPr>
                  <p:nvPr/>
                </p:nvSpPr>
                <p:spPr bwMode="auto">
                  <a:xfrm>
                    <a:off x="3666811" y="5896558"/>
                    <a:ext cx="1108389" cy="161017"/>
                  </a:xfrm>
                  <a:custGeom>
                    <a:avLst/>
                    <a:gdLst>
                      <a:gd name="T0" fmla="*/ 137 w 137"/>
                      <a:gd name="T1" fmla="*/ 10 h 20"/>
                      <a:gd name="T2" fmla="*/ 127 w 137"/>
                      <a:gd name="T3" fmla="*/ 20 h 20"/>
                      <a:gd name="T4" fmla="*/ 10 w 137"/>
                      <a:gd name="T5" fmla="*/ 20 h 20"/>
                      <a:gd name="T6" fmla="*/ 0 w 137"/>
                      <a:gd name="T7" fmla="*/ 10 h 20"/>
                      <a:gd name="T8" fmla="*/ 0 w 137"/>
                      <a:gd name="T9" fmla="*/ 10 h 20"/>
                      <a:gd name="T10" fmla="*/ 10 w 137"/>
                      <a:gd name="T11" fmla="*/ 0 h 20"/>
                      <a:gd name="T12" fmla="*/ 127 w 137"/>
                      <a:gd name="T13" fmla="*/ 0 h 20"/>
                      <a:gd name="T14" fmla="*/ 137 w 137"/>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20">
                        <a:moveTo>
                          <a:pt x="137" y="10"/>
                        </a:moveTo>
                        <a:cubicBezTo>
                          <a:pt x="137" y="15"/>
                          <a:pt x="133" y="20"/>
                          <a:pt x="127" y="20"/>
                        </a:cubicBezTo>
                        <a:cubicBezTo>
                          <a:pt x="10" y="20"/>
                          <a:pt x="10" y="20"/>
                          <a:pt x="10" y="20"/>
                        </a:cubicBezTo>
                        <a:cubicBezTo>
                          <a:pt x="4" y="20"/>
                          <a:pt x="0" y="15"/>
                          <a:pt x="0" y="10"/>
                        </a:cubicBezTo>
                        <a:cubicBezTo>
                          <a:pt x="0" y="10"/>
                          <a:pt x="0" y="10"/>
                          <a:pt x="0" y="10"/>
                        </a:cubicBezTo>
                        <a:cubicBezTo>
                          <a:pt x="0" y="5"/>
                          <a:pt x="4" y="0"/>
                          <a:pt x="10" y="0"/>
                        </a:cubicBezTo>
                        <a:cubicBezTo>
                          <a:pt x="127" y="0"/>
                          <a:pt x="127" y="0"/>
                          <a:pt x="127" y="0"/>
                        </a:cubicBezTo>
                        <a:cubicBezTo>
                          <a:pt x="133" y="0"/>
                          <a:pt x="137" y="5"/>
                          <a:pt x="137" y="1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69" name="Freeform 154">
                    <a:extLst>
                      <a:ext uri="{FF2B5EF4-FFF2-40B4-BE49-F238E27FC236}">
                        <a16:creationId xmlns:a16="http://schemas.microsoft.com/office/drawing/2014/main" id="{92AD46B9-D5D6-42B9-B39B-6AFABBD9D6E7}"/>
                      </a:ext>
                    </a:extLst>
                  </p:cNvPr>
                  <p:cNvSpPr>
                    <a:spLocks/>
                  </p:cNvSpPr>
                  <p:nvPr/>
                </p:nvSpPr>
                <p:spPr bwMode="auto">
                  <a:xfrm>
                    <a:off x="3760425" y="5009099"/>
                    <a:ext cx="921161" cy="565429"/>
                  </a:xfrm>
                  <a:custGeom>
                    <a:avLst/>
                    <a:gdLst>
                      <a:gd name="T0" fmla="*/ 114 w 114"/>
                      <a:gd name="T1" fmla="*/ 54 h 70"/>
                      <a:gd name="T2" fmla="*/ 97 w 114"/>
                      <a:gd name="T3" fmla="*/ 70 h 70"/>
                      <a:gd name="T4" fmla="*/ 16 w 114"/>
                      <a:gd name="T5" fmla="*/ 70 h 70"/>
                      <a:gd name="T6" fmla="*/ 0 w 114"/>
                      <a:gd name="T7" fmla="*/ 54 h 70"/>
                      <a:gd name="T8" fmla="*/ 0 w 114"/>
                      <a:gd name="T9" fmla="*/ 17 h 70"/>
                      <a:gd name="T10" fmla="*/ 16 w 114"/>
                      <a:gd name="T11" fmla="*/ 0 h 70"/>
                      <a:gd name="T12" fmla="*/ 97 w 114"/>
                      <a:gd name="T13" fmla="*/ 0 h 70"/>
                      <a:gd name="T14" fmla="*/ 114 w 114"/>
                      <a:gd name="T15" fmla="*/ 17 h 70"/>
                      <a:gd name="T16" fmla="*/ 114 w 114"/>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70">
                        <a:moveTo>
                          <a:pt x="114" y="54"/>
                        </a:moveTo>
                        <a:cubicBezTo>
                          <a:pt x="114" y="63"/>
                          <a:pt x="106" y="70"/>
                          <a:pt x="97" y="70"/>
                        </a:cubicBezTo>
                        <a:cubicBezTo>
                          <a:pt x="16" y="70"/>
                          <a:pt x="16" y="70"/>
                          <a:pt x="16" y="70"/>
                        </a:cubicBezTo>
                        <a:cubicBezTo>
                          <a:pt x="7" y="70"/>
                          <a:pt x="0" y="63"/>
                          <a:pt x="0" y="54"/>
                        </a:cubicBezTo>
                        <a:cubicBezTo>
                          <a:pt x="0" y="17"/>
                          <a:pt x="0" y="17"/>
                          <a:pt x="0" y="17"/>
                        </a:cubicBezTo>
                        <a:cubicBezTo>
                          <a:pt x="0" y="8"/>
                          <a:pt x="7" y="0"/>
                          <a:pt x="16" y="0"/>
                        </a:cubicBezTo>
                        <a:cubicBezTo>
                          <a:pt x="97" y="0"/>
                          <a:pt x="97" y="0"/>
                          <a:pt x="97" y="0"/>
                        </a:cubicBezTo>
                        <a:cubicBezTo>
                          <a:pt x="106" y="0"/>
                          <a:pt x="114" y="8"/>
                          <a:pt x="114" y="17"/>
                        </a:cubicBezTo>
                        <a:lnTo>
                          <a:pt x="114" y="5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764049">
                      <a:defRPr/>
                    </a:pPr>
                    <a:endParaRPr lang="en-US" sz="2000" kern="0">
                      <a:solidFill>
                        <a:srgbClr val="505050"/>
                      </a:solidFill>
                      <a:latin typeface="Segoe UI"/>
                    </a:endParaRPr>
                  </a:p>
                </p:txBody>
              </p:sp>
              <p:sp>
                <p:nvSpPr>
                  <p:cNvPr id="370" name="Freeform: Shape 369">
                    <a:extLst>
                      <a:ext uri="{FF2B5EF4-FFF2-40B4-BE49-F238E27FC236}">
                        <a16:creationId xmlns:a16="http://schemas.microsoft.com/office/drawing/2014/main" id="{6EFDE722-88EB-4055-B3CB-43C6EE0DD7D2}"/>
                      </a:ext>
                    </a:extLst>
                  </p:cNvPr>
                  <p:cNvSpPr>
                    <a:spLocks noChangeArrowheads="1"/>
                  </p:cNvSpPr>
                  <p:nvPr/>
                </p:nvSpPr>
                <p:spPr bwMode="auto">
                  <a:xfrm>
                    <a:off x="4157347" y="5435179"/>
                    <a:ext cx="127316" cy="629865"/>
                  </a:xfrm>
                  <a:custGeom>
                    <a:avLst/>
                    <a:gdLst>
                      <a:gd name="connsiteX0" fmla="*/ 63658 w 127316"/>
                      <a:gd name="connsiteY0" fmla="*/ 0 h 618633"/>
                      <a:gd name="connsiteX1" fmla="*/ 127316 w 127316"/>
                      <a:gd name="connsiteY1" fmla="*/ 63658 h 618633"/>
                      <a:gd name="connsiteX2" fmla="*/ 127315 w 127316"/>
                      <a:gd name="connsiteY2" fmla="*/ 618633 h 618633"/>
                      <a:gd name="connsiteX3" fmla="*/ 53060 w 127316"/>
                      <a:gd name="connsiteY3" fmla="*/ 618633 h 618633"/>
                      <a:gd name="connsiteX4" fmla="*/ 0 w 127316"/>
                      <a:gd name="connsiteY4" fmla="*/ 618633 h 618633"/>
                      <a:gd name="connsiteX5" fmla="*/ 0 w 127316"/>
                      <a:gd name="connsiteY5" fmla="*/ 63658 h 618633"/>
                      <a:gd name="connsiteX6" fmla="*/ 63658 w 127316"/>
                      <a:gd name="connsiteY6" fmla="*/ 0 h 618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316" h="618633">
                        <a:moveTo>
                          <a:pt x="63658" y="0"/>
                        </a:moveTo>
                        <a:cubicBezTo>
                          <a:pt x="98815" y="0"/>
                          <a:pt x="127316" y="28501"/>
                          <a:pt x="127316" y="63658"/>
                        </a:cubicBezTo>
                        <a:lnTo>
                          <a:pt x="127315" y="618633"/>
                        </a:lnTo>
                        <a:lnTo>
                          <a:pt x="53060" y="618633"/>
                        </a:lnTo>
                        <a:lnTo>
                          <a:pt x="0" y="618633"/>
                        </a:lnTo>
                        <a:lnTo>
                          <a:pt x="0" y="63658"/>
                        </a:lnTo>
                        <a:cubicBezTo>
                          <a:pt x="0" y="28501"/>
                          <a:pt x="28501" y="0"/>
                          <a:pt x="63658" y="0"/>
                        </a:cubicBezTo>
                        <a:close/>
                      </a:path>
                    </a:pathLst>
                  </a:cu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904" tIns="37453" rIns="74904" bIns="37453" numCol="1" anchor="t" anchorCtr="0" compatLnSpc="1">
                    <a:prstTxWarp prst="textNoShape">
                      <a:avLst/>
                    </a:prstTxWarp>
                    <a:noAutofit/>
                  </a:bodyPr>
                  <a:lstStyle/>
                  <a:p>
                    <a:pPr defTabSz="764049">
                      <a:defRPr/>
                    </a:pPr>
                    <a:endParaRPr lang="en-US" sz="2000" kern="0">
                      <a:solidFill>
                        <a:srgbClr val="505050"/>
                      </a:solidFill>
                      <a:latin typeface="Segoe UI"/>
                    </a:endParaRPr>
                  </a:p>
                </p:txBody>
              </p:sp>
            </p:grpSp>
          </p:grpSp>
        </p:grpSp>
      </p:grpSp>
      <p:grpSp>
        <p:nvGrpSpPr>
          <p:cNvPr id="470" name="Group 469">
            <a:extLst>
              <a:ext uri="{FF2B5EF4-FFF2-40B4-BE49-F238E27FC236}">
                <a16:creationId xmlns:a16="http://schemas.microsoft.com/office/drawing/2014/main" id="{50AB5B14-A383-4B2E-82E5-1CC00DBF2F68}"/>
              </a:ext>
            </a:extLst>
          </p:cNvPr>
          <p:cNvGrpSpPr/>
          <p:nvPr/>
        </p:nvGrpSpPr>
        <p:grpSpPr>
          <a:xfrm>
            <a:off x="4729434" y="3531319"/>
            <a:ext cx="1146150" cy="2644880"/>
            <a:chOff x="1722966" y="-749830"/>
            <a:chExt cx="3527743" cy="8140700"/>
          </a:xfrm>
        </p:grpSpPr>
        <p:sp>
          <p:nvSpPr>
            <p:cNvPr id="471" name="Freeform 19">
              <a:extLst>
                <a:ext uri="{FF2B5EF4-FFF2-40B4-BE49-F238E27FC236}">
                  <a16:creationId xmlns:a16="http://schemas.microsoft.com/office/drawing/2014/main" id="{17223D53-9056-4D25-AA67-5D3A7ED6AE66}"/>
                </a:ext>
              </a:extLst>
            </p:cNvPr>
            <p:cNvSpPr>
              <a:spLocks/>
            </p:cNvSpPr>
            <p:nvPr/>
          </p:nvSpPr>
          <p:spPr bwMode="auto">
            <a:xfrm>
              <a:off x="2627841" y="1174220"/>
              <a:ext cx="1795463" cy="2073275"/>
            </a:xfrm>
            <a:custGeom>
              <a:avLst/>
              <a:gdLst>
                <a:gd name="T0" fmla="*/ 332 w 333"/>
                <a:gd name="T1" fmla="*/ 27 h 388"/>
                <a:gd name="T2" fmla="*/ 314 w 333"/>
                <a:gd name="T3" fmla="*/ 0 h 388"/>
                <a:gd name="T4" fmla="*/ 19 w 333"/>
                <a:gd name="T5" fmla="*/ 0 h 388"/>
                <a:gd name="T6" fmla="*/ 1 w 333"/>
                <a:gd name="T7" fmla="*/ 27 h 388"/>
                <a:gd name="T8" fmla="*/ 15 w 333"/>
                <a:gd name="T9" fmla="*/ 361 h 388"/>
                <a:gd name="T10" fmla="*/ 36 w 333"/>
                <a:gd name="T11" fmla="*/ 388 h 388"/>
                <a:gd name="T12" fmla="*/ 298 w 333"/>
                <a:gd name="T13" fmla="*/ 388 h 388"/>
                <a:gd name="T14" fmla="*/ 318 w 333"/>
                <a:gd name="T15" fmla="*/ 361 h 388"/>
                <a:gd name="T16" fmla="*/ 332 w 333"/>
                <a:gd name="T17" fmla="*/ 27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88">
                  <a:moveTo>
                    <a:pt x="332" y="27"/>
                  </a:moveTo>
                  <a:cubicBezTo>
                    <a:pt x="333" y="12"/>
                    <a:pt x="325" y="0"/>
                    <a:pt x="314" y="0"/>
                  </a:cubicBezTo>
                  <a:cubicBezTo>
                    <a:pt x="19" y="0"/>
                    <a:pt x="19" y="0"/>
                    <a:pt x="19" y="0"/>
                  </a:cubicBezTo>
                  <a:cubicBezTo>
                    <a:pt x="8" y="0"/>
                    <a:pt x="0" y="12"/>
                    <a:pt x="1" y="27"/>
                  </a:cubicBezTo>
                  <a:cubicBezTo>
                    <a:pt x="15" y="361"/>
                    <a:pt x="15" y="361"/>
                    <a:pt x="15" y="361"/>
                  </a:cubicBezTo>
                  <a:cubicBezTo>
                    <a:pt x="16" y="376"/>
                    <a:pt x="25" y="388"/>
                    <a:pt x="36" y="388"/>
                  </a:cubicBezTo>
                  <a:cubicBezTo>
                    <a:pt x="298" y="388"/>
                    <a:pt x="298" y="388"/>
                    <a:pt x="298" y="388"/>
                  </a:cubicBezTo>
                  <a:cubicBezTo>
                    <a:pt x="308" y="388"/>
                    <a:pt x="317" y="376"/>
                    <a:pt x="318" y="361"/>
                  </a:cubicBezTo>
                  <a:lnTo>
                    <a:pt x="332" y="27"/>
                  </a:lnTo>
                  <a:close/>
                </a:path>
              </a:pathLst>
            </a:custGeom>
            <a:solidFill>
              <a:srgbClr val="BFBFB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2" name="Freeform 20">
              <a:extLst>
                <a:ext uri="{FF2B5EF4-FFF2-40B4-BE49-F238E27FC236}">
                  <a16:creationId xmlns:a16="http://schemas.microsoft.com/office/drawing/2014/main" id="{85CAD243-14F3-4A87-93E5-70614531C4E1}"/>
                </a:ext>
              </a:extLst>
            </p:cNvPr>
            <p:cNvSpPr>
              <a:spLocks/>
            </p:cNvSpPr>
            <p:nvPr/>
          </p:nvSpPr>
          <p:spPr bwMode="auto">
            <a:xfrm>
              <a:off x="2985029" y="740833"/>
              <a:ext cx="576263" cy="469900"/>
            </a:xfrm>
            <a:custGeom>
              <a:avLst/>
              <a:gdLst>
                <a:gd name="T0" fmla="*/ 363 w 363"/>
                <a:gd name="T1" fmla="*/ 27 h 296"/>
                <a:gd name="T2" fmla="*/ 363 w 363"/>
                <a:gd name="T3" fmla="*/ 236 h 296"/>
                <a:gd name="T4" fmla="*/ 190 w 363"/>
                <a:gd name="T5" fmla="*/ 236 h 296"/>
                <a:gd name="T6" fmla="*/ 0 w 363"/>
                <a:gd name="T7" fmla="*/ 296 h 296"/>
                <a:gd name="T8" fmla="*/ 162 w 363"/>
                <a:gd name="T9" fmla="*/ 0 h 296"/>
                <a:gd name="T10" fmla="*/ 363 w 363"/>
                <a:gd name="T11" fmla="*/ 0 h 296"/>
                <a:gd name="T12" fmla="*/ 363 w 363"/>
                <a:gd name="T13" fmla="*/ 27 h 296"/>
              </a:gdLst>
              <a:ahLst/>
              <a:cxnLst>
                <a:cxn ang="0">
                  <a:pos x="T0" y="T1"/>
                </a:cxn>
                <a:cxn ang="0">
                  <a:pos x="T2" y="T3"/>
                </a:cxn>
                <a:cxn ang="0">
                  <a:pos x="T4" y="T5"/>
                </a:cxn>
                <a:cxn ang="0">
                  <a:pos x="T6" y="T7"/>
                </a:cxn>
                <a:cxn ang="0">
                  <a:pos x="T8" y="T9"/>
                </a:cxn>
                <a:cxn ang="0">
                  <a:pos x="T10" y="T11"/>
                </a:cxn>
                <a:cxn ang="0">
                  <a:pos x="T12" y="T13"/>
                </a:cxn>
              </a:cxnLst>
              <a:rect l="0" t="0" r="r" b="b"/>
              <a:pathLst>
                <a:path w="363" h="296">
                  <a:moveTo>
                    <a:pt x="363" y="27"/>
                  </a:moveTo>
                  <a:lnTo>
                    <a:pt x="363" y="236"/>
                  </a:lnTo>
                  <a:lnTo>
                    <a:pt x="190" y="236"/>
                  </a:lnTo>
                  <a:lnTo>
                    <a:pt x="0" y="296"/>
                  </a:lnTo>
                  <a:lnTo>
                    <a:pt x="162" y="0"/>
                  </a:lnTo>
                  <a:lnTo>
                    <a:pt x="363" y="0"/>
                  </a:lnTo>
                  <a:lnTo>
                    <a:pt x="363" y="27"/>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3" name="Freeform 21">
              <a:extLst>
                <a:ext uri="{FF2B5EF4-FFF2-40B4-BE49-F238E27FC236}">
                  <a16:creationId xmlns:a16="http://schemas.microsoft.com/office/drawing/2014/main" id="{C0B2D4F2-BC0B-4695-B105-3B191D12FF68}"/>
                </a:ext>
              </a:extLst>
            </p:cNvPr>
            <p:cNvSpPr>
              <a:spLocks/>
            </p:cNvSpPr>
            <p:nvPr/>
          </p:nvSpPr>
          <p:spPr bwMode="auto">
            <a:xfrm>
              <a:off x="3561292" y="740833"/>
              <a:ext cx="581025" cy="469900"/>
            </a:xfrm>
            <a:custGeom>
              <a:avLst/>
              <a:gdLst>
                <a:gd name="T0" fmla="*/ 0 w 366"/>
                <a:gd name="T1" fmla="*/ 27 h 296"/>
                <a:gd name="T2" fmla="*/ 0 w 366"/>
                <a:gd name="T3" fmla="*/ 236 h 296"/>
                <a:gd name="T4" fmla="*/ 176 w 366"/>
                <a:gd name="T5" fmla="*/ 236 h 296"/>
                <a:gd name="T6" fmla="*/ 366 w 366"/>
                <a:gd name="T7" fmla="*/ 296 h 296"/>
                <a:gd name="T8" fmla="*/ 203 w 366"/>
                <a:gd name="T9" fmla="*/ 0 h 296"/>
                <a:gd name="T10" fmla="*/ 0 w 366"/>
                <a:gd name="T11" fmla="*/ 0 h 296"/>
                <a:gd name="T12" fmla="*/ 0 w 366"/>
                <a:gd name="T13" fmla="*/ 27 h 296"/>
              </a:gdLst>
              <a:ahLst/>
              <a:cxnLst>
                <a:cxn ang="0">
                  <a:pos x="T0" y="T1"/>
                </a:cxn>
                <a:cxn ang="0">
                  <a:pos x="T2" y="T3"/>
                </a:cxn>
                <a:cxn ang="0">
                  <a:pos x="T4" y="T5"/>
                </a:cxn>
                <a:cxn ang="0">
                  <a:pos x="T6" y="T7"/>
                </a:cxn>
                <a:cxn ang="0">
                  <a:pos x="T8" y="T9"/>
                </a:cxn>
                <a:cxn ang="0">
                  <a:pos x="T10" y="T11"/>
                </a:cxn>
                <a:cxn ang="0">
                  <a:pos x="T12" y="T13"/>
                </a:cxn>
              </a:cxnLst>
              <a:rect l="0" t="0" r="r" b="b"/>
              <a:pathLst>
                <a:path w="366" h="296">
                  <a:moveTo>
                    <a:pt x="0" y="27"/>
                  </a:moveTo>
                  <a:lnTo>
                    <a:pt x="0" y="236"/>
                  </a:lnTo>
                  <a:lnTo>
                    <a:pt x="176" y="236"/>
                  </a:lnTo>
                  <a:lnTo>
                    <a:pt x="366" y="296"/>
                  </a:lnTo>
                  <a:lnTo>
                    <a:pt x="203" y="0"/>
                  </a:lnTo>
                  <a:lnTo>
                    <a:pt x="0" y="0"/>
                  </a:lnTo>
                  <a:lnTo>
                    <a:pt x="0" y="27"/>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4" name="Freeform 22">
              <a:extLst>
                <a:ext uri="{FF2B5EF4-FFF2-40B4-BE49-F238E27FC236}">
                  <a16:creationId xmlns:a16="http://schemas.microsoft.com/office/drawing/2014/main" id="{0CBBC48A-C3EC-4D44-A362-6088549C07B6}"/>
                </a:ext>
              </a:extLst>
            </p:cNvPr>
            <p:cNvSpPr>
              <a:spLocks/>
            </p:cNvSpPr>
            <p:nvPr/>
          </p:nvSpPr>
          <p:spPr bwMode="auto">
            <a:xfrm>
              <a:off x="4288367" y="-130705"/>
              <a:ext cx="204788" cy="385763"/>
            </a:xfrm>
            <a:custGeom>
              <a:avLst/>
              <a:gdLst>
                <a:gd name="T0" fmla="*/ 0 w 38"/>
                <a:gd name="T1" fmla="*/ 0 h 72"/>
                <a:gd name="T2" fmla="*/ 2 w 38"/>
                <a:gd name="T3" fmla="*/ 0 h 72"/>
                <a:gd name="T4" fmla="*/ 38 w 38"/>
                <a:gd name="T5" fmla="*/ 36 h 72"/>
                <a:gd name="T6" fmla="*/ 2 w 38"/>
                <a:gd name="T7" fmla="*/ 72 h 72"/>
                <a:gd name="T8" fmla="*/ 0 w 38"/>
                <a:gd name="T9" fmla="*/ 72 h 72"/>
                <a:gd name="T10" fmla="*/ 0 w 38"/>
                <a:gd name="T11" fmla="*/ 0 h 72"/>
              </a:gdLst>
              <a:ahLst/>
              <a:cxnLst>
                <a:cxn ang="0">
                  <a:pos x="T0" y="T1"/>
                </a:cxn>
                <a:cxn ang="0">
                  <a:pos x="T2" y="T3"/>
                </a:cxn>
                <a:cxn ang="0">
                  <a:pos x="T4" y="T5"/>
                </a:cxn>
                <a:cxn ang="0">
                  <a:pos x="T6" y="T7"/>
                </a:cxn>
                <a:cxn ang="0">
                  <a:pos x="T8" y="T9"/>
                </a:cxn>
                <a:cxn ang="0">
                  <a:pos x="T10" y="T11"/>
                </a:cxn>
              </a:cxnLst>
              <a:rect l="0" t="0" r="r" b="b"/>
              <a:pathLst>
                <a:path w="38" h="72">
                  <a:moveTo>
                    <a:pt x="0" y="0"/>
                  </a:moveTo>
                  <a:cubicBezTo>
                    <a:pt x="1" y="0"/>
                    <a:pt x="1" y="0"/>
                    <a:pt x="2" y="0"/>
                  </a:cubicBezTo>
                  <a:cubicBezTo>
                    <a:pt x="22" y="0"/>
                    <a:pt x="38" y="16"/>
                    <a:pt x="38" y="36"/>
                  </a:cubicBezTo>
                  <a:cubicBezTo>
                    <a:pt x="38" y="56"/>
                    <a:pt x="22" y="72"/>
                    <a:pt x="2" y="72"/>
                  </a:cubicBezTo>
                  <a:cubicBezTo>
                    <a:pt x="1" y="72"/>
                    <a:pt x="1" y="72"/>
                    <a:pt x="0" y="72"/>
                  </a:cubicBezTo>
                  <a:lnTo>
                    <a:pt x="0" y="0"/>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5" name="Freeform 23">
              <a:extLst>
                <a:ext uri="{FF2B5EF4-FFF2-40B4-BE49-F238E27FC236}">
                  <a16:creationId xmlns:a16="http://schemas.microsoft.com/office/drawing/2014/main" id="{0574E2EA-9977-4632-A9FE-E5F6E0F1D51C}"/>
                </a:ext>
              </a:extLst>
            </p:cNvPr>
            <p:cNvSpPr>
              <a:spLocks/>
            </p:cNvSpPr>
            <p:nvPr/>
          </p:nvSpPr>
          <p:spPr bwMode="auto">
            <a:xfrm>
              <a:off x="2634191" y="-130705"/>
              <a:ext cx="204788" cy="385763"/>
            </a:xfrm>
            <a:custGeom>
              <a:avLst/>
              <a:gdLst>
                <a:gd name="T0" fmla="*/ 38 w 38"/>
                <a:gd name="T1" fmla="*/ 0 h 72"/>
                <a:gd name="T2" fmla="*/ 36 w 38"/>
                <a:gd name="T3" fmla="*/ 0 h 72"/>
                <a:gd name="T4" fmla="*/ 0 w 38"/>
                <a:gd name="T5" fmla="*/ 36 h 72"/>
                <a:gd name="T6" fmla="*/ 36 w 38"/>
                <a:gd name="T7" fmla="*/ 72 h 72"/>
                <a:gd name="T8" fmla="*/ 38 w 38"/>
                <a:gd name="T9" fmla="*/ 72 h 72"/>
                <a:gd name="T10" fmla="*/ 38 w 38"/>
                <a:gd name="T11" fmla="*/ 0 h 72"/>
              </a:gdLst>
              <a:ahLst/>
              <a:cxnLst>
                <a:cxn ang="0">
                  <a:pos x="T0" y="T1"/>
                </a:cxn>
                <a:cxn ang="0">
                  <a:pos x="T2" y="T3"/>
                </a:cxn>
                <a:cxn ang="0">
                  <a:pos x="T4" y="T5"/>
                </a:cxn>
                <a:cxn ang="0">
                  <a:pos x="T6" y="T7"/>
                </a:cxn>
                <a:cxn ang="0">
                  <a:pos x="T8" y="T9"/>
                </a:cxn>
                <a:cxn ang="0">
                  <a:pos x="T10" y="T11"/>
                </a:cxn>
              </a:cxnLst>
              <a:rect l="0" t="0" r="r" b="b"/>
              <a:pathLst>
                <a:path w="38" h="72">
                  <a:moveTo>
                    <a:pt x="38" y="0"/>
                  </a:moveTo>
                  <a:cubicBezTo>
                    <a:pt x="37" y="0"/>
                    <a:pt x="36" y="0"/>
                    <a:pt x="36" y="0"/>
                  </a:cubicBezTo>
                  <a:cubicBezTo>
                    <a:pt x="16" y="0"/>
                    <a:pt x="0" y="16"/>
                    <a:pt x="0" y="36"/>
                  </a:cubicBezTo>
                  <a:cubicBezTo>
                    <a:pt x="0" y="56"/>
                    <a:pt x="16" y="72"/>
                    <a:pt x="36" y="72"/>
                  </a:cubicBezTo>
                  <a:cubicBezTo>
                    <a:pt x="36" y="72"/>
                    <a:pt x="37" y="72"/>
                    <a:pt x="38" y="72"/>
                  </a:cubicBezTo>
                  <a:lnTo>
                    <a:pt x="38" y="0"/>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6" name="Oval 24">
              <a:extLst>
                <a:ext uri="{FF2B5EF4-FFF2-40B4-BE49-F238E27FC236}">
                  <a16:creationId xmlns:a16="http://schemas.microsoft.com/office/drawing/2014/main" id="{5DB3FE57-BE25-4C4C-A5C8-6E9C700E74AB}"/>
                </a:ext>
              </a:extLst>
            </p:cNvPr>
            <p:cNvSpPr>
              <a:spLocks noChangeArrowheads="1"/>
            </p:cNvSpPr>
            <p:nvPr/>
          </p:nvSpPr>
          <p:spPr bwMode="auto">
            <a:xfrm>
              <a:off x="2769129" y="-749830"/>
              <a:ext cx="1584326" cy="1565275"/>
            </a:xfrm>
            <a:prstGeom prst="ellipse">
              <a:avLst/>
            </a:prstGeom>
            <a:solidFill>
              <a:srgbClr val="BFBFB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7" name="Freeform 25">
              <a:extLst>
                <a:ext uri="{FF2B5EF4-FFF2-40B4-BE49-F238E27FC236}">
                  <a16:creationId xmlns:a16="http://schemas.microsoft.com/office/drawing/2014/main" id="{CC038324-45B3-4523-9C24-50DC792F5987}"/>
                </a:ext>
              </a:extLst>
            </p:cNvPr>
            <p:cNvSpPr>
              <a:spLocks/>
            </p:cNvSpPr>
            <p:nvPr/>
          </p:nvSpPr>
          <p:spPr bwMode="auto">
            <a:xfrm>
              <a:off x="2924704" y="-259293"/>
              <a:ext cx="1266825" cy="647700"/>
            </a:xfrm>
            <a:custGeom>
              <a:avLst/>
              <a:gdLst>
                <a:gd name="T0" fmla="*/ 0 w 235"/>
                <a:gd name="T1" fmla="*/ 26 h 121"/>
                <a:gd name="T2" fmla="*/ 112 w 235"/>
                <a:gd name="T3" fmla="*/ 0 h 121"/>
                <a:gd name="T4" fmla="*/ 235 w 235"/>
                <a:gd name="T5" fmla="*/ 26 h 121"/>
                <a:gd name="T6" fmla="*/ 235 w 235"/>
                <a:gd name="T7" fmla="*/ 71 h 121"/>
                <a:gd name="T8" fmla="*/ 118 w 235"/>
                <a:gd name="T9" fmla="*/ 121 h 121"/>
                <a:gd name="T10" fmla="*/ 0 w 235"/>
                <a:gd name="T11" fmla="*/ 67 h 121"/>
                <a:gd name="T12" fmla="*/ 0 w 235"/>
                <a:gd name="T13" fmla="*/ 26 h 121"/>
              </a:gdLst>
              <a:ahLst/>
              <a:cxnLst>
                <a:cxn ang="0">
                  <a:pos x="T0" y="T1"/>
                </a:cxn>
                <a:cxn ang="0">
                  <a:pos x="T2" y="T3"/>
                </a:cxn>
                <a:cxn ang="0">
                  <a:pos x="T4" y="T5"/>
                </a:cxn>
                <a:cxn ang="0">
                  <a:pos x="T6" y="T7"/>
                </a:cxn>
                <a:cxn ang="0">
                  <a:pos x="T8" y="T9"/>
                </a:cxn>
                <a:cxn ang="0">
                  <a:pos x="T10" y="T11"/>
                </a:cxn>
                <a:cxn ang="0">
                  <a:pos x="T12" y="T13"/>
                </a:cxn>
              </a:cxnLst>
              <a:rect l="0" t="0" r="r" b="b"/>
              <a:pathLst>
                <a:path w="235" h="121">
                  <a:moveTo>
                    <a:pt x="0" y="26"/>
                  </a:moveTo>
                  <a:cubicBezTo>
                    <a:pt x="0" y="26"/>
                    <a:pt x="29" y="0"/>
                    <a:pt x="112" y="0"/>
                  </a:cubicBezTo>
                  <a:cubicBezTo>
                    <a:pt x="195" y="0"/>
                    <a:pt x="235" y="26"/>
                    <a:pt x="235" y="26"/>
                  </a:cubicBezTo>
                  <a:cubicBezTo>
                    <a:pt x="235" y="71"/>
                    <a:pt x="235" y="71"/>
                    <a:pt x="235" y="71"/>
                  </a:cubicBezTo>
                  <a:cubicBezTo>
                    <a:pt x="235" y="71"/>
                    <a:pt x="205" y="121"/>
                    <a:pt x="118" y="121"/>
                  </a:cubicBezTo>
                  <a:cubicBezTo>
                    <a:pt x="32" y="120"/>
                    <a:pt x="0" y="67"/>
                    <a:pt x="0" y="67"/>
                  </a:cubicBezTo>
                  <a:lnTo>
                    <a:pt x="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8" name="Oval 26">
              <a:extLst>
                <a:ext uri="{FF2B5EF4-FFF2-40B4-BE49-F238E27FC236}">
                  <a16:creationId xmlns:a16="http://schemas.microsoft.com/office/drawing/2014/main" id="{C1BC2C58-BE06-4E5C-906C-A6263A93BD13}"/>
                </a:ext>
              </a:extLst>
            </p:cNvPr>
            <p:cNvSpPr>
              <a:spLocks noChangeArrowheads="1"/>
            </p:cNvSpPr>
            <p:nvPr/>
          </p:nvSpPr>
          <p:spPr bwMode="auto">
            <a:xfrm>
              <a:off x="3253316" y="526520"/>
              <a:ext cx="87313" cy="857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79" name="Oval 27">
              <a:extLst>
                <a:ext uri="{FF2B5EF4-FFF2-40B4-BE49-F238E27FC236}">
                  <a16:creationId xmlns:a16="http://schemas.microsoft.com/office/drawing/2014/main" id="{1F0097D2-C6F5-4154-BD31-23BA1AF6C524}"/>
                </a:ext>
              </a:extLst>
            </p:cNvPr>
            <p:cNvSpPr>
              <a:spLocks noChangeArrowheads="1"/>
            </p:cNvSpPr>
            <p:nvPr/>
          </p:nvSpPr>
          <p:spPr bwMode="auto">
            <a:xfrm>
              <a:off x="3781954" y="526520"/>
              <a:ext cx="85725" cy="857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0" name="Freeform 28">
              <a:extLst>
                <a:ext uri="{FF2B5EF4-FFF2-40B4-BE49-F238E27FC236}">
                  <a16:creationId xmlns:a16="http://schemas.microsoft.com/office/drawing/2014/main" id="{E04CFE23-CA0C-4D16-8BC8-F2B6400B7A22}"/>
                </a:ext>
              </a:extLst>
            </p:cNvPr>
            <p:cNvSpPr>
              <a:spLocks/>
            </p:cNvSpPr>
            <p:nvPr/>
          </p:nvSpPr>
          <p:spPr bwMode="auto">
            <a:xfrm>
              <a:off x="3296179" y="569383"/>
              <a:ext cx="528638" cy="53975"/>
            </a:xfrm>
            <a:custGeom>
              <a:avLst/>
              <a:gdLst>
                <a:gd name="T0" fmla="*/ 0 w 98"/>
                <a:gd name="T1" fmla="*/ 1 h 10"/>
                <a:gd name="T2" fmla="*/ 52 w 98"/>
                <a:gd name="T3" fmla="*/ 8 h 10"/>
                <a:gd name="T4" fmla="*/ 98 w 98"/>
                <a:gd name="T5" fmla="*/ 0 h 10"/>
              </a:gdLst>
              <a:ahLst/>
              <a:cxnLst>
                <a:cxn ang="0">
                  <a:pos x="T0" y="T1"/>
                </a:cxn>
                <a:cxn ang="0">
                  <a:pos x="T2" y="T3"/>
                </a:cxn>
                <a:cxn ang="0">
                  <a:pos x="T4" y="T5"/>
                </a:cxn>
              </a:cxnLst>
              <a:rect l="0" t="0" r="r" b="b"/>
              <a:pathLst>
                <a:path w="98" h="10">
                  <a:moveTo>
                    <a:pt x="0" y="1"/>
                  </a:moveTo>
                  <a:cubicBezTo>
                    <a:pt x="0" y="1"/>
                    <a:pt x="16" y="10"/>
                    <a:pt x="52" y="8"/>
                  </a:cubicBezTo>
                  <a:cubicBezTo>
                    <a:pt x="88" y="6"/>
                    <a:pt x="98" y="0"/>
                    <a:pt x="98" y="0"/>
                  </a:cubicBezTo>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1" name="Oval 29">
              <a:extLst>
                <a:ext uri="{FF2B5EF4-FFF2-40B4-BE49-F238E27FC236}">
                  <a16:creationId xmlns:a16="http://schemas.microsoft.com/office/drawing/2014/main" id="{AD92CBF0-AD9C-4D0F-810C-C721DAA0F026}"/>
                </a:ext>
              </a:extLst>
            </p:cNvPr>
            <p:cNvSpPr>
              <a:spLocks noChangeArrowheads="1"/>
            </p:cNvSpPr>
            <p:nvPr/>
          </p:nvSpPr>
          <p:spPr bwMode="auto">
            <a:xfrm>
              <a:off x="3086629" y="-98955"/>
              <a:ext cx="269875" cy="268288"/>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2" name="Oval 30">
              <a:extLst>
                <a:ext uri="{FF2B5EF4-FFF2-40B4-BE49-F238E27FC236}">
                  <a16:creationId xmlns:a16="http://schemas.microsoft.com/office/drawing/2014/main" id="{41C8106E-596F-4636-B844-135072A57578}"/>
                </a:ext>
              </a:extLst>
            </p:cNvPr>
            <p:cNvSpPr>
              <a:spLocks noChangeArrowheads="1"/>
            </p:cNvSpPr>
            <p:nvPr/>
          </p:nvSpPr>
          <p:spPr bwMode="auto">
            <a:xfrm>
              <a:off x="3172354" y="-13230"/>
              <a:ext cx="96838" cy="968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3" name="Oval 31">
              <a:extLst>
                <a:ext uri="{FF2B5EF4-FFF2-40B4-BE49-F238E27FC236}">
                  <a16:creationId xmlns:a16="http://schemas.microsoft.com/office/drawing/2014/main" id="{7662D043-E04D-49F6-A2A6-152634ED8E6B}"/>
                </a:ext>
              </a:extLst>
            </p:cNvPr>
            <p:cNvSpPr>
              <a:spLocks noChangeArrowheads="1"/>
            </p:cNvSpPr>
            <p:nvPr/>
          </p:nvSpPr>
          <p:spPr bwMode="auto">
            <a:xfrm>
              <a:off x="3786717" y="-98955"/>
              <a:ext cx="269875" cy="268288"/>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4" name="Oval 32">
              <a:extLst>
                <a:ext uri="{FF2B5EF4-FFF2-40B4-BE49-F238E27FC236}">
                  <a16:creationId xmlns:a16="http://schemas.microsoft.com/office/drawing/2014/main" id="{DD85FB75-E9AF-4150-A3B8-EA219E07AD78}"/>
                </a:ext>
              </a:extLst>
            </p:cNvPr>
            <p:cNvSpPr>
              <a:spLocks noChangeArrowheads="1"/>
            </p:cNvSpPr>
            <p:nvPr/>
          </p:nvSpPr>
          <p:spPr bwMode="auto">
            <a:xfrm>
              <a:off x="3874029" y="-13230"/>
              <a:ext cx="96838" cy="968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5" name="Freeform 33">
              <a:extLst>
                <a:ext uri="{FF2B5EF4-FFF2-40B4-BE49-F238E27FC236}">
                  <a16:creationId xmlns:a16="http://schemas.microsoft.com/office/drawing/2014/main" id="{5E4CA234-1FB5-4AE8-A0C4-74BF2CEFC3C5}"/>
                </a:ext>
              </a:extLst>
            </p:cNvPr>
            <p:cNvSpPr>
              <a:spLocks/>
            </p:cNvSpPr>
            <p:nvPr/>
          </p:nvSpPr>
          <p:spPr bwMode="auto">
            <a:xfrm>
              <a:off x="2607204" y="948795"/>
              <a:ext cx="1912938" cy="1673225"/>
            </a:xfrm>
            <a:custGeom>
              <a:avLst/>
              <a:gdLst>
                <a:gd name="T0" fmla="*/ 32 w 355"/>
                <a:gd name="T1" fmla="*/ 26 h 313"/>
                <a:gd name="T2" fmla="*/ 179 w 355"/>
                <a:gd name="T3" fmla="*/ 1 h 313"/>
                <a:gd name="T4" fmla="*/ 355 w 355"/>
                <a:gd name="T5" fmla="*/ 41 h 313"/>
                <a:gd name="T6" fmla="*/ 179 w 355"/>
                <a:gd name="T7" fmla="*/ 308 h 313"/>
                <a:gd name="T8" fmla="*/ 0 w 355"/>
                <a:gd name="T9" fmla="*/ 38 h 313"/>
                <a:gd name="T10" fmla="*/ 32 w 355"/>
                <a:gd name="T11" fmla="*/ 26 h 313"/>
              </a:gdLst>
              <a:ahLst/>
              <a:cxnLst>
                <a:cxn ang="0">
                  <a:pos x="T0" y="T1"/>
                </a:cxn>
                <a:cxn ang="0">
                  <a:pos x="T2" y="T3"/>
                </a:cxn>
                <a:cxn ang="0">
                  <a:pos x="T4" y="T5"/>
                </a:cxn>
                <a:cxn ang="0">
                  <a:pos x="T6" y="T7"/>
                </a:cxn>
                <a:cxn ang="0">
                  <a:pos x="T8" y="T9"/>
                </a:cxn>
                <a:cxn ang="0">
                  <a:pos x="T10" y="T11"/>
                </a:cxn>
              </a:cxnLst>
              <a:rect l="0" t="0" r="r" b="b"/>
              <a:pathLst>
                <a:path w="355" h="313">
                  <a:moveTo>
                    <a:pt x="32" y="26"/>
                  </a:moveTo>
                  <a:cubicBezTo>
                    <a:pt x="32" y="26"/>
                    <a:pt x="78" y="0"/>
                    <a:pt x="179" y="1"/>
                  </a:cubicBezTo>
                  <a:cubicBezTo>
                    <a:pt x="281" y="2"/>
                    <a:pt x="355" y="41"/>
                    <a:pt x="355" y="41"/>
                  </a:cubicBezTo>
                  <a:cubicBezTo>
                    <a:pt x="355" y="41"/>
                    <a:pt x="324" y="302"/>
                    <a:pt x="179" y="308"/>
                  </a:cubicBezTo>
                  <a:cubicBezTo>
                    <a:pt x="35" y="313"/>
                    <a:pt x="0" y="38"/>
                    <a:pt x="0" y="38"/>
                  </a:cubicBezTo>
                  <a:lnTo>
                    <a:pt x="32" y="26"/>
                  </a:lnTo>
                  <a:close/>
                </a:path>
              </a:pathLst>
            </a:custGeom>
            <a:solidFill>
              <a:srgbClr val="D9D9D9"/>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6" name="Freeform 36">
              <a:extLst>
                <a:ext uri="{FF2B5EF4-FFF2-40B4-BE49-F238E27FC236}">
                  <a16:creationId xmlns:a16="http://schemas.microsoft.com/office/drawing/2014/main" id="{9B0B144E-8144-40DB-AF7C-15D7CD07581E}"/>
                </a:ext>
              </a:extLst>
            </p:cNvPr>
            <p:cNvSpPr>
              <a:spLocks/>
            </p:cNvSpPr>
            <p:nvPr/>
          </p:nvSpPr>
          <p:spPr bwMode="auto">
            <a:xfrm>
              <a:off x="2719916" y="3568170"/>
              <a:ext cx="393700" cy="417513"/>
            </a:xfrm>
            <a:custGeom>
              <a:avLst/>
              <a:gdLst>
                <a:gd name="T0" fmla="*/ 0 w 73"/>
                <a:gd name="T1" fmla="*/ 11 h 78"/>
                <a:gd name="T2" fmla="*/ 12 w 73"/>
                <a:gd name="T3" fmla="*/ 4 h 78"/>
                <a:gd name="T4" fmla="*/ 29 w 73"/>
                <a:gd name="T5" fmla="*/ 12 h 78"/>
                <a:gd name="T6" fmla="*/ 48 w 73"/>
                <a:gd name="T7" fmla="*/ 30 h 78"/>
                <a:gd name="T8" fmla="*/ 70 w 73"/>
                <a:gd name="T9" fmla="*/ 67 h 78"/>
                <a:gd name="T10" fmla="*/ 63 w 73"/>
                <a:gd name="T11" fmla="*/ 78 h 78"/>
                <a:gd name="T12" fmla="*/ 13 w 73"/>
                <a:gd name="T13" fmla="*/ 78 h 78"/>
                <a:gd name="T14" fmla="*/ 0 w 73"/>
                <a:gd name="T15" fmla="*/ 65 h 78"/>
                <a:gd name="T16" fmla="*/ 0 w 73"/>
                <a:gd name="T17"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8">
                  <a:moveTo>
                    <a:pt x="0" y="11"/>
                  </a:moveTo>
                  <a:cubicBezTo>
                    <a:pt x="0" y="4"/>
                    <a:pt x="6" y="0"/>
                    <a:pt x="12" y="4"/>
                  </a:cubicBezTo>
                  <a:cubicBezTo>
                    <a:pt x="29" y="12"/>
                    <a:pt x="29" y="12"/>
                    <a:pt x="29" y="12"/>
                  </a:cubicBezTo>
                  <a:cubicBezTo>
                    <a:pt x="36" y="16"/>
                    <a:pt x="44" y="23"/>
                    <a:pt x="48" y="30"/>
                  </a:cubicBezTo>
                  <a:cubicBezTo>
                    <a:pt x="70" y="67"/>
                    <a:pt x="70" y="67"/>
                    <a:pt x="70" y="67"/>
                  </a:cubicBezTo>
                  <a:cubicBezTo>
                    <a:pt x="73" y="73"/>
                    <a:pt x="70" y="78"/>
                    <a:pt x="63" y="78"/>
                  </a:cubicBezTo>
                  <a:cubicBezTo>
                    <a:pt x="13" y="78"/>
                    <a:pt x="13" y="78"/>
                    <a:pt x="13" y="78"/>
                  </a:cubicBezTo>
                  <a:cubicBezTo>
                    <a:pt x="6" y="78"/>
                    <a:pt x="0" y="73"/>
                    <a:pt x="0" y="65"/>
                  </a:cubicBezTo>
                  <a:lnTo>
                    <a:pt x="0" y="11"/>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7" name="Freeform 37">
              <a:extLst>
                <a:ext uri="{FF2B5EF4-FFF2-40B4-BE49-F238E27FC236}">
                  <a16:creationId xmlns:a16="http://schemas.microsoft.com/office/drawing/2014/main" id="{AD125312-717C-4D16-801A-6D96CDE24CDA}"/>
                </a:ext>
              </a:extLst>
            </p:cNvPr>
            <p:cNvSpPr>
              <a:spLocks/>
            </p:cNvSpPr>
            <p:nvPr/>
          </p:nvSpPr>
          <p:spPr bwMode="auto">
            <a:xfrm>
              <a:off x="3901017" y="3568170"/>
              <a:ext cx="392113" cy="417513"/>
            </a:xfrm>
            <a:custGeom>
              <a:avLst/>
              <a:gdLst>
                <a:gd name="T0" fmla="*/ 73 w 73"/>
                <a:gd name="T1" fmla="*/ 11 h 78"/>
                <a:gd name="T2" fmla="*/ 61 w 73"/>
                <a:gd name="T3" fmla="*/ 4 h 78"/>
                <a:gd name="T4" fmla="*/ 44 w 73"/>
                <a:gd name="T5" fmla="*/ 12 h 78"/>
                <a:gd name="T6" fmla="*/ 26 w 73"/>
                <a:gd name="T7" fmla="*/ 30 h 78"/>
                <a:gd name="T8" fmla="*/ 4 w 73"/>
                <a:gd name="T9" fmla="*/ 67 h 78"/>
                <a:gd name="T10" fmla="*/ 10 w 73"/>
                <a:gd name="T11" fmla="*/ 78 h 78"/>
                <a:gd name="T12" fmla="*/ 60 w 73"/>
                <a:gd name="T13" fmla="*/ 78 h 78"/>
                <a:gd name="T14" fmla="*/ 73 w 73"/>
                <a:gd name="T15" fmla="*/ 65 h 78"/>
                <a:gd name="T16" fmla="*/ 73 w 73"/>
                <a:gd name="T17"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8">
                  <a:moveTo>
                    <a:pt x="73" y="11"/>
                  </a:moveTo>
                  <a:cubicBezTo>
                    <a:pt x="73" y="4"/>
                    <a:pt x="68" y="0"/>
                    <a:pt x="61" y="4"/>
                  </a:cubicBezTo>
                  <a:cubicBezTo>
                    <a:pt x="44" y="12"/>
                    <a:pt x="44" y="12"/>
                    <a:pt x="44" y="12"/>
                  </a:cubicBezTo>
                  <a:cubicBezTo>
                    <a:pt x="38" y="16"/>
                    <a:pt x="30" y="23"/>
                    <a:pt x="26" y="30"/>
                  </a:cubicBezTo>
                  <a:cubicBezTo>
                    <a:pt x="4" y="67"/>
                    <a:pt x="4" y="67"/>
                    <a:pt x="4" y="67"/>
                  </a:cubicBezTo>
                  <a:cubicBezTo>
                    <a:pt x="0" y="73"/>
                    <a:pt x="3" y="78"/>
                    <a:pt x="10" y="78"/>
                  </a:cubicBezTo>
                  <a:cubicBezTo>
                    <a:pt x="60" y="78"/>
                    <a:pt x="60" y="78"/>
                    <a:pt x="60" y="78"/>
                  </a:cubicBezTo>
                  <a:cubicBezTo>
                    <a:pt x="67" y="78"/>
                    <a:pt x="73" y="73"/>
                    <a:pt x="73" y="65"/>
                  </a:cubicBezTo>
                  <a:lnTo>
                    <a:pt x="73" y="11"/>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8" name="Freeform 38">
              <a:extLst>
                <a:ext uri="{FF2B5EF4-FFF2-40B4-BE49-F238E27FC236}">
                  <a16:creationId xmlns:a16="http://schemas.microsoft.com/office/drawing/2014/main" id="{97EC6848-51B9-49F2-9D8A-D46E43CCBD43}"/>
                </a:ext>
              </a:extLst>
            </p:cNvPr>
            <p:cNvSpPr>
              <a:spLocks/>
            </p:cNvSpPr>
            <p:nvPr/>
          </p:nvSpPr>
          <p:spPr bwMode="auto">
            <a:xfrm>
              <a:off x="2681816" y="3098270"/>
              <a:ext cx="1676401" cy="449263"/>
            </a:xfrm>
            <a:custGeom>
              <a:avLst/>
              <a:gdLst>
                <a:gd name="T0" fmla="*/ 311 w 311"/>
                <a:gd name="T1" fmla="*/ 20 h 84"/>
                <a:gd name="T2" fmla="*/ 291 w 311"/>
                <a:gd name="T3" fmla="*/ 0 h 84"/>
                <a:gd name="T4" fmla="*/ 20 w 311"/>
                <a:gd name="T5" fmla="*/ 0 h 84"/>
                <a:gd name="T6" fmla="*/ 0 w 311"/>
                <a:gd name="T7" fmla="*/ 20 h 84"/>
                <a:gd name="T8" fmla="*/ 0 w 311"/>
                <a:gd name="T9" fmla="*/ 65 h 84"/>
                <a:gd name="T10" fmla="*/ 20 w 311"/>
                <a:gd name="T11" fmla="*/ 84 h 84"/>
                <a:gd name="T12" fmla="*/ 291 w 311"/>
                <a:gd name="T13" fmla="*/ 84 h 84"/>
                <a:gd name="T14" fmla="*/ 311 w 311"/>
                <a:gd name="T15" fmla="*/ 65 h 84"/>
                <a:gd name="T16" fmla="*/ 311 w 311"/>
                <a:gd name="T17"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84">
                  <a:moveTo>
                    <a:pt x="311" y="20"/>
                  </a:moveTo>
                  <a:cubicBezTo>
                    <a:pt x="311" y="9"/>
                    <a:pt x="302" y="0"/>
                    <a:pt x="291" y="0"/>
                  </a:cubicBezTo>
                  <a:cubicBezTo>
                    <a:pt x="20" y="0"/>
                    <a:pt x="20" y="0"/>
                    <a:pt x="20" y="0"/>
                  </a:cubicBezTo>
                  <a:cubicBezTo>
                    <a:pt x="9" y="0"/>
                    <a:pt x="0" y="9"/>
                    <a:pt x="0" y="20"/>
                  </a:cubicBezTo>
                  <a:cubicBezTo>
                    <a:pt x="0" y="65"/>
                    <a:pt x="0" y="65"/>
                    <a:pt x="0" y="65"/>
                  </a:cubicBezTo>
                  <a:cubicBezTo>
                    <a:pt x="0" y="76"/>
                    <a:pt x="9" y="84"/>
                    <a:pt x="20" y="84"/>
                  </a:cubicBezTo>
                  <a:cubicBezTo>
                    <a:pt x="291" y="84"/>
                    <a:pt x="291" y="84"/>
                    <a:pt x="291" y="84"/>
                  </a:cubicBezTo>
                  <a:cubicBezTo>
                    <a:pt x="302" y="84"/>
                    <a:pt x="311" y="76"/>
                    <a:pt x="311" y="65"/>
                  </a:cubicBezTo>
                  <a:lnTo>
                    <a:pt x="311" y="2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89" name="Freeform 39">
              <a:extLst>
                <a:ext uri="{FF2B5EF4-FFF2-40B4-BE49-F238E27FC236}">
                  <a16:creationId xmlns:a16="http://schemas.microsoft.com/office/drawing/2014/main" id="{6AF99560-0021-496D-A1AD-543E53197941}"/>
                </a:ext>
              </a:extLst>
            </p:cNvPr>
            <p:cNvSpPr>
              <a:spLocks/>
            </p:cNvSpPr>
            <p:nvPr/>
          </p:nvSpPr>
          <p:spPr bwMode="auto">
            <a:xfrm>
              <a:off x="2681816" y="3231620"/>
              <a:ext cx="1676401" cy="273050"/>
            </a:xfrm>
            <a:custGeom>
              <a:avLst/>
              <a:gdLst>
                <a:gd name="T0" fmla="*/ 311 w 311"/>
                <a:gd name="T1" fmla="*/ 0 h 51"/>
                <a:gd name="T2" fmla="*/ 279 w 311"/>
                <a:gd name="T3" fmla="*/ 0 h 51"/>
                <a:gd name="T4" fmla="*/ 272 w 311"/>
                <a:gd name="T5" fmla="*/ 6 h 51"/>
                <a:gd name="T6" fmla="*/ 133 w 311"/>
                <a:gd name="T7" fmla="*/ 6 h 51"/>
                <a:gd name="T8" fmla="*/ 126 w 311"/>
                <a:gd name="T9" fmla="*/ 0 h 51"/>
                <a:gd name="T10" fmla="*/ 0 w 311"/>
                <a:gd name="T11" fmla="*/ 0 h 51"/>
                <a:gd name="T12" fmla="*/ 0 w 311"/>
                <a:gd name="T13" fmla="*/ 40 h 51"/>
                <a:gd name="T14" fmla="*/ 3 w 311"/>
                <a:gd name="T15" fmla="*/ 51 h 51"/>
                <a:gd name="T16" fmla="*/ 307 w 311"/>
                <a:gd name="T17" fmla="*/ 51 h 51"/>
                <a:gd name="T18" fmla="*/ 311 w 311"/>
                <a:gd name="T19" fmla="*/ 40 h 51"/>
                <a:gd name="T20" fmla="*/ 311 w 311"/>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51">
                  <a:moveTo>
                    <a:pt x="311" y="0"/>
                  </a:moveTo>
                  <a:cubicBezTo>
                    <a:pt x="279" y="0"/>
                    <a:pt x="279" y="0"/>
                    <a:pt x="279" y="0"/>
                  </a:cubicBezTo>
                  <a:cubicBezTo>
                    <a:pt x="279" y="3"/>
                    <a:pt x="276" y="6"/>
                    <a:pt x="272" y="6"/>
                  </a:cubicBezTo>
                  <a:cubicBezTo>
                    <a:pt x="133" y="6"/>
                    <a:pt x="133" y="6"/>
                    <a:pt x="133" y="6"/>
                  </a:cubicBezTo>
                  <a:cubicBezTo>
                    <a:pt x="130" y="6"/>
                    <a:pt x="127" y="3"/>
                    <a:pt x="126" y="0"/>
                  </a:cubicBezTo>
                  <a:cubicBezTo>
                    <a:pt x="0" y="0"/>
                    <a:pt x="0" y="0"/>
                    <a:pt x="0" y="0"/>
                  </a:cubicBezTo>
                  <a:cubicBezTo>
                    <a:pt x="0" y="40"/>
                    <a:pt x="0" y="40"/>
                    <a:pt x="0" y="40"/>
                  </a:cubicBezTo>
                  <a:cubicBezTo>
                    <a:pt x="0" y="44"/>
                    <a:pt x="1" y="48"/>
                    <a:pt x="3" y="51"/>
                  </a:cubicBezTo>
                  <a:cubicBezTo>
                    <a:pt x="307" y="51"/>
                    <a:pt x="307" y="51"/>
                    <a:pt x="307" y="51"/>
                  </a:cubicBezTo>
                  <a:cubicBezTo>
                    <a:pt x="309" y="48"/>
                    <a:pt x="311" y="44"/>
                    <a:pt x="311" y="40"/>
                  </a:cubicBezTo>
                  <a:lnTo>
                    <a:pt x="311" y="0"/>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0" name="Freeform 40">
              <a:extLst>
                <a:ext uri="{FF2B5EF4-FFF2-40B4-BE49-F238E27FC236}">
                  <a16:creationId xmlns:a16="http://schemas.microsoft.com/office/drawing/2014/main" id="{03EEB90B-EE47-4054-949E-0E911A7B685A}"/>
                </a:ext>
              </a:extLst>
            </p:cNvPr>
            <p:cNvSpPr>
              <a:spLocks/>
            </p:cNvSpPr>
            <p:nvPr/>
          </p:nvSpPr>
          <p:spPr bwMode="auto">
            <a:xfrm>
              <a:off x="2823104" y="3547533"/>
              <a:ext cx="1373188" cy="433388"/>
            </a:xfrm>
            <a:custGeom>
              <a:avLst/>
              <a:gdLst>
                <a:gd name="T0" fmla="*/ 252 w 255"/>
                <a:gd name="T1" fmla="*/ 8 h 81"/>
                <a:gd name="T2" fmla="*/ 248 w 255"/>
                <a:gd name="T3" fmla="*/ 0 h 81"/>
                <a:gd name="T4" fmla="*/ 7 w 255"/>
                <a:gd name="T5" fmla="*/ 0 h 81"/>
                <a:gd name="T6" fmla="*/ 2 w 255"/>
                <a:gd name="T7" fmla="*/ 8 h 81"/>
                <a:gd name="T8" fmla="*/ 42 w 255"/>
                <a:gd name="T9" fmla="*/ 73 h 81"/>
                <a:gd name="T10" fmla="*/ 56 w 255"/>
                <a:gd name="T11" fmla="*/ 81 h 81"/>
                <a:gd name="T12" fmla="*/ 198 w 255"/>
                <a:gd name="T13" fmla="*/ 81 h 81"/>
                <a:gd name="T14" fmla="*/ 212 w 255"/>
                <a:gd name="T15" fmla="*/ 73 h 81"/>
                <a:gd name="T16" fmla="*/ 252 w 255"/>
                <a:gd name="T17" fmla="*/ 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81">
                  <a:moveTo>
                    <a:pt x="252" y="8"/>
                  </a:moveTo>
                  <a:cubicBezTo>
                    <a:pt x="255" y="4"/>
                    <a:pt x="253" y="0"/>
                    <a:pt x="248" y="0"/>
                  </a:cubicBezTo>
                  <a:cubicBezTo>
                    <a:pt x="7" y="0"/>
                    <a:pt x="7" y="0"/>
                    <a:pt x="7" y="0"/>
                  </a:cubicBezTo>
                  <a:cubicBezTo>
                    <a:pt x="2" y="0"/>
                    <a:pt x="0" y="4"/>
                    <a:pt x="2" y="8"/>
                  </a:cubicBezTo>
                  <a:cubicBezTo>
                    <a:pt x="42" y="73"/>
                    <a:pt x="42" y="73"/>
                    <a:pt x="42" y="73"/>
                  </a:cubicBezTo>
                  <a:cubicBezTo>
                    <a:pt x="45" y="77"/>
                    <a:pt x="51" y="81"/>
                    <a:pt x="56" y="81"/>
                  </a:cubicBezTo>
                  <a:cubicBezTo>
                    <a:pt x="198" y="81"/>
                    <a:pt x="198" y="81"/>
                    <a:pt x="198" y="81"/>
                  </a:cubicBezTo>
                  <a:cubicBezTo>
                    <a:pt x="203" y="81"/>
                    <a:pt x="210" y="77"/>
                    <a:pt x="212" y="73"/>
                  </a:cubicBezTo>
                  <a:lnTo>
                    <a:pt x="252" y="8"/>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1" name="Oval 49">
              <a:extLst>
                <a:ext uri="{FF2B5EF4-FFF2-40B4-BE49-F238E27FC236}">
                  <a16:creationId xmlns:a16="http://schemas.microsoft.com/office/drawing/2014/main" id="{D8C6CCD1-7727-4D28-8AE8-EC0D6414E396}"/>
                </a:ext>
              </a:extLst>
            </p:cNvPr>
            <p:cNvSpPr>
              <a:spLocks noChangeArrowheads="1"/>
            </p:cNvSpPr>
            <p:nvPr/>
          </p:nvSpPr>
          <p:spPr bwMode="auto">
            <a:xfrm>
              <a:off x="3496204" y="3461808"/>
              <a:ext cx="42863" cy="38100"/>
            </a:xfrm>
            <a:prstGeom prst="ellipse">
              <a:avLst/>
            </a:prstGeom>
            <a:solidFill>
              <a:srgbClr val="EBD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2" name="Oval 50">
              <a:extLst>
                <a:ext uri="{FF2B5EF4-FFF2-40B4-BE49-F238E27FC236}">
                  <a16:creationId xmlns:a16="http://schemas.microsoft.com/office/drawing/2014/main" id="{FFDA9F80-3939-44C5-B9FE-57CBCD09B30C}"/>
                </a:ext>
              </a:extLst>
            </p:cNvPr>
            <p:cNvSpPr>
              <a:spLocks noChangeArrowheads="1"/>
            </p:cNvSpPr>
            <p:nvPr/>
          </p:nvSpPr>
          <p:spPr bwMode="auto">
            <a:xfrm>
              <a:off x="3507317" y="3468158"/>
              <a:ext cx="20638" cy="25400"/>
            </a:xfrm>
            <a:prstGeom prst="ellipse">
              <a:avLst/>
            </a:prstGeom>
            <a:solidFill>
              <a:srgbClr val="775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3" name="Oval 51">
              <a:extLst>
                <a:ext uri="{FF2B5EF4-FFF2-40B4-BE49-F238E27FC236}">
                  <a16:creationId xmlns:a16="http://schemas.microsoft.com/office/drawing/2014/main" id="{14D0490F-84A8-4857-81F0-F164C6551E54}"/>
                </a:ext>
              </a:extLst>
            </p:cNvPr>
            <p:cNvSpPr>
              <a:spLocks noChangeArrowheads="1"/>
            </p:cNvSpPr>
            <p:nvPr/>
          </p:nvSpPr>
          <p:spPr bwMode="auto">
            <a:xfrm>
              <a:off x="3512079" y="3477683"/>
              <a:ext cx="11113" cy="6350"/>
            </a:xfrm>
            <a:prstGeom prst="ellipse">
              <a:avLst/>
            </a:prstGeom>
            <a:solidFill>
              <a:srgbClr val="543C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4" name="Oval 52">
              <a:extLst>
                <a:ext uri="{FF2B5EF4-FFF2-40B4-BE49-F238E27FC236}">
                  <a16:creationId xmlns:a16="http://schemas.microsoft.com/office/drawing/2014/main" id="{EE389ECD-D30C-4FC2-8106-53822552D73D}"/>
                </a:ext>
              </a:extLst>
            </p:cNvPr>
            <p:cNvSpPr>
              <a:spLocks noChangeArrowheads="1"/>
            </p:cNvSpPr>
            <p:nvPr/>
          </p:nvSpPr>
          <p:spPr bwMode="auto">
            <a:xfrm>
              <a:off x="3485092" y="3434820"/>
              <a:ext cx="69850" cy="69850"/>
            </a:xfrm>
            <a:prstGeom prst="ellipse">
              <a:avLst/>
            </a:prstGeom>
            <a:solidFill>
              <a:srgbClr val="775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5" name="Oval 53">
              <a:extLst>
                <a:ext uri="{FF2B5EF4-FFF2-40B4-BE49-F238E27FC236}">
                  <a16:creationId xmlns:a16="http://schemas.microsoft.com/office/drawing/2014/main" id="{C5244898-BC8E-4258-AD68-70B31AFE7883}"/>
                </a:ext>
              </a:extLst>
            </p:cNvPr>
            <p:cNvSpPr>
              <a:spLocks noChangeArrowheads="1"/>
            </p:cNvSpPr>
            <p:nvPr/>
          </p:nvSpPr>
          <p:spPr bwMode="auto">
            <a:xfrm>
              <a:off x="3491442" y="3445933"/>
              <a:ext cx="53975" cy="53975"/>
            </a:xfrm>
            <a:prstGeom prst="ellipse">
              <a:avLst/>
            </a:prstGeom>
            <a:solidFill>
              <a:srgbClr val="EBD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6" name="Oval 55">
              <a:extLst>
                <a:ext uri="{FF2B5EF4-FFF2-40B4-BE49-F238E27FC236}">
                  <a16:creationId xmlns:a16="http://schemas.microsoft.com/office/drawing/2014/main" id="{69A04EB8-90B0-4524-B690-62C6A7E7FE43}"/>
                </a:ext>
              </a:extLst>
            </p:cNvPr>
            <p:cNvSpPr>
              <a:spLocks noChangeArrowheads="1"/>
            </p:cNvSpPr>
            <p:nvPr/>
          </p:nvSpPr>
          <p:spPr bwMode="auto">
            <a:xfrm>
              <a:off x="3334279" y="3195108"/>
              <a:ext cx="366713" cy="368300"/>
            </a:xfrm>
            <a:prstGeom prst="ellipse">
              <a:avLst/>
            </a:prstGeom>
            <a:solidFill>
              <a:schemeClr val="accent6">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497" name="Oval 56">
              <a:extLst>
                <a:ext uri="{FF2B5EF4-FFF2-40B4-BE49-F238E27FC236}">
                  <a16:creationId xmlns:a16="http://schemas.microsoft.com/office/drawing/2014/main" id="{DC2C493A-FE13-4F9A-8C12-EE2AFACF3E8C}"/>
                </a:ext>
              </a:extLst>
            </p:cNvPr>
            <p:cNvSpPr>
              <a:spLocks noChangeArrowheads="1"/>
            </p:cNvSpPr>
            <p:nvPr/>
          </p:nvSpPr>
          <p:spPr bwMode="auto">
            <a:xfrm>
              <a:off x="3350154" y="3210983"/>
              <a:ext cx="334963" cy="331788"/>
            </a:xfrm>
            <a:prstGeom prst="ellipse">
              <a:avLst/>
            </a:prstGeom>
            <a:solidFill>
              <a:srgbClr val="505050"/>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498" name="Oval 57">
              <a:extLst>
                <a:ext uri="{FF2B5EF4-FFF2-40B4-BE49-F238E27FC236}">
                  <a16:creationId xmlns:a16="http://schemas.microsoft.com/office/drawing/2014/main" id="{8258B291-9799-4ED2-830C-475544543866}"/>
                </a:ext>
              </a:extLst>
            </p:cNvPr>
            <p:cNvSpPr>
              <a:spLocks noChangeArrowheads="1"/>
            </p:cNvSpPr>
            <p:nvPr/>
          </p:nvSpPr>
          <p:spPr bwMode="auto">
            <a:xfrm>
              <a:off x="3420004" y="3280833"/>
              <a:ext cx="200025" cy="196850"/>
            </a:xfrm>
            <a:prstGeom prst="ellipse">
              <a:avLst/>
            </a:pr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nvGrpSpPr>
            <p:cNvPr id="499" name="Group 498">
              <a:extLst>
                <a:ext uri="{FF2B5EF4-FFF2-40B4-BE49-F238E27FC236}">
                  <a16:creationId xmlns:a16="http://schemas.microsoft.com/office/drawing/2014/main" id="{AF349446-3B3E-47F1-82EF-540DDD6BC92B}"/>
                </a:ext>
              </a:extLst>
            </p:cNvPr>
            <p:cNvGrpSpPr/>
            <p:nvPr/>
          </p:nvGrpSpPr>
          <p:grpSpPr>
            <a:xfrm>
              <a:off x="1722966" y="1077383"/>
              <a:ext cx="1084263" cy="3084513"/>
              <a:chOff x="1722966" y="1077383"/>
              <a:chExt cx="1084263" cy="3084513"/>
            </a:xfrm>
          </p:grpSpPr>
          <p:sp>
            <p:nvSpPr>
              <p:cNvPr id="556" name="Freeform 8">
                <a:extLst>
                  <a:ext uri="{FF2B5EF4-FFF2-40B4-BE49-F238E27FC236}">
                    <a16:creationId xmlns:a16="http://schemas.microsoft.com/office/drawing/2014/main" id="{7F51BA1A-CCE4-42CA-B8D9-762F840136D2}"/>
                  </a:ext>
                </a:extLst>
              </p:cNvPr>
              <p:cNvSpPr>
                <a:spLocks/>
              </p:cNvSpPr>
              <p:nvPr/>
            </p:nvSpPr>
            <p:spPr bwMode="auto">
              <a:xfrm>
                <a:off x="2105554" y="3617383"/>
                <a:ext cx="204788" cy="539750"/>
              </a:xfrm>
              <a:custGeom>
                <a:avLst/>
                <a:gdLst>
                  <a:gd name="T0" fmla="*/ 24 w 38"/>
                  <a:gd name="T1" fmla="*/ 101 h 101"/>
                  <a:gd name="T2" fmla="*/ 13 w 38"/>
                  <a:gd name="T3" fmla="*/ 94 h 101"/>
                  <a:gd name="T4" fmla="*/ 13 w 38"/>
                  <a:gd name="T5" fmla="*/ 10 h 101"/>
                  <a:gd name="T6" fmla="*/ 28 w 38"/>
                  <a:gd name="T7" fmla="*/ 1 h 101"/>
                  <a:gd name="T8" fmla="*/ 37 w 38"/>
                  <a:gd name="T9" fmla="*/ 16 h 101"/>
                  <a:gd name="T10" fmla="*/ 35 w 38"/>
                  <a:gd name="T11" fmla="*/ 84 h 101"/>
                  <a:gd name="T12" fmla="*/ 29 w 38"/>
                  <a:gd name="T13" fmla="*/ 100 h 101"/>
                  <a:gd name="T14" fmla="*/ 24 w 38"/>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01">
                    <a:moveTo>
                      <a:pt x="24" y="101"/>
                    </a:moveTo>
                    <a:cubicBezTo>
                      <a:pt x="20" y="101"/>
                      <a:pt x="15" y="98"/>
                      <a:pt x="13" y="94"/>
                    </a:cubicBezTo>
                    <a:cubicBezTo>
                      <a:pt x="0" y="65"/>
                      <a:pt x="12" y="15"/>
                      <a:pt x="13" y="10"/>
                    </a:cubicBezTo>
                    <a:cubicBezTo>
                      <a:pt x="15" y="3"/>
                      <a:pt x="22" y="0"/>
                      <a:pt x="28" y="1"/>
                    </a:cubicBezTo>
                    <a:cubicBezTo>
                      <a:pt x="34" y="3"/>
                      <a:pt x="38" y="9"/>
                      <a:pt x="37" y="16"/>
                    </a:cubicBezTo>
                    <a:cubicBezTo>
                      <a:pt x="34" y="29"/>
                      <a:pt x="27" y="66"/>
                      <a:pt x="35" y="84"/>
                    </a:cubicBezTo>
                    <a:cubicBezTo>
                      <a:pt x="38" y="90"/>
                      <a:pt x="35" y="97"/>
                      <a:pt x="29" y="100"/>
                    </a:cubicBezTo>
                    <a:cubicBezTo>
                      <a:pt x="28" y="100"/>
                      <a:pt x="26" y="101"/>
                      <a:pt x="24" y="101"/>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57" name="Freeform 9">
                <a:extLst>
                  <a:ext uri="{FF2B5EF4-FFF2-40B4-BE49-F238E27FC236}">
                    <a16:creationId xmlns:a16="http://schemas.microsoft.com/office/drawing/2014/main" id="{97124BEE-69D0-447B-8A98-835737001CB2}"/>
                  </a:ext>
                </a:extLst>
              </p:cNvPr>
              <p:cNvSpPr>
                <a:spLocks/>
              </p:cNvSpPr>
              <p:nvPr/>
            </p:nvSpPr>
            <p:spPr bwMode="auto">
              <a:xfrm>
                <a:off x="1916641" y="3606270"/>
                <a:ext cx="222250" cy="555625"/>
              </a:xfrm>
              <a:custGeom>
                <a:avLst/>
                <a:gdLst>
                  <a:gd name="T0" fmla="*/ 24 w 41"/>
                  <a:gd name="T1" fmla="*/ 103 h 104"/>
                  <a:gd name="T2" fmla="*/ 13 w 41"/>
                  <a:gd name="T3" fmla="*/ 96 h 104"/>
                  <a:gd name="T4" fmla="*/ 16 w 41"/>
                  <a:gd name="T5" fmla="*/ 10 h 104"/>
                  <a:gd name="T6" fmla="*/ 31 w 41"/>
                  <a:gd name="T7" fmla="*/ 1 h 104"/>
                  <a:gd name="T8" fmla="*/ 39 w 41"/>
                  <a:gd name="T9" fmla="*/ 16 h 104"/>
                  <a:gd name="T10" fmla="*/ 35 w 41"/>
                  <a:gd name="T11" fmla="*/ 86 h 104"/>
                  <a:gd name="T12" fmla="*/ 29 w 41"/>
                  <a:gd name="T13" fmla="*/ 102 h 104"/>
                  <a:gd name="T14" fmla="*/ 24 w 41"/>
                  <a:gd name="T15" fmla="*/ 103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04">
                    <a:moveTo>
                      <a:pt x="24" y="103"/>
                    </a:moveTo>
                    <a:cubicBezTo>
                      <a:pt x="19" y="104"/>
                      <a:pt x="15" y="101"/>
                      <a:pt x="13" y="96"/>
                    </a:cubicBezTo>
                    <a:cubicBezTo>
                      <a:pt x="0" y="67"/>
                      <a:pt x="14" y="15"/>
                      <a:pt x="16" y="10"/>
                    </a:cubicBezTo>
                    <a:cubicBezTo>
                      <a:pt x="18" y="3"/>
                      <a:pt x="24" y="0"/>
                      <a:pt x="31" y="1"/>
                    </a:cubicBezTo>
                    <a:cubicBezTo>
                      <a:pt x="37" y="3"/>
                      <a:pt x="41" y="10"/>
                      <a:pt x="39" y="16"/>
                    </a:cubicBezTo>
                    <a:cubicBezTo>
                      <a:pt x="34" y="35"/>
                      <a:pt x="28" y="71"/>
                      <a:pt x="35" y="86"/>
                    </a:cubicBezTo>
                    <a:cubicBezTo>
                      <a:pt x="38" y="93"/>
                      <a:pt x="35" y="100"/>
                      <a:pt x="29" y="102"/>
                    </a:cubicBezTo>
                    <a:cubicBezTo>
                      <a:pt x="27" y="103"/>
                      <a:pt x="26" y="103"/>
                      <a:pt x="24" y="103"/>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58" name="Freeform 10">
                <a:extLst>
                  <a:ext uri="{FF2B5EF4-FFF2-40B4-BE49-F238E27FC236}">
                    <a16:creationId xmlns:a16="http://schemas.microsoft.com/office/drawing/2014/main" id="{5E7B3E71-C1C9-4086-87B2-92F968D06DF2}"/>
                  </a:ext>
                </a:extLst>
              </p:cNvPr>
              <p:cNvSpPr>
                <a:spLocks/>
              </p:cNvSpPr>
              <p:nvPr/>
            </p:nvSpPr>
            <p:spPr bwMode="auto">
              <a:xfrm>
                <a:off x="1722966" y="3633258"/>
                <a:ext cx="227013" cy="528638"/>
              </a:xfrm>
              <a:custGeom>
                <a:avLst/>
                <a:gdLst>
                  <a:gd name="T0" fmla="*/ 25 w 42"/>
                  <a:gd name="T1" fmla="*/ 99 h 99"/>
                  <a:gd name="T2" fmla="*/ 14 w 42"/>
                  <a:gd name="T3" fmla="*/ 92 h 99"/>
                  <a:gd name="T4" fmla="*/ 17 w 42"/>
                  <a:gd name="T5" fmla="*/ 10 h 99"/>
                  <a:gd name="T6" fmla="*/ 32 w 42"/>
                  <a:gd name="T7" fmla="*/ 2 h 99"/>
                  <a:gd name="T8" fmla="*/ 40 w 42"/>
                  <a:gd name="T9" fmla="*/ 18 h 99"/>
                  <a:gd name="T10" fmla="*/ 35 w 42"/>
                  <a:gd name="T11" fmla="*/ 82 h 99"/>
                  <a:gd name="T12" fmla="*/ 29 w 42"/>
                  <a:gd name="T13" fmla="*/ 98 h 99"/>
                  <a:gd name="T14" fmla="*/ 25 w 42"/>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99">
                    <a:moveTo>
                      <a:pt x="25" y="99"/>
                    </a:moveTo>
                    <a:cubicBezTo>
                      <a:pt x="20" y="99"/>
                      <a:pt x="16" y="97"/>
                      <a:pt x="14" y="92"/>
                    </a:cubicBezTo>
                    <a:cubicBezTo>
                      <a:pt x="0" y="63"/>
                      <a:pt x="15" y="16"/>
                      <a:pt x="17" y="10"/>
                    </a:cubicBezTo>
                    <a:cubicBezTo>
                      <a:pt x="19" y="4"/>
                      <a:pt x="26" y="0"/>
                      <a:pt x="32" y="2"/>
                    </a:cubicBezTo>
                    <a:cubicBezTo>
                      <a:pt x="38" y="4"/>
                      <a:pt x="42" y="11"/>
                      <a:pt x="40" y="18"/>
                    </a:cubicBezTo>
                    <a:cubicBezTo>
                      <a:pt x="36" y="30"/>
                      <a:pt x="28" y="65"/>
                      <a:pt x="35" y="82"/>
                    </a:cubicBezTo>
                    <a:cubicBezTo>
                      <a:pt x="38" y="88"/>
                      <a:pt x="35" y="95"/>
                      <a:pt x="29" y="98"/>
                    </a:cubicBezTo>
                    <a:cubicBezTo>
                      <a:pt x="28" y="99"/>
                      <a:pt x="26" y="99"/>
                      <a:pt x="25" y="99"/>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grpSp>
            <p:nvGrpSpPr>
              <p:cNvPr id="559" name="Group 558">
                <a:extLst>
                  <a:ext uri="{FF2B5EF4-FFF2-40B4-BE49-F238E27FC236}">
                    <a16:creationId xmlns:a16="http://schemas.microsoft.com/office/drawing/2014/main" id="{6A9667BF-0DAD-426E-99B4-B3F1F2830394}"/>
                  </a:ext>
                </a:extLst>
              </p:cNvPr>
              <p:cNvGrpSpPr/>
              <p:nvPr/>
            </p:nvGrpSpPr>
            <p:grpSpPr>
              <a:xfrm>
                <a:off x="1749954" y="1077383"/>
                <a:ext cx="1057275" cy="2817813"/>
                <a:chOff x="1749954" y="1077383"/>
                <a:chExt cx="1057275" cy="2817813"/>
              </a:xfrm>
            </p:grpSpPr>
            <p:sp>
              <p:nvSpPr>
                <p:cNvPr id="560" name="Freeform 16">
                  <a:extLst>
                    <a:ext uri="{FF2B5EF4-FFF2-40B4-BE49-F238E27FC236}">
                      <a16:creationId xmlns:a16="http://schemas.microsoft.com/office/drawing/2014/main" id="{B7A0786A-F816-42CF-8513-F7094E6B13AA}"/>
                    </a:ext>
                  </a:extLst>
                </p:cNvPr>
                <p:cNvSpPr>
                  <a:spLocks/>
                </p:cNvSpPr>
                <p:nvPr/>
              </p:nvSpPr>
              <p:spPr bwMode="auto">
                <a:xfrm>
                  <a:off x="1776941" y="2206095"/>
                  <a:ext cx="388938" cy="433388"/>
                </a:xfrm>
                <a:custGeom>
                  <a:avLst/>
                  <a:gdLst>
                    <a:gd name="T0" fmla="*/ 72 w 72"/>
                    <a:gd name="T1" fmla="*/ 73 h 81"/>
                    <a:gd name="T2" fmla="*/ 49 w 72"/>
                    <a:gd name="T3" fmla="*/ 77 h 81"/>
                    <a:gd name="T4" fmla="*/ 5 w 72"/>
                    <a:gd name="T5" fmla="*/ 47 h 81"/>
                    <a:gd name="T6" fmla="*/ 3 w 72"/>
                    <a:gd name="T7" fmla="*/ 33 h 81"/>
                    <a:gd name="T8" fmla="*/ 25 w 72"/>
                    <a:gd name="T9" fmla="*/ 0 h 81"/>
                    <a:gd name="T10" fmla="*/ 27 w 72"/>
                    <a:gd name="T11" fmla="*/ 12 h 81"/>
                    <a:gd name="T12" fmla="*/ 14 w 72"/>
                    <a:gd name="T13" fmla="*/ 31 h 81"/>
                    <a:gd name="T14" fmla="*/ 17 w 72"/>
                    <a:gd name="T15" fmla="*/ 45 h 81"/>
                    <a:gd name="T16" fmla="*/ 47 w 72"/>
                    <a:gd name="T17" fmla="*/ 65 h 81"/>
                    <a:gd name="T18" fmla="*/ 70 w 72"/>
                    <a:gd name="T19" fmla="*/ 61 h 81"/>
                    <a:gd name="T20" fmla="*/ 72 w 72"/>
                    <a:gd name="T21" fmla="*/ 7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1">
                      <a:moveTo>
                        <a:pt x="72" y="73"/>
                      </a:moveTo>
                      <a:cubicBezTo>
                        <a:pt x="49" y="77"/>
                        <a:pt x="49" y="77"/>
                        <a:pt x="49" y="77"/>
                      </a:cubicBezTo>
                      <a:cubicBezTo>
                        <a:pt x="29" y="81"/>
                        <a:pt x="9" y="68"/>
                        <a:pt x="5" y="47"/>
                      </a:cubicBezTo>
                      <a:cubicBezTo>
                        <a:pt x="3" y="33"/>
                        <a:pt x="3" y="33"/>
                        <a:pt x="3" y="33"/>
                      </a:cubicBezTo>
                      <a:cubicBezTo>
                        <a:pt x="0" y="18"/>
                        <a:pt x="10" y="3"/>
                        <a:pt x="25" y="0"/>
                      </a:cubicBezTo>
                      <a:cubicBezTo>
                        <a:pt x="27" y="12"/>
                        <a:pt x="27" y="12"/>
                        <a:pt x="27" y="12"/>
                      </a:cubicBezTo>
                      <a:cubicBezTo>
                        <a:pt x="18" y="13"/>
                        <a:pt x="12" y="22"/>
                        <a:pt x="14" y="31"/>
                      </a:cubicBezTo>
                      <a:cubicBezTo>
                        <a:pt x="17" y="45"/>
                        <a:pt x="17" y="45"/>
                        <a:pt x="17" y="45"/>
                      </a:cubicBezTo>
                      <a:cubicBezTo>
                        <a:pt x="20" y="59"/>
                        <a:pt x="33" y="68"/>
                        <a:pt x="47" y="65"/>
                      </a:cubicBezTo>
                      <a:cubicBezTo>
                        <a:pt x="70" y="61"/>
                        <a:pt x="70" y="61"/>
                        <a:pt x="70" y="61"/>
                      </a:cubicBezTo>
                      <a:lnTo>
                        <a:pt x="72" y="73"/>
                      </a:lnTo>
                      <a:close/>
                    </a:path>
                  </a:pathLst>
                </a:custGeom>
                <a:solidFill>
                  <a:srgbClr val="505050">
                    <a:lumMod val="50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61" name="Freeform 5">
                  <a:extLst>
                    <a:ext uri="{FF2B5EF4-FFF2-40B4-BE49-F238E27FC236}">
                      <a16:creationId xmlns:a16="http://schemas.microsoft.com/office/drawing/2014/main" id="{3CF928C1-7B9E-499D-A3C1-87DF26FA9FF7}"/>
                    </a:ext>
                  </a:extLst>
                </p:cNvPr>
                <p:cNvSpPr>
                  <a:spLocks/>
                </p:cNvSpPr>
                <p:nvPr/>
              </p:nvSpPr>
              <p:spPr bwMode="auto">
                <a:xfrm>
                  <a:off x="2256366" y="3499908"/>
                  <a:ext cx="339725" cy="395288"/>
                </a:xfrm>
                <a:custGeom>
                  <a:avLst/>
                  <a:gdLst>
                    <a:gd name="T0" fmla="*/ 50 w 63"/>
                    <a:gd name="T1" fmla="*/ 74 h 74"/>
                    <a:gd name="T2" fmla="*/ 49 w 63"/>
                    <a:gd name="T3" fmla="*/ 74 h 74"/>
                    <a:gd name="T4" fmla="*/ 37 w 63"/>
                    <a:gd name="T5" fmla="*/ 62 h 74"/>
                    <a:gd name="T6" fmla="*/ 11 w 63"/>
                    <a:gd name="T7" fmla="*/ 25 h 74"/>
                    <a:gd name="T8" fmla="*/ 1 w 63"/>
                    <a:gd name="T9" fmla="*/ 11 h 74"/>
                    <a:gd name="T10" fmla="*/ 14 w 63"/>
                    <a:gd name="T11" fmla="*/ 1 h 74"/>
                    <a:gd name="T12" fmla="*/ 61 w 63"/>
                    <a:gd name="T13" fmla="*/ 63 h 74"/>
                    <a:gd name="T14" fmla="*/ 50 w 63"/>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74">
                      <a:moveTo>
                        <a:pt x="50" y="74"/>
                      </a:moveTo>
                      <a:cubicBezTo>
                        <a:pt x="50" y="74"/>
                        <a:pt x="49" y="74"/>
                        <a:pt x="49" y="74"/>
                      </a:cubicBezTo>
                      <a:cubicBezTo>
                        <a:pt x="43" y="74"/>
                        <a:pt x="37" y="69"/>
                        <a:pt x="37" y="62"/>
                      </a:cubicBezTo>
                      <a:cubicBezTo>
                        <a:pt x="38" y="30"/>
                        <a:pt x="12" y="25"/>
                        <a:pt x="11" y="25"/>
                      </a:cubicBezTo>
                      <a:cubicBezTo>
                        <a:pt x="4" y="24"/>
                        <a:pt x="0" y="18"/>
                        <a:pt x="1" y="11"/>
                      </a:cubicBezTo>
                      <a:cubicBezTo>
                        <a:pt x="2" y="5"/>
                        <a:pt x="8" y="0"/>
                        <a:pt x="14" y="1"/>
                      </a:cubicBezTo>
                      <a:cubicBezTo>
                        <a:pt x="31" y="4"/>
                        <a:pt x="63" y="20"/>
                        <a:pt x="61" y="63"/>
                      </a:cubicBezTo>
                      <a:cubicBezTo>
                        <a:pt x="61" y="69"/>
                        <a:pt x="56" y="74"/>
                        <a:pt x="50" y="74"/>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62" name="Freeform 6">
                  <a:extLst>
                    <a:ext uri="{FF2B5EF4-FFF2-40B4-BE49-F238E27FC236}">
                      <a16:creationId xmlns:a16="http://schemas.microsoft.com/office/drawing/2014/main" id="{8C6474FA-3A0B-4812-A15E-6419E10EC92F}"/>
                    </a:ext>
                  </a:extLst>
                </p:cNvPr>
                <p:cNvSpPr>
                  <a:spLocks/>
                </p:cNvSpPr>
                <p:nvPr/>
              </p:nvSpPr>
              <p:spPr bwMode="auto">
                <a:xfrm>
                  <a:off x="1922991" y="2194983"/>
                  <a:ext cx="306388" cy="1144588"/>
                </a:xfrm>
                <a:custGeom>
                  <a:avLst/>
                  <a:gdLst>
                    <a:gd name="T0" fmla="*/ 0 w 57"/>
                    <a:gd name="T1" fmla="*/ 23 h 214"/>
                    <a:gd name="T2" fmla="*/ 28 w 57"/>
                    <a:gd name="T3" fmla="*/ 214 h 214"/>
                    <a:gd name="T4" fmla="*/ 57 w 57"/>
                    <a:gd name="T5" fmla="*/ 206 h 214"/>
                    <a:gd name="T6" fmla="*/ 53 w 57"/>
                    <a:gd name="T7" fmla="*/ 6 h 214"/>
                    <a:gd name="T8" fmla="*/ 40 w 57"/>
                    <a:gd name="T9" fmla="*/ 0 h 214"/>
                    <a:gd name="T10" fmla="*/ 0 w 57"/>
                    <a:gd name="T11" fmla="*/ 23 h 214"/>
                  </a:gdLst>
                  <a:ahLst/>
                  <a:cxnLst>
                    <a:cxn ang="0">
                      <a:pos x="T0" y="T1"/>
                    </a:cxn>
                    <a:cxn ang="0">
                      <a:pos x="T2" y="T3"/>
                    </a:cxn>
                    <a:cxn ang="0">
                      <a:pos x="T4" y="T5"/>
                    </a:cxn>
                    <a:cxn ang="0">
                      <a:pos x="T6" y="T7"/>
                    </a:cxn>
                    <a:cxn ang="0">
                      <a:pos x="T8" y="T9"/>
                    </a:cxn>
                    <a:cxn ang="0">
                      <a:pos x="T10" y="T11"/>
                    </a:cxn>
                  </a:cxnLst>
                  <a:rect l="0" t="0" r="r" b="b"/>
                  <a:pathLst>
                    <a:path w="57" h="214">
                      <a:moveTo>
                        <a:pt x="0" y="23"/>
                      </a:moveTo>
                      <a:cubicBezTo>
                        <a:pt x="0" y="23"/>
                        <a:pt x="3" y="166"/>
                        <a:pt x="28" y="214"/>
                      </a:cubicBezTo>
                      <a:cubicBezTo>
                        <a:pt x="57" y="206"/>
                        <a:pt x="57" y="206"/>
                        <a:pt x="57" y="206"/>
                      </a:cubicBezTo>
                      <a:cubicBezTo>
                        <a:pt x="53" y="6"/>
                        <a:pt x="53" y="6"/>
                        <a:pt x="53" y="6"/>
                      </a:cubicBezTo>
                      <a:cubicBezTo>
                        <a:pt x="40" y="0"/>
                        <a:pt x="40" y="0"/>
                        <a:pt x="40" y="0"/>
                      </a:cubicBezTo>
                      <a:lnTo>
                        <a:pt x="0" y="23"/>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63" name="Freeform 7">
                  <a:extLst>
                    <a:ext uri="{FF2B5EF4-FFF2-40B4-BE49-F238E27FC236}">
                      <a16:creationId xmlns:a16="http://schemas.microsoft.com/office/drawing/2014/main" id="{75549212-B56A-4B59-A665-129B5702B694}"/>
                    </a:ext>
                  </a:extLst>
                </p:cNvPr>
                <p:cNvSpPr>
                  <a:spLocks/>
                </p:cNvSpPr>
                <p:nvPr/>
              </p:nvSpPr>
              <p:spPr bwMode="auto">
                <a:xfrm>
                  <a:off x="1749954" y="2799820"/>
                  <a:ext cx="695325" cy="998538"/>
                </a:xfrm>
                <a:custGeom>
                  <a:avLst/>
                  <a:gdLst>
                    <a:gd name="T0" fmla="*/ 94 w 129"/>
                    <a:gd name="T1" fmla="*/ 185 h 187"/>
                    <a:gd name="T2" fmla="*/ 35 w 129"/>
                    <a:gd name="T3" fmla="*/ 186 h 187"/>
                    <a:gd name="T4" fmla="*/ 4 w 129"/>
                    <a:gd name="T5" fmla="*/ 148 h 187"/>
                    <a:gd name="T6" fmla="*/ 33 w 129"/>
                    <a:gd name="T7" fmla="*/ 25 h 187"/>
                    <a:gd name="T8" fmla="*/ 62 w 129"/>
                    <a:gd name="T9" fmla="*/ 1 h 187"/>
                    <a:gd name="T10" fmla="*/ 62 w 129"/>
                    <a:gd name="T11" fmla="*/ 1 h 187"/>
                    <a:gd name="T12" fmla="*/ 93 w 129"/>
                    <a:gd name="T13" fmla="*/ 24 h 187"/>
                    <a:gd name="T14" fmla="*/ 124 w 129"/>
                    <a:gd name="T15" fmla="*/ 146 h 187"/>
                    <a:gd name="T16" fmla="*/ 94 w 129"/>
                    <a:gd name="T17" fmla="*/ 18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87">
                      <a:moveTo>
                        <a:pt x="94" y="185"/>
                      </a:moveTo>
                      <a:cubicBezTo>
                        <a:pt x="35" y="186"/>
                        <a:pt x="35" y="186"/>
                        <a:pt x="35" y="186"/>
                      </a:cubicBezTo>
                      <a:cubicBezTo>
                        <a:pt x="15" y="187"/>
                        <a:pt x="0" y="168"/>
                        <a:pt x="4" y="148"/>
                      </a:cubicBezTo>
                      <a:cubicBezTo>
                        <a:pt x="33" y="25"/>
                        <a:pt x="33" y="25"/>
                        <a:pt x="33" y="25"/>
                      </a:cubicBezTo>
                      <a:cubicBezTo>
                        <a:pt x="36" y="11"/>
                        <a:pt x="48" y="1"/>
                        <a:pt x="62" y="1"/>
                      </a:cubicBezTo>
                      <a:cubicBezTo>
                        <a:pt x="62" y="1"/>
                        <a:pt x="62" y="1"/>
                        <a:pt x="62" y="1"/>
                      </a:cubicBezTo>
                      <a:cubicBezTo>
                        <a:pt x="77" y="0"/>
                        <a:pt x="90" y="10"/>
                        <a:pt x="93" y="24"/>
                      </a:cubicBezTo>
                      <a:cubicBezTo>
                        <a:pt x="124" y="146"/>
                        <a:pt x="124" y="146"/>
                        <a:pt x="124" y="146"/>
                      </a:cubicBezTo>
                      <a:cubicBezTo>
                        <a:pt x="129" y="166"/>
                        <a:pt x="114" y="185"/>
                        <a:pt x="94" y="185"/>
                      </a:cubicBez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64" name="Freeform 11">
                  <a:extLst>
                    <a:ext uri="{FF2B5EF4-FFF2-40B4-BE49-F238E27FC236}">
                      <a16:creationId xmlns:a16="http://schemas.microsoft.com/office/drawing/2014/main" id="{304AB426-2CA6-4AE8-9152-C30486493CD7}"/>
                    </a:ext>
                  </a:extLst>
                </p:cNvPr>
                <p:cNvSpPr>
                  <a:spLocks/>
                </p:cNvSpPr>
                <p:nvPr/>
              </p:nvSpPr>
              <p:spPr bwMode="auto">
                <a:xfrm>
                  <a:off x="1943629" y="3242733"/>
                  <a:ext cx="258763" cy="250825"/>
                </a:xfrm>
                <a:custGeom>
                  <a:avLst/>
                  <a:gdLst>
                    <a:gd name="T0" fmla="*/ 47 w 48"/>
                    <a:gd name="T1" fmla="*/ 23 h 47"/>
                    <a:gd name="T2" fmla="*/ 24 w 48"/>
                    <a:gd name="T3" fmla="*/ 47 h 47"/>
                    <a:gd name="T4" fmla="*/ 0 w 48"/>
                    <a:gd name="T5" fmla="*/ 24 h 47"/>
                    <a:gd name="T6" fmla="*/ 23 w 48"/>
                    <a:gd name="T7" fmla="*/ 0 h 47"/>
                    <a:gd name="T8" fmla="*/ 47 w 48"/>
                    <a:gd name="T9" fmla="*/ 23 h 47"/>
                  </a:gdLst>
                  <a:ahLst/>
                  <a:cxnLst>
                    <a:cxn ang="0">
                      <a:pos x="T0" y="T1"/>
                    </a:cxn>
                    <a:cxn ang="0">
                      <a:pos x="T2" y="T3"/>
                    </a:cxn>
                    <a:cxn ang="0">
                      <a:pos x="T4" y="T5"/>
                    </a:cxn>
                    <a:cxn ang="0">
                      <a:pos x="T6" y="T7"/>
                    </a:cxn>
                    <a:cxn ang="0">
                      <a:pos x="T8" y="T9"/>
                    </a:cxn>
                  </a:cxnLst>
                  <a:rect l="0" t="0" r="r" b="b"/>
                  <a:pathLst>
                    <a:path w="48" h="47">
                      <a:moveTo>
                        <a:pt x="47" y="23"/>
                      </a:moveTo>
                      <a:cubicBezTo>
                        <a:pt x="48" y="36"/>
                        <a:pt x="37" y="47"/>
                        <a:pt x="24" y="47"/>
                      </a:cubicBezTo>
                      <a:cubicBezTo>
                        <a:pt x="11" y="47"/>
                        <a:pt x="1" y="37"/>
                        <a:pt x="0" y="24"/>
                      </a:cubicBezTo>
                      <a:cubicBezTo>
                        <a:pt x="0" y="11"/>
                        <a:pt x="10" y="0"/>
                        <a:pt x="23" y="0"/>
                      </a:cubicBezTo>
                      <a:cubicBezTo>
                        <a:pt x="36" y="0"/>
                        <a:pt x="47" y="10"/>
                        <a:pt x="47" y="23"/>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65" name="Freeform 12">
                  <a:extLst>
                    <a:ext uri="{FF2B5EF4-FFF2-40B4-BE49-F238E27FC236}">
                      <a16:creationId xmlns:a16="http://schemas.microsoft.com/office/drawing/2014/main" id="{89B0DA6A-A694-46EC-AD67-2CA96E3DB720}"/>
                    </a:ext>
                  </a:extLst>
                </p:cNvPr>
                <p:cNvSpPr>
                  <a:spLocks/>
                </p:cNvSpPr>
                <p:nvPr/>
              </p:nvSpPr>
              <p:spPr bwMode="auto">
                <a:xfrm>
                  <a:off x="1970616" y="3264958"/>
                  <a:ext cx="204788" cy="203200"/>
                </a:xfrm>
                <a:custGeom>
                  <a:avLst/>
                  <a:gdLst>
                    <a:gd name="T0" fmla="*/ 38 w 38"/>
                    <a:gd name="T1" fmla="*/ 19 h 38"/>
                    <a:gd name="T2" fmla="*/ 19 w 38"/>
                    <a:gd name="T3" fmla="*/ 38 h 38"/>
                    <a:gd name="T4" fmla="*/ 0 w 38"/>
                    <a:gd name="T5" fmla="*/ 20 h 38"/>
                    <a:gd name="T6" fmla="*/ 18 w 38"/>
                    <a:gd name="T7" fmla="*/ 1 h 38"/>
                    <a:gd name="T8" fmla="*/ 38 w 38"/>
                    <a:gd name="T9" fmla="*/ 19 h 38"/>
                  </a:gdLst>
                  <a:ahLst/>
                  <a:cxnLst>
                    <a:cxn ang="0">
                      <a:pos x="T0" y="T1"/>
                    </a:cxn>
                    <a:cxn ang="0">
                      <a:pos x="T2" y="T3"/>
                    </a:cxn>
                    <a:cxn ang="0">
                      <a:pos x="T4" y="T5"/>
                    </a:cxn>
                    <a:cxn ang="0">
                      <a:pos x="T6" y="T7"/>
                    </a:cxn>
                    <a:cxn ang="0">
                      <a:pos x="T8" y="T9"/>
                    </a:cxn>
                  </a:cxnLst>
                  <a:rect l="0" t="0" r="r" b="b"/>
                  <a:pathLst>
                    <a:path w="38" h="38">
                      <a:moveTo>
                        <a:pt x="38" y="19"/>
                      </a:moveTo>
                      <a:cubicBezTo>
                        <a:pt x="38" y="29"/>
                        <a:pt x="30" y="38"/>
                        <a:pt x="19" y="38"/>
                      </a:cubicBezTo>
                      <a:cubicBezTo>
                        <a:pt x="9" y="38"/>
                        <a:pt x="0" y="30"/>
                        <a:pt x="0" y="20"/>
                      </a:cubicBezTo>
                      <a:cubicBezTo>
                        <a:pt x="0" y="9"/>
                        <a:pt x="8" y="1"/>
                        <a:pt x="18" y="1"/>
                      </a:cubicBezTo>
                      <a:cubicBezTo>
                        <a:pt x="29" y="0"/>
                        <a:pt x="37" y="9"/>
                        <a:pt x="38" y="19"/>
                      </a:cubicBezTo>
                      <a:close/>
                    </a:path>
                  </a:pathLst>
                </a:cu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66" name="Freeform 15">
                  <a:extLst>
                    <a:ext uri="{FF2B5EF4-FFF2-40B4-BE49-F238E27FC236}">
                      <a16:creationId xmlns:a16="http://schemas.microsoft.com/office/drawing/2014/main" id="{74B38DB0-5B40-4AB8-A08A-5EE512CE2DF9}"/>
                    </a:ext>
                  </a:extLst>
                </p:cNvPr>
                <p:cNvSpPr>
                  <a:spLocks/>
                </p:cNvSpPr>
                <p:nvPr/>
              </p:nvSpPr>
              <p:spPr bwMode="auto">
                <a:xfrm>
                  <a:off x="1965854" y="1151995"/>
                  <a:ext cx="706438" cy="1004888"/>
                </a:xfrm>
                <a:custGeom>
                  <a:avLst/>
                  <a:gdLst>
                    <a:gd name="T0" fmla="*/ 74 w 131"/>
                    <a:gd name="T1" fmla="*/ 0 h 188"/>
                    <a:gd name="T2" fmla="*/ 1 w 131"/>
                    <a:gd name="T3" fmla="*/ 179 h 188"/>
                    <a:gd name="T4" fmla="*/ 38 w 131"/>
                    <a:gd name="T5" fmla="*/ 188 h 188"/>
                    <a:gd name="T6" fmla="*/ 125 w 131"/>
                    <a:gd name="T7" fmla="*/ 85 h 188"/>
                    <a:gd name="T8" fmla="*/ 131 w 131"/>
                    <a:gd name="T9" fmla="*/ 2 h 188"/>
                    <a:gd name="T10" fmla="*/ 74 w 131"/>
                    <a:gd name="T11" fmla="*/ 0 h 188"/>
                  </a:gdLst>
                  <a:ahLst/>
                  <a:cxnLst>
                    <a:cxn ang="0">
                      <a:pos x="T0" y="T1"/>
                    </a:cxn>
                    <a:cxn ang="0">
                      <a:pos x="T2" y="T3"/>
                    </a:cxn>
                    <a:cxn ang="0">
                      <a:pos x="T4" y="T5"/>
                    </a:cxn>
                    <a:cxn ang="0">
                      <a:pos x="T6" y="T7"/>
                    </a:cxn>
                    <a:cxn ang="0">
                      <a:pos x="T8" y="T9"/>
                    </a:cxn>
                    <a:cxn ang="0">
                      <a:pos x="T10" y="T11"/>
                    </a:cxn>
                  </a:cxnLst>
                  <a:rect l="0" t="0" r="r" b="b"/>
                  <a:pathLst>
                    <a:path w="131" h="188">
                      <a:moveTo>
                        <a:pt x="74" y="0"/>
                      </a:moveTo>
                      <a:cubicBezTo>
                        <a:pt x="74" y="0"/>
                        <a:pt x="0" y="125"/>
                        <a:pt x="1" y="179"/>
                      </a:cubicBezTo>
                      <a:cubicBezTo>
                        <a:pt x="38" y="188"/>
                        <a:pt x="38" y="188"/>
                        <a:pt x="38" y="188"/>
                      </a:cubicBezTo>
                      <a:cubicBezTo>
                        <a:pt x="125" y="85"/>
                        <a:pt x="125" y="85"/>
                        <a:pt x="125" y="85"/>
                      </a:cubicBezTo>
                      <a:cubicBezTo>
                        <a:pt x="131" y="2"/>
                        <a:pt x="131" y="2"/>
                        <a:pt x="131" y="2"/>
                      </a:cubicBezTo>
                      <a:lnTo>
                        <a:pt x="74" y="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67" name="Freeform 17">
                  <a:extLst>
                    <a:ext uri="{FF2B5EF4-FFF2-40B4-BE49-F238E27FC236}">
                      <a16:creationId xmlns:a16="http://schemas.microsoft.com/office/drawing/2014/main" id="{28140CB9-7A8C-4034-8366-5C4846E64947}"/>
                    </a:ext>
                  </a:extLst>
                </p:cNvPr>
                <p:cNvSpPr>
                  <a:spLocks/>
                </p:cNvSpPr>
                <p:nvPr/>
              </p:nvSpPr>
              <p:spPr bwMode="auto">
                <a:xfrm>
                  <a:off x="1830916" y="1928283"/>
                  <a:ext cx="485775" cy="481013"/>
                </a:xfrm>
                <a:custGeom>
                  <a:avLst/>
                  <a:gdLst>
                    <a:gd name="T0" fmla="*/ 85 w 90"/>
                    <a:gd name="T1" fmla="*/ 37 h 90"/>
                    <a:gd name="T2" fmla="*/ 53 w 90"/>
                    <a:gd name="T3" fmla="*/ 85 h 90"/>
                    <a:gd name="T4" fmla="*/ 5 w 90"/>
                    <a:gd name="T5" fmla="*/ 53 h 90"/>
                    <a:gd name="T6" fmla="*/ 37 w 90"/>
                    <a:gd name="T7" fmla="*/ 5 h 90"/>
                    <a:gd name="T8" fmla="*/ 85 w 90"/>
                    <a:gd name="T9" fmla="*/ 37 h 90"/>
                  </a:gdLst>
                  <a:ahLst/>
                  <a:cxnLst>
                    <a:cxn ang="0">
                      <a:pos x="T0" y="T1"/>
                    </a:cxn>
                    <a:cxn ang="0">
                      <a:pos x="T2" y="T3"/>
                    </a:cxn>
                    <a:cxn ang="0">
                      <a:pos x="T4" y="T5"/>
                    </a:cxn>
                    <a:cxn ang="0">
                      <a:pos x="T6" y="T7"/>
                    </a:cxn>
                    <a:cxn ang="0">
                      <a:pos x="T8" y="T9"/>
                    </a:cxn>
                  </a:cxnLst>
                  <a:rect l="0" t="0" r="r" b="b"/>
                  <a:pathLst>
                    <a:path w="90" h="90">
                      <a:moveTo>
                        <a:pt x="85" y="37"/>
                      </a:moveTo>
                      <a:cubicBezTo>
                        <a:pt x="90" y="59"/>
                        <a:pt x="75" y="81"/>
                        <a:pt x="53" y="85"/>
                      </a:cubicBezTo>
                      <a:cubicBezTo>
                        <a:pt x="31" y="90"/>
                        <a:pt x="9" y="75"/>
                        <a:pt x="5" y="53"/>
                      </a:cubicBezTo>
                      <a:cubicBezTo>
                        <a:pt x="0" y="31"/>
                        <a:pt x="15" y="9"/>
                        <a:pt x="37" y="5"/>
                      </a:cubicBezTo>
                      <a:cubicBezTo>
                        <a:pt x="59" y="0"/>
                        <a:pt x="81" y="15"/>
                        <a:pt x="85" y="37"/>
                      </a:cubicBezTo>
                      <a:close/>
                    </a:path>
                  </a:pathLst>
                </a:custGeom>
                <a:solidFill>
                  <a:srgbClr val="FFFFFF">
                    <a:lumMod val="50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68" name="Freeform 18">
                  <a:extLst>
                    <a:ext uri="{FF2B5EF4-FFF2-40B4-BE49-F238E27FC236}">
                      <a16:creationId xmlns:a16="http://schemas.microsoft.com/office/drawing/2014/main" id="{130A5B66-174A-494B-99B1-A169C25FD88E}"/>
                    </a:ext>
                  </a:extLst>
                </p:cNvPr>
                <p:cNvSpPr>
                  <a:spLocks/>
                </p:cNvSpPr>
                <p:nvPr/>
              </p:nvSpPr>
              <p:spPr bwMode="auto">
                <a:xfrm>
                  <a:off x="1970616" y="2066395"/>
                  <a:ext cx="204788" cy="203200"/>
                </a:xfrm>
                <a:custGeom>
                  <a:avLst/>
                  <a:gdLst>
                    <a:gd name="T0" fmla="*/ 2 w 38"/>
                    <a:gd name="T1" fmla="*/ 22 h 38"/>
                    <a:gd name="T2" fmla="*/ 22 w 38"/>
                    <a:gd name="T3" fmla="*/ 36 h 38"/>
                    <a:gd name="T4" fmla="*/ 36 w 38"/>
                    <a:gd name="T5" fmla="*/ 16 h 38"/>
                    <a:gd name="T6" fmla="*/ 16 w 38"/>
                    <a:gd name="T7" fmla="*/ 2 h 38"/>
                    <a:gd name="T8" fmla="*/ 2 w 38"/>
                    <a:gd name="T9" fmla="*/ 22 h 38"/>
                  </a:gdLst>
                  <a:ahLst/>
                  <a:cxnLst>
                    <a:cxn ang="0">
                      <a:pos x="T0" y="T1"/>
                    </a:cxn>
                    <a:cxn ang="0">
                      <a:pos x="T2" y="T3"/>
                    </a:cxn>
                    <a:cxn ang="0">
                      <a:pos x="T4" y="T5"/>
                    </a:cxn>
                    <a:cxn ang="0">
                      <a:pos x="T6" y="T7"/>
                    </a:cxn>
                    <a:cxn ang="0">
                      <a:pos x="T8" y="T9"/>
                    </a:cxn>
                  </a:cxnLst>
                  <a:rect l="0" t="0" r="r" b="b"/>
                  <a:pathLst>
                    <a:path w="38" h="38">
                      <a:moveTo>
                        <a:pt x="2" y="22"/>
                      </a:moveTo>
                      <a:cubicBezTo>
                        <a:pt x="4" y="32"/>
                        <a:pt x="13" y="38"/>
                        <a:pt x="22" y="36"/>
                      </a:cubicBezTo>
                      <a:cubicBezTo>
                        <a:pt x="32" y="34"/>
                        <a:pt x="38" y="25"/>
                        <a:pt x="36" y="16"/>
                      </a:cubicBezTo>
                      <a:cubicBezTo>
                        <a:pt x="34" y="6"/>
                        <a:pt x="25" y="0"/>
                        <a:pt x="16" y="2"/>
                      </a:cubicBezTo>
                      <a:cubicBezTo>
                        <a:pt x="6" y="4"/>
                        <a:pt x="0" y="13"/>
                        <a:pt x="2" y="22"/>
                      </a:cubicBezTo>
                      <a:close/>
                    </a:path>
                  </a:pathLst>
                </a:custGeom>
                <a:solidFill>
                  <a:srgbClr val="505050"/>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grpSp>
              <p:nvGrpSpPr>
                <p:cNvPr id="569" name="Group 568">
                  <a:extLst>
                    <a:ext uri="{FF2B5EF4-FFF2-40B4-BE49-F238E27FC236}">
                      <a16:creationId xmlns:a16="http://schemas.microsoft.com/office/drawing/2014/main" id="{FB11313F-915D-4A8F-BBEC-FAA01FBBE97D}"/>
                    </a:ext>
                  </a:extLst>
                </p:cNvPr>
                <p:cNvGrpSpPr/>
                <p:nvPr/>
              </p:nvGrpSpPr>
              <p:grpSpPr>
                <a:xfrm>
                  <a:off x="2235729" y="1077383"/>
                  <a:ext cx="571500" cy="566738"/>
                  <a:chOff x="2235729" y="1077383"/>
                  <a:chExt cx="571500" cy="566738"/>
                </a:xfrm>
              </p:grpSpPr>
              <p:sp>
                <p:nvSpPr>
                  <p:cNvPr id="570" name="Oval 63">
                    <a:extLst>
                      <a:ext uri="{FF2B5EF4-FFF2-40B4-BE49-F238E27FC236}">
                        <a16:creationId xmlns:a16="http://schemas.microsoft.com/office/drawing/2014/main" id="{4E0A785D-02B9-4C65-AC23-92D9979C593C}"/>
                      </a:ext>
                    </a:extLst>
                  </p:cNvPr>
                  <p:cNvSpPr>
                    <a:spLocks noChangeArrowheads="1"/>
                  </p:cNvSpPr>
                  <p:nvPr/>
                </p:nvSpPr>
                <p:spPr bwMode="auto">
                  <a:xfrm>
                    <a:off x="2235729" y="1077383"/>
                    <a:ext cx="571500" cy="566738"/>
                  </a:xfrm>
                  <a:prstGeom prst="ellipse">
                    <a:avLst/>
                  </a:prstGeom>
                  <a:solidFill>
                    <a:srgbClr val="505050"/>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71" name="Oval 64">
                    <a:extLst>
                      <a:ext uri="{FF2B5EF4-FFF2-40B4-BE49-F238E27FC236}">
                        <a16:creationId xmlns:a16="http://schemas.microsoft.com/office/drawing/2014/main" id="{DA9B42F9-1709-47AC-B2F2-FED90F0C4C23}"/>
                      </a:ext>
                    </a:extLst>
                  </p:cNvPr>
                  <p:cNvSpPr>
                    <a:spLocks noChangeArrowheads="1"/>
                  </p:cNvSpPr>
                  <p:nvPr/>
                </p:nvSpPr>
                <p:spPr bwMode="auto">
                  <a:xfrm>
                    <a:off x="2289704" y="1126595"/>
                    <a:ext cx="463550" cy="4651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72" name="Oval 65">
                    <a:extLst>
                      <a:ext uri="{FF2B5EF4-FFF2-40B4-BE49-F238E27FC236}">
                        <a16:creationId xmlns:a16="http://schemas.microsoft.com/office/drawing/2014/main" id="{8B67BB26-05CD-4914-9743-5B58C8CC6304}"/>
                      </a:ext>
                    </a:extLst>
                  </p:cNvPr>
                  <p:cNvSpPr>
                    <a:spLocks noChangeArrowheads="1"/>
                  </p:cNvSpPr>
                  <p:nvPr/>
                </p:nvSpPr>
                <p:spPr bwMode="auto">
                  <a:xfrm>
                    <a:off x="2332566" y="1174220"/>
                    <a:ext cx="376238" cy="374650"/>
                  </a:xfrm>
                  <a:prstGeom prst="ellipse">
                    <a:avLst/>
                  </a:pr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grpSp>
        <p:sp>
          <p:nvSpPr>
            <p:cNvPr id="500" name="Line 84">
              <a:extLst>
                <a:ext uri="{FF2B5EF4-FFF2-40B4-BE49-F238E27FC236}">
                  <a16:creationId xmlns:a16="http://schemas.microsoft.com/office/drawing/2014/main" id="{95925BA8-9C8F-4812-8163-D77FAABC72F7}"/>
                </a:ext>
              </a:extLst>
            </p:cNvPr>
            <p:cNvSpPr>
              <a:spLocks noChangeShapeType="1"/>
            </p:cNvSpPr>
            <p:nvPr/>
          </p:nvSpPr>
          <p:spPr bwMode="auto">
            <a:xfrm>
              <a:off x="3388254" y="1483783"/>
              <a:ext cx="350838" cy="0"/>
            </a:xfrm>
            <a:prstGeom prst="line">
              <a:avLst/>
            </a:prstGeom>
            <a:noFill/>
            <a:ln w="650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01" name="Line 85">
              <a:extLst>
                <a:ext uri="{FF2B5EF4-FFF2-40B4-BE49-F238E27FC236}">
                  <a16:creationId xmlns:a16="http://schemas.microsoft.com/office/drawing/2014/main" id="{E5F2C4EA-71F3-49AC-BF35-38A2DCF676C9}"/>
                </a:ext>
              </a:extLst>
            </p:cNvPr>
            <p:cNvSpPr>
              <a:spLocks noChangeShapeType="1"/>
            </p:cNvSpPr>
            <p:nvPr/>
          </p:nvSpPr>
          <p:spPr bwMode="auto">
            <a:xfrm>
              <a:off x="3313642" y="1644120"/>
              <a:ext cx="495300" cy="0"/>
            </a:xfrm>
            <a:prstGeom prst="line">
              <a:avLst/>
            </a:prstGeom>
            <a:noFill/>
            <a:ln w="650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02" name="Line 86">
              <a:extLst>
                <a:ext uri="{FF2B5EF4-FFF2-40B4-BE49-F238E27FC236}">
                  <a16:creationId xmlns:a16="http://schemas.microsoft.com/office/drawing/2014/main" id="{B5EDD1E1-4C21-4717-8B01-4A4BDCAA9D27}"/>
                </a:ext>
              </a:extLst>
            </p:cNvPr>
            <p:cNvSpPr>
              <a:spLocks noChangeShapeType="1"/>
            </p:cNvSpPr>
            <p:nvPr/>
          </p:nvSpPr>
          <p:spPr bwMode="auto">
            <a:xfrm>
              <a:off x="3388254" y="1799695"/>
              <a:ext cx="350838" cy="0"/>
            </a:xfrm>
            <a:prstGeom prst="line">
              <a:avLst/>
            </a:prstGeom>
            <a:noFill/>
            <a:ln w="650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nvGrpSpPr>
            <p:cNvPr id="503" name="Group 502">
              <a:extLst>
                <a:ext uri="{FF2B5EF4-FFF2-40B4-BE49-F238E27FC236}">
                  <a16:creationId xmlns:a16="http://schemas.microsoft.com/office/drawing/2014/main" id="{56189674-319E-487B-B560-8A24034337EF}"/>
                </a:ext>
              </a:extLst>
            </p:cNvPr>
            <p:cNvGrpSpPr/>
            <p:nvPr/>
          </p:nvGrpSpPr>
          <p:grpSpPr>
            <a:xfrm>
              <a:off x="4166446" y="1077383"/>
              <a:ext cx="1084263" cy="3084513"/>
              <a:chOff x="4166446" y="1077383"/>
              <a:chExt cx="1084263" cy="3084513"/>
            </a:xfrm>
          </p:grpSpPr>
          <p:sp>
            <p:nvSpPr>
              <p:cNvPr id="540" name="Freeform 16">
                <a:extLst>
                  <a:ext uri="{FF2B5EF4-FFF2-40B4-BE49-F238E27FC236}">
                    <a16:creationId xmlns:a16="http://schemas.microsoft.com/office/drawing/2014/main" id="{43533D79-3A73-4309-8C7B-319A633B93FE}"/>
                  </a:ext>
                </a:extLst>
              </p:cNvPr>
              <p:cNvSpPr>
                <a:spLocks/>
              </p:cNvSpPr>
              <p:nvPr/>
            </p:nvSpPr>
            <p:spPr bwMode="auto">
              <a:xfrm flipH="1">
                <a:off x="4807796" y="2206095"/>
                <a:ext cx="388938" cy="433388"/>
              </a:xfrm>
              <a:custGeom>
                <a:avLst/>
                <a:gdLst>
                  <a:gd name="T0" fmla="*/ 72 w 72"/>
                  <a:gd name="T1" fmla="*/ 73 h 81"/>
                  <a:gd name="T2" fmla="*/ 49 w 72"/>
                  <a:gd name="T3" fmla="*/ 77 h 81"/>
                  <a:gd name="T4" fmla="*/ 5 w 72"/>
                  <a:gd name="T5" fmla="*/ 47 h 81"/>
                  <a:gd name="T6" fmla="*/ 3 w 72"/>
                  <a:gd name="T7" fmla="*/ 33 h 81"/>
                  <a:gd name="T8" fmla="*/ 25 w 72"/>
                  <a:gd name="T9" fmla="*/ 0 h 81"/>
                  <a:gd name="T10" fmla="*/ 27 w 72"/>
                  <a:gd name="T11" fmla="*/ 12 h 81"/>
                  <a:gd name="T12" fmla="*/ 14 w 72"/>
                  <a:gd name="T13" fmla="*/ 31 h 81"/>
                  <a:gd name="T14" fmla="*/ 17 w 72"/>
                  <a:gd name="T15" fmla="*/ 45 h 81"/>
                  <a:gd name="T16" fmla="*/ 47 w 72"/>
                  <a:gd name="T17" fmla="*/ 65 h 81"/>
                  <a:gd name="T18" fmla="*/ 70 w 72"/>
                  <a:gd name="T19" fmla="*/ 61 h 81"/>
                  <a:gd name="T20" fmla="*/ 72 w 72"/>
                  <a:gd name="T21" fmla="*/ 7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1">
                    <a:moveTo>
                      <a:pt x="72" y="73"/>
                    </a:moveTo>
                    <a:cubicBezTo>
                      <a:pt x="49" y="77"/>
                      <a:pt x="49" y="77"/>
                      <a:pt x="49" y="77"/>
                    </a:cubicBezTo>
                    <a:cubicBezTo>
                      <a:pt x="29" y="81"/>
                      <a:pt x="9" y="68"/>
                      <a:pt x="5" y="47"/>
                    </a:cubicBezTo>
                    <a:cubicBezTo>
                      <a:pt x="3" y="33"/>
                      <a:pt x="3" y="33"/>
                      <a:pt x="3" y="33"/>
                    </a:cubicBezTo>
                    <a:cubicBezTo>
                      <a:pt x="0" y="18"/>
                      <a:pt x="10" y="3"/>
                      <a:pt x="25" y="0"/>
                    </a:cubicBezTo>
                    <a:cubicBezTo>
                      <a:pt x="27" y="12"/>
                      <a:pt x="27" y="12"/>
                      <a:pt x="27" y="12"/>
                    </a:cubicBezTo>
                    <a:cubicBezTo>
                      <a:pt x="18" y="13"/>
                      <a:pt x="12" y="22"/>
                      <a:pt x="14" y="31"/>
                    </a:cubicBezTo>
                    <a:cubicBezTo>
                      <a:pt x="17" y="45"/>
                      <a:pt x="17" y="45"/>
                      <a:pt x="17" y="45"/>
                    </a:cubicBezTo>
                    <a:cubicBezTo>
                      <a:pt x="20" y="59"/>
                      <a:pt x="33" y="68"/>
                      <a:pt x="47" y="65"/>
                    </a:cubicBezTo>
                    <a:cubicBezTo>
                      <a:pt x="70" y="61"/>
                      <a:pt x="70" y="61"/>
                      <a:pt x="70" y="61"/>
                    </a:cubicBezTo>
                    <a:lnTo>
                      <a:pt x="72" y="73"/>
                    </a:lnTo>
                    <a:close/>
                  </a:path>
                </a:pathLst>
              </a:custGeom>
              <a:solidFill>
                <a:srgbClr val="505050">
                  <a:lumMod val="50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1" name="Freeform 5">
                <a:extLst>
                  <a:ext uri="{FF2B5EF4-FFF2-40B4-BE49-F238E27FC236}">
                    <a16:creationId xmlns:a16="http://schemas.microsoft.com/office/drawing/2014/main" id="{E226FAF2-A708-496C-B579-CAE1D8BC390A}"/>
                  </a:ext>
                </a:extLst>
              </p:cNvPr>
              <p:cNvSpPr>
                <a:spLocks/>
              </p:cNvSpPr>
              <p:nvPr/>
            </p:nvSpPr>
            <p:spPr bwMode="auto">
              <a:xfrm flipH="1">
                <a:off x="4377584" y="3499908"/>
                <a:ext cx="339725" cy="395288"/>
              </a:xfrm>
              <a:custGeom>
                <a:avLst/>
                <a:gdLst>
                  <a:gd name="T0" fmla="*/ 50 w 63"/>
                  <a:gd name="T1" fmla="*/ 74 h 74"/>
                  <a:gd name="T2" fmla="*/ 49 w 63"/>
                  <a:gd name="T3" fmla="*/ 74 h 74"/>
                  <a:gd name="T4" fmla="*/ 37 w 63"/>
                  <a:gd name="T5" fmla="*/ 62 h 74"/>
                  <a:gd name="T6" fmla="*/ 11 w 63"/>
                  <a:gd name="T7" fmla="*/ 25 h 74"/>
                  <a:gd name="T8" fmla="*/ 1 w 63"/>
                  <a:gd name="T9" fmla="*/ 11 h 74"/>
                  <a:gd name="T10" fmla="*/ 14 w 63"/>
                  <a:gd name="T11" fmla="*/ 1 h 74"/>
                  <a:gd name="T12" fmla="*/ 61 w 63"/>
                  <a:gd name="T13" fmla="*/ 63 h 74"/>
                  <a:gd name="T14" fmla="*/ 50 w 63"/>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74">
                    <a:moveTo>
                      <a:pt x="50" y="74"/>
                    </a:moveTo>
                    <a:cubicBezTo>
                      <a:pt x="50" y="74"/>
                      <a:pt x="49" y="74"/>
                      <a:pt x="49" y="74"/>
                    </a:cubicBezTo>
                    <a:cubicBezTo>
                      <a:pt x="43" y="74"/>
                      <a:pt x="37" y="69"/>
                      <a:pt x="37" y="62"/>
                    </a:cubicBezTo>
                    <a:cubicBezTo>
                      <a:pt x="38" y="30"/>
                      <a:pt x="12" y="25"/>
                      <a:pt x="11" y="25"/>
                    </a:cubicBezTo>
                    <a:cubicBezTo>
                      <a:pt x="4" y="24"/>
                      <a:pt x="0" y="18"/>
                      <a:pt x="1" y="11"/>
                    </a:cubicBezTo>
                    <a:cubicBezTo>
                      <a:pt x="2" y="5"/>
                      <a:pt x="8" y="0"/>
                      <a:pt x="14" y="1"/>
                    </a:cubicBezTo>
                    <a:cubicBezTo>
                      <a:pt x="31" y="4"/>
                      <a:pt x="63" y="20"/>
                      <a:pt x="61" y="63"/>
                    </a:cubicBezTo>
                    <a:cubicBezTo>
                      <a:pt x="61" y="69"/>
                      <a:pt x="56" y="74"/>
                      <a:pt x="50" y="74"/>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2" name="Freeform 6">
                <a:extLst>
                  <a:ext uri="{FF2B5EF4-FFF2-40B4-BE49-F238E27FC236}">
                    <a16:creationId xmlns:a16="http://schemas.microsoft.com/office/drawing/2014/main" id="{50516705-0A88-47C7-8A62-0878B745AF86}"/>
                  </a:ext>
                </a:extLst>
              </p:cNvPr>
              <p:cNvSpPr>
                <a:spLocks/>
              </p:cNvSpPr>
              <p:nvPr/>
            </p:nvSpPr>
            <p:spPr bwMode="auto">
              <a:xfrm flipH="1">
                <a:off x="4744296" y="2194983"/>
                <a:ext cx="306388" cy="1144588"/>
              </a:xfrm>
              <a:custGeom>
                <a:avLst/>
                <a:gdLst>
                  <a:gd name="T0" fmla="*/ 0 w 57"/>
                  <a:gd name="T1" fmla="*/ 23 h 214"/>
                  <a:gd name="T2" fmla="*/ 28 w 57"/>
                  <a:gd name="T3" fmla="*/ 214 h 214"/>
                  <a:gd name="T4" fmla="*/ 57 w 57"/>
                  <a:gd name="T5" fmla="*/ 206 h 214"/>
                  <a:gd name="T6" fmla="*/ 53 w 57"/>
                  <a:gd name="T7" fmla="*/ 6 h 214"/>
                  <a:gd name="T8" fmla="*/ 40 w 57"/>
                  <a:gd name="T9" fmla="*/ 0 h 214"/>
                  <a:gd name="T10" fmla="*/ 0 w 57"/>
                  <a:gd name="T11" fmla="*/ 23 h 214"/>
                </a:gdLst>
                <a:ahLst/>
                <a:cxnLst>
                  <a:cxn ang="0">
                    <a:pos x="T0" y="T1"/>
                  </a:cxn>
                  <a:cxn ang="0">
                    <a:pos x="T2" y="T3"/>
                  </a:cxn>
                  <a:cxn ang="0">
                    <a:pos x="T4" y="T5"/>
                  </a:cxn>
                  <a:cxn ang="0">
                    <a:pos x="T6" y="T7"/>
                  </a:cxn>
                  <a:cxn ang="0">
                    <a:pos x="T8" y="T9"/>
                  </a:cxn>
                  <a:cxn ang="0">
                    <a:pos x="T10" y="T11"/>
                  </a:cxn>
                </a:cxnLst>
                <a:rect l="0" t="0" r="r" b="b"/>
                <a:pathLst>
                  <a:path w="57" h="214">
                    <a:moveTo>
                      <a:pt x="0" y="23"/>
                    </a:moveTo>
                    <a:cubicBezTo>
                      <a:pt x="0" y="23"/>
                      <a:pt x="3" y="166"/>
                      <a:pt x="28" y="214"/>
                    </a:cubicBezTo>
                    <a:cubicBezTo>
                      <a:pt x="57" y="206"/>
                      <a:pt x="57" y="206"/>
                      <a:pt x="57" y="206"/>
                    </a:cubicBezTo>
                    <a:cubicBezTo>
                      <a:pt x="53" y="6"/>
                      <a:pt x="53" y="6"/>
                      <a:pt x="53" y="6"/>
                    </a:cubicBezTo>
                    <a:cubicBezTo>
                      <a:pt x="40" y="0"/>
                      <a:pt x="40" y="0"/>
                      <a:pt x="40" y="0"/>
                    </a:cubicBezTo>
                    <a:lnTo>
                      <a:pt x="0" y="23"/>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43" name="Freeform 7">
                <a:extLst>
                  <a:ext uri="{FF2B5EF4-FFF2-40B4-BE49-F238E27FC236}">
                    <a16:creationId xmlns:a16="http://schemas.microsoft.com/office/drawing/2014/main" id="{CABC8763-D118-4A28-9B39-045FB44DC8AF}"/>
                  </a:ext>
                </a:extLst>
              </p:cNvPr>
              <p:cNvSpPr>
                <a:spLocks/>
              </p:cNvSpPr>
              <p:nvPr/>
            </p:nvSpPr>
            <p:spPr bwMode="auto">
              <a:xfrm flipH="1">
                <a:off x="4528396" y="2799820"/>
                <a:ext cx="695325" cy="998538"/>
              </a:xfrm>
              <a:custGeom>
                <a:avLst/>
                <a:gdLst>
                  <a:gd name="T0" fmla="*/ 94 w 129"/>
                  <a:gd name="T1" fmla="*/ 185 h 187"/>
                  <a:gd name="T2" fmla="*/ 35 w 129"/>
                  <a:gd name="T3" fmla="*/ 186 h 187"/>
                  <a:gd name="T4" fmla="*/ 4 w 129"/>
                  <a:gd name="T5" fmla="*/ 148 h 187"/>
                  <a:gd name="T6" fmla="*/ 33 w 129"/>
                  <a:gd name="T7" fmla="*/ 25 h 187"/>
                  <a:gd name="T8" fmla="*/ 62 w 129"/>
                  <a:gd name="T9" fmla="*/ 1 h 187"/>
                  <a:gd name="T10" fmla="*/ 62 w 129"/>
                  <a:gd name="T11" fmla="*/ 1 h 187"/>
                  <a:gd name="T12" fmla="*/ 93 w 129"/>
                  <a:gd name="T13" fmla="*/ 24 h 187"/>
                  <a:gd name="T14" fmla="*/ 124 w 129"/>
                  <a:gd name="T15" fmla="*/ 146 h 187"/>
                  <a:gd name="T16" fmla="*/ 94 w 129"/>
                  <a:gd name="T17" fmla="*/ 18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87">
                    <a:moveTo>
                      <a:pt x="94" y="185"/>
                    </a:moveTo>
                    <a:cubicBezTo>
                      <a:pt x="35" y="186"/>
                      <a:pt x="35" y="186"/>
                      <a:pt x="35" y="186"/>
                    </a:cubicBezTo>
                    <a:cubicBezTo>
                      <a:pt x="15" y="187"/>
                      <a:pt x="0" y="168"/>
                      <a:pt x="4" y="148"/>
                    </a:cubicBezTo>
                    <a:cubicBezTo>
                      <a:pt x="33" y="25"/>
                      <a:pt x="33" y="25"/>
                      <a:pt x="33" y="25"/>
                    </a:cubicBezTo>
                    <a:cubicBezTo>
                      <a:pt x="36" y="11"/>
                      <a:pt x="48" y="1"/>
                      <a:pt x="62" y="1"/>
                    </a:cubicBezTo>
                    <a:cubicBezTo>
                      <a:pt x="62" y="1"/>
                      <a:pt x="62" y="1"/>
                      <a:pt x="62" y="1"/>
                    </a:cubicBezTo>
                    <a:cubicBezTo>
                      <a:pt x="77" y="0"/>
                      <a:pt x="90" y="10"/>
                      <a:pt x="93" y="24"/>
                    </a:cubicBezTo>
                    <a:cubicBezTo>
                      <a:pt x="124" y="146"/>
                      <a:pt x="124" y="146"/>
                      <a:pt x="124" y="146"/>
                    </a:cubicBezTo>
                    <a:cubicBezTo>
                      <a:pt x="129" y="166"/>
                      <a:pt x="114" y="185"/>
                      <a:pt x="94" y="185"/>
                    </a:cubicBez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44" name="Freeform 8">
                <a:extLst>
                  <a:ext uri="{FF2B5EF4-FFF2-40B4-BE49-F238E27FC236}">
                    <a16:creationId xmlns:a16="http://schemas.microsoft.com/office/drawing/2014/main" id="{E460851E-CBB1-4232-96CD-0E09686AB5F1}"/>
                  </a:ext>
                </a:extLst>
              </p:cNvPr>
              <p:cNvSpPr>
                <a:spLocks/>
              </p:cNvSpPr>
              <p:nvPr/>
            </p:nvSpPr>
            <p:spPr bwMode="auto">
              <a:xfrm flipH="1">
                <a:off x="4663333" y="3617383"/>
                <a:ext cx="204788" cy="539750"/>
              </a:xfrm>
              <a:custGeom>
                <a:avLst/>
                <a:gdLst>
                  <a:gd name="T0" fmla="*/ 24 w 38"/>
                  <a:gd name="T1" fmla="*/ 101 h 101"/>
                  <a:gd name="T2" fmla="*/ 13 w 38"/>
                  <a:gd name="T3" fmla="*/ 94 h 101"/>
                  <a:gd name="T4" fmla="*/ 13 w 38"/>
                  <a:gd name="T5" fmla="*/ 10 h 101"/>
                  <a:gd name="T6" fmla="*/ 28 w 38"/>
                  <a:gd name="T7" fmla="*/ 1 h 101"/>
                  <a:gd name="T8" fmla="*/ 37 w 38"/>
                  <a:gd name="T9" fmla="*/ 16 h 101"/>
                  <a:gd name="T10" fmla="*/ 35 w 38"/>
                  <a:gd name="T11" fmla="*/ 84 h 101"/>
                  <a:gd name="T12" fmla="*/ 29 w 38"/>
                  <a:gd name="T13" fmla="*/ 100 h 101"/>
                  <a:gd name="T14" fmla="*/ 24 w 38"/>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01">
                    <a:moveTo>
                      <a:pt x="24" y="101"/>
                    </a:moveTo>
                    <a:cubicBezTo>
                      <a:pt x="20" y="101"/>
                      <a:pt x="15" y="98"/>
                      <a:pt x="13" y="94"/>
                    </a:cubicBezTo>
                    <a:cubicBezTo>
                      <a:pt x="0" y="65"/>
                      <a:pt x="12" y="15"/>
                      <a:pt x="13" y="10"/>
                    </a:cubicBezTo>
                    <a:cubicBezTo>
                      <a:pt x="15" y="3"/>
                      <a:pt x="22" y="0"/>
                      <a:pt x="28" y="1"/>
                    </a:cubicBezTo>
                    <a:cubicBezTo>
                      <a:pt x="34" y="3"/>
                      <a:pt x="38" y="9"/>
                      <a:pt x="37" y="16"/>
                    </a:cubicBezTo>
                    <a:cubicBezTo>
                      <a:pt x="34" y="29"/>
                      <a:pt x="27" y="66"/>
                      <a:pt x="35" y="84"/>
                    </a:cubicBezTo>
                    <a:cubicBezTo>
                      <a:pt x="38" y="90"/>
                      <a:pt x="35" y="97"/>
                      <a:pt x="29" y="100"/>
                    </a:cubicBezTo>
                    <a:cubicBezTo>
                      <a:pt x="28" y="100"/>
                      <a:pt x="26" y="101"/>
                      <a:pt x="24" y="101"/>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5" name="Freeform 9">
                <a:extLst>
                  <a:ext uri="{FF2B5EF4-FFF2-40B4-BE49-F238E27FC236}">
                    <a16:creationId xmlns:a16="http://schemas.microsoft.com/office/drawing/2014/main" id="{742E4674-6B0E-4F9C-AE08-17D14D8405EA}"/>
                  </a:ext>
                </a:extLst>
              </p:cNvPr>
              <p:cNvSpPr>
                <a:spLocks/>
              </p:cNvSpPr>
              <p:nvPr/>
            </p:nvSpPr>
            <p:spPr bwMode="auto">
              <a:xfrm flipH="1">
                <a:off x="4834784" y="3606270"/>
                <a:ext cx="222250" cy="555625"/>
              </a:xfrm>
              <a:custGeom>
                <a:avLst/>
                <a:gdLst>
                  <a:gd name="T0" fmla="*/ 24 w 41"/>
                  <a:gd name="T1" fmla="*/ 103 h 104"/>
                  <a:gd name="T2" fmla="*/ 13 w 41"/>
                  <a:gd name="T3" fmla="*/ 96 h 104"/>
                  <a:gd name="T4" fmla="*/ 16 w 41"/>
                  <a:gd name="T5" fmla="*/ 10 h 104"/>
                  <a:gd name="T6" fmla="*/ 31 w 41"/>
                  <a:gd name="T7" fmla="*/ 1 h 104"/>
                  <a:gd name="T8" fmla="*/ 39 w 41"/>
                  <a:gd name="T9" fmla="*/ 16 h 104"/>
                  <a:gd name="T10" fmla="*/ 35 w 41"/>
                  <a:gd name="T11" fmla="*/ 86 h 104"/>
                  <a:gd name="T12" fmla="*/ 29 w 41"/>
                  <a:gd name="T13" fmla="*/ 102 h 104"/>
                  <a:gd name="T14" fmla="*/ 24 w 41"/>
                  <a:gd name="T15" fmla="*/ 103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04">
                    <a:moveTo>
                      <a:pt x="24" y="103"/>
                    </a:moveTo>
                    <a:cubicBezTo>
                      <a:pt x="19" y="104"/>
                      <a:pt x="15" y="101"/>
                      <a:pt x="13" y="96"/>
                    </a:cubicBezTo>
                    <a:cubicBezTo>
                      <a:pt x="0" y="67"/>
                      <a:pt x="14" y="15"/>
                      <a:pt x="16" y="10"/>
                    </a:cubicBezTo>
                    <a:cubicBezTo>
                      <a:pt x="18" y="3"/>
                      <a:pt x="24" y="0"/>
                      <a:pt x="31" y="1"/>
                    </a:cubicBezTo>
                    <a:cubicBezTo>
                      <a:pt x="37" y="3"/>
                      <a:pt x="41" y="10"/>
                      <a:pt x="39" y="16"/>
                    </a:cubicBezTo>
                    <a:cubicBezTo>
                      <a:pt x="34" y="35"/>
                      <a:pt x="28" y="71"/>
                      <a:pt x="35" y="86"/>
                    </a:cubicBezTo>
                    <a:cubicBezTo>
                      <a:pt x="38" y="93"/>
                      <a:pt x="35" y="100"/>
                      <a:pt x="29" y="102"/>
                    </a:cubicBezTo>
                    <a:cubicBezTo>
                      <a:pt x="27" y="103"/>
                      <a:pt x="26" y="103"/>
                      <a:pt x="24" y="103"/>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6" name="Freeform 10">
                <a:extLst>
                  <a:ext uri="{FF2B5EF4-FFF2-40B4-BE49-F238E27FC236}">
                    <a16:creationId xmlns:a16="http://schemas.microsoft.com/office/drawing/2014/main" id="{E730A4F0-5867-421E-BA18-64DA7445E9BA}"/>
                  </a:ext>
                </a:extLst>
              </p:cNvPr>
              <p:cNvSpPr>
                <a:spLocks/>
              </p:cNvSpPr>
              <p:nvPr/>
            </p:nvSpPr>
            <p:spPr bwMode="auto">
              <a:xfrm flipH="1">
                <a:off x="5023696" y="3633258"/>
                <a:ext cx="227013" cy="528638"/>
              </a:xfrm>
              <a:custGeom>
                <a:avLst/>
                <a:gdLst>
                  <a:gd name="T0" fmla="*/ 25 w 42"/>
                  <a:gd name="T1" fmla="*/ 99 h 99"/>
                  <a:gd name="T2" fmla="*/ 14 w 42"/>
                  <a:gd name="T3" fmla="*/ 92 h 99"/>
                  <a:gd name="T4" fmla="*/ 17 w 42"/>
                  <a:gd name="T5" fmla="*/ 10 h 99"/>
                  <a:gd name="T6" fmla="*/ 32 w 42"/>
                  <a:gd name="T7" fmla="*/ 2 h 99"/>
                  <a:gd name="T8" fmla="*/ 40 w 42"/>
                  <a:gd name="T9" fmla="*/ 18 h 99"/>
                  <a:gd name="T10" fmla="*/ 35 w 42"/>
                  <a:gd name="T11" fmla="*/ 82 h 99"/>
                  <a:gd name="T12" fmla="*/ 29 w 42"/>
                  <a:gd name="T13" fmla="*/ 98 h 99"/>
                  <a:gd name="T14" fmla="*/ 25 w 42"/>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99">
                    <a:moveTo>
                      <a:pt x="25" y="99"/>
                    </a:moveTo>
                    <a:cubicBezTo>
                      <a:pt x="20" y="99"/>
                      <a:pt x="16" y="97"/>
                      <a:pt x="14" y="92"/>
                    </a:cubicBezTo>
                    <a:cubicBezTo>
                      <a:pt x="0" y="63"/>
                      <a:pt x="15" y="16"/>
                      <a:pt x="17" y="10"/>
                    </a:cubicBezTo>
                    <a:cubicBezTo>
                      <a:pt x="19" y="4"/>
                      <a:pt x="26" y="0"/>
                      <a:pt x="32" y="2"/>
                    </a:cubicBezTo>
                    <a:cubicBezTo>
                      <a:pt x="38" y="4"/>
                      <a:pt x="42" y="11"/>
                      <a:pt x="40" y="18"/>
                    </a:cubicBezTo>
                    <a:cubicBezTo>
                      <a:pt x="36" y="30"/>
                      <a:pt x="28" y="65"/>
                      <a:pt x="35" y="82"/>
                    </a:cubicBezTo>
                    <a:cubicBezTo>
                      <a:pt x="38" y="88"/>
                      <a:pt x="35" y="95"/>
                      <a:pt x="29" y="98"/>
                    </a:cubicBezTo>
                    <a:cubicBezTo>
                      <a:pt x="28" y="99"/>
                      <a:pt x="26" y="99"/>
                      <a:pt x="25" y="99"/>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7" name="Freeform 11">
                <a:extLst>
                  <a:ext uri="{FF2B5EF4-FFF2-40B4-BE49-F238E27FC236}">
                    <a16:creationId xmlns:a16="http://schemas.microsoft.com/office/drawing/2014/main" id="{AE25FB6E-737F-4D5B-8835-534F1E406128}"/>
                  </a:ext>
                </a:extLst>
              </p:cNvPr>
              <p:cNvSpPr>
                <a:spLocks/>
              </p:cNvSpPr>
              <p:nvPr/>
            </p:nvSpPr>
            <p:spPr bwMode="auto">
              <a:xfrm flipH="1">
                <a:off x="4771283" y="3242733"/>
                <a:ext cx="258763" cy="250825"/>
              </a:xfrm>
              <a:custGeom>
                <a:avLst/>
                <a:gdLst>
                  <a:gd name="T0" fmla="*/ 47 w 48"/>
                  <a:gd name="T1" fmla="*/ 23 h 47"/>
                  <a:gd name="T2" fmla="*/ 24 w 48"/>
                  <a:gd name="T3" fmla="*/ 47 h 47"/>
                  <a:gd name="T4" fmla="*/ 0 w 48"/>
                  <a:gd name="T5" fmla="*/ 24 h 47"/>
                  <a:gd name="T6" fmla="*/ 23 w 48"/>
                  <a:gd name="T7" fmla="*/ 0 h 47"/>
                  <a:gd name="T8" fmla="*/ 47 w 48"/>
                  <a:gd name="T9" fmla="*/ 23 h 47"/>
                </a:gdLst>
                <a:ahLst/>
                <a:cxnLst>
                  <a:cxn ang="0">
                    <a:pos x="T0" y="T1"/>
                  </a:cxn>
                  <a:cxn ang="0">
                    <a:pos x="T2" y="T3"/>
                  </a:cxn>
                  <a:cxn ang="0">
                    <a:pos x="T4" y="T5"/>
                  </a:cxn>
                  <a:cxn ang="0">
                    <a:pos x="T6" y="T7"/>
                  </a:cxn>
                  <a:cxn ang="0">
                    <a:pos x="T8" y="T9"/>
                  </a:cxn>
                </a:cxnLst>
                <a:rect l="0" t="0" r="r" b="b"/>
                <a:pathLst>
                  <a:path w="48" h="47">
                    <a:moveTo>
                      <a:pt x="47" y="23"/>
                    </a:moveTo>
                    <a:cubicBezTo>
                      <a:pt x="48" y="36"/>
                      <a:pt x="37" y="47"/>
                      <a:pt x="24" y="47"/>
                    </a:cubicBezTo>
                    <a:cubicBezTo>
                      <a:pt x="11" y="47"/>
                      <a:pt x="1" y="37"/>
                      <a:pt x="0" y="24"/>
                    </a:cubicBezTo>
                    <a:cubicBezTo>
                      <a:pt x="0" y="11"/>
                      <a:pt x="10" y="0"/>
                      <a:pt x="23" y="0"/>
                    </a:cubicBezTo>
                    <a:cubicBezTo>
                      <a:pt x="36" y="0"/>
                      <a:pt x="47" y="10"/>
                      <a:pt x="47" y="23"/>
                    </a:cubicBezTo>
                    <a:close/>
                  </a:path>
                </a:pathLst>
              </a:custGeom>
              <a:solidFill>
                <a:srgbClr val="FFFFFF">
                  <a:lumMod val="65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48" name="Freeform 12">
                <a:extLst>
                  <a:ext uri="{FF2B5EF4-FFF2-40B4-BE49-F238E27FC236}">
                    <a16:creationId xmlns:a16="http://schemas.microsoft.com/office/drawing/2014/main" id="{E0F73A44-5CE6-4D4E-BF6E-7457D726BCF2}"/>
                  </a:ext>
                </a:extLst>
              </p:cNvPr>
              <p:cNvSpPr>
                <a:spLocks/>
              </p:cNvSpPr>
              <p:nvPr/>
            </p:nvSpPr>
            <p:spPr bwMode="auto">
              <a:xfrm flipH="1">
                <a:off x="4798271" y="3264958"/>
                <a:ext cx="204788" cy="203200"/>
              </a:xfrm>
              <a:custGeom>
                <a:avLst/>
                <a:gdLst>
                  <a:gd name="T0" fmla="*/ 38 w 38"/>
                  <a:gd name="T1" fmla="*/ 19 h 38"/>
                  <a:gd name="T2" fmla="*/ 19 w 38"/>
                  <a:gd name="T3" fmla="*/ 38 h 38"/>
                  <a:gd name="T4" fmla="*/ 0 w 38"/>
                  <a:gd name="T5" fmla="*/ 20 h 38"/>
                  <a:gd name="T6" fmla="*/ 18 w 38"/>
                  <a:gd name="T7" fmla="*/ 1 h 38"/>
                  <a:gd name="T8" fmla="*/ 38 w 38"/>
                  <a:gd name="T9" fmla="*/ 19 h 38"/>
                </a:gdLst>
                <a:ahLst/>
                <a:cxnLst>
                  <a:cxn ang="0">
                    <a:pos x="T0" y="T1"/>
                  </a:cxn>
                  <a:cxn ang="0">
                    <a:pos x="T2" y="T3"/>
                  </a:cxn>
                  <a:cxn ang="0">
                    <a:pos x="T4" y="T5"/>
                  </a:cxn>
                  <a:cxn ang="0">
                    <a:pos x="T6" y="T7"/>
                  </a:cxn>
                  <a:cxn ang="0">
                    <a:pos x="T8" y="T9"/>
                  </a:cxn>
                </a:cxnLst>
                <a:rect l="0" t="0" r="r" b="b"/>
                <a:pathLst>
                  <a:path w="38" h="38">
                    <a:moveTo>
                      <a:pt x="38" y="19"/>
                    </a:moveTo>
                    <a:cubicBezTo>
                      <a:pt x="38" y="29"/>
                      <a:pt x="30" y="38"/>
                      <a:pt x="19" y="38"/>
                    </a:cubicBezTo>
                    <a:cubicBezTo>
                      <a:pt x="9" y="38"/>
                      <a:pt x="0" y="30"/>
                      <a:pt x="0" y="20"/>
                    </a:cubicBezTo>
                    <a:cubicBezTo>
                      <a:pt x="0" y="9"/>
                      <a:pt x="8" y="1"/>
                      <a:pt x="18" y="1"/>
                    </a:cubicBezTo>
                    <a:cubicBezTo>
                      <a:pt x="29" y="0"/>
                      <a:pt x="37" y="9"/>
                      <a:pt x="38" y="19"/>
                    </a:cubicBezTo>
                    <a:close/>
                  </a:path>
                </a:pathLst>
              </a:cu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49" name="Freeform 15">
                <a:extLst>
                  <a:ext uri="{FF2B5EF4-FFF2-40B4-BE49-F238E27FC236}">
                    <a16:creationId xmlns:a16="http://schemas.microsoft.com/office/drawing/2014/main" id="{75FC72F8-5244-4233-9737-3DC852978C25}"/>
                  </a:ext>
                </a:extLst>
              </p:cNvPr>
              <p:cNvSpPr>
                <a:spLocks/>
              </p:cNvSpPr>
              <p:nvPr/>
            </p:nvSpPr>
            <p:spPr bwMode="auto">
              <a:xfrm flipH="1">
                <a:off x="4301383" y="1151995"/>
                <a:ext cx="706438" cy="1004888"/>
              </a:xfrm>
              <a:custGeom>
                <a:avLst/>
                <a:gdLst>
                  <a:gd name="T0" fmla="*/ 74 w 131"/>
                  <a:gd name="T1" fmla="*/ 0 h 188"/>
                  <a:gd name="T2" fmla="*/ 1 w 131"/>
                  <a:gd name="T3" fmla="*/ 179 h 188"/>
                  <a:gd name="T4" fmla="*/ 38 w 131"/>
                  <a:gd name="T5" fmla="*/ 188 h 188"/>
                  <a:gd name="T6" fmla="*/ 125 w 131"/>
                  <a:gd name="T7" fmla="*/ 85 h 188"/>
                  <a:gd name="T8" fmla="*/ 131 w 131"/>
                  <a:gd name="T9" fmla="*/ 2 h 188"/>
                  <a:gd name="T10" fmla="*/ 74 w 131"/>
                  <a:gd name="T11" fmla="*/ 0 h 188"/>
                </a:gdLst>
                <a:ahLst/>
                <a:cxnLst>
                  <a:cxn ang="0">
                    <a:pos x="T0" y="T1"/>
                  </a:cxn>
                  <a:cxn ang="0">
                    <a:pos x="T2" y="T3"/>
                  </a:cxn>
                  <a:cxn ang="0">
                    <a:pos x="T4" y="T5"/>
                  </a:cxn>
                  <a:cxn ang="0">
                    <a:pos x="T6" y="T7"/>
                  </a:cxn>
                  <a:cxn ang="0">
                    <a:pos x="T8" y="T9"/>
                  </a:cxn>
                  <a:cxn ang="0">
                    <a:pos x="T10" y="T11"/>
                  </a:cxn>
                </a:cxnLst>
                <a:rect l="0" t="0" r="r" b="b"/>
                <a:pathLst>
                  <a:path w="131" h="188">
                    <a:moveTo>
                      <a:pt x="74" y="0"/>
                    </a:moveTo>
                    <a:cubicBezTo>
                      <a:pt x="74" y="0"/>
                      <a:pt x="0" y="125"/>
                      <a:pt x="1" y="179"/>
                    </a:cubicBezTo>
                    <a:cubicBezTo>
                      <a:pt x="38" y="188"/>
                      <a:pt x="38" y="188"/>
                      <a:pt x="38" y="188"/>
                    </a:cubicBezTo>
                    <a:cubicBezTo>
                      <a:pt x="125" y="85"/>
                      <a:pt x="125" y="85"/>
                      <a:pt x="125" y="85"/>
                    </a:cubicBezTo>
                    <a:cubicBezTo>
                      <a:pt x="131" y="2"/>
                      <a:pt x="131" y="2"/>
                      <a:pt x="131" y="2"/>
                    </a:cubicBezTo>
                    <a:lnTo>
                      <a:pt x="74" y="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50" name="Freeform 17">
                <a:extLst>
                  <a:ext uri="{FF2B5EF4-FFF2-40B4-BE49-F238E27FC236}">
                    <a16:creationId xmlns:a16="http://schemas.microsoft.com/office/drawing/2014/main" id="{7910F9F7-A1A3-4664-8D82-0E77E4720CFE}"/>
                  </a:ext>
                </a:extLst>
              </p:cNvPr>
              <p:cNvSpPr>
                <a:spLocks/>
              </p:cNvSpPr>
              <p:nvPr/>
            </p:nvSpPr>
            <p:spPr bwMode="auto">
              <a:xfrm flipH="1">
                <a:off x="4656984" y="1928283"/>
                <a:ext cx="485775" cy="481013"/>
              </a:xfrm>
              <a:custGeom>
                <a:avLst/>
                <a:gdLst>
                  <a:gd name="T0" fmla="*/ 85 w 90"/>
                  <a:gd name="T1" fmla="*/ 37 h 90"/>
                  <a:gd name="T2" fmla="*/ 53 w 90"/>
                  <a:gd name="T3" fmla="*/ 85 h 90"/>
                  <a:gd name="T4" fmla="*/ 5 w 90"/>
                  <a:gd name="T5" fmla="*/ 53 h 90"/>
                  <a:gd name="T6" fmla="*/ 37 w 90"/>
                  <a:gd name="T7" fmla="*/ 5 h 90"/>
                  <a:gd name="T8" fmla="*/ 85 w 90"/>
                  <a:gd name="T9" fmla="*/ 37 h 90"/>
                </a:gdLst>
                <a:ahLst/>
                <a:cxnLst>
                  <a:cxn ang="0">
                    <a:pos x="T0" y="T1"/>
                  </a:cxn>
                  <a:cxn ang="0">
                    <a:pos x="T2" y="T3"/>
                  </a:cxn>
                  <a:cxn ang="0">
                    <a:pos x="T4" y="T5"/>
                  </a:cxn>
                  <a:cxn ang="0">
                    <a:pos x="T6" y="T7"/>
                  </a:cxn>
                  <a:cxn ang="0">
                    <a:pos x="T8" y="T9"/>
                  </a:cxn>
                </a:cxnLst>
                <a:rect l="0" t="0" r="r" b="b"/>
                <a:pathLst>
                  <a:path w="90" h="90">
                    <a:moveTo>
                      <a:pt x="85" y="37"/>
                    </a:moveTo>
                    <a:cubicBezTo>
                      <a:pt x="90" y="59"/>
                      <a:pt x="75" y="81"/>
                      <a:pt x="53" y="85"/>
                    </a:cubicBezTo>
                    <a:cubicBezTo>
                      <a:pt x="31" y="90"/>
                      <a:pt x="9" y="75"/>
                      <a:pt x="5" y="53"/>
                    </a:cubicBezTo>
                    <a:cubicBezTo>
                      <a:pt x="0" y="31"/>
                      <a:pt x="15" y="9"/>
                      <a:pt x="37" y="5"/>
                    </a:cubicBezTo>
                    <a:cubicBezTo>
                      <a:pt x="59" y="0"/>
                      <a:pt x="81" y="15"/>
                      <a:pt x="85" y="37"/>
                    </a:cubicBezTo>
                    <a:close/>
                  </a:path>
                </a:pathLst>
              </a:custGeom>
              <a:solidFill>
                <a:srgbClr val="FFFFFF">
                  <a:lumMod val="50000"/>
                </a:srgbClr>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51" name="Freeform 18">
                <a:extLst>
                  <a:ext uri="{FF2B5EF4-FFF2-40B4-BE49-F238E27FC236}">
                    <a16:creationId xmlns:a16="http://schemas.microsoft.com/office/drawing/2014/main" id="{4114C766-E8CC-480F-A7C4-67A9FE0ECD84}"/>
                  </a:ext>
                </a:extLst>
              </p:cNvPr>
              <p:cNvSpPr>
                <a:spLocks/>
              </p:cNvSpPr>
              <p:nvPr/>
            </p:nvSpPr>
            <p:spPr bwMode="auto">
              <a:xfrm flipH="1">
                <a:off x="4798271" y="2066395"/>
                <a:ext cx="204788" cy="203200"/>
              </a:xfrm>
              <a:custGeom>
                <a:avLst/>
                <a:gdLst>
                  <a:gd name="T0" fmla="*/ 2 w 38"/>
                  <a:gd name="T1" fmla="*/ 22 h 38"/>
                  <a:gd name="T2" fmla="*/ 22 w 38"/>
                  <a:gd name="T3" fmla="*/ 36 h 38"/>
                  <a:gd name="T4" fmla="*/ 36 w 38"/>
                  <a:gd name="T5" fmla="*/ 16 h 38"/>
                  <a:gd name="T6" fmla="*/ 16 w 38"/>
                  <a:gd name="T7" fmla="*/ 2 h 38"/>
                  <a:gd name="T8" fmla="*/ 2 w 38"/>
                  <a:gd name="T9" fmla="*/ 22 h 38"/>
                </a:gdLst>
                <a:ahLst/>
                <a:cxnLst>
                  <a:cxn ang="0">
                    <a:pos x="T0" y="T1"/>
                  </a:cxn>
                  <a:cxn ang="0">
                    <a:pos x="T2" y="T3"/>
                  </a:cxn>
                  <a:cxn ang="0">
                    <a:pos x="T4" y="T5"/>
                  </a:cxn>
                  <a:cxn ang="0">
                    <a:pos x="T6" y="T7"/>
                  </a:cxn>
                  <a:cxn ang="0">
                    <a:pos x="T8" y="T9"/>
                  </a:cxn>
                </a:cxnLst>
                <a:rect l="0" t="0" r="r" b="b"/>
                <a:pathLst>
                  <a:path w="38" h="38">
                    <a:moveTo>
                      <a:pt x="2" y="22"/>
                    </a:moveTo>
                    <a:cubicBezTo>
                      <a:pt x="4" y="32"/>
                      <a:pt x="13" y="38"/>
                      <a:pt x="22" y="36"/>
                    </a:cubicBezTo>
                    <a:cubicBezTo>
                      <a:pt x="32" y="34"/>
                      <a:pt x="38" y="25"/>
                      <a:pt x="36" y="16"/>
                    </a:cubicBezTo>
                    <a:cubicBezTo>
                      <a:pt x="34" y="6"/>
                      <a:pt x="25" y="0"/>
                      <a:pt x="16" y="2"/>
                    </a:cubicBezTo>
                    <a:cubicBezTo>
                      <a:pt x="6" y="4"/>
                      <a:pt x="0" y="13"/>
                      <a:pt x="2" y="22"/>
                    </a:cubicBezTo>
                    <a:close/>
                  </a:path>
                </a:pathLst>
              </a:custGeom>
              <a:solidFill>
                <a:srgbClr val="505050"/>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grpSp>
            <p:nvGrpSpPr>
              <p:cNvPr id="552" name="Group 551">
                <a:extLst>
                  <a:ext uri="{FF2B5EF4-FFF2-40B4-BE49-F238E27FC236}">
                    <a16:creationId xmlns:a16="http://schemas.microsoft.com/office/drawing/2014/main" id="{B5E0A626-651A-488A-9490-7AE26D238830}"/>
                  </a:ext>
                </a:extLst>
              </p:cNvPr>
              <p:cNvGrpSpPr/>
              <p:nvPr/>
            </p:nvGrpSpPr>
            <p:grpSpPr>
              <a:xfrm>
                <a:off x="4166446" y="1077383"/>
                <a:ext cx="571500" cy="566738"/>
                <a:chOff x="4166446" y="1077383"/>
                <a:chExt cx="571500" cy="566738"/>
              </a:xfrm>
            </p:grpSpPr>
            <p:sp>
              <p:nvSpPr>
                <p:cNvPr id="553" name="Oval 63">
                  <a:extLst>
                    <a:ext uri="{FF2B5EF4-FFF2-40B4-BE49-F238E27FC236}">
                      <a16:creationId xmlns:a16="http://schemas.microsoft.com/office/drawing/2014/main" id="{0F5C7398-E44C-4A10-9C6D-D9C582FE147C}"/>
                    </a:ext>
                  </a:extLst>
                </p:cNvPr>
                <p:cNvSpPr>
                  <a:spLocks noChangeArrowheads="1"/>
                </p:cNvSpPr>
                <p:nvPr/>
              </p:nvSpPr>
              <p:spPr bwMode="auto">
                <a:xfrm flipH="1">
                  <a:off x="4166446" y="1077383"/>
                  <a:ext cx="571500" cy="566738"/>
                </a:xfrm>
                <a:prstGeom prst="ellipse">
                  <a:avLst/>
                </a:prstGeom>
                <a:solidFill>
                  <a:srgbClr val="505050"/>
                </a:solidFill>
                <a:ln>
                  <a:noFill/>
                </a:ln>
              </p:spPr>
              <p:txBody>
                <a:bodyPr vert="horz" wrap="square" lIns="74904" tIns="37453" rIns="74904" bIns="37453" numCol="1" anchor="t" anchorCtr="0" compatLnSpc="1">
                  <a:prstTxWarp prst="textNoShape">
                    <a:avLst/>
                  </a:prstTxWarp>
                </a:bodyPr>
                <a:lstStyle/>
                <a:p>
                  <a:pPr defTabSz="914224">
                    <a:defRPr/>
                  </a:pPr>
                  <a:endParaRPr lang="en-US" sz="1715" kern="0">
                    <a:solidFill>
                      <a:srgbClr val="FFFFFF"/>
                    </a:solidFill>
                    <a:latin typeface="Segoe UI Light"/>
                  </a:endParaRPr>
                </a:p>
              </p:txBody>
            </p:sp>
            <p:sp>
              <p:nvSpPr>
                <p:cNvPr id="554" name="Oval 64">
                  <a:extLst>
                    <a:ext uri="{FF2B5EF4-FFF2-40B4-BE49-F238E27FC236}">
                      <a16:creationId xmlns:a16="http://schemas.microsoft.com/office/drawing/2014/main" id="{72057C0E-FC05-4783-B43E-70B0885DE26E}"/>
                    </a:ext>
                  </a:extLst>
                </p:cNvPr>
                <p:cNvSpPr>
                  <a:spLocks noChangeArrowheads="1"/>
                </p:cNvSpPr>
                <p:nvPr/>
              </p:nvSpPr>
              <p:spPr bwMode="auto">
                <a:xfrm flipH="1">
                  <a:off x="4220421" y="1126595"/>
                  <a:ext cx="463550" cy="4651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55" name="Oval 65">
                  <a:extLst>
                    <a:ext uri="{FF2B5EF4-FFF2-40B4-BE49-F238E27FC236}">
                      <a16:creationId xmlns:a16="http://schemas.microsoft.com/office/drawing/2014/main" id="{094DDCAF-0E4C-45F4-B9E3-5A04CF1F4ED8}"/>
                    </a:ext>
                  </a:extLst>
                </p:cNvPr>
                <p:cNvSpPr>
                  <a:spLocks noChangeArrowheads="1"/>
                </p:cNvSpPr>
                <p:nvPr/>
              </p:nvSpPr>
              <p:spPr bwMode="auto">
                <a:xfrm flipH="1">
                  <a:off x="4264871" y="1174220"/>
                  <a:ext cx="376238" cy="374650"/>
                </a:xfrm>
                <a:prstGeom prst="ellipse">
                  <a:avLst/>
                </a:pr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grpSp>
          <p:nvGrpSpPr>
            <p:cNvPr id="504" name="Group 503">
              <a:extLst>
                <a:ext uri="{FF2B5EF4-FFF2-40B4-BE49-F238E27FC236}">
                  <a16:creationId xmlns:a16="http://schemas.microsoft.com/office/drawing/2014/main" id="{2CD4BDC3-C367-4754-AC86-DF16E4A93602}"/>
                </a:ext>
              </a:extLst>
            </p:cNvPr>
            <p:cNvGrpSpPr/>
            <p:nvPr/>
          </p:nvGrpSpPr>
          <p:grpSpPr>
            <a:xfrm>
              <a:off x="2159529" y="3980920"/>
              <a:ext cx="1012825" cy="3409950"/>
              <a:chOff x="2159529" y="3980920"/>
              <a:chExt cx="1012825" cy="3409950"/>
            </a:xfrm>
          </p:grpSpPr>
          <p:sp>
            <p:nvSpPr>
              <p:cNvPr id="523" name="Freeform 13">
                <a:extLst>
                  <a:ext uri="{FF2B5EF4-FFF2-40B4-BE49-F238E27FC236}">
                    <a16:creationId xmlns:a16="http://schemas.microsoft.com/office/drawing/2014/main" id="{D49EF28A-F40E-4445-863D-6F68376879FF}"/>
                  </a:ext>
                </a:extLst>
              </p:cNvPr>
              <p:cNvSpPr>
                <a:spLocks/>
              </p:cNvSpPr>
              <p:nvPr/>
            </p:nvSpPr>
            <p:spPr bwMode="auto">
              <a:xfrm>
                <a:off x="2159529" y="7006695"/>
                <a:ext cx="1012825" cy="384175"/>
              </a:xfrm>
              <a:custGeom>
                <a:avLst/>
                <a:gdLst>
                  <a:gd name="T0" fmla="*/ 32 w 188"/>
                  <a:gd name="T1" fmla="*/ 0 h 72"/>
                  <a:gd name="T2" fmla="*/ 0 w 188"/>
                  <a:gd name="T3" fmla="*/ 33 h 72"/>
                  <a:gd name="T4" fmla="*/ 0 w 188"/>
                  <a:gd name="T5" fmla="*/ 39 h 72"/>
                  <a:gd name="T6" fmla="*/ 3 w 188"/>
                  <a:gd name="T7" fmla="*/ 53 h 72"/>
                  <a:gd name="T8" fmla="*/ 32 w 188"/>
                  <a:gd name="T9" fmla="*/ 72 h 72"/>
                  <a:gd name="T10" fmla="*/ 180 w 188"/>
                  <a:gd name="T11" fmla="*/ 72 h 72"/>
                  <a:gd name="T12" fmla="*/ 188 w 188"/>
                  <a:gd name="T13" fmla="*/ 64 h 72"/>
                  <a:gd name="T14" fmla="*/ 188 w 188"/>
                  <a:gd name="T15" fmla="*/ 53 h 72"/>
                  <a:gd name="T16" fmla="*/ 188 w 188"/>
                  <a:gd name="T17" fmla="*/ 8 h 72"/>
                  <a:gd name="T18" fmla="*/ 180 w 188"/>
                  <a:gd name="T19" fmla="*/ 0 h 72"/>
                  <a:gd name="T20" fmla="*/ 32 w 188"/>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72">
                    <a:moveTo>
                      <a:pt x="32" y="0"/>
                    </a:moveTo>
                    <a:cubicBezTo>
                      <a:pt x="14" y="0"/>
                      <a:pt x="0" y="14"/>
                      <a:pt x="0" y="33"/>
                    </a:cubicBezTo>
                    <a:cubicBezTo>
                      <a:pt x="0" y="39"/>
                      <a:pt x="0" y="39"/>
                      <a:pt x="0" y="39"/>
                    </a:cubicBezTo>
                    <a:cubicBezTo>
                      <a:pt x="0" y="44"/>
                      <a:pt x="1" y="48"/>
                      <a:pt x="3" y="53"/>
                    </a:cubicBezTo>
                    <a:cubicBezTo>
                      <a:pt x="8" y="64"/>
                      <a:pt x="19" y="72"/>
                      <a:pt x="32" y="72"/>
                    </a:cubicBezTo>
                    <a:cubicBezTo>
                      <a:pt x="180" y="72"/>
                      <a:pt x="180" y="72"/>
                      <a:pt x="180" y="72"/>
                    </a:cubicBezTo>
                    <a:cubicBezTo>
                      <a:pt x="185" y="72"/>
                      <a:pt x="188" y="68"/>
                      <a:pt x="188" y="64"/>
                    </a:cubicBezTo>
                    <a:cubicBezTo>
                      <a:pt x="188" y="53"/>
                      <a:pt x="188" y="53"/>
                      <a:pt x="188" y="53"/>
                    </a:cubicBezTo>
                    <a:cubicBezTo>
                      <a:pt x="188" y="8"/>
                      <a:pt x="188" y="8"/>
                      <a:pt x="188" y="8"/>
                    </a:cubicBezTo>
                    <a:cubicBezTo>
                      <a:pt x="188" y="3"/>
                      <a:pt x="185" y="0"/>
                      <a:pt x="180" y="0"/>
                    </a:cubicBezTo>
                    <a:lnTo>
                      <a:pt x="32" y="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4" name="Freeform 14">
                <a:extLst>
                  <a:ext uri="{FF2B5EF4-FFF2-40B4-BE49-F238E27FC236}">
                    <a16:creationId xmlns:a16="http://schemas.microsoft.com/office/drawing/2014/main" id="{7B40D632-8F9B-435F-93AD-4B0222C85FC7}"/>
                  </a:ext>
                </a:extLst>
              </p:cNvPr>
              <p:cNvSpPr>
                <a:spLocks/>
              </p:cNvSpPr>
              <p:nvPr/>
            </p:nvSpPr>
            <p:spPr bwMode="auto">
              <a:xfrm>
                <a:off x="2175404" y="7289270"/>
                <a:ext cx="996950" cy="101600"/>
              </a:xfrm>
              <a:custGeom>
                <a:avLst/>
                <a:gdLst>
                  <a:gd name="T0" fmla="*/ 0 w 185"/>
                  <a:gd name="T1" fmla="*/ 0 h 19"/>
                  <a:gd name="T2" fmla="*/ 29 w 185"/>
                  <a:gd name="T3" fmla="*/ 19 h 19"/>
                  <a:gd name="T4" fmla="*/ 177 w 185"/>
                  <a:gd name="T5" fmla="*/ 19 h 19"/>
                  <a:gd name="T6" fmla="*/ 185 w 185"/>
                  <a:gd name="T7" fmla="*/ 11 h 19"/>
                  <a:gd name="T8" fmla="*/ 185 w 185"/>
                  <a:gd name="T9" fmla="*/ 0 h 19"/>
                  <a:gd name="T10" fmla="*/ 0 w 185"/>
                  <a:gd name="T11" fmla="*/ 0 h 19"/>
                </a:gdLst>
                <a:ahLst/>
                <a:cxnLst>
                  <a:cxn ang="0">
                    <a:pos x="T0" y="T1"/>
                  </a:cxn>
                  <a:cxn ang="0">
                    <a:pos x="T2" y="T3"/>
                  </a:cxn>
                  <a:cxn ang="0">
                    <a:pos x="T4" y="T5"/>
                  </a:cxn>
                  <a:cxn ang="0">
                    <a:pos x="T6" y="T7"/>
                  </a:cxn>
                  <a:cxn ang="0">
                    <a:pos x="T8" y="T9"/>
                  </a:cxn>
                  <a:cxn ang="0">
                    <a:pos x="T10" y="T11"/>
                  </a:cxn>
                </a:cxnLst>
                <a:rect l="0" t="0" r="r" b="b"/>
                <a:pathLst>
                  <a:path w="185" h="19">
                    <a:moveTo>
                      <a:pt x="0" y="0"/>
                    </a:moveTo>
                    <a:cubicBezTo>
                      <a:pt x="5" y="11"/>
                      <a:pt x="16" y="19"/>
                      <a:pt x="29" y="19"/>
                    </a:cubicBezTo>
                    <a:cubicBezTo>
                      <a:pt x="177" y="19"/>
                      <a:pt x="177" y="19"/>
                      <a:pt x="177" y="19"/>
                    </a:cubicBezTo>
                    <a:cubicBezTo>
                      <a:pt x="182" y="19"/>
                      <a:pt x="185" y="15"/>
                      <a:pt x="185" y="11"/>
                    </a:cubicBezTo>
                    <a:cubicBezTo>
                      <a:pt x="185" y="0"/>
                      <a:pt x="185" y="0"/>
                      <a:pt x="185" y="0"/>
                    </a:cubicBezTo>
                    <a:lnTo>
                      <a:pt x="0" y="0"/>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25" name="Freeform 35">
                <a:extLst>
                  <a:ext uri="{FF2B5EF4-FFF2-40B4-BE49-F238E27FC236}">
                    <a16:creationId xmlns:a16="http://schemas.microsoft.com/office/drawing/2014/main" id="{884AE495-15C1-4171-9DCB-2D7BB011BE63}"/>
                  </a:ext>
                </a:extLst>
              </p:cNvPr>
              <p:cNvSpPr>
                <a:spLocks/>
              </p:cNvSpPr>
              <p:nvPr/>
            </p:nvSpPr>
            <p:spPr bwMode="auto">
              <a:xfrm>
                <a:off x="2445279" y="3980920"/>
                <a:ext cx="727075" cy="1463675"/>
              </a:xfrm>
              <a:custGeom>
                <a:avLst/>
                <a:gdLst>
                  <a:gd name="T0" fmla="*/ 135 w 135"/>
                  <a:gd name="T1" fmla="*/ 9 h 274"/>
                  <a:gd name="T2" fmla="*/ 126 w 135"/>
                  <a:gd name="T3" fmla="*/ 0 h 274"/>
                  <a:gd name="T4" fmla="*/ 58 w 135"/>
                  <a:gd name="T5" fmla="*/ 0 h 274"/>
                  <a:gd name="T6" fmla="*/ 47 w 135"/>
                  <a:gd name="T7" fmla="*/ 9 h 274"/>
                  <a:gd name="T8" fmla="*/ 1 w 135"/>
                  <a:gd name="T9" fmla="*/ 265 h 274"/>
                  <a:gd name="T10" fmla="*/ 9 w 135"/>
                  <a:gd name="T11" fmla="*/ 274 h 274"/>
                  <a:gd name="T12" fmla="*/ 126 w 135"/>
                  <a:gd name="T13" fmla="*/ 274 h 274"/>
                  <a:gd name="T14" fmla="*/ 135 w 135"/>
                  <a:gd name="T15" fmla="*/ 265 h 274"/>
                  <a:gd name="T16" fmla="*/ 135 w 135"/>
                  <a:gd name="T17" fmla="*/ 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274">
                    <a:moveTo>
                      <a:pt x="135" y="9"/>
                    </a:moveTo>
                    <a:cubicBezTo>
                      <a:pt x="135" y="4"/>
                      <a:pt x="131" y="0"/>
                      <a:pt x="126" y="0"/>
                    </a:cubicBezTo>
                    <a:cubicBezTo>
                      <a:pt x="58" y="0"/>
                      <a:pt x="58" y="0"/>
                      <a:pt x="58" y="0"/>
                    </a:cubicBezTo>
                    <a:cubicBezTo>
                      <a:pt x="53" y="0"/>
                      <a:pt x="48" y="4"/>
                      <a:pt x="47" y="9"/>
                    </a:cubicBezTo>
                    <a:cubicBezTo>
                      <a:pt x="1" y="265"/>
                      <a:pt x="1" y="265"/>
                      <a:pt x="1" y="265"/>
                    </a:cubicBezTo>
                    <a:cubicBezTo>
                      <a:pt x="0" y="270"/>
                      <a:pt x="3" y="274"/>
                      <a:pt x="9" y="274"/>
                    </a:cubicBezTo>
                    <a:cubicBezTo>
                      <a:pt x="126" y="274"/>
                      <a:pt x="126" y="274"/>
                      <a:pt x="126" y="274"/>
                    </a:cubicBezTo>
                    <a:cubicBezTo>
                      <a:pt x="131" y="274"/>
                      <a:pt x="135" y="270"/>
                      <a:pt x="135" y="265"/>
                    </a:cubicBezTo>
                    <a:lnTo>
                      <a:pt x="135" y="9"/>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6" name="Oval 41">
                <a:extLst>
                  <a:ext uri="{FF2B5EF4-FFF2-40B4-BE49-F238E27FC236}">
                    <a16:creationId xmlns:a16="http://schemas.microsoft.com/office/drawing/2014/main" id="{2FE0EA35-966F-41FB-854E-BA11EC52BDE6}"/>
                  </a:ext>
                </a:extLst>
              </p:cNvPr>
              <p:cNvSpPr>
                <a:spLocks noChangeArrowheads="1"/>
              </p:cNvSpPr>
              <p:nvPr/>
            </p:nvSpPr>
            <p:spPr bwMode="auto">
              <a:xfrm>
                <a:off x="2719916" y="5060420"/>
                <a:ext cx="247650" cy="246063"/>
              </a:xfrm>
              <a:prstGeom prst="ellipse">
                <a:avLst/>
              </a:pr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27" name="Freeform 43">
                <a:extLst>
                  <a:ext uri="{FF2B5EF4-FFF2-40B4-BE49-F238E27FC236}">
                    <a16:creationId xmlns:a16="http://schemas.microsoft.com/office/drawing/2014/main" id="{82488E8F-84F9-4E7C-8F98-D13F6BDFF081}"/>
                  </a:ext>
                </a:extLst>
              </p:cNvPr>
              <p:cNvSpPr>
                <a:spLocks/>
              </p:cNvSpPr>
              <p:nvPr/>
            </p:nvSpPr>
            <p:spPr bwMode="auto">
              <a:xfrm>
                <a:off x="2440516" y="5444595"/>
                <a:ext cx="731838" cy="236538"/>
              </a:xfrm>
              <a:custGeom>
                <a:avLst/>
                <a:gdLst>
                  <a:gd name="T0" fmla="*/ 0 w 136"/>
                  <a:gd name="T1" fmla="*/ 34 h 44"/>
                  <a:gd name="T2" fmla="*/ 10 w 136"/>
                  <a:gd name="T3" fmla="*/ 44 h 44"/>
                  <a:gd name="T4" fmla="*/ 127 w 136"/>
                  <a:gd name="T5" fmla="*/ 44 h 44"/>
                  <a:gd name="T6" fmla="*/ 136 w 136"/>
                  <a:gd name="T7" fmla="*/ 34 h 44"/>
                  <a:gd name="T8" fmla="*/ 136 w 136"/>
                  <a:gd name="T9" fmla="*/ 10 h 44"/>
                  <a:gd name="T10" fmla="*/ 127 w 136"/>
                  <a:gd name="T11" fmla="*/ 0 h 44"/>
                  <a:gd name="T12" fmla="*/ 10 w 136"/>
                  <a:gd name="T13" fmla="*/ 0 h 44"/>
                  <a:gd name="T14" fmla="*/ 0 w 136"/>
                  <a:gd name="T15" fmla="*/ 10 h 44"/>
                  <a:gd name="T16" fmla="*/ 0 w 136"/>
                  <a:gd name="T17"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44">
                    <a:moveTo>
                      <a:pt x="0" y="34"/>
                    </a:moveTo>
                    <a:cubicBezTo>
                      <a:pt x="0" y="40"/>
                      <a:pt x="4" y="44"/>
                      <a:pt x="10" y="44"/>
                    </a:cubicBezTo>
                    <a:cubicBezTo>
                      <a:pt x="127" y="44"/>
                      <a:pt x="127" y="44"/>
                      <a:pt x="127" y="44"/>
                    </a:cubicBezTo>
                    <a:cubicBezTo>
                      <a:pt x="132" y="44"/>
                      <a:pt x="136" y="40"/>
                      <a:pt x="136" y="34"/>
                    </a:cubicBezTo>
                    <a:cubicBezTo>
                      <a:pt x="136" y="10"/>
                      <a:pt x="136" y="10"/>
                      <a:pt x="136" y="10"/>
                    </a:cubicBezTo>
                    <a:cubicBezTo>
                      <a:pt x="136" y="5"/>
                      <a:pt x="132" y="0"/>
                      <a:pt x="127" y="0"/>
                    </a:cubicBezTo>
                    <a:cubicBezTo>
                      <a:pt x="10" y="0"/>
                      <a:pt x="10" y="0"/>
                      <a:pt x="10" y="0"/>
                    </a:cubicBezTo>
                    <a:cubicBezTo>
                      <a:pt x="4" y="0"/>
                      <a:pt x="0" y="5"/>
                      <a:pt x="0" y="10"/>
                    </a:cubicBezTo>
                    <a:lnTo>
                      <a:pt x="0" y="34"/>
                    </a:ln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8" name="Freeform 45">
                <a:extLst>
                  <a:ext uri="{FF2B5EF4-FFF2-40B4-BE49-F238E27FC236}">
                    <a16:creationId xmlns:a16="http://schemas.microsoft.com/office/drawing/2014/main" id="{AEF7538A-498D-46E4-82ED-ABEA56F4BE14}"/>
                  </a:ext>
                </a:extLst>
              </p:cNvPr>
              <p:cNvSpPr>
                <a:spLocks/>
              </p:cNvSpPr>
              <p:nvPr/>
            </p:nvSpPr>
            <p:spPr bwMode="auto">
              <a:xfrm>
                <a:off x="2440516" y="5681133"/>
                <a:ext cx="731838" cy="1063625"/>
              </a:xfrm>
              <a:custGeom>
                <a:avLst/>
                <a:gdLst>
                  <a:gd name="T0" fmla="*/ 136 w 136"/>
                  <a:gd name="T1" fmla="*/ 190 h 199"/>
                  <a:gd name="T2" fmla="*/ 127 w 136"/>
                  <a:gd name="T3" fmla="*/ 199 h 199"/>
                  <a:gd name="T4" fmla="*/ 10 w 136"/>
                  <a:gd name="T5" fmla="*/ 199 h 199"/>
                  <a:gd name="T6" fmla="*/ 0 w 136"/>
                  <a:gd name="T7" fmla="*/ 190 h 199"/>
                  <a:gd name="T8" fmla="*/ 0 w 136"/>
                  <a:gd name="T9" fmla="*/ 9 h 199"/>
                  <a:gd name="T10" fmla="*/ 10 w 136"/>
                  <a:gd name="T11" fmla="*/ 0 h 199"/>
                  <a:gd name="T12" fmla="*/ 127 w 136"/>
                  <a:gd name="T13" fmla="*/ 0 h 199"/>
                  <a:gd name="T14" fmla="*/ 136 w 136"/>
                  <a:gd name="T15" fmla="*/ 9 h 199"/>
                  <a:gd name="T16" fmla="*/ 136 w 136"/>
                  <a:gd name="T17" fmla="*/ 19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199">
                    <a:moveTo>
                      <a:pt x="136" y="190"/>
                    </a:moveTo>
                    <a:cubicBezTo>
                      <a:pt x="136" y="195"/>
                      <a:pt x="132" y="199"/>
                      <a:pt x="127" y="199"/>
                    </a:cubicBezTo>
                    <a:cubicBezTo>
                      <a:pt x="10" y="199"/>
                      <a:pt x="10" y="199"/>
                      <a:pt x="10" y="199"/>
                    </a:cubicBezTo>
                    <a:cubicBezTo>
                      <a:pt x="4" y="199"/>
                      <a:pt x="0" y="195"/>
                      <a:pt x="0" y="190"/>
                    </a:cubicBezTo>
                    <a:cubicBezTo>
                      <a:pt x="0" y="9"/>
                      <a:pt x="0" y="9"/>
                      <a:pt x="0" y="9"/>
                    </a:cubicBezTo>
                    <a:cubicBezTo>
                      <a:pt x="0" y="4"/>
                      <a:pt x="4" y="0"/>
                      <a:pt x="10" y="0"/>
                    </a:cubicBezTo>
                    <a:cubicBezTo>
                      <a:pt x="127" y="0"/>
                      <a:pt x="127" y="0"/>
                      <a:pt x="127" y="0"/>
                    </a:cubicBezTo>
                    <a:cubicBezTo>
                      <a:pt x="132" y="0"/>
                      <a:pt x="136" y="4"/>
                      <a:pt x="136" y="9"/>
                    </a:cubicBezTo>
                    <a:lnTo>
                      <a:pt x="136" y="19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9" name="Freeform 47">
                <a:extLst>
                  <a:ext uri="{FF2B5EF4-FFF2-40B4-BE49-F238E27FC236}">
                    <a16:creationId xmlns:a16="http://schemas.microsoft.com/office/drawing/2014/main" id="{E689D4B3-2F94-4E12-A51F-6AEC4CE607AA}"/>
                  </a:ext>
                </a:extLst>
              </p:cNvPr>
              <p:cNvSpPr>
                <a:spLocks/>
              </p:cNvSpPr>
              <p:nvPr/>
            </p:nvSpPr>
            <p:spPr bwMode="auto">
              <a:xfrm>
                <a:off x="2537354" y="6476470"/>
                <a:ext cx="544513" cy="171450"/>
              </a:xfrm>
              <a:custGeom>
                <a:avLst/>
                <a:gdLst>
                  <a:gd name="T0" fmla="*/ 0 w 101"/>
                  <a:gd name="T1" fmla="*/ 23 h 32"/>
                  <a:gd name="T2" fmla="*/ 9 w 101"/>
                  <a:gd name="T3" fmla="*/ 32 h 32"/>
                  <a:gd name="T4" fmla="*/ 91 w 101"/>
                  <a:gd name="T5" fmla="*/ 32 h 32"/>
                  <a:gd name="T6" fmla="*/ 101 w 101"/>
                  <a:gd name="T7" fmla="*/ 23 h 32"/>
                  <a:gd name="T8" fmla="*/ 101 w 101"/>
                  <a:gd name="T9" fmla="*/ 9 h 32"/>
                  <a:gd name="T10" fmla="*/ 91 w 101"/>
                  <a:gd name="T11" fmla="*/ 0 h 32"/>
                  <a:gd name="T12" fmla="*/ 9 w 101"/>
                  <a:gd name="T13" fmla="*/ 0 h 32"/>
                  <a:gd name="T14" fmla="*/ 0 w 101"/>
                  <a:gd name="T15" fmla="*/ 9 h 32"/>
                  <a:gd name="T16" fmla="*/ 0 w 101"/>
                  <a:gd name="T1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2">
                    <a:moveTo>
                      <a:pt x="0" y="23"/>
                    </a:moveTo>
                    <a:cubicBezTo>
                      <a:pt x="0" y="28"/>
                      <a:pt x="4" y="32"/>
                      <a:pt x="9" y="32"/>
                    </a:cubicBezTo>
                    <a:cubicBezTo>
                      <a:pt x="91" y="32"/>
                      <a:pt x="91" y="32"/>
                      <a:pt x="91" y="32"/>
                    </a:cubicBezTo>
                    <a:cubicBezTo>
                      <a:pt x="97" y="32"/>
                      <a:pt x="101" y="28"/>
                      <a:pt x="101" y="23"/>
                    </a:cubicBezTo>
                    <a:cubicBezTo>
                      <a:pt x="101" y="9"/>
                      <a:pt x="101" y="9"/>
                      <a:pt x="101" y="9"/>
                    </a:cubicBezTo>
                    <a:cubicBezTo>
                      <a:pt x="101" y="4"/>
                      <a:pt x="97" y="0"/>
                      <a:pt x="91" y="0"/>
                    </a:cubicBezTo>
                    <a:cubicBezTo>
                      <a:pt x="9" y="0"/>
                      <a:pt x="9" y="0"/>
                      <a:pt x="9" y="0"/>
                    </a:cubicBezTo>
                    <a:cubicBezTo>
                      <a:pt x="4" y="0"/>
                      <a:pt x="0" y="4"/>
                      <a:pt x="0" y="9"/>
                    </a:cubicBezTo>
                    <a:lnTo>
                      <a:pt x="0" y="23"/>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30" name="Freeform 66">
                <a:extLst>
                  <a:ext uri="{FF2B5EF4-FFF2-40B4-BE49-F238E27FC236}">
                    <a16:creationId xmlns:a16="http://schemas.microsoft.com/office/drawing/2014/main" id="{5DFB631E-B85A-4C4D-BC86-17D820F84B78}"/>
                  </a:ext>
                </a:extLst>
              </p:cNvPr>
              <p:cNvSpPr>
                <a:spLocks/>
              </p:cNvSpPr>
              <p:nvPr/>
            </p:nvSpPr>
            <p:spPr bwMode="auto">
              <a:xfrm>
                <a:off x="2440516" y="6749520"/>
                <a:ext cx="731838" cy="234950"/>
              </a:xfrm>
              <a:custGeom>
                <a:avLst/>
                <a:gdLst>
                  <a:gd name="T0" fmla="*/ 0 w 136"/>
                  <a:gd name="T1" fmla="*/ 34 h 44"/>
                  <a:gd name="T2" fmla="*/ 10 w 136"/>
                  <a:gd name="T3" fmla="*/ 44 h 44"/>
                  <a:gd name="T4" fmla="*/ 127 w 136"/>
                  <a:gd name="T5" fmla="*/ 44 h 44"/>
                  <a:gd name="T6" fmla="*/ 136 w 136"/>
                  <a:gd name="T7" fmla="*/ 34 h 44"/>
                  <a:gd name="T8" fmla="*/ 136 w 136"/>
                  <a:gd name="T9" fmla="*/ 10 h 44"/>
                  <a:gd name="T10" fmla="*/ 127 w 136"/>
                  <a:gd name="T11" fmla="*/ 0 h 44"/>
                  <a:gd name="T12" fmla="*/ 10 w 136"/>
                  <a:gd name="T13" fmla="*/ 0 h 44"/>
                  <a:gd name="T14" fmla="*/ 0 w 136"/>
                  <a:gd name="T15" fmla="*/ 10 h 44"/>
                  <a:gd name="T16" fmla="*/ 0 w 136"/>
                  <a:gd name="T17"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44">
                    <a:moveTo>
                      <a:pt x="0" y="34"/>
                    </a:moveTo>
                    <a:cubicBezTo>
                      <a:pt x="0" y="39"/>
                      <a:pt x="4" y="44"/>
                      <a:pt x="10" y="44"/>
                    </a:cubicBezTo>
                    <a:cubicBezTo>
                      <a:pt x="127" y="44"/>
                      <a:pt x="127" y="44"/>
                      <a:pt x="127" y="44"/>
                    </a:cubicBezTo>
                    <a:cubicBezTo>
                      <a:pt x="132" y="44"/>
                      <a:pt x="136" y="39"/>
                      <a:pt x="136" y="34"/>
                    </a:cubicBezTo>
                    <a:cubicBezTo>
                      <a:pt x="136" y="10"/>
                      <a:pt x="136" y="10"/>
                      <a:pt x="136" y="10"/>
                    </a:cubicBezTo>
                    <a:cubicBezTo>
                      <a:pt x="136" y="4"/>
                      <a:pt x="132" y="0"/>
                      <a:pt x="127" y="0"/>
                    </a:cubicBezTo>
                    <a:cubicBezTo>
                      <a:pt x="10" y="0"/>
                      <a:pt x="10" y="0"/>
                      <a:pt x="10" y="0"/>
                    </a:cubicBezTo>
                    <a:cubicBezTo>
                      <a:pt x="4" y="0"/>
                      <a:pt x="0" y="4"/>
                      <a:pt x="0" y="10"/>
                    </a:cubicBezTo>
                    <a:lnTo>
                      <a:pt x="0" y="34"/>
                    </a:ln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1" name="Freeform 68">
                <a:extLst>
                  <a:ext uri="{FF2B5EF4-FFF2-40B4-BE49-F238E27FC236}">
                    <a16:creationId xmlns:a16="http://schemas.microsoft.com/office/drawing/2014/main" id="{28F8A73A-3A1C-4FF2-8935-2D03F3C55D82}"/>
                  </a:ext>
                </a:extLst>
              </p:cNvPr>
              <p:cNvSpPr>
                <a:spLocks/>
              </p:cNvSpPr>
              <p:nvPr/>
            </p:nvSpPr>
            <p:spPr bwMode="auto">
              <a:xfrm>
                <a:off x="2704041" y="7006695"/>
                <a:ext cx="468313" cy="384175"/>
              </a:xfrm>
              <a:custGeom>
                <a:avLst/>
                <a:gdLst>
                  <a:gd name="T0" fmla="*/ 33 w 87"/>
                  <a:gd name="T1" fmla="*/ 72 h 72"/>
                  <a:gd name="T2" fmla="*/ 79 w 87"/>
                  <a:gd name="T3" fmla="*/ 72 h 72"/>
                  <a:gd name="T4" fmla="*/ 87 w 87"/>
                  <a:gd name="T5" fmla="*/ 64 h 72"/>
                  <a:gd name="T6" fmla="*/ 87 w 87"/>
                  <a:gd name="T7" fmla="*/ 8 h 72"/>
                  <a:gd name="T8" fmla="*/ 79 w 87"/>
                  <a:gd name="T9" fmla="*/ 0 h 72"/>
                  <a:gd name="T10" fmla="*/ 33 w 87"/>
                  <a:gd name="T11" fmla="*/ 0 h 72"/>
                  <a:gd name="T12" fmla="*/ 0 w 87"/>
                  <a:gd name="T13" fmla="*/ 33 h 72"/>
                  <a:gd name="T14" fmla="*/ 0 w 87"/>
                  <a:gd name="T15" fmla="*/ 39 h 72"/>
                  <a:gd name="T16" fmla="*/ 33 w 87"/>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72">
                    <a:moveTo>
                      <a:pt x="33" y="72"/>
                    </a:moveTo>
                    <a:cubicBezTo>
                      <a:pt x="79" y="72"/>
                      <a:pt x="79" y="72"/>
                      <a:pt x="79" y="72"/>
                    </a:cubicBezTo>
                    <a:cubicBezTo>
                      <a:pt x="84" y="72"/>
                      <a:pt x="87" y="68"/>
                      <a:pt x="87" y="64"/>
                    </a:cubicBezTo>
                    <a:cubicBezTo>
                      <a:pt x="87" y="8"/>
                      <a:pt x="87" y="8"/>
                      <a:pt x="87" y="8"/>
                    </a:cubicBezTo>
                    <a:cubicBezTo>
                      <a:pt x="87" y="3"/>
                      <a:pt x="84" y="0"/>
                      <a:pt x="79" y="0"/>
                    </a:cubicBezTo>
                    <a:cubicBezTo>
                      <a:pt x="33" y="0"/>
                      <a:pt x="33" y="0"/>
                      <a:pt x="33" y="0"/>
                    </a:cubicBezTo>
                    <a:cubicBezTo>
                      <a:pt x="15" y="0"/>
                      <a:pt x="0" y="14"/>
                      <a:pt x="0" y="33"/>
                    </a:cubicBezTo>
                    <a:cubicBezTo>
                      <a:pt x="0" y="39"/>
                      <a:pt x="0" y="39"/>
                      <a:pt x="0" y="39"/>
                    </a:cubicBezTo>
                    <a:cubicBezTo>
                      <a:pt x="0" y="57"/>
                      <a:pt x="15" y="72"/>
                      <a:pt x="33" y="72"/>
                    </a:cubicBez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2" name="Freeform 69">
                <a:extLst>
                  <a:ext uri="{FF2B5EF4-FFF2-40B4-BE49-F238E27FC236}">
                    <a16:creationId xmlns:a16="http://schemas.microsoft.com/office/drawing/2014/main" id="{69307338-8EAA-4D41-A536-B1AA1EE928F3}"/>
                  </a:ext>
                </a:extLst>
              </p:cNvPr>
              <p:cNvSpPr>
                <a:spLocks/>
              </p:cNvSpPr>
              <p:nvPr/>
            </p:nvSpPr>
            <p:spPr bwMode="auto">
              <a:xfrm>
                <a:off x="3054879" y="7171795"/>
                <a:ext cx="58738" cy="58738"/>
              </a:xfrm>
              <a:custGeom>
                <a:avLst/>
                <a:gdLst>
                  <a:gd name="T0" fmla="*/ 8 w 11"/>
                  <a:gd name="T1" fmla="*/ 0 h 11"/>
                  <a:gd name="T2" fmla="*/ 5 w 11"/>
                  <a:gd name="T3" fmla="*/ 0 h 11"/>
                  <a:gd name="T4" fmla="*/ 5 w 11"/>
                  <a:gd name="T5" fmla="*/ 0 h 11"/>
                  <a:gd name="T6" fmla="*/ 0 w 11"/>
                  <a:gd name="T7" fmla="*/ 6 h 11"/>
                  <a:gd name="T8" fmla="*/ 0 w 11"/>
                  <a:gd name="T9" fmla="*/ 8 h 11"/>
                  <a:gd name="T10" fmla="*/ 5 w 11"/>
                  <a:gd name="T11" fmla="*/ 11 h 11"/>
                  <a:gd name="T12" fmla="*/ 5 w 11"/>
                  <a:gd name="T13" fmla="*/ 11 h 11"/>
                  <a:gd name="T14" fmla="*/ 8 w 11"/>
                  <a:gd name="T15" fmla="*/ 11 h 11"/>
                  <a:gd name="T16" fmla="*/ 10 w 11"/>
                  <a:gd name="T17" fmla="*/ 8 h 11"/>
                  <a:gd name="T18" fmla="*/ 11 w 11"/>
                  <a:gd name="T19" fmla="*/ 6 h 11"/>
                  <a:gd name="T20" fmla="*/ 8 w 11"/>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8" y="0"/>
                    </a:moveTo>
                    <a:cubicBezTo>
                      <a:pt x="5" y="0"/>
                      <a:pt x="5" y="0"/>
                      <a:pt x="5" y="0"/>
                    </a:cubicBezTo>
                    <a:cubicBezTo>
                      <a:pt x="5" y="0"/>
                      <a:pt x="5" y="0"/>
                      <a:pt x="5" y="0"/>
                    </a:cubicBezTo>
                    <a:cubicBezTo>
                      <a:pt x="2" y="0"/>
                      <a:pt x="0" y="2"/>
                      <a:pt x="0" y="6"/>
                    </a:cubicBezTo>
                    <a:cubicBezTo>
                      <a:pt x="0" y="6"/>
                      <a:pt x="0" y="7"/>
                      <a:pt x="0" y="8"/>
                    </a:cubicBezTo>
                    <a:cubicBezTo>
                      <a:pt x="1" y="10"/>
                      <a:pt x="3" y="11"/>
                      <a:pt x="5" y="11"/>
                    </a:cubicBezTo>
                    <a:cubicBezTo>
                      <a:pt x="5" y="11"/>
                      <a:pt x="5" y="11"/>
                      <a:pt x="5" y="11"/>
                    </a:cubicBezTo>
                    <a:cubicBezTo>
                      <a:pt x="8" y="11"/>
                      <a:pt x="8" y="11"/>
                      <a:pt x="8" y="11"/>
                    </a:cubicBezTo>
                    <a:cubicBezTo>
                      <a:pt x="8" y="11"/>
                      <a:pt x="10" y="9"/>
                      <a:pt x="10" y="8"/>
                    </a:cubicBezTo>
                    <a:cubicBezTo>
                      <a:pt x="11" y="7"/>
                      <a:pt x="11" y="6"/>
                      <a:pt x="11" y="6"/>
                    </a:cubicBezTo>
                    <a:cubicBezTo>
                      <a:pt x="11" y="3"/>
                      <a:pt x="8" y="0"/>
                      <a:pt x="8" y="0"/>
                    </a:cubicBezTo>
                    <a:close/>
                  </a:path>
                </a:pathLst>
              </a:cu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3" name="Freeform 70">
                <a:extLst>
                  <a:ext uri="{FF2B5EF4-FFF2-40B4-BE49-F238E27FC236}">
                    <a16:creationId xmlns:a16="http://schemas.microsoft.com/office/drawing/2014/main" id="{DC0144AD-14C2-49EF-BD87-06910B77AC31}"/>
                  </a:ext>
                </a:extLst>
              </p:cNvPr>
              <p:cNvSpPr>
                <a:spLocks/>
              </p:cNvSpPr>
              <p:nvPr/>
            </p:nvSpPr>
            <p:spPr bwMode="auto">
              <a:xfrm>
                <a:off x="3054879" y="7214658"/>
                <a:ext cx="53975" cy="15875"/>
              </a:xfrm>
              <a:custGeom>
                <a:avLst/>
                <a:gdLst>
                  <a:gd name="T0" fmla="*/ 0 w 10"/>
                  <a:gd name="T1" fmla="*/ 0 h 3"/>
                  <a:gd name="T2" fmla="*/ 5 w 10"/>
                  <a:gd name="T3" fmla="*/ 3 h 3"/>
                  <a:gd name="T4" fmla="*/ 5 w 10"/>
                  <a:gd name="T5" fmla="*/ 3 h 3"/>
                  <a:gd name="T6" fmla="*/ 8 w 10"/>
                  <a:gd name="T7" fmla="*/ 3 h 3"/>
                  <a:gd name="T8" fmla="*/ 1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cubicBezTo>
                      <a:pt x="1" y="2"/>
                      <a:pt x="3" y="3"/>
                      <a:pt x="5" y="3"/>
                    </a:cubicBezTo>
                    <a:cubicBezTo>
                      <a:pt x="5" y="3"/>
                      <a:pt x="5" y="3"/>
                      <a:pt x="5" y="3"/>
                    </a:cubicBezTo>
                    <a:cubicBezTo>
                      <a:pt x="8" y="3"/>
                      <a:pt x="8" y="3"/>
                      <a:pt x="8" y="3"/>
                    </a:cubicBezTo>
                    <a:cubicBezTo>
                      <a:pt x="8" y="3"/>
                      <a:pt x="10" y="1"/>
                      <a:pt x="10" y="0"/>
                    </a:cubicBezTo>
                    <a:lnTo>
                      <a:pt x="0" y="0"/>
                    </a:lnTo>
                    <a:close/>
                  </a:path>
                </a:pathLst>
              </a:cu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4" name="Oval 71">
                <a:extLst>
                  <a:ext uri="{FF2B5EF4-FFF2-40B4-BE49-F238E27FC236}">
                    <a16:creationId xmlns:a16="http://schemas.microsoft.com/office/drawing/2014/main" id="{6F76F7A7-588D-42F9-82F1-2353D9B41A2C}"/>
                  </a:ext>
                </a:extLst>
              </p:cNvPr>
              <p:cNvSpPr>
                <a:spLocks noChangeArrowheads="1"/>
              </p:cNvSpPr>
              <p:nvPr/>
            </p:nvSpPr>
            <p:spPr bwMode="auto">
              <a:xfrm>
                <a:off x="3081866" y="7167033"/>
                <a:ext cx="69850" cy="69850"/>
              </a:xfrm>
              <a:prstGeom prst="ellipse">
                <a:avLst/>
              </a:prstGeom>
              <a:solidFill>
                <a:srgbClr val="6E72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5" name="Oval 72">
                <a:extLst>
                  <a:ext uri="{FF2B5EF4-FFF2-40B4-BE49-F238E27FC236}">
                    <a16:creationId xmlns:a16="http://schemas.microsoft.com/office/drawing/2014/main" id="{37A87AE2-F7E9-41EA-B0D7-E8F58F89107F}"/>
                  </a:ext>
                </a:extLst>
              </p:cNvPr>
              <p:cNvSpPr>
                <a:spLocks noChangeArrowheads="1"/>
              </p:cNvSpPr>
              <p:nvPr/>
            </p:nvSpPr>
            <p:spPr bwMode="auto">
              <a:xfrm>
                <a:off x="3081866" y="7167033"/>
                <a:ext cx="69850" cy="69850"/>
              </a:xfrm>
              <a:prstGeom prst="ellipse">
                <a:avLst/>
              </a:prstGeom>
              <a:solidFill>
                <a:schemeClr val="tx1">
                  <a:lumMod val="8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6" name="Oval 73">
                <a:extLst>
                  <a:ext uri="{FF2B5EF4-FFF2-40B4-BE49-F238E27FC236}">
                    <a16:creationId xmlns:a16="http://schemas.microsoft.com/office/drawing/2014/main" id="{E8951EB3-94DC-4DCB-9CB8-D85813D7F2DB}"/>
                  </a:ext>
                </a:extLst>
              </p:cNvPr>
              <p:cNvSpPr>
                <a:spLocks noChangeArrowheads="1"/>
              </p:cNvSpPr>
              <p:nvPr/>
            </p:nvSpPr>
            <p:spPr bwMode="auto">
              <a:xfrm>
                <a:off x="3097741" y="7178145"/>
                <a:ext cx="42863" cy="47625"/>
              </a:xfrm>
              <a:prstGeom prst="ellipse">
                <a:avLst/>
              </a:pr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7" name="Oval 74">
                <a:extLst>
                  <a:ext uri="{FF2B5EF4-FFF2-40B4-BE49-F238E27FC236}">
                    <a16:creationId xmlns:a16="http://schemas.microsoft.com/office/drawing/2014/main" id="{2B4DA07B-AEAD-49EF-8D93-660E16BE2327}"/>
                  </a:ext>
                </a:extLst>
              </p:cNvPr>
              <p:cNvSpPr>
                <a:spLocks noChangeArrowheads="1"/>
              </p:cNvSpPr>
              <p:nvPr/>
            </p:nvSpPr>
            <p:spPr bwMode="auto">
              <a:xfrm>
                <a:off x="3097741" y="7178145"/>
                <a:ext cx="42863" cy="47625"/>
              </a:xfrm>
              <a:prstGeom prst="ellipse">
                <a:avLst/>
              </a:pr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38" name="Oval 41">
                <a:extLst>
                  <a:ext uri="{FF2B5EF4-FFF2-40B4-BE49-F238E27FC236}">
                    <a16:creationId xmlns:a16="http://schemas.microsoft.com/office/drawing/2014/main" id="{F544D6FA-01FF-47CD-B129-8DF8400E65E0}"/>
                  </a:ext>
                </a:extLst>
              </p:cNvPr>
              <p:cNvSpPr>
                <a:spLocks noChangeArrowheads="1"/>
              </p:cNvSpPr>
              <p:nvPr/>
            </p:nvSpPr>
            <p:spPr bwMode="auto">
              <a:xfrm>
                <a:off x="2523701" y="5540005"/>
                <a:ext cx="46014" cy="45719"/>
              </a:xfrm>
              <a:prstGeom prst="ellipse">
                <a:avLst/>
              </a:pr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39" name="Oval 41">
                <a:extLst>
                  <a:ext uri="{FF2B5EF4-FFF2-40B4-BE49-F238E27FC236}">
                    <a16:creationId xmlns:a16="http://schemas.microsoft.com/office/drawing/2014/main" id="{29903C29-17C0-4A8B-94DA-1FA9B18631B4}"/>
                  </a:ext>
                </a:extLst>
              </p:cNvPr>
              <p:cNvSpPr>
                <a:spLocks noChangeArrowheads="1"/>
              </p:cNvSpPr>
              <p:nvPr/>
            </p:nvSpPr>
            <p:spPr bwMode="auto">
              <a:xfrm>
                <a:off x="3004714" y="5540005"/>
                <a:ext cx="46014" cy="45719"/>
              </a:xfrm>
              <a:prstGeom prst="ellipse">
                <a:avLst/>
              </a:pr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nvGrpSpPr>
            <p:cNvPr id="505" name="Group 504">
              <a:extLst>
                <a:ext uri="{FF2B5EF4-FFF2-40B4-BE49-F238E27FC236}">
                  <a16:creationId xmlns:a16="http://schemas.microsoft.com/office/drawing/2014/main" id="{EB46A555-501A-4A2B-98DE-39869BEFE77A}"/>
                </a:ext>
              </a:extLst>
            </p:cNvPr>
            <p:cNvGrpSpPr/>
            <p:nvPr/>
          </p:nvGrpSpPr>
          <p:grpSpPr>
            <a:xfrm flipH="1">
              <a:off x="3812222" y="3980920"/>
              <a:ext cx="1012825" cy="3409950"/>
              <a:chOff x="2159529" y="3980920"/>
              <a:chExt cx="1012825" cy="3409950"/>
            </a:xfrm>
          </p:grpSpPr>
          <p:sp>
            <p:nvSpPr>
              <p:cNvPr id="506" name="Freeform 13">
                <a:extLst>
                  <a:ext uri="{FF2B5EF4-FFF2-40B4-BE49-F238E27FC236}">
                    <a16:creationId xmlns:a16="http://schemas.microsoft.com/office/drawing/2014/main" id="{11559FFD-0BAC-491C-A8E6-C105543985D9}"/>
                  </a:ext>
                </a:extLst>
              </p:cNvPr>
              <p:cNvSpPr>
                <a:spLocks/>
              </p:cNvSpPr>
              <p:nvPr/>
            </p:nvSpPr>
            <p:spPr bwMode="auto">
              <a:xfrm>
                <a:off x="2159529" y="7006695"/>
                <a:ext cx="1012825" cy="384175"/>
              </a:xfrm>
              <a:custGeom>
                <a:avLst/>
                <a:gdLst>
                  <a:gd name="T0" fmla="*/ 32 w 188"/>
                  <a:gd name="T1" fmla="*/ 0 h 72"/>
                  <a:gd name="T2" fmla="*/ 0 w 188"/>
                  <a:gd name="T3" fmla="*/ 33 h 72"/>
                  <a:gd name="T4" fmla="*/ 0 w 188"/>
                  <a:gd name="T5" fmla="*/ 39 h 72"/>
                  <a:gd name="T6" fmla="*/ 3 w 188"/>
                  <a:gd name="T7" fmla="*/ 53 h 72"/>
                  <a:gd name="T8" fmla="*/ 32 w 188"/>
                  <a:gd name="T9" fmla="*/ 72 h 72"/>
                  <a:gd name="T10" fmla="*/ 180 w 188"/>
                  <a:gd name="T11" fmla="*/ 72 h 72"/>
                  <a:gd name="T12" fmla="*/ 188 w 188"/>
                  <a:gd name="T13" fmla="*/ 64 h 72"/>
                  <a:gd name="T14" fmla="*/ 188 w 188"/>
                  <a:gd name="T15" fmla="*/ 53 h 72"/>
                  <a:gd name="T16" fmla="*/ 188 w 188"/>
                  <a:gd name="T17" fmla="*/ 8 h 72"/>
                  <a:gd name="T18" fmla="*/ 180 w 188"/>
                  <a:gd name="T19" fmla="*/ 0 h 72"/>
                  <a:gd name="T20" fmla="*/ 32 w 188"/>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72">
                    <a:moveTo>
                      <a:pt x="32" y="0"/>
                    </a:moveTo>
                    <a:cubicBezTo>
                      <a:pt x="14" y="0"/>
                      <a:pt x="0" y="14"/>
                      <a:pt x="0" y="33"/>
                    </a:cubicBezTo>
                    <a:cubicBezTo>
                      <a:pt x="0" y="39"/>
                      <a:pt x="0" y="39"/>
                      <a:pt x="0" y="39"/>
                    </a:cubicBezTo>
                    <a:cubicBezTo>
                      <a:pt x="0" y="44"/>
                      <a:pt x="1" y="48"/>
                      <a:pt x="3" y="53"/>
                    </a:cubicBezTo>
                    <a:cubicBezTo>
                      <a:pt x="8" y="64"/>
                      <a:pt x="19" y="72"/>
                      <a:pt x="32" y="72"/>
                    </a:cubicBezTo>
                    <a:cubicBezTo>
                      <a:pt x="180" y="72"/>
                      <a:pt x="180" y="72"/>
                      <a:pt x="180" y="72"/>
                    </a:cubicBezTo>
                    <a:cubicBezTo>
                      <a:pt x="185" y="72"/>
                      <a:pt x="188" y="68"/>
                      <a:pt x="188" y="64"/>
                    </a:cubicBezTo>
                    <a:cubicBezTo>
                      <a:pt x="188" y="53"/>
                      <a:pt x="188" y="53"/>
                      <a:pt x="188" y="53"/>
                    </a:cubicBezTo>
                    <a:cubicBezTo>
                      <a:pt x="188" y="8"/>
                      <a:pt x="188" y="8"/>
                      <a:pt x="188" y="8"/>
                    </a:cubicBezTo>
                    <a:cubicBezTo>
                      <a:pt x="188" y="3"/>
                      <a:pt x="185" y="0"/>
                      <a:pt x="180" y="0"/>
                    </a:cubicBezTo>
                    <a:lnTo>
                      <a:pt x="32" y="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07" name="Freeform 14">
                <a:extLst>
                  <a:ext uri="{FF2B5EF4-FFF2-40B4-BE49-F238E27FC236}">
                    <a16:creationId xmlns:a16="http://schemas.microsoft.com/office/drawing/2014/main" id="{142A44B2-6D0E-473B-93AC-6CC3FA7A7497}"/>
                  </a:ext>
                </a:extLst>
              </p:cNvPr>
              <p:cNvSpPr>
                <a:spLocks/>
              </p:cNvSpPr>
              <p:nvPr/>
            </p:nvSpPr>
            <p:spPr bwMode="auto">
              <a:xfrm>
                <a:off x="2175404" y="7289270"/>
                <a:ext cx="996950" cy="101600"/>
              </a:xfrm>
              <a:custGeom>
                <a:avLst/>
                <a:gdLst>
                  <a:gd name="T0" fmla="*/ 0 w 185"/>
                  <a:gd name="T1" fmla="*/ 0 h 19"/>
                  <a:gd name="T2" fmla="*/ 29 w 185"/>
                  <a:gd name="T3" fmla="*/ 19 h 19"/>
                  <a:gd name="T4" fmla="*/ 177 w 185"/>
                  <a:gd name="T5" fmla="*/ 19 h 19"/>
                  <a:gd name="T6" fmla="*/ 185 w 185"/>
                  <a:gd name="T7" fmla="*/ 11 h 19"/>
                  <a:gd name="T8" fmla="*/ 185 w 185"/>
                  <a:gd name="T9" fmla="*/ 0 h 19"/>
                  <a:gd name="T10" fmla="*/ 0 w 185"/>
                  <a:gd name="T11" fmla="*/ 0 h 19"/>
                </a:gdLst>
                <a:ahLst/>
                <a:cxnLst>
                  <a:cxn ang="0">
                    <a:pos x="T0" y="T1"/>
                  </a:cxn>
                  <a:cxn ang="0">
                    <a:pos x="T2" y="T3"/>
                  </a:cxn>
                  <a:cxn ang="0">
                    <a:pos x="T4" y="T5"/>
                  </a:cxn>
                  <a:cxn ang="0">
                    <a:pos x="T6" y="T7"/>
                  </a:cxn>
                  <a:cxn ang="0">
                    <a:pos x="T8" y="T9"/>
                  </a:cxn>
                  <a:cxn ang="0">
                    <a:pos x="T10" y="T11"/>
                  </a:cxn>
                </a:cxnLst>
                <a:rect l="0" t="0" r="r" b="b"/>
                <a:pathLst>
                  <a:path w="185" h="19">
                    <a:moveTo>
                      <a:pt x="0" y="0"/>
                    </a:moveTo>
                    <a:cubicBezTo>
                      <a:pt x="5" y="11"/>
                      <a:pt x="16" y="19"/>
                      <a:pt x="29" y="19"/>
                    </a:cubicBezTo>
                    <a:cubicBezTo>
                      <a:pt x="177" y="19"/>
                      <a:pt x="177" y="19"/>
                      <a:pt x="177" y="19"/>
                    </a:cubicBezTo>
                    <a:cubicBezTo>
                      <a:pt x="182" y="19"/>
                      <a:pt x="185" y="15"/>
                      <a:pt x="185" y="11"/>
                    </a:cubicBezTo>
                    <a:cubicBezTo>
                      <a:pt x="185" y="0"/>
                      <a:pt x="185" y="0"/>
                      <a:pt x="185" y="0"/>
                    </a:cubicBez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08" name="Freeform 35">
                <a:extLst>
                  <a:ext uri="{FF2B5EF4-FFF2-40B4-BE49-F238E27FC236}">
                    <a16:creationId xmlns:a16="http://schemas.microsoft.com/office/drawing/2014/main" id="{666F3990-6172-4A26-BA7F-B9F300082470}"/>
                  </a:ext>
                </a:extLst>
              </p:cNvPr>
              <p:cNvSpPr>
                <a:spLocks/>
              </p:cNvSpPr>
              <p:nvPr/>
            </p:nvSpPr>
            <p:spPr bwMode="auto">
              <a:xfrm>
                <a:off x="2445279" y="3980920"/>
                <a:ext cx="727075" cy="1463675"/>
              </a:xfrm>
              <a:custGeom>
                <a:avLst/>
                <a:gdLst>
                  <a:gd name="T0" fmla="*/ 135 w 135"/>
                  <a:gd name="T1" fmla="*/ 9 h 274"/>
                  <a:gd name="T2" fmla="*/ 126 w 135"/>
                  <a:gd name="T3" fmla="*/ 0 h 274"/>
                  <a:gd name="T4" fmla="*/ 58 w 135"/>
                  <a:gd name="T5" fmla="*/ 0 h 274"/>
                  <a:gd name="T6" fmla="*/ 47 w 135"/>
                  <a:gd name="T7" fmla="*/ 9 h 274"/>
                  <a:gd name="T8" fmla="*/ 1 w 135"/>
                  <a:gd name="T9" fmla="*/ 265 h 274"/>
                  <a:gd name="T10" fmla="*/ 9 w 135"/>
                  <a:gd name="T11" fmla="*/ 274 h 274"/>
                  <a:gd name="T12" fmla="*/ 126 w 135"/>
                  <a:gd name="T13" fmla="*/ 274 h 274"/>
                  <a:gd name="T14" fmla="*/ 135 w 135"/>
                  <a:gd name="T15" fmla="*/ 265 h 274"/>
                  <a:gd name="T16" fmla="*/ 135 w 135"/>
                  <a:gd name="T17" fmla="*/ 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274">
                    <a:moveTo>
                      <a:pt x="135" y="9"/>
                    </a:moveTo>
                    <a:cubicBezTo>
                      <a:pt x="135" y="4"/>
                      <a:pt x="131" y="0"/>
                      <a:pt x="126" y="0"/>
                    </a:cubicBezTo>
                    <a:cubicBezTo>
                      <a:pt x="58" y="0"/>
                      <a:pt x="58" y="0"/>
                      <a:pt x="58" y="0"/>
                    </a:cubicBezTo>
                    <a:cubicBezTo>
                      <a:pt x="53" y="0"/>
                      <a:pt x="48" y="4"/>
                      <a:pt x="47" y="9"/>
                    </a:cubicBezTo>
                    <a:cubicBezTo>
                      <a:pt x="1" y="265"/>
                      <a:pt x="1" y="265"/>
                      <a:pt x="1" y="265"/>
                    </a:cubicBezTo>
                    <a:cubicBezTo>
                      <a:pt x="0" y="270"/>
                      <a:pt x="3" y="274"/>
                      <a:pt x="9" y="274"/>
                    </a:cubicBezTo>
                    <a:cubicBezTo>
                      <a:pt x="126" y="274"/>
                      <a:pt x="126" y="274"/>
                      <a:pt x="126" y="274"/>
                    </a:cubicBezTo>
                    <a:cubicBezTo>
                      <a:pt x="131" y="274"/>
                      <a:pt x="135" y="270"/>
                      <a:pt x="135" y="265"/>
                    </a:cubicBezTo>
                    <a:lnTo>
                      <a:pt x="135" y="9"/>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09" name="Oval 41">
                <a:extLst>
                  <a:ext uri="{FF2B5EF4-FFF2-40B4-BE49-F238E27FC236}">
                    <a16:creationId xmlns:a16="http://schemas.microsoft.com/office/drawing/2014/main" id="{6CDD4726-38F9-4E6B-A7F5-051D036C43FB}"/>
                  </a:ext>
                </a:extLst>
              </p:cNvPr>
              <p:cNvSpPr>
                <a:spLocks noChangeArrowheads="1"/>
              </p:cNvSpPr>
              <p:nvPr/>
            </p:nvSpPr>
            <p:spPr bwMode="auto">
              <a:xfrm>
                <a:off x="2719916" y="5060420"/>
                <a:ext cx="247650" cy="246063"/>
              </a:xfrm>
              <a:prstGeom prst="ellipse">
                <a:avLst/>
              </a:pr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10" name="Freeform 43">
                <a:extLst>
                  <a:ext uri="{FF2B5EF4-FFF2-40B4-BE49-F238E27FC236}">
                    <a16:creationId xmlns:a16="http://schemas.microsoft.com/office/drawing/2014/main" id="{F7ED32AC-B5E6-4860-83A4-0830B198B992}"/>
                  </a:ext>
                </a:extLst>
              </p:cNvPr>
              <p:cNvSpPr>
                <a:spLocks/>
              </p:cNvSpPr>
              <p:nvPr/>
            </p:nvSpPr>
            <p:spPr bwMode="auto">
              <a:xfrm>
                <a:off x="2440516" y="5444595"/>
                <a:ext cx="731838" cy="236538"/>
              </a:xfrm>
              <a:custGeom>
                <a:avLst/>
                <a:gdLst>
                  <a:gd name="T0" fmla="*/ 0 w 136"/>
                  <a:gd name="T1" fmla="*/ 34 h 44"/>
                  <a:gd name="T2" fmla="*/ 10 w 136"/>
                  <a:gd name="T3" fmla="*/ 44 h 44"/>
                  <a:gd name="T4" fmla="*/ 127 w 136"/>
                  <a:gd name="T5" fmla="*/ 44 h 44"/>
                  <a:gd name="T6" fmla="*/ 136 w 136"/>
                  <a:gd name="T7" fmla="*/ 34 h 44"/>
                  <a:gd name="T8" fmla="*/ 136 w 136"/>
                  <a:gd name="T9" fmla="*/ 10 h 44"/>
                  <a:gd name="T10" fmla="*/ 127 w 136"/>
                  <a:gd name="T11" fmla="*/ 0 h 44"/>
                  <a:gd name="T12" fmla="*/ 10 w 136"/>
                  <a:gd name="T13" fmla="*/ 0 h 44"/>
                  <a:gd name="T14" fmla="*/ 0 w 136"/>
                  <a:gd name="T15" fmla="*/ 10 h 44"/>
                  <a:gd name="T16" fmla="*/ 0 w 136"/>
                  <a:gd name="T17"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44">
                    <a:moveTo>
                      <a:pt x="0" y="34"/>
                    </a:moveTo>
                    <a:cubicBezTo>
                      <a:pt x="0" y="40"/>
                      <a:pt x="4" y="44"/>
                      <a:pt x="10" y="44"/>
                    </a:cubicBezTo>
                    <a:cubicBezTo>
                      <a:pt x="127" y="44"/>
                      <a:pt x="127" y="44"/>
                      <a:pt x="127" y="44"/>
                    </a:cubicBezTo>
                    <a:cubicBezTo>
                      <a:pt x="132" y="44"/>
                      <a:pt x="136" y="40"/>
                      <a:pt x="136" y="34"/>
                    </a:cubicBezTo>
                    <a:cubicBezTo>
                      <a:pt x="136" y="10"/>
                      <a:pt x="136" y="10"/>
                      <a:pt x="136" y="10"/>
                    </a:cubicBezTo>
                    <a:cubicBezTo>
                      <a:pt x="136" y="5"/>
                      <a:pt x="132" y="0"/>
                      <a:pt x="127" y="0"/>
                    </a:cubicBezTo>
                    <a:cubicBezTo>
                      <a:pt x="10" y="0"/>
                      <a:pt x="10" y="0"/>
                      <a:pt x="10" y="0"/>
                    </a:cubicBezTo>
                    <a:cubicBezTo>
                      <a:pt x="4" y="0"/>
                      <a:pt x="0" y="5"/>
                      <a:pt x="0" y="10"/>
                    </a:cubicBezTo>
                    <a:lnTo>
                      <a:pt x="0" y="34"/>
                    </a:ln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1" name="Freeform 45">
                <a:extLst>
                  <a:ext uri="{FF2B5EF4-FFF2-40B4-BE49-F238E27FC236}">
                    <a16:creationId xmlns:a16="http://schemas.microsoft.com/office/drawing/2014/main" id="{A5114AF3-2581-43D1-B8B5-FDBBA7733658}"/>
                  </a:ext>
                </a:extLst>
              </p:cNvPr>
              <p:cNvSpPr>
                <a:spLocks/>
              </p:cNvSpPr>
              <p:nvPr/>
            </p:nvSpPr>
            <p:spPr bwMode="auto">
              <a:xfrm>
                <a:off x="2440516" y="5681133"/>
                <a:ext cx="731838" cy="1063625"/>
              </a:xfrm>
              <a:custGeom>
                <a:avLst/>
                <a:gdLst>
                  <a:gd name="T0" fmla="*/ 136 w 136"/>
                  <a:gd name="T1" fmla="*/ 190 h 199"/>
                  <a:gd name="T2" fmla="*/ 127 w 136"/>
                  <a:gd name="T3" fmla="*/ 199 h 199"/>
                  <a:gd name="T4" fmla="*/ 10 w 136"/>
                  <a:gd name="T5" fmla="*/ 199 h 199"/>
                  <a:gd name="T6" fmla="*/ 0 w 136"/>
                  <a:gd name="T7" fmla="*/ 190 h 199"/>
                  <a:gd name="T8" fmla="*/ 0 w 136"/>
                  <a:gd name="T9" fmla="*/ 9 h 199"/>
                  <a:gd name="T10" fmla="*/ 10 w 136"/>
                  <a:gd name="T11" fmla="*/ 0 h 199"/>
                  <a:gd name="T12" fmla="*/ 127 w 136"/>
                  <a:gd name="T13" fmla="*/ 0 h 199"/>
                  <a:gd name="T14" fmla="*/ 136 w 136"/>
                  <a:gd name="T15" fmla="*/ 9 h 199"/>
                  <a:gd name="T16" fmla="*/ 136 w 136"/>
                  <a:gd name="T17" fmla="*/ 19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199">
                    <a:moveTo>
                      <a:pt x="136" y="190"/>
                    </a:moveTo>
                    <a:cubicBezTo>
                      <a:pt x="136" y="195"/>
                      <a:pt x="132" y="199"/>
                      <a:pt x="127" y="199"/>
                    </a:cubicBezTo>
                    <a:cubicBezTo>
                      <a:pt x="10" y="199"/>
                      <a:pt x="10" y="199"/>
                      <a:pt x="10" y="199"/>
                    </a:cubicBezTo>
                    <a:cubicBezTo>
                      <a:pt x="4" y="199"/>
                      <a:pt x="0" y="195"/>
                      <a:pt x="0" y="190"/>
                    </a:cubicBezTo>
                    <a:cubicBezTo>
                      <a:pt x="0" y="9"/>
                      <a:pt x="0" y="9"/>
                      <a:pt x="0" y="9"/>
                    </a:cubicBezTo>
                    <a:cubicBezTo>
                      <a:pt x="0" y="4"/>
                      <a:pt x="4" y="0"/>
                      <a:pt x="10" y="0"/>
                    </a:cubicBezTo>
                    <a:cubicBezTo>
                      <a:pt x="127" y="0"/>
                      <a:pt x="127" y="0"/>
                      <a:pt x="127" y="0"/>
                    </a:cubicBezTo>
                    <a:cubicBezTo>
                      <a:pt x="132" y="0"/>
                      <a:pt x="136" y="4"/>
                      <a:pt x="136" y="9"/>
                    </a:cubicBezTo>
                    <a:lnTo>
                      <a:pt x="136" y="190"/>
                    </a:lnTo>
                    <a:close/>
                  </a:path>
                </a:pathLst>
              </a:custGeom>
              <a:solidFill>
                <a:srgbClr val="A6A6A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2" name="Freeform 47">
                <a:extLst>
                  <a:ext uri="{FF2B5EF4-FFF2-40B4-BE49-F238E27FC236}">
                    <a16:creationId xmlns:a16="http://schemas.microsoft.com/office/drawing/2014/main" id="{972DB60D-5943-46C9-A7D1-7158E1D175F2}"/>
                  </a:ext>
                </a:extLst>
              </p:cNvPr>
              <p:cNvSpPr>
                <a:spLocks/>
              </p:cNvSpPr>
              <p:nvPr/>
            </p:nvSpPr>
            <p:spPr bwMode="auto">
              <a:xfrm>
                <a:off x="2537354" y="6476470"/>
                <a:ext cx="544513" cy="171450"/>
              </a:xfrm>
              <a:custGeom>
                <a:avLst/>
                <a:gdLst>
                  <a:gd name="T0" fmla="*/ 0 w 101"/>
                  <a:gd name="T1" fmla="*/ 23 h 32"/>
                  <a:gd name="T2" fmla="*/ 9 w 101"/>
                  <a:gd name="T3" fmla="*/ 32 h 32"/>
                  <a:gd name="T4" fmla="*/ 91 w 101"/>
                  <a:gd name="T5" fmla="*/ 32 h 32"/>
                  <a:gd name="T6" fmla="*/ 101 w 101"/>
                  <a:gd name="T7" fmla="*/ 23 h 32"/>
                  <a:gd name="T8" fmla="*/ 101 w 101"/>
                  <a:gd name="T9" fmla="*/ 9 h 32"/>
                  <a:gd name="T10" fmla="*/ 91 w 101"/>
                  <a:gd name="T11" fmla="*/ 0 h 32"/>
                  <a:gd name="T12" fmla="*/ 9 w 101"/>
                  <a:gd name="T13" fmla="*/ 0 h 32"/>
                  <a:gd name="T14" fmla="*/ 0 w 101"/>
                  <a:gd name="T15" fmla="*/ 9 h 32"/>
                  <a:gd name="T16" fmla="*/ 0 w 101"/>
                  <a:gd name="T1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32">
                    <a:moveTo>
                      <a:pt x="0" y="23"/>
                    </a:moveTo>
                    <a:cubicBezTo>
                      <a:pt x="0" y="28"/>
                      <a:pt x="4" y="32"/>
                      <a:pt x="9" y="32"/>
                    </a:cubicBezTo>
                    <a:cubicBezTo>
                      <a:pt x="91" y="32"/>
                      <a:pt x="91" y="32"/>
                      <a:pt x="91" y="32"/>
                    </a:cubicBezTo>
                    <a:cubicBezTo>
                      <a:pt x="97" y="32"/>
                      <a:pt x="101" y="28"/>
                      <a:pt x="101" y="23"/>
                    </a:cubicBezTo>
                    <a:cubicBezTo>
                      <a:pt x="101" y="9"/>
                      <a:pt x="101" y="9"/>
                      <a:pt x="101" y="9"/>
                    </a:cubicBezTo>
                    <a:cubicBezTo>
                      <a:pt x="101" y="4"/>
                      <a:pt x="97" y="0"/>
                      <a:pt x="91" y="0"/>
                    </a:cubicBezTo>
                    <a:cubicBezTo>
                      <a:pt x="9" y="0"/>
                      <a:pt x="9" y="0"/>
                      <a:pt x="9" y="0"/>
                    </a:cubicBezTo>
                    <a:cubicBezTo>
                      <a:pt x="4" y="0"/>
                      <a:pt x="0" y="4"/>
                      <a:pt x="0" y="9"/>
                    </a:cubicBezTo>
                    <a:lnTo>
                      <a:pt x="0" y="23"/>
                    </a:lnTo>
                    <a:close/>
                  </a:path>
                </a:pathLst>
              </a:cu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13" name="Freeform 66">
                <a:extLst>
                  <a:ext uri="{FF2B5EF4-FFF2-40B4-BE49-F238E27FC236}">
                    <a16:creationId xmlns:a16="http://schemas.microsoft.com/office/drawing/2014/main" id="{7DEFCDB5-F4A0-4076-89CC-726FEE509529}"/>
                  </a:ext>
                </a:extLst>
              </p:cNvPr>
              <p:cNvSpPr>
                <a:spLocks/>
              </p:cNvSpPr>
              <p:nvPr/>
            </p:nvSpPr>
            <p:spPr bwMode="auto">
              <a:xfrm>
                <a:off x="2440516" y="6749520"/>
                <a:ext cx="731838" cy="234950"/>
              </a:xfrm>
              <a:custGeom>
                <a:avLst/>
                <a:gdLst>
                  <a:gd name="T0" fmla="*/ 0 w 136"/>
                  <a:gd name="T1" fmla="*/ 34 h 44"/>
                  <a:gd name="T2" fmla="*/ 10 w 136"/>
                  <a:gd name="T3" fmla="*/ 44 h 44"/>
                  <a:gd name="T4" fmla="*/ 127 w 136"/>
                  <a:gd name="T5" fmla="*/ 44 h 44"/>
                  <a:gd name="T6" fmla="*/ 136 w 136"/>
                  <a:gd name="T7" fmla="*/ 34 h 44"/>
                  <a:gd name="T8" fmla="*/ 136 w 136"/>
                  <a:gd name="T9" fmla="*/ 10 h 44"/>
                  <a:gd name="T10" fmla="*/ 127 w 136"/>
                  <a:gd name="T11" fmla="*/ 0 h 44"/>
                  <a:gd name="T12" fmla="*/ 10 w 136"/>
                  <a:gd name="T13" fmla="*/ 0 h 44"/>
                  <a:gd name="T14" fmla="*/ 0 w 136"/>
                  <a:gd name="T15" fmla="*/ 10 h 44"/>
                  <a:gd name="T16" fmla="*/ 0 w 136"/>
                  <a:gd name="T17"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44">
                    <a:moveTo>
                      <a:pt x="0" y="34"/>
                    </a:moveTo>
                    <a:cubicBezTo>
                      <a:pt x="0" y="39"/>
                      <a:pt x="4" y="44"/>
                      <a:pt x="10" y="44"/>
                    </a:cubicBezTo>
                    <a:cubicBezTo>
                      <a:pt x="127" y="44"/>
                      <a:pt x="127" y="44"/>
                      <a:pt x="127" y="44"/>
                    </a:cubicBezTo>
                    <a:cubicBezTo>
                      <a:pt x="132" y="44"/>
                      <a:pt x="136" y="39"/>
                      <a:pt x="136" y="34"/>
                    </a:cubicBezTo>
                    <a:cubicBezTo>
                      <a:pt x="136" y="10"/>
                      <a:pt x="136" y="10"/>
                      <a:pt x="136" y="10"/>
                    </a:cubicBezTo>
                    <a:cubicBezTo>
                      <a:pt x="136" y="4"/>
                      <a:pt x="132" y="0"/>
                      <a:pt x="127" y="0"/>
                    </a:cubicBezTo>
                    <a:cubicBezTo>
                      <a:pt x="10" y="0"/>
                      <a:pt x="10" y="0"/>
                      <a:pt x="10" y="0"/>
                    </a:cubicBezTo>
                    <a:cubicBezTo>
                      <a:pt x="4" y="0"/>
                      <a:pt x="0" y="4"/>
                      <a:pt x="0" y="10"/>
                    </a:cubicBezTo>
                    <a:lnTo>
                      <a:pt x="0" y="34"/>
                    </a:ln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4" name="Freeform 68">
                <a:extLst>
                  <a:ext uri="{FF2B5EF4-FFF2-40B4-BE49-F238E27FC236}">
                    <a16:creationId xmlns:a16="http://schemas.microsoft.com/office/drawing/2014/main" id="{4C54916E-7569-484A-8DBF-EE0AB515B790}"/>
                  </a:ext>
                </a:extLst>
              </p:cNvPr>
              <p:cNvSpPr>
                <a:spLocks/>
              </p:cNvSpPr>
              <p:nvPr/>
            </p:nvSpPr>
            <p:spPr bwMode="auto">
              <a:xfrm>
                <a:off x="2704041" y="7006695"/>
                <a:ext cx="468313" cy="384175"/>
              </a:xfrm>
              <a:custGeom>
                <a:avLst/>
                <a:gdLst>
                  <a:gd name="T0" fmla="*/ 33 w 87"/>
                  <a:gd name="T1" fmla="*/ 72 h 72"/>
                  <a:gd name="T2" fmla="*/ 79 w 87"/>
                  <a:gd name="T3" fmla="*/ 72 h 72"/>
                  <a:gd name="T4" fmla="*/ 87 w 87"/>
                  <a:gd name="T5" fmla="*/ 64 h 72"/>
                  <a:gd name="T6" fmla="*/ 87 w 87"/>
                  <a:gd name="T7" fmla="*/ 8 h 72"/>
                  <a:gd name="T8" fmla="*/ 79 w 87"/>
                  <a:gd name="T9" fmla="*/ 0 h 72"/>
                  <a:gd name="T10" fmla="*/ 33 w 87"/>
                  <a:gd name="T11" fmla="*/ 0 h 72"/>
                  <a:gd name="T12" fmla="*/ 0 w 87"/>
                  <a:gd name="T13" fmla="*/ 33 h 72"/>
                  <a:gd name="T14" fmla="*/ 0 w 87"/>
                  <a:gd name="T15" fmla="*/ 39 h 72"/>
                  <a:gd name="T16" fmla="*/ 33 w 87"/>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72">
                    <a:moveTo>
                      <a:pt x="33" y="72"/>
                    </a:moveTo>
                    <a:cubicBezTo>
                      <a:pt x="79" y="72"/>
                      <a:pt x="79" y="72"/>
                      <a:pt x="79" y="72"/>
                    </a:cubicBezTo>
                    <a:cubicBezTo>
                      <a:pt x="84" y="72"/>
                      <a:pt x="87" y="68"/>
                      <a:pt x="87" y="64"/>
                    </a:cubicBezTo>
                    <a:cubicBezTo>
                      <a:pt x="87" y="8"/>
                      <a:pt x="87" y="8"/>
                      <a:pt x="87" y="8"/>
                    </a:cubicBezTo>
                    <a:cubicBezTo>
                      <a:pt x="87" y="3"/>
                      <a:pt x="84" y="0"/>
                      <a:pt x="79" y="0"/>
                    </a:cubicBezTo>
                    <a:cubicBezTo>
                      <a:pt x="33" y="0"/>
                      <a:pt x="33" y="0"/>
                      <a:pt x="33" y="0"/>
                    </a:cubicBezTo>
                    <a:cubicBezTo>
                      <a:pt x="15" y="0"/>
                      <a:pt x="0" y="14"/>
                      <a:pt x="0" y="33"/>
                    </a:cubicBezTo>
                    <a:cubicBezTo>
                      <a:pt x="0" y="39"/>
                      <a:pt x="0" y="39"/>
                      <a:pt x="0" y="39"/>
                    </a:cubicBezTo>
                    <a:cubicBezTo>
                      <a:pt x="0" y="57"/>
                      <a:pt x="15" y="72"/>
                      <a:pt x="33" y="72"/>
                    </a:cubicBezTo>
                    <a:close/>
                  </a:path>
                </a:pathLst>
              </a:custGeom>
              <a:solidFill>
                <a:schemeClr val="accent6"/>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5" name="Freeform 69">
                <a:extLst>
                  <a:ext uri="{FF2B5EF4-FFF2-40B4-BE49-F238E27FC236}">
                    <a16:creationId xmlns:a16="http://schemas.microsoft.com/office/drawing/2014/main" id="{CEFE759A-E7AE-423E-84BC-B7C6C8E7DD37}"/>
                  </a:ext>
                </a:extLst>
              </p:cNvPr>
              <p:cNvSpPr>
                <a:spLocks/>
              </p:cNvSpPr>
              <p:nvPr/>
            </p:nvSpPr>
            <p:spPr bwMode="auto">
              <a:xfrm>
                <a:off x="3054879" y="7171795"/>
                <a:ext cx="58738" cy="58738"/>
              </a:xfrm>
              <a:custGeom>
                <a:avLst/>
                <a:gdLst>
                  <a:gd name="T0" fmla="*/ 8 w 11"/>
                  <a:gd name="T1" fmla="*/ 0 h 11"/>
                  <a:gd name="T2" fmla="*/ 5 w 11"/>
                  <a:gd name="T3" fmla="*/ 0 h 11"/>
                  <a:gd name="T4" fmla="*/ 5 w 11"/>
                  <a:gd name="T5" fmla="*/ 0 h 11"/>
                  <a:gd name="T6" fmla="*/ 0 w 11"/>
                  <a:gd name="T7" fmla="*/ 6 h 11"/>
                  <a:gd name="T8" fmla="*/ 0 w 11"/>
                  <a:gd name="T9" fmla="*/ 8 h 11"/>
                  <a:gd name="T10" fmla="*/ 5 w 11"/>
                  <a:gd name="T11" fmla="*/ 11 h 11"/>
                  <a:gd name="T12" fmla="*/ 5 w 11"/>
                  <a:gd name="T13" fmla="*/ 11 h 11"/>
                  <a:gd name="T14" fmla="*/ 8 w 11"/>
                  <a:gd name="T15" fmla="*/ 11 h 11"/>
                  <a:gd name="T16" fmla="*/ 10 w 11"/>
                  <a:gd name="T17" fmla="*/ 8 h 11"/>
                  <a:gd name="T18" fmla="*/ 11 w 11"/>
                  <a:gd name="T19" fmla="*/ 6 h 11"/>
                  <a:gd name="T20" fmla="*/ 8 w 11"/>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8" y="0"/>
                    </a:moveTo>
                    <a:cubicBezTo>
                      <a:pt x="5" y="0"/>
                      <a:pt x="5" y="0"/>
                      <a:pt x="5" y="0"/>
                    </a:cubicBezTo>
                    <a:cubicBezTo>
                      <a:pt x="5" y="0"/>
                      <a:pt x="5" y="0"/>
                      <a:pt x="5" y="0"/>
                    </a:cubicBezTo>
                    <a:cubicBezTo>
                      <a:pt x="2" y="0"/>
                      <a:pt x="0" y="2"/>
                      <a:pt x="0" y="6"/>
                    </a:cubicBezTo>
                    <a:cubicBezTo>
                      <a:pt x="0" y="6"/>
                      <a:pt x="0" y="7"/>
                      <a:pt x="0" y="8"/>
                    </a:cubicBezTo>
                    <a:cubicBezTo>
                      <a:pt x="1" y="10"/>
                      <a:pt x="3" y="11"/>
                      <a:pt x="5" y="11"/>
                    </a:cubicBezTo>
                    <a:cubicBezTo>
                      <a:pt x="5" y="11"/>
                      <a:pt x="5" y="11"/>
                      <a:pt x="5" y="11"/>
                    </a:cubicBezTo>
                    <a:cubicBezTo>
                      <a:pt x="8" y="11"/>
                      <a:pt x="8" y="11"/>
                      <a:pt x="8" y="11"/>
                    </a:cubicBezTo>
                    <a:cubicBezTo>
                      <a:pt x="8" y="11"/>
                      <a:pt x="10" y="9"/>
                      <a:pt x="10" y="8"/>
                    </a:cubicBezTo>
                    <a:cubicBezTo>
                      <a:pt x="11" y="7"/>
                      <a:pt x="11" y="6"/>
                      <a:pt x="11" y="6"/>
                    </a:cubicBezTo>
                    <a:cubicBezTo>
                      <a:pt x="11" y="3"/>
                      <a:pt x="8" y="0"/>
                      <a:pt x="8" y="0"/>
                    </a:cubicBezTo>
                    <a:close/>
                  </a:path>
                </a:pathLst>
              </a:custGeom>
              <a:solidFill>
                <a:schemeClr val="bg1"/>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6" name="Freeform 70">
                <a:extLst>
                  <a:ext uri="{FF2B5EF4-FFF2-40B4-BE49-F238E27FC236}">
                    <a16:creationId xmlns:a16="http://schemas.microsoft.com/office/drawing/2014/main" id="{2F6DFC5E-DF7E-44BC-9AE9-0CE1DB8458F7}"/>
                  </a:ext>
                </a:extLst>
              </p:cNvPr>
              <p:cNvSpPr>
                <a:spLocks/>
              </p:cNvSpPr>
              <p:nvPr/>
            </p:nvSpPr>
            <p:spPr bwMode="auto">
              <a:xfrm>
                <a:off x="3054879" y="7214658"/>
                <a:ext cx="53975" cy="15875"/>
              </a:xfrm>
              <a:custGeom>
                <a:avLst/>
                <a:gdLst>
                  <a:gd name="T0" fmla="*/ 0 w 10"/>
                  <a:gd name="T1" fmla="*/ 0 h 3"/>
                  <a:gd name="T2" fmla="*/ 5 w 10"/>
                  <a:gd name="T3" fmla="*/ 3 h 3"/>
                  <a:gd name="T4" fmla="*/ 5 w 10"/>
                  <a:gd name="T5" fmla="*/ 3 h 3"/>
                  <a:gd name="T6" fmla="*/ 8 w 10"/>
                  <a:gd name="T7" fmla="*/ 3 h 3"/>
                  <a:gd name="T8" fmla="*/ 1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cubicBezTo>
                      <a:pt x="1" y="2"/>
                      <a:pt x="3" y="3"/>
                      <a:pt x="5" y="3"/>
                    </a:cubicBezTo>
                    <a:cubicBezTo>
                      <a:pt x="5" y="3"/>
                      <a:pt x="5" y="3"/>
                      <a:pt x="5" y="3"/>
                    </a:cubicBezTo>
                    <a:cubicBezTo>
                      <a:pt x="8" y="3"/>
                      <a:pt x="8" y="3"/>
                      <a:pt x="8" y="3"/>
                    </a:cubicBezTo>
                    <a:cubicBezTo>
                      <a:pt x="8" y="3"/>
                      <a:pt x="10" y="1"/>
                      <a:pt x="10" y="0"/>
                    </a:cubicBezTo>
                    <a:lnTo>
                      <a:pt x="0" y="0"/>
                    </a:lnTo>
                    <a:close/>
                  </a:path>
                </a:pathLst>
              </a:cu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7" name="Oval 71">
                <a:extLst>
                  <a:ext uri="{FF2B5EF4-FFF2-40B4-BE49-F238E27FC236}">
                    <a16:creationId xmlns:a16="http://schemas.microsoft.com/office/drawing/2014/main" id="{782CAF7D-D199-479F-BED1-694E3B63674A}"/>
                  </a:ext>
                </a:extLst>
              </p:cNvPr>
              <p:cNvSpPr>
                <a:spLocks noChangeArrowheads="1"/>
              </p:cNvSpPr>
              <p:nvPr/>
            </p:nvSpPr>
            <p:spPr bwMode="auto">
              <a:xfrm>
                <a:off x="3081866" y="7167033"/>
                <a:ext cx="69850" cy="69850"/>
              </a:xfrm>
              <a:prstGeom prst="ellipse">
                <a:avLst/>
              </a:prstGeom>
              <a:solidFill>
                <a:srgbClr val="6E72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8" name="Oval 72">
                <a:extLst>
                  <a:ext uri="{FF2B5EF4-FFF2-40B4-BE49-F238E27FC236}">
                    <a16:creationId xmlns:a16="http://schemas.microsoft.com/office/drawing/2014/main" id="{CDBE9A39-4F8E-43B0-8FE8-28BC99567B75}"/>
                  </a:ext>
                </a:extLst>
              </p:cNvPr>
              <p:cNvSpPr>
                <a:spLocks noChangeArrowheads="1"/>
              </p:cNvSpPr>
              <p:nvPr/>
            </p:nvSpPr>
            <p:spPr bwMode="auto">
              <a:xfrm>
                <a:off x="3081866" y="7167033"/>
                <a:ext cx="69850" cy="69850"/>
              </a:xfrm>
              <a:prstGeom prst="ellipse">
                <a:avLst/>
              </a:prstGeom>
              <a:solidFill>
                <a:schemeClr val="tx1">
                  <a:lumMod val="8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19" name="Oval 73">
                <a:extLst>
                  <a:ext uri="{FF2B5EF4-FFF2-40B4-BE49-F238E27FC236}">
                    <a16:creationId xmlns:a16="http://schemas.microsoft.com/office/drawing/2014/main" id="{885F1D69-3396-45BD-A984-92B01CFC351E}"/>
                  </a:ext>
                </a:extLst>
              </p:cNvPr>
              <p:cNvSpPr>
                <a:spLocks noChangeArrowheads="1"/>
              </p:cNvSpPr>
              <p:nvPr/>
            </p:nvSpPr>
            <p:spPr bwMode="auto">
              <a:xfrm>
                <a:off x="3097741" y="7178145"/>
                <a:ext cx="42863" cy="47625"/>
              </a:xfrm>
              <a:prstGeom prst="ellipse">
                <a:avLst/>
              </a:pr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0" name="Oval 74">
                <a:extLst>
                  <a:ext uri="{FF2B5EF4-FFF2-40B4-BE49-F238E27FC236}">
                    <a16:creationId xmlns:a16="http://schemas.microsoft.com/office/drawing/2014/main" id="{4EB7D33D-3F9E-458C-9527-9C43F4405C01}"/>
                  </a:ext>
                </a:extLst>
              </p:cNvPr>
              <p:cNvSpPr>
                <a:spLocks noChangeArrowheads="1"/>
              </p:cNvSpPr>
              <p:nvPr/>
            </p:nvSpPr>
            <p:spPr bwMode="auto">
              <a:xfrm>
                <a:off x="3097741" y="7178145"/>
                <a:ext cx="42863" cy="47625"/>
              </a:xfrm>
              <a:prstGeom prst="ellipse">
                <a:avLst/>
              </a:prstGeom>
              <a:solidFill>
                <a:srgbClr val="7F7F7F"/>
              </a:solidFill>
              <a:ln>
                <a:noFill/>
              </a:ln>
            </p:spPr>
            <p:txBody>
              <a:bodyPr vert="horz" wrap="square" lIns="74904" tIns="37453" rIns="74904" bIns="37453" numCol="1" anchor="t" anchorCtr="0" compatLnSpc="1">
                <a:prstTxWarp prst="textNoShape">
                  <a:avLst/>
                </a:prstTxWarp>
              </a:bodyPr>
              <a:lstStyle/>
              <a:p>
                <a:pPr defTabSz="932597">
                  <a:defRPr/>
                </a:pPr>
                <a:endParaRPr lang="en-US" sz="1715">
                  <a:solidFill>
                    <a:srgbClr val="FFFFFF"/>
                  </a:solidFill>
                  <a:latin typeface="Segoe UI Light"/>
                </a:endParaRPr>
              </a:p>
            </p:txBody>
          </p:sp>
          <p:sp>
            <p:nvSpPr>
              <p:cNvPr id="521" name="Oval 41">
                <a:extLst>
                  <a:ext uri="{FF2B5EF4-FFF2-40B4-BE49-F238E27FC236}">
                    <a16:creationId xmlns:a16="http://schemas.microsoft.com/office/drawing/2014/main" id="{8B9C09DE-83E8-42C2-8355-B3CFCC5EEEDF}"/>
                  </a:ext>
                </a:extLst>
              </p:cNvPr>
              <p:cNvSpPr>
                <a:spLocks noChangeArrowheads="1"/>
              </p:cNvSpPr>
              <p:nvPr/>
            </p:nvSpPr>
            <p:spPr bwMode="auto">
              <a:xfrm>
                <a:off x="2523701" y="5540005"/>
                <a:ext cx="46014" cy="45719"/>
              </a:xfrm>
              <a:prstGeom prst="ellipse">
                <a:avLst/>
              </a:pr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522" name="Oval 41">
                <a:extLst>
                  <a:ext uri="{FF2B5EF4-FFF2-40B4-BE49-F238E27FC236}">
                    <a16:creationId xmlns:a16="http://schemas.microsoft.com/office/drawing/2014/main" id="{1B2E65AB-A0DE-4AF4-B86D-F13EB02C93C3}"/>
                  </a:ext>
                </a:extLst>
              </p:cNvPr>
              <p:cNvSpPr>
                <a:spLocks noChangeArrowheads="1"/>
              </p:cNvSpPr>
              <p:nvPr/>
            </p:nvSpPr>
            <p:spPr bwMode="auto">
              <a:xfrm>
                <a:off x="3004714" y="5540005"/>
                <a:ext cx="46014" cy="45719"/>
              </a:xfrm>
              <a:prstGeom prst="ellipse">
                <a:avLst/>
              </a:prstGeom>
              <a:solidFill>
                <a:schemeClr val="bg1">
                  <a:lumMod val="75000"/>
                </a:schemeClr>
              </a:solidFill>
              <a:ln>
                <a:noFill/>
              </a:ln>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grpSp>
        <p:nvGrpSpPr>
          <p:cNvPr id="573" name="Group 572">
            <a:extLst>
              <a:ext uri="{FF2B5EF4-FFF2-40B4-BE49-F238E27FC236}">
                <a16:creationId xmlns:a16="http://schemas.microsoft.com/office/drawing/2014/main" id="{35DFF753-ECF7-4566-925C-35204CCB2FB6}"/>
              </a:ext>
            </a:extLst>
          </p:cNvPr>
          <p:cNvGrpSpPr/>
          <p:nvPr/>
        </p:nvGrpSpPr>
        <p:grpSpPr>
          <a:xfrm>
            <a:off x="2003512" y="3623541"/>
            <a:ext cx="563740" cy="596291"/>
            <a:chOff x="1091128" y="4199873"/>
            <a:chExt cx="578161" cy="611545"/>
          </a:xfrm>
        </p:grpSpPr>
        <p:sp>
          <p:nvSpPr>
            <p:cNvPr id="574" name="Oval 573">
              <a:extLst>
                <a:ext uri="{FF2B5EF4-FFF2-40B4-BE49-F238E27FC236}">
                  <a16:creationId xmlns:a16="http://schemas.microsoft.com/office/drawing/2014/main" id="{CA0D4230-D8C2-4D5B-AC5A-84D5511404EE}"/>
                </a:ext>
              </a:extLst>
            </p:cNvPr>
            <p:cNvSpPr/>
            <p:nvPr/>
          </p:nvSpPr>
          <p:spPr bwMode="auto">
            <a:xfrm>
              <a:off x="1181869" y="4395206"/>
              <a:ext cx="416212" cy="416212"/>
            </a:xfrm>
            <a:prstGeom prst="ellipse">
              <a:avLst/>
            </a:prstGeom>
            <a:solidFill>
              <a:schemeClr val="accent6"/>
            </a:solidFill>
            <a:ln w="9525" cap="flat">
              <a:noFill/>
              <a:prstDash val="sysDash"/>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1199">
                <a:solidFill>
                  <a:srgbClr val="414241"/>
                </a:solidFill>
                <a:latin typeface="Segoe UI Light"/>
              </a:endParaRPr>
            </a:p>
          </p:txBody>
        </p:sp>
        <p:sp>
          <p:nvSpPr>
            <p:cNvPr id="575" name="TextBox 574">
              <a:extLst>
                <a:ext uri="{FF2B5EF4-FFF2-40B4-BE49-F238E27FC236}">
                  <a16:creationId xmlns:a16="http://schemas.microsoft.com/office/drawing/2014/main" id="{4679A6F0-5C00-43F1-9274-7D29A1CC2C33}"/>
                </a:ext>
              </a:extLst>
            </p:cNvPr>
            <p:cNvSpPr txBox="1"/>
            <p:nvPr/>
          </p:nvSpPr>
          <p:spPr>
            <a:xfrm>
              <a:off x="1091128" y="4199873"/>
              <a:ext cx="578161" cy="173710"/>
            </a:xfrm>
            <a:prstGeom prst="rect">
              <a:avLst/>
            </a:prstGeom>
            <a:noFill/>
            <a:ln>
              <a:noFill/>
            </a:ln>
          </p:spPr>
          <p:txBody>
            <a:bodyPr wrap="square" lIns="37453" tIns="0" rIns="0" bIns="0" rtlCol="0">
              <a:spAutoFit/>
            </a:bodyPr>
            <a:lstStyle/>
            <a:p>
              <a:pPr algn="ctr" defTabSz="932597">
                <a:lnSpc>
                  <a:spcPct val="90000"/>
                </a:lnSpc>
                <a:spcAft>
                  <a:spcPts val="492"/>
                </a:spcAft>
                <a:defRPr/>
              </a:pPr>
              <a:r>
                <a:rPr lang="en-US" sz="1199">
                  <a:gradFill>
                    <a:gsLst>
                      <a:gs pos="2917">
                        <a:srgbClr val="FFFFFF"/>
                      </a:gs>
                      <a:gs pos="30000">
                        <a:srgbClr val="FFFFFF"/>
                      </a:gs>
                    </a:gsLst>
                    <a:lin ang="5400000" scaled="0"/>
                  </a:gradFill>
                  <a:latin typeface="Segoe UI Light"/>
                </a:rPr>
                <a:t>Cortana</a:t>
              </a:r>
            </a:p>
          </p:txBody>
        </p:sp>
        <p:pic>
          <p:nvPicPr>
            <p:cNvPr id="576" name="Picture 575">
              <a:extLst>
                <a:ext uri="{FF2B5EF4-FFF2-40B4-BE49-F238E27FC236}">
                  <a16:creationId xmlns:a16="http://schemas.microsoft.com/office/drawing/2014/main" id="{A76C64B4-B057-4F36-99B8-9671775CDA2C}"/>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269544" y="4482881"/>
              <a:ext cx="240862" cy="240862"/>
            </a:xfrm>
            <a:prstGeom prst="rect">
              <a:avLst/>
            </a:prstGeom>
            <a:ln>
              <a:noFill/>
            </a:ln>
          </p:spPr>
        </p:pic>
      </p:grpSp>
      <p:grpSp>
        <p:nvGrpSpPr>
          <p:cNvPr id="589" name="Group 588">
            <a:extLst>
              <a:ext uri="{FF2B5EF4-FFF2-40B4-BE49-F238E27FC236}">
                <a16:creationId xmlns:a16="http://schemas.microsoft.com/office/drawing/2014/main" id="{EB13A992-9E93-428F-931A-831B44ECECFB}"/>
              </a:ext>
            </a:extLst>
          </p:cNvPr>
          <p:cNvGrpSpPr/>
          <p:nvPr/>
        </p:nvGrpSpPr>
        <p:grpSpPr>
          <a:xfrm>
            <a:off x="3055316" y="4750674"/>
            <a:ext cx="563740" cy="609811"/>
            <a:chOff x="2911979" y="5259981"/>
            <a:chExt cx="578161" cy="625411"/>
          </a:xfrm>
        </p:grpSpPr>
        <p:sp>
          <p:nvSpPr>
            <p:cNvPr id="590" name="TextBox 589">
              <a:extLst>
                <a:ext uri="{FF2B5EF4-FFF2-40B4-BE49-F238E27FC236}">
                  <a16:creationId xmlns:a16="http://schemas.microsoft.com/office/drawing/2014/main" id="{348A8AFF-6C4B-4592-BAF6-10D76D720F8C}"/>
                </a:ext>
              </a:extLst>
            </p:cNvPr>
            <p:cNvSpPr txBox="1"/>
            <p:nvPr/>
          </p:nvSpPr>
          <p:spPr>
            <a:xfrm>
              <a:off x="2911979" y="5711682"/>
              <a:ext cx="578161" cy="173710"/>
            </a:xfrm>
            <a:prstGeom prst="rect">
              <a:avLst/>
            </a:prstGeom>
            <a:noFill/>
            <a:ln>
              <a:noFill/>
            </a:ln>
          </p:spPr>
          <p:txBody>
            <a:bodyPr wrap="square" lIns="37453" tIns="0" rIns="0" bIns="0" rtlCol="0">
              <a:spAutoFit/>
            </a:bodyPr>
            <a:lstStyle/>
            <a:p>
              <a:pPr algn="ctr" defTabSz="932597">
                <a:lnSpc>
                  <a:spcPct val="90000"/>
                </a:lnSpc>
                <a:spcAft>
                  <a:spcPts val="492"/>
                </a:spcAft>
                <a:defRPr/>
              </a:pPr>
              <a:r>
                <a:rPr lang="en-US" sz="1199">
                  <a:gradFill>
                    <a:gsLst>
                      <a:gs pos="2917">
                        <a:srgbClr val="FFFFFF"/>
                      </a:gs>
                      <a:gs pos="30000">
                        <a:srgbClr val="FFFFFF"/>
                      </a:gs>
                    </a:gsLst>
                    <a:lin ang="5400000" scaled="0"/>
                  </a:gradFill>
                  <a:latin typeface="Segoe UI Light"/>
                </a:rPr>
                <a:t>Bing</a:t>
              </a:r>
            </a:p>
          </p:txBody>
        </p:sp>
        <p:grpSp>
          <p:nvGrpSpPr>
            <p:cNvPr id="591" name="Group 590">
              <a:extLst>
                <a:ext uri="{FF2B5EF4-FFF2-40B4-BE49-F238E27FC236}">
                  <a16:creationId xmlns:a16="http://schemas.microsoft.com/office/drawing/2014/main" id="{36655076-16DF-4447-B1C7-CA9442680670}"/>
                </a:ext>
              </a:extLst>
            </p:cNvPr>
            <p:cNvGrpSpPr/>
            <p:nvPr/>
          </p:nvGrpSpPr>
          <p:grpSpPr>
            <a:xfrm>
              <a:off x="2990684" y="5259981"/>
              <a:ext cx="416212" cy="416212"/>
              <a:chOff x="2990684" y="5259981"/>
              <a:chExt cx="416212" cy="416212"/>
            </a:xfrm>
          </p:grpSpPr>
          <p:sp>
            <p:nvSpPr>
              <p:cNvPr id="592" name="Oval 591">
                <a:extLst>
                  <a:ext uri="{FF2B5EF4-FFF2-40B4-BE49-F238E27FC236}">
                    <a16:creationId xmlns:a16="http://schemas.microsoft.com/office/drawing/2014/main" id="{CFC99F0E-C1DA-47D0-A445-8B546C054DA7}"/>
                  </a:ext>
                </a:extLst>
              </p:cNvPr>
              <p:cNvSpPr/>
              <p:nvPr/>
            </p:nvSpPr>
            <p:spPr bwMode="auto">
              <a:xfrm>
                <a:off x="2990684" y="5259981"/>
                <a:ext cx="416212" cy="416212"/>
              </a:xfrm>
              <a:prstGeom prst="ellipse">
                <a:avLst/>
              </a:prstGeom>
              <a:solidFill>
                <a:schemeClr val="accent6"/>
              </a:solidFill>
              <a:ln w="9525" cap="flat">
                <a:noFill/>
                <a:prstDash val="sysDash"/>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1199">
                  <a:solidFill>
                    <a:srgbClr val="414241"/>
                  </a:solidFill>
                  <a:latin typeface="Segoe UI Light"/>
                </a:endParaRPr>
              </a:p>
            </p:txBody>
          </p:sp>
          <p:pic>
            <p:nvPicPr>
              <p:cNvPr id="593" name="Picture 12" descr="Image result for bing logo">
                <a:extLst>
                  <a:ext uri="{FF2B5EF4-FFF2-40B4-BE49-F238E27FC236}">
                    <a16:creationId xmlns:a16="http://schemas.microsoft.com/office/drawing/2014/main" id="{5027CEC3-63D0-44CB-BA00-CCC7C82FC4BE}"/>
                  </a:ext>
                </a:extLst>
              </p:cNvPr>
              <p:cNvPicPr>
                <a:picLocks noChangeAspect="1" noChangeArrowheads="1"/>
              </p:cNvPicPr>
              <p:nvPr/>
            </p:nvPicPr>
            <p:blipFill rotWithShape="1">
              <a:blip r:embed="rId9" cstate="hqprint">
                <a:extLst>
                  <a:ext uri="{28A0092B-C50C-407E-A947-70E740481C1C}">
                    <a14:useLocalDpi xmlns:a14="http://schemas.microsoft.com/office/drawing/2010/main" val="0"/>
                  </a:ext>
                </a:extLst>
              </a:blip>
              <a:srcRect l="34229" t="20589" r="34229" b="20589"/>
              <a:stretch/>
            </p:blipFill>
            <p:spPr bwMode="auto">
              <a:xfrm>
                <a:off x="3092324" y="5325132"/>
                <a:ext cx="212932" cy="285911"/>
              </a:xfrm>
              <a:prstGeom prst="rect">
                <a:avLst/>
              </a:prstGeom>
              <a:noFill/>
              <a:ln>
                <a:noFill/>
              </a:ln>
              <a:extLst>
                <a:ext uri="{909E8E84-426E-40DD-AFC4-6F175D3DCCD1}">
                  <a14:hiddenFill xmlns:a14="http://schemas.microsoft.com/office/drawing/2010/main">
                    <a:solidFill>
                      <a:srgbClr val="FFFFFF"/>
                    </a:solidFill>
                  </a14:hiddenFill>
                </a:ext>
              </a:extLst>
            </p:spPr>
          </p:pic>
        </p:grpSp>
      </p:grpSp>
      <p:grpSp>
        <p:nvGrpSpPr>
          <p:cNvPr id="594" name="Group 593">
            <a:extLst>
              <a:ext uri="{FF2B5EF4-FFF2-40B4-BE49-F238E27FC236}">
                <a16:creationId xmlns:a16="http://schemas.microsoft.com/office/drawing/2014/main" id="{FD4CB3BA-CA48-4DB2-B931-99B354C13967}"/>
              </a:ext>
            </a:extLst>
          </p:cNvPr>
          <p:cNvGrpSpPr/>
          <p:nvPr/>
        </p:nvGrpSpPr>
        <p:grpSpPr>
          <a:xfrm>
            <a:off x="482529" y="3905888"/>
            <a:ext cx="1324393" cy="405830"/>
            <a:chOff x="3655566" y="4793261"/>
            <a:chExt cx="1358273" cy="416212"/>
          </a:xfrm>
        </p:grpSpPr>
        <p:sp>
          <p:nvSpPr>
            <p:cNvPr id="595" name="Oval 594">
              <a:extLst>
                <a:ext uri="{FF2B5EF4-FFF2-40B4-BE49-F238E27FC236}">
                  <a16:creationId xmlns:a16="http://schemas.microsoft.com/office/drawing/2014/main" id="{E91D150A-7CBF-4556-909D-EAEFEB658322}"/>
                </a:ext>
              </a:extLst>
            </p:cNvPr>
            <p:cNvSpPr/>
            <p:nvPr/>
          </p:nvSpPr>
          <p:spPr bwMode="auto">
            <a:xfrm>
              <a:off x="4597627" y="4793261"/>
              <a:ext cx="416212" cy="416212"/>
            </a:xfrm>
            <a:prstGeom prst="ellipse">
              <a:avLst/>
            </a:prstGeom>
            <a:solidFill>
              <a:schemeClr val="accent6"/>
            </a:solidFill>
            <a:ln w="9525" cap="flat">
              <a:noFill/>
              <a:prstDash val="sysDash"/>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1199">
                <a:solidFill>
                  <a:srgbClr val="414241"/>
                </a:solidFill>
                <a:latin typeface="Segoe UI Light"/>
              </a:endParaRPr>
            </a:p>
          </p:txBody>
        </p:sp>
        <p:sp>
          <p:nvSpPr>
            <p:cNvPr id="596" name="TextBox 595">
              <a:extLst>
                <a:ext uri="{FF2B5EF4-FFF2-40B4-BE49-F238E27FC236}">
                  <a16:creationId xmlns:a16="http://schemas.microsoft.com/office/drawing/2014/main" id="{C3E30C72-5113-4337-B8F5-A529D652B120}"/>
                </a:ext>
              </a:extLst>
            </p:cNvPr>
            <p:cNvSpPr txBox="1"/>
            <p:nvPr/>
          </p:nvSpPr>
          <p:spPr>
            <a:xfrm>
              <a:off x="3655566" y="4821111"/>
              <a:ext cx="863886" cy="347420"/>
            </a:xfrm>
            <a:prstGeom prst="rect">
              <a:avLst/>
            </a:prstGeom>
            <a:noFill/>
            <a:ln>
              <a:noFill/>
            </a:ln>
          </p:spPr>
          <p:txBody>
            <a:bodyPr wrap="square" lIns="37453" tIns="0" rIns="0" bIns="0" rtlCol="0">
              <a:spAutoFit/>
            </a:bodyPr>
            <a:lstStyle/>
            <a:p>
              <a:pPr algn="r" defTabSz="932597">
                <a:lnSpc>
                  <a:spcPct val="90000"/>
                </a:lnSpc>
                <a:spcAft>
                  <a:spcPts val="492"/>
                </a:spcAft>
                <a:defRPr/>
              </a:pPr>
              <a:r>
                <a:rPr lang="en-US" sz="1199">
                  <a:gradFill>
                    <a:gsLst>
                      <a:gs pos="2917">
                        <a:srgbClr val="FFFFFF"/>
                      </a:gs>
                      <a:gs pos="30000">
                        <a:srgbClr val="FFFFFF"/>
                      </a:gs>
                    </a:gsLst>
                    <a:lin ang="5400000" scaled="0"/>
                  </a:gradFill>
                  <a:latin typeface="Segoe UI Light"/>
                </a:rPr>
                <a:t>Facebook Messenger</a:t>
              </a:r>
            </a:p>
          </p:txBody>
        </p:sp>
        <p:pic>
          <p:nvPicPr>
            <p:cNvPr id="597" name="Picture 125" descr="Image result for facebook messenger logo">
              <a:extLst>
                <a:ext uri="{FF2B5EF4-FFF2-40B4-BE49-F238E27FC236}">
                  <a16:creationId xmlns:a16="http://schemas.microsoft.com/office/drawing/2014/main" id="{33CE37A2-C431-44F9-8986-3527990C474C}"/>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4685669" y="4881303"/>
              <a:ext cx="240129" cy="240129"/>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85" name="Group 584">
            <a:extLst>
              <a:ext uri="{FF2B5EF4-FFF2-40B4-BE49-F238E27FC236}">
                <a16:creationId xmlns:a16="http://schemas.microsoft.com/office/drawing/2014/main" id="{764BAFFA-0130-431D-9169-73A1DB98C64F}"/>
              </a:ext>
            </a:extLst>
          </p:cNvPr>
          <p:cNvGrpSpPr/>
          <p:nvPr/>
        </p:nvGrpSpPr>
        <p:grpSpPr>
          <a:xfrm>
            <a:off x="3188312" y="4034274"/>
            <a:ext cx="563740" cy="609311"/>
            <a:chOff x="2909710" y="4186519"/>
            <a:chExt cx="578161" cy="624899"/>
          </a:xfrm>
        </p:grpSpPr>
        <p:sp>
          <p:nvSpPr>
            <p:cNvPr id="586" name="Oval 585">
              <a:extLst>
                <a:ext uri="{FF2B5EF4-FFF2-40B4-BE49-F238E27FC236}">
                  <a16:creationId xmlns:a16="http://schemas.microsoft.com/office/drawing/2014/main" id="{99CC7AE6-269F-4BAE-A3FD-AA7D152367CA}"/>
                </a:ext>
              </a:extLst>
            </p:cNvPr>
            <p:cNvSpPr/>
            <p:nvPr/>
          </p:nvSpPr>
          <p:spPr bwMode="auto">
            <a:xfrm>
              <a:off x="2990684" y="4395206"/>
              <a:ext cx="416212" cy="416212"/>
            </a:xfrm>
            <a:prstGeom prst="ellipse">
              <a:avLst/>
            </a:prstGeom>
            <a:solidFill>
              <a:schemeClr val="accent6"/>
            </a:solidFill>
            <a:ln w="9525" cap="flat">
              <a:noFill/>
              <a:prstDash val="sysDash"/>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1199">
                <a:solidFill>
                  <a:srgbClr val="414241"/>
                </a:solidFill>
                <a:latin typeface="Segoe UI Light"/>
              </a:endParaRPr>
            </a:p>
          </p:txBody>
        </p:sp>
        <p:sp>
          <p:nvSpPr>
            <p:cNvPr id="587" name="TextBox 586">
              <a:extLst>
                <a:ext uri="{FF2B5EF4-FFF2-40B4-BE49-F238E27FC236}">
                  <a16:creationId xmlns:a16="http://schemas.microsoft.com/office/drawing/2014/main" id="{A4F7D0B9-6901-4665-8209-90BE93E407E0}"/>
                </a:ext>
              </a:extLst>
            </p:cNvPr>
            <p:cNvSpPr txBox="1"/>
            <p:nvPr/>
          </p:nvSpPr>
          <p:spPr>
            <a:xfrm>
              <a:off x="2909710" y="4186519"/>
              <a:ext cx="578161" cy="173710"/>
            </a:xfrm>
            <a:prstGeom prst="rect">
              <a:avLst/>
            </a:prstGeom>
            <a:noFill/>
            <a:ln>
              <a:noFill/>
            </a:ln>
          </p:spPr>
          <p:txBody>
            <a:bodyPr wrap="square" lIns="37453" tIns="0" rIns="0" bIns="0" rtlCol="0">
              <a:spAutoFit/>
            </a:bodyPr>
            <a:lstStyle/>
            <a:p>
              <a:pPr algn="ctr" defTabSz="932597">
                <a:lnSpc>
                  <a:spcPct val="90000"/>
                </a:lnSpc>
                <a:spcAft>
                  <a:spcPts val="492"/>
                </a:spcAft>
                <a:defRPr/>
              </a:pPr>
              <a:r>
                <a:rPr lang="en-US" sz="1199">
                  <a:gradFill>
                    <a:gsLst>
                      <a:gs pos="2917">
                        <a:srgbClr val="FFFFFF"/>
                      </a:gs>
                      <a:gs pos="30000">
                        <a:srgbClr val="FFFFFF"/>
                      </a:gs>
                    </a:gsLst>
                    <a:lin ang="5400000" scaled="0"/>
                  </a:gradFill>
                  <a:latin typeface="Segoe UI Light"/>
                </a:rPr>
                <a:t>Skype</a:t>
              </a:r>
            </a:p>
          </p:txBody>
        </p:sp>
        <p:pic>
          <p:nvPicPr>
            <p:cNvPr id="588" name="Picture 587">
              <a:extLst>
                <a:ext uri="{FF2B5EF4-FFF2-40B4-BE49-F238E27FC236}">
                  <a16:creationId xmlns:a16="http://schemas.microsoft.com/office/drawing/2014/main" id="{1ECC0E9B-4567-4CD0-AE34-8D1A43F0DA4B}"/>
                </a:ext>
              </a:extLst>
            </p:cNvPr>
            <p:cNvPicPr>
              <a:picLocks noChangeAspect="1"/>
            </p:cNvPicPr>
            <p:nvPr/>
          </p:nvPicPr>
          <p:blipFill>
            <a:blip r:embed="rId11"/>
            <a:stretch>
              <a:fillRect/>
            </a:stretch>
          </p:blipFill>
          <p:spPr>
            <a:xfrm>
              <a:off x="3087078" y="4489903"/>
              <a:ext cx="223424" cy="226819"/>
            </a:xfrm>
            <a:prstGeom prst="rect">
              <a:avLst/>
            </a:prstGeom>
            <a:ln>
              <a:noFill/>
            </a:ln>
          </p:spPr>
        </p:pic>
      </p:grpSp>
      <p:grpSp>
        <p:nvGrpSpPr>
          <p:cNvPr id="604" name="Group 25">
            <a:extLst>
              <a:ext uri="{FF2B5EF4-FFF2-40B4-BE49-F238E27FC236}">
                <a16:creationId xmlns:a16="http://schemas.microsoft.com/office/drawing/2014/main" id="{78A9E29B-6E2D-4B8F-B9D9-BC832DA08BDF}"/>
              </a:ext>
            </a:extLst>
          </p:cNvPr>
          <p:cNvGrpSpPr>
            <a:grpSpLocks noChangeAspect="1"/>
          </p:cNvGrpSpPr>
          <p:nvPr/>
        </p:nvGrpSpPr>
        <p:grpSpPr bwMode="auto">
          <a:xfrm>
            <a:off x="6338289" y="3464068"/>
            <a:ext cx="696086" cy="693541"/>
            <a:chOff x="3594" y="922"/>
            <a:chExt cx="547" cy="545"/>
          </a:xfrm>
        </p:grpSpPr>
        <p:sp>
          <p:nvSpPr>
            <p:cNvPr id="613" name="Freeform 27">
              <a:extLst>
                <a:ext uri="{FF2B5EF4-FFF2-40B4-BE49-F238E27FC236}">
                  <a16:creationId xmlns:a16="http://schemas.microsoft.com/office/drawing/2014/main" id="{A960C5E4-CB91-495C-921F-3AEC47157F27}"/>
                </a:ext>
              </a:extLst>
            </p:cNvPr>
            <p:cNvSpPr>
              <a:spLocks noEditPoints="1"/>
            </p:cNvSpPr>
            <p:nvPr/>
          </p:nvSpPr>
          <p:spPr bwMode="auto">
            <a:xfrm>
              <a:off x="3679" y="1006"/>
              <a:ext cx="378" cy="37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05" name="Freeform 26">
              <a:extLst>
                <a:ext uri="{FF2B5EF4-FFF2-40B4-BE49-F238E27FC236}">
                  <a16:creationId xmlns:a16="http://schemas.microsoft.com/office/drawing/2014/main" id="{C321A07D-33EC-4030-91FC-C7E85862088D}"/>
                </a:ext>
              </a:extLst>
            </p:cNvPr>
            <p:cNvSpPr>
              <a:spLocks noEditPoints="1"/>
            </p:cNvSpPr>
            <p:nvPr/>
          </p:nvSpPr>
          <p:spPr bwMode="auto">
            <a:xfrm>
              <a:off x="3594" y="922"/>
              <a:ext cx="547" cy="545"/>
            </a:xfrm>
            <a:custGeom>
              <a:avLst/>
              <a:gdLst>
                <a:gd name="T0" fmla="*/ 0 w 447"/>
                <a:gd name="T1" fmla="*/ 184 h 447"/>
                <a:gd name="T2" fmla="*/ 0 w 447"/>
                <a:gd name="T3" fmla="*/ 263 h 447"/>
                <a:gd name="T4" fmla="*/ 8 w 447"/>
                <a:gd name="T5" fmla="*/ 272 h 447"/>
                <a:gd name="T6" fmla="*/ 49 w 447"/>
                <a:gd name="T7" fmla="*/ 272 h 447"/>
                <a:gd name="T8" fmla="*/ 65 w 447"/>
                <a:gd name="T9" fmla="*/ 313 h 447"/>
                <a:gd name="T10" fmla="*/ 37 w 447"/>
                <a:gd name="T11" fmla="*/ 341 h 447"/>
                <a:gd name="T12" fmla="*/ 37 w 447"/>
                <a:gd name="T13" fmla="*/ 353 h 447"/>
                <a:gd name="T14" fmla="*/ 93 w 447"/>
                <a:gd name="T15" fmla="*/ 410 h 447"/>
                <a:gd name="T16" fmla="*/ 105 w 447"/>
                <a:gd name="T17" fmla="*/ 410 h 447"/>
                <a:gd name="T18" fmla="*/ 134 w 447"/>
                <a:gd name="T19" fmla="*/ 381 h 447"/>
                <a:gd name="T20" fmla="*/ 175 w 447"/>
                <a:gd name="T21" fmla="*/ 398 h 447"/>
                <a:gd name="T22" fmla="*/ 175 w 447"/>
                <a:gd name="T23" fmla="*/ 438 h 447"/>
                <a:gd name="T24" fmla="*/ 183 w 447"/>
                <a:gd name="T25" fmla="*/ 447 h 447"/>
                <a:gd name="T26" fmla="*/ 263 w 447"/>
                <a:gd name="T27" fmla="*/ 447 h 447"/>
                <a:gd name="T28" fmla="*/ 271 w 447"/>
                <a:gd name="T29" fmla="*/ 438 h 447"/>
                <a:gd name="T30" fmla="*/ 271 w 447"/>
                <a:gd name="T31" fmla="*/ 398 h 447"/>
                <a:gd name="T32" fmla="*/ 312 w 447"/>
                <a:gd name="T33" fmla="*/ 381 h 447"/>
                <a:gd name="T34" fmla="*/ 341 w 447"/>
                <a:gd name="T35" fmla="*/ 410 h 447"/>
                <a:gd name="T36" fmla="*/ 353 w 447"/>
                <a:gd name="T37" fmla="*/ 410 h 447"/>
                <a:gd name="T38" fmla="*/ 409 w 447"/>
                <a:gd name="T39" fmla="*/ 353 h 447"/>
                <a:gd name="T40" fmla="*/ 409 w 447"/>
                <a:gd name="T41" fmla="*/ 341 h 447"/>
                <a:gd name="T42" fmla="*/ 381 w 447"/>
                <a:gd name="T43" fmla="*/ 313 h 447"/>
                <a:gd name="T44" fmla="*/ 397 w 447"/>
                <a:gd name="T45" fmla="*/ 272 h 447"/>
                <a:gd name="T46" fmla="*/ 438 w 447"/>
                <a:gd name="T47" fmla="*/ 272 h 447"/>
                <a:gd name="T48" fmla="*/ 447 w 447"/>
                <a:gd name="T49" fmla="*/ 263 h 447"/>
                <a:gd name="T50" fmla="*/ 447 w 447"/>
                <a:gd name="T51" fmla="*/ 184 h 447"/>
                <a:gd name="T52" fmla="*/ 438 w 447"/>
                <a:gd name="T53" fmla="*/ 175 h 447"/>
                <a:gd name="T54" fmla="*/ 397 w 447"/>
                <a:gd name="T55" fmla="*/ 175 h 447"/>
                <a:gd name="T56" fmla="*/ 381 w 447"/>
                <a:gd name="T57" fmla="*/ 135 h 447"/>
                <a:gd name="T58" fmla="*/ 409 w 447"/>
                <a:gd name="T59" fmla="*/ 106 h 447"/>
                <a:gd name="T60" fmla="*/ 409 w 447"/>
                <a:gd name="T61" fmla="*/ 94 h 447"/>
                <a:gd name="T62" fmla="*/ 353 w 447"/>
                <a:gd name="T63" fmla="*/ 37 h 447"/>
                <a:gd name="T64" fmla="*/ 341 w 447"/>
                <a:gd name="T65" fmla="*/ 37 h 447"/>
                <a:gd name="T66" fmla="*/ 312 w 447"/>
                <a:gd name="T67" fmla="*/ 66 h 447"/>
                <a:gd name="T68" fmla="*/ 271 w 447"/>
                <a:gd name="T69" fmla="*/ 49 h 447"/>
                <a:gd name="T70" fmla="*/ 271 w 447"/>
                <a:gd name="T71" fmla="*/ 9 h 447"/>
                <a:gd name="T72" fmla="*/ 263 w 447"/>
                <a:gd name="T73" fmla="*/ 0 h 447"/>
                <a:gd name="T74" fmla="*/ 183 w 447"/>
                <a:gd name="T75" fmla="*/ 0 h 447"/>
                <a:gd name="T76" fmla="*/ 175 w 447"/>
                <a:gd name="T77" fmla="*/ 9 h 447"/>
                <a:gd name="T78" fmla="*/ 175 w 447"/>
                <a:gd name="T79" fmla="*/ 49 h 447"/>
                <a:gd name="T80" fmla="*/ 134 w 447"/>
                <a:gd name="T81" fmla="*/ 66 h 447"/>
                <a:gd name="T82" fmla="*/ 105 w 447"/>
                <a:gd name="T83" fmla="*/ 37 h 447"/>
                <a:gd name="T84" fmla="*/ 93 w 447"/>
                <a:gd name="T85" fmla="*/ 37 h 447"/>
                <a:gd name="T86" fmla="*/ 37 w 447"/>
                <a:gd name="T87" fmla="*/ 94 h 447"/>
                <a:gd name="T88" fmla="*/ 37 w 447"/>
                <a:gd name="T89" fmla="*/ 106 h 447"/>
                <a:gd name="T90" fmla="*/ 65 w 447"/>
                <a:gd name="T91" fmla="*/ 134 h 447"/>
                <a:gd name="T92" fmla="*/ 49 w 447"/>
                <a:gd name="T93" fmla="*/ 175 h 447"/>
                <a:gd name="T94" fmla="*/ 8 w 447"/>
                <a:gd name="T95" fmla="*/ 175 h 447"/>
                <a:gd name="T96" fmla="*/ 0 w 447"/>
                <a:gd name="T97" fmla="*/ 184 h 447"/>
                <a:gd name="T98" fmla="*/ 92 w 447"/>
                <a:gd name="T99" fmla="*/ 223 h 447"/>
                <a:gd name="T100" fmla="*/ 223 w 447"/>
                <a:gd name="T101" fmla="*/ 92 h 447"/>
                <a:gd name="T102" fmla="*/ 354 w 447"/>
                <a:gd name="T103" fmla="*/ 223 h 447"/>
                <a:gd name="T104" fmla="*/ 223 w 447"/>
                <a:gd name="T105" fmla="*/ 355 h 447"/>
                <a:gd name="T106" fmla="*/ 92 w 447"/>
                <a:gd name="T107" fmla="*/ 22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7" h="447">
                  <a:moveTo>
                    <a:pt x="0" y="184"/>
                  </a:moveTo>
                  <a:cubicBezTo>
                    <a:pt x="0" y="263"/>
                    <a:pt x="0" y="263"/>
                    <a:pt x="0" y="263"/>
                  </a:cubicBezTo>
                  <a:cubicBezTo>
                    <a:pt x="0" y="268"/>
                    <a:pt x="3" y="272"/>
                    <a:pt x="8" y="272"/>
                  </a:cubicBezTo>
                  <a:cubicBezTo>
                    <a:pt x="49" y="272"/>
                    <a:pt x="49" y="272"/>
                    <a:pt x="49" y="272"/>
                  </a:cubicBezTo>
                  <a:cubicBezTo>
                    <a:pt x="53" y="286"/>
                    <a:pt x="58" y="300"/>
                    <a:pt x="65" y="313"/>
                  </a:cubicBezTo>
                  <a:cubicBezTo>
                    <a:pt x="37" y="341"/>
                    <a:pt x="37" y="341"/>
                    <a:pt x="37" y="341"/>
                  </a:cubicBezTo>
                  <a:cubicBezTo>
                    <a:pt x="33" y="345"/>
                    <a:pt x="33" y="350"/>
                    <a:pt x="37" y="353"/>
                  </a:cubicBezTo>
                  <a:cubicBezTo>
                    <a:pt x="93" y="410"/>
                    <a:pt x="93" y="410"/>
                    <a:pt x="93" y="410"/>
                  </a:cubicBezTo>
                  <a:cubicBezTo>
                    <a:pt x="97" y="413"/>
                    <a:pt x="102" y="413"/>
                    <a:pt x="105" y="410"/>
                  </a:cubicBezTo>
                  <a:cubicBezTo>
                    <a:pt x="134" y="381"/>
                    <a:pt x="134" y="381"/>
                    <a:pt x="134" y="381"/>
                  </a:cubicBezTo>
                  <a:cubicBezTo>
                    <a:pt x="147" y="388"/>
                    <a:pt x="160" y="394"/>
                    <a:pt x="175" y="398"/>
                  </a:cubicBezTo>
                  <a:cubicBezTo>
                    <a:pt x="175" y="438"/>
                    <a:pt x="175" y="438"/>
                    <a:pt x="175" y="438"/>
                  </a:cubicBezTo>
                  <a:cubicBezTo>
                    <a:pt x="175" y="443"/>
                    <a:pt x="178" y="447"/>
                    <a:pt x="183" y="447"/>
                  </a:cubicBezTo>
                  <a:cubicBezTo>
                    <a:pt x="263" y="447"/>
                    <a:pt x="263" y="447"/>
                    <a:pt x="263" y="447"/>
                  </a:cubicBezTo>
                  <a:cubicBezTo>
                    <a:pt x="268" y="447"/>
                    <a:pt x="271" y="443"/>
                    <a:pt x="271" y="438"/>
                  </a:cubicBezTo>
                  <a:cubicBezTo>
                    <a:pt x="271" y="398"/>
                    <a:pt x="271" y="398"/>
                    <a:pt x="271" y="398"/>
                  </a:cubicBezTo>
                  <a:cubicBezTo>
                    <a:pt x="286" y="394"/>
                    <a:pt x="299" y="388"/>
                    <a:pt x="312" y="381"/>
                  </a:cubicBezTo>
                  <a:cubicBezTo>
                    <a:pt x="341" y="410"/>
                    <a:pt x="341" y="410"/>
                    <a:pt x="341" y="410"/>
                  </a:cubicBezTo>
                  <a:cubicBezTo>
                    <a:pt x="344" y="413"/>
                    <a:pt x="350" y="413"/>
                    <a:pt x="353" y="410"/>
                  </a:cubicBezTo>
                  <a:cubicBezTo>
                    <a:pt x="409" y="353"/>
                    <a:pt x="409" y="353"/>
                    <a:pt x="409" y="353"/>
                  </a:cubicBezTo>
                  <a:cubicBezTo>
                    <a:pt x="413" y="350"/>
                    <a:pt x="413" y="345"/>
                    <a:pt x="409" y="341"/>
                  </a:cubicBezTo>
                  <a:cubicBezTo>
                    <a:pt x="381" y="313"/>
                    <a:pt x="381" y="313"/>
                    <a:pt x="381" y="313"/>
                  </a:cubicBezTo>
                  <a:cubicBezTo>
                    <a:pt x="388" y="300"/>
                    <a:pt x="393" y="286"/>
                    <a:pt x="397" y="272"/>
                  </a:cubicBezTo>
                  <a:cubicBezTo>
                    <a:pt x="438" y="272"/>
                    <a:pt x="438" y="272"/>
                    <a:pt x="438" y="272"/>
                  </a:cubicBezTo>
                  <a:cubicBezTo>
                    <a:pt x="443" y="272"/>
                    <a:pt x="447" y="268"/>
                    <a:pt x="447" y="263"/>
                  </a:cubicBezTo>
                  <a:cubicBezTo>
                    <a:pt x="447" y="184"/>
                    <a:pt x="447" y="184"/>
                    <a:pt x="447" y="184"/>
                  </a:cubicBezTo>
                  <a:cubicBezTo>
                    <a:pt x="447" y="179"/>
                    <a:pt x="443" y="175"/>
                    <a:pt x="438" y="175"/>
                  </a:cubicBezTo>
                  <a:cubicBezTo>
                    <a:pt x="397" y="175"/>
                    <a:pt x="397" y="175"/>
                    <a:pt x="397" y="175"/>
                  </a:cubicBezTo>
                  <a:cubicBezTo>
                    <a:pt x="393" y="161"/>
                    <a:pt x="388" y="147"/>
                    <a:pt x="381" y="135"/>
                  </a:cubicBezTo>
                  <a:cubicBezTo>
                    <a:pt x="409" y="106"/>
                    <a:pt x="409" y="106"/>
                    <a:pt x="409" y="106"/>
                  </a:cubicBezTo>
                  <a:cubicBezTo>
                    <a:pt x="413" y="103"/>
                    <a:pt x="413" y="97"/>
                    <a:pt x="409" y="94"/>
                  </a:cubicBezTo>
                  <a:cubicBezTo>
                    <a:pt x="353" y="37"/>
                    <a:pt x="353" y="37"/>
                    <a:pt x="353" y="37"/>
                  </a:cubicBezTo>
                  <a:cubicBezTo>
                    <a:pt x="350" y="34"/>
                    <a:pt x="344" y="34"/>
                    <a:pt x="341" y="37"/>
                  </a:cubicBezTo>
                  <a:cubicBezTo>
                    <a:pt x="312" y="66"/>
                    <a:pt x="312" y="66"/>
                    <a:pt x="312" y="66"/>
                  </a:cubicBezTo>
                  <a:cubicBezTo>
                    <a:pt x="300" y="59"/>
                    <a:pt x="286" y="53"/>
                    <a:pt x="271" y="49"/>
                  </a:cubicBezTo>
                  <a:cubicBezTo>
                    <a:pt x="271" y="9"/>
                    <a:pt x="271" y="9"/>
                    <a:pt x="271" y="9"/>
                  </a:cubicBezTo>
                  <a:cubicBezTo>
                    <a:pt x="271" y="4"/>
                    <a:pt x="268" y="0"/>
                    <a:pt x="263" y="0"/>
                  </a:cubicBezTo>
                  <a:cubicBezTo>
                    <a:pt x="183" y="0"/>
                    <a:pt x="183" y="0"/>
                    <a:pt x="183" y="0"/>
                  </a:cubicBezTo>
                  <a:cubicBezTo>
                    <a:pt x="178" y="0"/>
                    <a:pt x="175" y="4"/>
                    <a:pt x="175" y="9"/>
                  </a:cubicBezTo>
                  <a:cubicBezTo>
                    <a:pt x="175" y="49"/>
                    <a:pt x="175" y="49"/>
                    <a:pt x="175" y="49"/>
                  </a:cubicBezTo>
                  <a:cubicBezTo>
                    <a:pt x="160" y="53"/>
                    <a:pt x="147" y="59"/>
                    <a:pt x="134" y="66"/>
                  </a:cubicBezTo>
                  <a:cubicBezTo>
                    <a:pt x="105" y="37"/>
                    <a:pt x="105" y="37"/>
                    <a:pt x="105" y="37"/>
                  </a:cubicBezTo>
                  <a:cubicBezTo>
                    <a:pt x="102" y="34"/>
                    <a:pt x="97" y="34"/>
                    <a:pt x="93" y="37"/>
                  </a:cubicBezTo>
                  <a:cubicBezTo>
                    <a:pt x="37" y="94"/>
                    <a:pt x="37" y="94"/>
                    <a:pt x="37" y="94"/>
                  </a:cubicBezTo>
                  <a:cubicBezTo>
                    <a:pt x="33" y="97"/>
                    <a:pt x="33" y="102"/>
                    <a:pt x="37" y="106"/>
                  </a:cubicBezTo>
                  <a:cubicBezTo>
                    <a:pt x="65" y="134"/>
                    <a:pt x="65" y="134"/>
                    <a:pt x="65" y="134"/>
                  </a:cubicBezTo>
                  <a:cubicBezTo>
                    <a:pt x="58" y="147"/>
                    <a:pt x="53" y="161"/>
                    <a:pt x="49" y="175"/>
                  </a:cubicBezTo>
                  <a:cubicBezTo>
                    <a:pt x="8" y="175"/>
                    <a:pt x="8" y="175"/>
                    <a:pt x="8" y="175"/>
                  </a:cubicBezTo>
                  <a:cubicBezTo>
                    <a:pt x="3" y="175"/>
                    <a:pt x="0" y="179"/>
                    <a:pt x="0" y="184"/>
                  </a:cubicBezTo>
                  <a:close/>
                  <a:moveTo>
                    <a:pt x="92" y="223"/>
                  </a:moveTo>
                  <a:cubicBezTo>
                    <a:pt x="92" y="151"/>
                    <a:pt x="151" y="92"/>
                    <a:pt x="223" y="92"/>
                  </a:cubicBezTo>
                  <a:cubicBezTo>
                    <a:pt x="295" y="92"/>
                    <a:pt x="354" y="151"/>
                    <a:pt x="354" y="223"/>
                  </a:cubicBezTo>
                  <a:cubicBezTo>
                    <a:pt x="354" y="296"/>
                    <a:pt x="295" y="355"/>
                    <a:pt x="223" y="355"/>
                  </a:cubicBezTo>
                  <a:cubicBezTo>
                    <a:pt x="151" y="355"/>
                    <a:pt x="92" y="296"/>
                    <a:pt x="92" y="223"/>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06" name="Freeform 27">
              <a:extLst>
                <a:ext uri="{FF2B5EF4-FFF2-40B4-BE49-F238E27FC236}">
                  <a16:creationId xmlns:a16="http://schemas.microsoft.com/office/drawing/2014/main" id="{892EB457-4AF5-444A-8850-E09E1AFA6B9E}"/>
                </a:ext>
              </a:extLst>
            </p:cNvPr>
            <p:cNvSpPr>
              <a:spLocks noEditPoints="1"/>
            </p:cNvSpPr>
            <p:nvPr/>
          </p:nvSpPr>
          <p:spPr bwMode="auto">
            <a:xfrm>
              <a:off x="3679" y="1006"/>
              <a:ext cx="378" cy="377"/>
            </a:xfrm>
            <a:custGeom>
              <a:avLst/>
              <a:gdLst>
                <a:gd name="T0" fmla="*/ 0 w 309"/>
                <a:gd name="T1" fmla="*/ 154 h 309"/>
                <a:gd name="T2" fmla="*/ 154 w 309"/>
                <a:gd name="T3" fmla="*/ 309 h 309"/>
                <a:gd name="T4" fmla="*/ 309 w 309"/>
                <a:gd name="T5" fmla="*/ 154 h 309"/>
                <a:gd name="T6" fmla="*/ 154 w 309"/>
                <a:gd name="T7" fmla="*/ 0 h 309"/>
                <a:gd name="T8" fmla="*/ 0 w 309"/>
                <a:gd name="T9" fmla="*/ 154 h 309"/>
                <a:gd name="T10" fmla="*/ 23 w 309"/>
                <a:gd name="T11" fmla="*/ 154 h 309"/>
                <a:gd name="T12" fmla="*/ 154 w 309"/>
                <a:gd name="T13" fmla="*/ 23 h 309"/>
                <a:gd name="T14" fmla="*/ 285 w 309"/>
                <a:gd name="T15" fmla="*/ 154 h 309"/>
                <a:gd name="T16" fmla="*/ 154 w 309"/>
                <a:gd name="T17" fmla="*/ 286 h 309"/>
                <a:gd name="T18" fmla="*/ 23 w 309"/>
                <a:gd name="T19" fmla="*/ 15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309">
                  <a:moveTo>
                    <a:pt x="0" y="154"/>
                  </a:moveTo>
                  <a:cubicBezTo>
                    <a:pt x="0" y="240"/>
                    <a:pt x="69" y="309"/>
                    <a:pt x="154" y="309"/>
                  </a:cubicBezTo>
                  <a:cubicBezTo>
                    <a:pt x="239" y="309"/>
                    <a:pt x="309" y="240"/>
                    <a:pt x="309" y="154"/>
                  </a:cubicBezTo>
                  <a:cubicBezTo>
                    <a:pt x="309" y="69"/>
                    <a:pt x="239" y="0"/>
                    <a:pt x="154" y="0"/>
                  </a:cubicBezTo>
                  <a:cubicBezTo>
                    <a:pt x="69" y="0"/>
                    <a:pt x="0" y="69"/>
                    <a:pt x="0" y="154"/>
                  </a:cubicBezTo>
                  <a:close/>
                  <a:moveTo>
                    <a:pt x="23" y="154"/>
                  </a:moveTo>
                  <a:cubicBezTo>
                    <a:pt x="23" y="82"/>
                    <a:pt x="82" y="23"/>
                    <a:pt x="154" y="23"/>
                  </a:cubicBezTo>
                  <a:cubicBezTo>
                    <a:pt x="226" y="23"/>
                    <a:pt x="285" y="82"/>
                    <a:pt x="285" y="154"/>
                  </a:cubicBezTo>
                  <a:cubicBezTo>
                    <a:pt x="285" y="227"/>
                    <a:pt x="226" y="286"/>
                    <a:pt x="154" y="286"/>
                  </a:cubicBezTo>
                  <a:cubicBezTo>
                    <a:pt x="82" y="286"/>
                    <a:pt x="23" y="227"/>
                    <a:pt x="23" y="154"/>
                  </a:cubicBezTo>
                  <a:close/>
                </a:path>
              </a:pathLst>
            </a:custGeom>
            <a:solidFill>
              <a:srgbClr val="004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nvGrpSpPr>
          <p:cNvPr id="614" name="Group 25">
            <a:extLst>
              <a:ext uri="{FF2B5EF4-FFF2-40B4-BE49-F238E27FC236}">
                <a16:creationId xmlns:a16="http://schemas.microsoft.com/office/drawing/2014/main" id="{A06CADBB-EE67-4CDC-B006-E7BCA9AFD5B5}"/>
              </a:ext>
            </a:extLst>
          </p:cNvPr>
          <p:cNvGrpSpPr>
            <a:grpSpLocks noChangeAspect="1"/>
          </p:cNvGrpSpPr>
          <p:nvPr/>
        </p:nvGrpSpPr>
        <p:grpSpPr bwMode="auto">
          <a:xfrm>
            <a:off x="6958258" y="3837733"/>
            <a:ext cx="696086" cy="693541"/>
            <a:chOff x="3594" y="922"/>
            <a:chExt cx="547" cy="545"/>
          </a:xfrm>
        </p:grpSpPr>
        <p:sp>
          <p:nvSpPr>
            <p:cNvPr id="615" name="Freeform 27">
              <a:extLst>
                <a:ext uri="{FF2B5EF4-FFF2-40B4-BE49-F238E27FC236}">
                  <a16:creationId xmlns:a16="http://schemas.microsoft.com/office/drawing/2014/main" id="{70CFEF74-06DF-4279-AD3C-A7992FA1CBEE}"/>
                </a:ext>
              </a:extLst>
            </p:cNvPr>
            <p:cNvSpPr>
              <a:spLocks noEditPoints="1"/>
            </p:cNvSpPr>
            <p:nvPr/>
          </p:nvSpPr>
          <p:spPr bwMode="auto">
            <a:xfrm>
              <a:off x="3679" y="1006"/>
              <a:ext cx="378" cy="37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16" name="Freeform 26">
              <a:extLst>
                <a:ext uri="{FF2B5EF4-FFF2-40B4-BE49-F238E27FC236}">
                  <a16:creationId xmlns:a16="http://schemas.microsoft.com/office/drawing/2014/main" id="{8B1193D9-62D1-4B37-ACBB-A0848FC85661}"/>
                </a:ext>
              </a:extLst>
            </p:cNvPr>
            <p:cNvSpPr>
              <a:spLocks noEditPoints="1"/>
            </p:cNvSpPr>
            <p:nvPr/>
          </p:nvSpPr>
          <p:spPr bwMode="auto">
            <a:xfrm>
              <a:off x="3594" y="922"/>
              <a:ext cx="547" cy="545"/>
            </a:xfrm>
            <a:custGeom>
              <a:avLst/>
              <a:gdLst>
                <a:gd name="T0" fmla="*/ 0 w 447"/>
                <a:gd name="T1" fmla="*/ 184 h 447"/>
                <a:gd name="T2" fmla="*/ 0 w 447"/>
                <a:gd name="T3" fmla="*/ 263 h 447"/>
                <a:gd name="T4" fmla="*/ 8 w 447"/>
                <a:gd name="T5" fmla="*/ 272 h 447"/>
                <a:gd name="T6" fmla="*/ 49 w 447"/>
                <a:gd name="T7" fmla="*/ 272 h 447"/>
                <a:gd name="T8" fmla="*/ 65 w 447"/>
                <a:gd name="T9" fmla="*/ 313 h 447"/>
                <a:gd name="T10" fmla="*/ 37 w 447"/>
                <a:gd name="T11" fmla="*/ 341 h 447"/>
                <a:gd name="T12" fmla="*/ 37 w 447"/>
                <a:gd name="T13" fmla="*/ 353 h 447"/>
                <a:gd name="T14" fmla="*/ 93 w 447"/>
                <a:gd name="T15" fmla="*/ 410 h 447"/>
                <a:gd name="T16" fmla="*/ 105 w 447"/>
                <a:gd name="T17" fmla="*/ 410 h 447"/>
                <a:gd name="T18" fmla="*/ 134 w 447"/>
                <a:gd name="T19" fmla="*/ 381 h 447"/>
                <a:gd name="T20" fmla="*/ 175 w 447"/>
                <a:gd name="T21" fmla="*/ 398 h 447"/>
                <a:gd name="T22" fmla="*/ 175 w 447"/>
                <a:gd name="T23" fmla="*/ 438 h 447"/>
                <a:gd name="T24" fmla="*/ 183 w 447"/>
                <a:gd name="T25" fmla="*/ 447 h 447"/>
                <a:gd name="T26" fmla="*/ 263 w 447"/>
                <a:gd name="T27" fmla="*/ 447 h 447"/>
                <a:gd name="T28" fmla="*/ 271 w 447"/>
                <a:gd name="T29" fmla="*/ 438 h 447"/>
                <a:gd name="T30" fmla="*/ 271 w 447"/>
                <a:gd name="T31" fmla="*/ 398 h 447"/>
                <a:gd name="T32" fmla="*/ 312 w 447"/>
                <a:gd name="T33" fmla="*/ 381 h 447"/>
                <a:gd name="T34" fmla="*/ 341 w 447"/>
                <a:gd name="T35" fmla="*/ 410 h 447"/>
                <a:gd name="T36" fmla="*/ 353 w 447"/>
                <a:gd name="T37" fmla="*/ 410 h 447"/>
                <a:gd name="T38" fmla="*/ 409 w 447"/>
                <a:gd name="T39" fmla="*/ 353 h 447"/>
                <a:gd name="T40" fmla="*/ 409 w 447"/>
                <a:gd name="T41" fmla="*/ 341 h 447"/>
                <a:gd name="T42" fmla="*/ 381 w 447"/>
                <a:gd name="T43" fmla="*/ 313 h 447"/>
                <a:gd name="T44" fmla="*/ 397 w 447"/>
                <a:gd name="T45" fmla="*/ 272 h 447"/>
                <a:gd name="T46" fmla="*/ 438 w 447"/>
                <a:gd name="T47" fmla="*/ 272 h 447"/>
                <a:gd name="T48" fmla="*/ 447 w 447"/>
                <a:gd name="T49" fmla="*/ 263 h 447"/>
                <a:gd name="T50" fmla="*/ 447 w 447"/>
                <a:gd name="T51" fmla="*/ 184 h 447"/>
                <a:gd name="T52" fmla="*/ 438 w 447"/>
                <a:gd name="T53" fmla="*/ 175 h 447"/>
                <a:gd name="T54" fmla="*/ 397 w 447"/>
                <a:gd name="T55" fmla="*/ 175 h 447"/>
                <a:gd name="T56" fmla="*/ 381 w 447"/>
                <a:gd name="T57" fmla="*/ 135 h 447"/>
                <a:gd name="T58" fmla="*/ 409 w 447"/>
                <a:gd name="T59" fmla="*/ 106 h 447"/>
                <a:gd name="T60" fmla="*/ 409 w 447"/>
                <a:gd name="T61" fmla="*/ 94 h 447"/>
                <a:gd name="T62" fmla="*/ 353 w 447"/>
                <a:gd name="T63" fmla="*/ 37 h 447"/>
                <a:gd name="T64" fmla="*/ 341 w 447"/>
                <a:gd name="T65" fmla="*/ 37 h 447"/>
                <a:gd name="T66" fmla="*/ 312 w 447"/>
                <a:gd name="T67" fmla="*/ 66 h 447"/>
                <a:gd name="T68" fmla="*/ 271 w 447"/>
                <a:gd name="T69" fmla="*/ 49 h 447"/>
                <a:gd name="T70" fmla="*/ 271 w 447"/>
                <a:gd name="T71" fmla="*/ 9 h 447"/>
                <a:gd name="T72" fmla="*/ 263 w 447"/>
                <a:gd name="T73" fmla="*/ 0 h 447"/>
                <a:gd name="T74" fmla="*/ 183 w 447"/>
                <a:gd name="T75" fmla="*/ 0 h 447"/>
                <a:gd name="T76" fmla="*/ 175 w 447"/>
                <a:gd name="T77" fmla="*/ 9 h 447"/>
                <a:gd name="T78" fmla="*/ 175 w 447"/>
                <a:gd name="T79" fmla="*/ 49 h 447"/>
                <a:gd name="T80" fmla="*/ 134 w 447"/>
                <a:gd name="T81" fmla="*/ 66 h 447"/>
                <a:gd name="T82" fmla="*/ 105 w 447"/>
                <a:gd name="T83" fmla="*/ 37 h 447"/>
                <a:gd name="T84" fmla="*/ 93 w 447"/>
                <a:gd name="T85" fmla="*/ 37 h 447"/>
                <a:gd name="T86" fmla="*/ 37 w 447"/>
                <a:gd name="T87" fmla="*/ 94 h 447"/>
                <a:gd name="T88" fmla="*/ 37 w 447"/>
                <a:gd name="T89" fmla="*/ 106 h 447"/>
                <a:gd name="T90" fmla="*/ 65 w 447"/>
                <a:gd name="T91" fmla="*/ 134 h 447"/>
                <a:gd name="T92" fmla="*/ 49 w 447"/>
                <a:gd name="T93" fmla="*/ 175 h 447"/>
                <a:gd name="T94" fmla="*/ 8 w 447"/>
                <a:gd name="T95" fmla="*/ 175 h 447"/>
                <a:gd name="T96" fmla="*/ 0 w 447"/>
                <a:gd name="T97" fmla="*/ 184 h 447"/>
                <a:gd name="T98" fmla="*/ 92 w 447"/>
                <a:gd name="T99" fmla="*/ 223 h 447"/>
                <a:gd name="T100" fmla="*/ 223 w 447"/>
                <a:gd name="T101" fmla="*/ 92 h 447"/>
                <a:gd name="T102" fmla="*/ 354 w 447"/>
                <a:gd name="T103" fmla="*/ 223 h 447"/>
                <a:gd name="T104" fmla="*/ 223 w 447"/>
                <a:gd name="T105" fmla="*/ 355 h 447"/>
                <a:gd name="T106" fmla="*/ 92 w 447"/>
                <a:gd name="T107" fmla="*/ 22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7" h="447">
                  <a:moveTo>
                    <a:pt x="0" y="184"/>
                  </a:moveTo>
                  <a:cubicBezTo>
                    <a:pt x="0" y="263"/>
                    <a:pt x="0" y="263"/>
                    <a:pt x="0" y="263"/>
                  </a:cubicBezTo>
                  <a:cubicBezTo>
                    <a:pt x="0" y="268"/>
                    <a:pt x="3" y="272"/>
                    <a:pt x="8" y="272"/>
                  </a:cubicBezTo>
                  <a:cubicBezTo>
                    <a:pt x="49" y="272"/>
                    <a:pt x="49" y="272"/>
                    <a:pt x="49" y="272"/>
                  </a:cubicBezTo>
                  <a:cubicBezTo>
                    <a:pt x="53" y="286"/>
                    <a:pt x="58" y="300"/>
                    <a:pt x="65" y="313"/>
                  </a:cubicBezTo>
                  <a:cubicBezTo>
                    <a:pt x="37" y="341"/>
                    <a:pt x="37" y="341"/>
                    <a:pt x="37" y="341"/>
                  </a:cubicBezTo>
                  <a:cubicBezTo>
                    <a:pt x="33" y="345"/>
                    <a:pt x="33" y="350"/>
                    <a:pt x="37" y="353"/>
                  </a:cubicBezTo>
                  <a:cubicBezTo>
                    <a:pt x="93" y="410"/>
                    <a:pt x="93" y="410"/>
                    <a:pt x="93" y="410"/>
                  </a:cubicBezTo>
                  <a:cubicBezTo>
                    <a:pt x="97" y="413"/>
                    <a:pt x="102" y="413"/>
                    <a:pt x="105" y="410"/>
                  </a:cubicBezTo>
                  <a:cubicBezTo>
                    <a:pt x="134" y="381"/>
                    <a:pt x="134" y="381"/>
                    <a:pt x="134" y="381"/>
                  </a:cubicBezTo>
                  <a:cubicBezTo>
                    <a:pt x="147" y="388"/>
                    <a:pt x="160" y="394"/>
                    <a:pt x="175" y="398"/>
                  </a:cubicBezTo>
                  <a:cubicBezTo>
                    <a:pt x="175" y="438"/>
                    <a:pt x="175" y="438"/>
                    <a:pt x="175" y="438"/>
                  </a:cubicBezTo>
                  <a:cubicBezTo>
                    <a:pt x="175" y="443"/>
                    <a:pt x="178" y="447"/>
                    <a:pt x="183" y="447"/>
                  </a:cubicBezTo>
                  <a:cubicBezTo>
                    <a:pt x="263" y="447"/>
                    <a:pt x="263" y="447"/>
                    <a:pt x="263" y="447"/>
                  </a:cubicBezTo>
                  <a:cubicBezTo>
                    <a:pt x="268" y="447"/>
                    <a:pt x="271" y="443"/>
                    <a:pt x="271" y="438"/>
                  </a:cubicBezTo>
                  <a:cubicBezTo>
                    <a:pt x="271" y="398"/>
                    <a:pt x="271" y="398"/>
                    <a:pt x="271" y="398"/>
                  </a:cubicBezTo>
                  <a:cubicBezTo>
                    <a:pt x="286" y="394"/>
                    <a:pt x="299" y="388"/>
                    <a:pt x="312" y="381"/>
                  </a:cubicBezTo>
                  <a:cubicBezTo>
                    <a:pt x="341" y="410"/>
                    <a:pt x="341" y="410"/>
                    <a:pt x="341" y="410"/>
                  </a:cubicBezTo>
                  <a:cubicBezTo>
                    <a:pt x="344" y="413"/>
                    <a:pt x="350" y="413"/>
                    <a:pt x="353" y="410"/>
                  </a:cubicBezTo>
                  <a:cubicBezTo>
                    <a:pt x="409" y="353"/>
                    <a:pt x="409" y="353"/>
                    <a:pt x="409" y="353"/>
                  </a:cubicBezTo>
                  <a:cubicBezTo>
                    <a:pt x="413" y="350"/>
                    <a:pt x="413" y="345"/>
                    <a:pt x="409" y="341"/>
                  </a:cubicBezTo>
                  <a:cubicBezTo>
                    <a:pt x="381" y="313"/>
                    <a:pt x="381" y="313"/>
                    <a:pt x="381" y="313"/>
                  </a:cubicBezTo>
                  <a:cubicBezTo>
                    <a:pt x="388" y="300"/>
                    <a:pt x="393" y="286"/>
                    <a:pt x="397" y="272"/>
                  </a:cubicBezTo>
                  <a:cubicBezTo>
                    <a:pt x="438" y="272"/>
                    <a:pt x="438" y="272"/>
                    <a:pt x="438" y="272"/>
                  </a:cubicBezTo>
                  <a:cubicBezTo>
                    <a:pt x="443" y="272"/>
                    <a:pt x="447" y="268"/>
                    <a:pt x="447" y="263"/>
                  </a:cubicBezTo>
                  <a:cubicBezTo>
                    <a:pt x="447" y="184"/>
                    <a:pt x="447" y="184"/>
                    <a:pt x="447" y="184"/>
                  </a:cubicBezTo>
                  <a:cubicBezTo>
                    <a:pt x="447" y="179"/>
                    <a:pt x="443" y="175"/>
                    <a:pt x="438" y="175"/>
                  </a:cubicBezTo>
                  <a:cubicBezTo>
                    <a:pt x="397" y="175"/>
                    <a:pt x="397" y="175"/>
                    <a:pt x="397" y="175"/>
                  </a:cubicBezTo>
                  <a:cubicBezTo>
                    <a:pt x="393" y="161"/>
                    <a:pt x="388" y="147"/>
                    <a:pt x="381" y="135"/>
                  </a:cubicBezTo>
                  <a:cubicBezTo>
                    <a:pt x="409" y="106"/>
                    <a:pt x="409" y="106"/>
                    <a:pt x="409" y="106"/>
                  </a:cubicBezTo>
                  <a:cubicBezTo>
                    <a:pt x="413" y="103"/>
                    <a:pt x="413" y="97"/>
                    <a:pt x="409" y="94"/>
                  </a:cubicBezTo>
                  <a:cubicBezTo>
                    <a:pt x="353" y="37"/>
                    <a:pt x="353" y="37"/>
                    <a:pt x="353" y="37"/>
                  </a:cubicBezTo>
                  <a:cubicBezTo>
                    <a:pt x="350" y="34"/>
                    <a:pt x="344" y="34"/>
                    <a:pt x="341" y="37"/>
                  </a:cubicBezTo>
                  <a:cubicBezTo>
                    <a:pt x="312" y="66"/>
                    <a:pt x="312" y="66"/>
                    <a:pt x="312" y="66"/>
                  </a:cubicBezTo>
                  <a:cubicBezTo>
                    <a:pt x="300" y="59"/>
                    <a:pt x="286" y="53"/>
                    <a:pt x="271" y="49"/>
                  </a:cubicBezTo>
                  <a:cubicBezTo>
                    <a:pt x="271" y="9"/>
                    <a:pt x="271" y="9"/>
                    <a:pt x="271" y="9"/>
                  </a:cubicBezTo>
                  <a:cubicBezTo>
                    <a:pt x="271" y="4"/>
                    <a:pt x="268" y="0"/>
                    <a:pt x="263" y="0"/>
                  </a:cubicBezTo>
                  <a:cubicBezTo>
                    <a:pt x="183" y="0"/>
                    <a:pt x="183" y="0"/>
                    <a:pt x="183" y="0"/>
                  </a:cubicBezTo>
                  <a:cubicBezTo>
                    <a:pt x="178" y="0"/>
                    <a:pt x="175" y="4"/>
                    <a:pt x="175" y="9"/>
                  </a:cubicBezTo>
                  <a:cubicBezTo>
                    <a:pt x="175" y="49"/>
                    <a:pt x="175" y="49"/>
                    <a:pt x="175" y="49"/>
                  </a:cubicBezTo>
                  <a:cubicBezTo>
                    <a:pt x="160" y="53"/>
                    <a:pt x="147" y="59"/>
                    <a:pt x="134" y="66"/>
                  </a:cubicBezTo>
                  <a:cubicBezTo>
                    <a:pt x="105" y="37"/>
                    <a:pt x="105" y="37"/>
                    <a:pt x="105" y="37"/>
                  </a:cubicBezTo>
                  <a:cubicBezTo>
                    <a:pt x="102" y="34"/>
                    <a:pt x="97" y="34"/>
                    <a:pt x="93" y="37"/>
                  </a:cubicBezTo>
                  <a:cubicBezTo>
                    <a:pt x="37" y="94"/>
                    <a:pt x="37" y="94"/>
                    <a:pt x="37" y="94"/>
                  </a:cubicBezTo>
                  <a:cubicBezTo>
                    <a:pt x="33" y="97"/>
                    <a:pt x="33" y="102"/>
                    <a:pt x="37" y="106"/>
                  </a:cubicBezTo>
                  <a:cubicBezTo>
                    <a:pt x="65" y="134"/>
                    <a:pt x="65" y="134"/>
                    <a:pt x="65" y="134"/>
                  </a:cubicBezTo>
                  <a:cubicBezTo>
                    <a:pt x="58" y="147"/>
                    <a:pt x="53" y="161"/>
                    <a:pt x="49" y="175"/>
                  </a:cubicBezTo>
                  <a:cubicBezTo>
                    <a:pt x="8" y="175"/>
                    <a:pt x="8" y="175"/>
                    <a:pt x="8" y="175"/>
                  </a:cubicBezTo>
                  <a:cubicBezTo>
                    <a:pt x="3" y="175"/>
                    <a:pt x="0" y="179"/>
                    <a:pt x="0" y="184"/>
                  </a:cubicBezTo>
                  <a:close/>
                  <a:moveTo>
                    <a:pt x="92" y="223"/>
                  </a:moveTo>
                  <a:cubicBezTo>
                    <a:pt x="92" y="151"/>
                    <a:pt x="151" y="92"/>
                    <a:pt x="223" y="92"/>
                  </a:cubicBezTo>
                  <a:cubicBezTo>
                    <a:pt x="295" y="92"/>
                    <a:pt x="354" y="151"/>
                    <a:pt x="354" y="223"/>
                  </a:cubicBezTo>
                  <a:cubicBezTo>
                    <a:pt x="354" y="296"/>
                    <a:pt x="295" y="355"/>
                    <a:pt x="223" y="355"/>
                  </a:cubicBezTo>
                  <a:cubicBezTo>
                    <a:pt x="151" y="355"/>
                    <a:pt x="92" y="296"/>
                    <a:pt x="92" y="2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17" name="Freeform 27">
              <a:extLst>
                <a:ext uri="{FF2B5EF4-FFF2-40B4-BE49-F238E27FC236}">
                  <a16:creationId xmlns:a16="http://schemas.microsoft.com/office/drawing/2014/main" id="{C3496E86-B30E-4D51-A392-CB60D3803B75}"/>
                </a:ext>
              </a:extLst>
            </p:cNvPr>
            <p:cNvSpPr>
              <a:spLocks noEditPoints="1"/>
            </p:cNvSpPr>
            <p:nvPr/>
          </p:nvSpPr>
          <p:spPr bwMode="auto">
            <a:xfrm>
              <a:off x="3679" y="1006"/>
              <a:ext cx="378" cy="377"/>
            </a:xfrm>
            <a:custGeom>
              <a:avLst/>
              <a:gdLst>
                <a:gd name="T0" fmla="*/ 0 w 309"/>
                <a:gd name="T1" fmla="*/ 154 h 309"/>
                <a:gd name="T2" fmla="*/ 154 w 309"/>
                <a:gd name="T3" fmla="*/ 309 h 309"/>
                <a:gd name="T4" fmla="*/ 309 w 309"/>
                <a:gd name="T5" fmla="*/ 154 h 309"/>
                <a:gd name="T6" fmla="*/ 154 w 309"/>
                <a:gd name="T7" fmla="*/ 0 h 309"/>
                <a:gd name="T8" fmla="*/ 0 w 309"/>
                <a:gd name="T9" fmla="*/ 154 h 309"/>
                <a:gd name="T10" fmla="*/ 23 w 309"/>
                <a:gd name="T11" fmla="*/ 154 h 309"/>
                <a:gd name="T12" fmla="*/ 154 w 309"/>
                <a:gd name="T13" fmla="*/ 23 h 309"/>
                <a:gd name="T14" fmla="*/ 285 w 309"/>
                <a:gd name="T15" fmla="*/ 154 h 309"/>
                <a:gd name="T16" fmla="*/ 154 w 309"/>
                <a:gd name="T17" fmla="*/ 286 h 309"/>
                <a:gd name="T18" fmla="*/ 23 w 309"/>
                <a:gd name="T19" fmla="*/ 15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309">
                  <a:moveTo>
                    <a:pt x="0" y="154"/>
                  </a:moveTo>
                  <a:cubicBezTo>
                    <a:pt x="0" y="240"/>
                    <a:pt x="69" y="309"/>
                    <a:pt x="154" y="309"/>
                  </a:cubicBezTo>
                  <a:cubicBezTo>
                    <a:pt x="239" y="309"/>
                    <a:pt x="309" y="240"/>
                    <a:pt x="309" y="154"/>
                  </a:cubicBezTo>
                  <a:cubicBezTo>
                    <a:pt x="309" y="69"/>
                    <a:pt x="239" y="0"/>
                    <a:pt x="154" y="0"/>
                  </a:cubicBezTo>
                  <a:cubicBezTo>
                    <a:pt x="69" y="0"/>
                    <a:pt x="0" y="69"/>
                    <a:pt x="0" y="154"/>
                  </a:cubicBezTo>
                  <a:close/>
                  <a:moveTo>
                    <a:pt x="23" y="154"/>
                  </a:moveTo>
                  <a:cubicBezTo>
                    <a:pt x="23" y="82"/>
                    <a:pt x="82" y="23"/>
                    <a:pt x="154" y="23"/>
                  </a:cubicBezTo>
                  <a:cubicBezTo>
                    <a:pt x="226" y="23"/>
                    <a:pt x="285" y="82"/>
                    <a:pt x="285" y="154"/>
                  </a:cubicBezTo>
                  <a:cubicBezTo>
                    <a:pt x="285" y="227"/>
                    <a:pt x="226" y="286"/>
                    <a:pt x="154" y="286"/>
                  </a:cubicBezTo>
                  <a:cubicBezTo>
                    <a:pt x="82" y="286"/>
                    <a:pt x="23" y="227"/>
                    <a:pt x="23" y="1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grpSp>
        <p:nvGrpSpPr>
          <p:cNvPr id="618" name="Group 25">
            <a:extLst>
              <a:ext uri="{FF2B5EF4-FFF2-40B4-BE49-F238E27FC236}">
                <a16:creationId xmlns:a16="http://schemas.microsoft.com/office/drawing/2014/main" id="{100A2B7A-AF9F-415C-B636-D868BBA4CD04}"/>
              </a:ext>
            </a:extLst>
          </p:cNvPr>
          <p:cNvGrpSpPr>
            <a:grpSpLocks noChangeAspect="1"/>
          </p:cNvGrpSpPr>
          <p:nvPr/>
        </p:nvGrpSpPr>
        <p:grpSpPr bwMode="auto">
          <a:xfrm>
            <a:off x="6317980" y="4296745"/>
            <a:ext cx="696086" cy="693541"/>
            <a:chOff x="3594" y="922"/>
            <a:chExt cx="547" cy="545"/>
          </a:xfrm>
        </p:grpSpPr>
        <p:sp>
          <p:nvSpPr>
            <p:cNvPr id="619" name="Freeform 27">
              <a:extLst>
                <a:ext uri="{FF2B5EF4-FFF2-40B4-BE49-F238E27FC236}">
                  <a16:creationId xmlns:a16="http://schemas.microsoft.com/office/drawing/2014/main" id="{8FF9E190-2804-4264-8D72-394A165EA210}"/>
                </a:ext>
              </a:extLst>
            </p:cNvPr>
            <p:cNvSpPr>
              <a:spLocks noEditPoints="1"/>
            </p:cNvSpPr>
            <p:nvPr/>
          </p:nvSpPr>
          <p:spPr bwMode="auto">
            <a:xfrm>
              <a:off x="3679" y="1006"/>
              <a:ext cx="378" cy="37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20" name="Freeform 26">
              <a:extLst>
                <a:ext uri="{FF2B5EF4-FFF2-40B4-BE49-F238E27FC236}">
                  <a16:creationId xmlns:a16="http://schemas.microsoft.com/office/drawing/2014/main" id="{960CCC32-426F-4064-AF54-C27505E9EDB2}"/>
                </a:ext>
              </a:extLst>
            </p:cNvPr>
            <p:cNvSpPr>
              <a:spLocks noEditPoints="1"/>
            </p:cNvSpPr>
            <p:nvPr/>
          </p:nvSpPr>
          <p:spPr bwMode="auto">
            <a:xfrm>
              <a:off x="3594" y="922"/>
              <a:ext cx="547" cy="545"/>
            </a:xfrm>
            <a:custGeom>
              <a:avLst/>
              <a:gdLst>
                <a:gd name="T0" fmla="*/ 0 w 447"/>
                <a:gd name="T1" fmla="*/ 184 h 447"/>
                <a:gd name="T2" fmla="*/ 0 w 447"/>
                <a:gd name="T3" fmla="*/ 263 h 447"/>
                <a:gd name="T4" fmla="*/ 8 w 447"/>
                <a:gd name="T5" fmla="*/ 272 h 447"/>
                <a:gd name="T6" fmla="*/ 49 w 447"/>
                <a:gd name="T7" fmla="*/ 272 h 447"/>
                <a:gd name="T8" fmla="*/ 65 w 447"/>
                <a:gd name="T9" fmla="*/ 313 h 447"/>
                <a:gd name="T10" fmla="*/ 37 w 447"/>
                <a:gd name="T11" fmla="*/ 341 h 447"/>
                <a:gd name="T12" fmla="*/ 37 w 447"/>
                <a:gd name="T13" fmla="*/ 353 h 447"/>
                <a:gd name="T14" fmla="*/ 93 w 447"/>
                <a:gd name="T15" fmla="*/ 410 h 447"/>
                <a:gd name="T16" fmla="*/ 105 w 447"/>
                <a:gd name="T17" fmla="*/ 410 h 447"/>
                <a:gd name="T18" fmla="*/ 134 w 447"/>
                <a:gd name="T19" fmla="*/ 381 h 447"/>
                <a:gd name="T20" fmla="*/ 175 w 447"/>
                <a:gd name="T21" fmla="*/ 398 h 447"/>
                <a:gd name="T22" fmla="*/ 175 w 447"/>
                <a:gd name="T23" fmla="*/ 438 h 447"/>
                <a:gd name="T24" fmla="*/ 183 w 447"/>
                <a:gd name="T25" fmla="*/ 447 h 447"/>
                <a:gd name="T26" fmla="*/ 263 w 447"/>
                <a:gd name="T27" fmla="*/ 447 h 447"/>
                <a:gd name="T28" fmla="*/ 271 w 447"/>
                <a:gd name="T29" fmla="*/ 438 h 447"/>
                <a:gd name="T30" fmla="*/ 271 w 447"/>
                <a:gd name="T31" fmla="*/ 398 h 447"/>
                <a:gd name="T32" fmla="*/ 312 w 447"/>
                <a:gd name="T33" fmla="*/ 381 h 447"/>
                <a:gd name="T34" fmla="*/ 341 w 447"/>
                <a:gd name="T35" fmla="*/ 410 h 447"/>
                <a:gd name="T36" fmla="*/ 353 w 447"/>
                <a:gd name="T37" fmla="*/ 410 h 447"/>
                <a:gd name="T38" fmla="*/ 409 w 447"/>
                <a:gd name="T39" fmla="*/ 353 h 447"/>
                <a:gd name="T40" fmla="*/ 409 w 447"/>
                <a:gd name="T41" fmla="*/ 341 h 447"/>
                <a:gd name="T42" fmla="*/ 381 w 447"/>
                <a:gd name="T43" fmla="*/ 313 h 447"/>
                <a:gd name="T44" fmla="*/ 397 w 447"/>
                <a:gd name="T45" fmla="*/ 272 h 447"/>
                <a:gd name="T46" fmla="*/ 438 w 447"/>
                <a:gd name="T47" fmla="*/ 272 h 447"/>
                <a:gd name="T48" fmla="*/ 447 w 447"/>
                <a:gd name="T49" fmla="*/ 263 h 447"/>
                <a:gd name="T50" fmla="*/ 447 w 447"/>
                <a:gd name="T51" fmla="*/ 184 h 447"/>
                <a:gd name="T52" fmla="*/ 438 w 447"/>
                <a:gd name="T53" fmla="*/ 175 h 447"/>
                <a:gd name="T54" fmla="*/ 397 w 447"/>
                <a:gd name="T55" fmla="*/ 175 h 447"/>
                <a:gd name="T56" fmla="*/ 381 w 447"/>
                <a:gd name="T57" fmla="*/ 135 h 447"/>
                <a:gd name="T58" fmla="*/ 409 w 447"/>
                <a:gd name="T59" fmla="*/ 106 h 447"/>
                <a:gd name="T60" fmla="*/ 409 w 447"/>
                <a:gd name="T61" fmla="*/ 94 h 447"/>
                <a:gd name="T62" fmla="*/ 353 w 447"/>
                <a:gd name="T63" fmla="*/ 37 h 447"/>
                <a:gd name="T64" fmla="*/ 341 w 447"/>
                <a:gd name="T65" fmla="*/ 37 h 447"/>
                <a:gd name="T66" fmla="*/ 312 w 447"/>
                <a:gd name="T67" fmla="*/ 66 h 447"/>
                <a:gd name="T68" fmla="*/ 271 w 447"/>
                <a:gd name="T69" fmla="*/ 49 h 447"/>
                <a:gd name="T70" fmla="*/ 271 w 447"/>
                <a:gd name="T71" fmla="*/ 9 h 447"/>
                <a:gd name="T72" fmla="*/ 263 w 447"/>
                <a:gd name="T73" fmla="*/ 0 h 447"/>
                <a:gd name="T74" fmla="*/ 183 w 447"/>
                <a:gd name="T75" fmla="*/ 0 h 447"/>
                <a:gd name="T76" fmla="*/ 175 w 447"/>
                <a:gd name="T77" fmla="*/ 9 h 447"/>
                <a:gd name="T78" fmla="*/ 175 w 447"/>
                <a:gd name="T79" fmla="*/ 49 h 447"/>
                <a:gd name="T80" fmla="*/ 134 w 447"/>
                <a:gd name="T81" fmla="*/ 66 h 447"/>
                <a:gd name="T82" fmla="*/ 105 w 447"/>
                <a:gd name="T83" fmla="*/ 37 h 447"/>
                <a:gd name="T84" fmla="*/ 93 w 447"/>
                <a:gd name="T85" fmla="*/ 37 h 447"/>
                <a:gd name="T86" fmla="*/ 37 w 447"/>
                <a:gd name="T87" fmla="*/ 94 h 447"/>
                <a:gd name="T88" fmla="*/ 37 w 447"/>
                <a:gd name="T89" fmla="*/ 106 h 447"/>
                <a:gd name="T90" fmla="*/ 65 w 447"/>
                <a:gd name="T91" fmla="*/ 134 h 447"/>
                <a:gd name="T92" fmla="*/ 49 w 447"/>
                <a:gd name="T93" fmla="*/ 175 h 447"/>
                <a:gd name="T94" fmla="*/ 8 w 447"/>
                <a:gd name="T95" fmla="*/ 175 h 447"/>
                <a:gd name="T96" fmla="*/ 0 w 447"/>
                <a:gd name="T97" fmla="*/ 184 h 447"/>
                <a:gd name="T98" fmla="*/ 92 w 447"/>
                <a:gd name="T99" fmla="*/ 223 h 447"/>
                <a:gd name="T100" fmla="*/ 223 w 447"/>
                <a:gd name="T101" fmla="*/ 92 h 447"/>
                <a:gd name="T102" fmla="*/ 354 w 447"/>
                <a:gd name="T103" fmla="*/ 223 h 447"/>
                <a:gd name="T104" fmla="*/ 223 w 447"/>
                <a:gd name="T105" fmla="*/ 355 h 447"/>
                <a:gd name="T106" fmla="*/ 92 w 447"/>
                <a:gd name="T107" fmla="*/ 22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7" h="447">
                  <a:moveTo>
                    <a:pt x="0" y="184"/>
                  </a:moveTo>
                  <a:cubicBezTo>
                    <a:pt x="0" y="263"/>
                    <a:pt x="0" y="263"/>
                    <a:pt x="0" y="263"/>
                  </a:cubicBezTo>
                  <a:cubicBezTo>
                    <a:pt x="0" y="268"/>
                    <a:pt x="3" y="272"/>
                    <a:pt x="8" y="272"/>
                  </a:cubicBezTo>
                  <a:cubicBezTo>
                    <a:pt x="49" y="272"/>
                    <a:pt x="49" y="272"/>
                    <a:pt x="49" y="272"/>
                  </a:cubicBezTo>
                  <a:cubicBezTo>
                    <a:pt x="53" y="286"/>
                    <a:pt x="58" y="300"/>
                    <a:pt x="65" y="313"/>
                  </a:cubicBezTo>
                  <a:cubicBezTo>
                    <a:pt x="37" y="341"/>
                    <a:pt x="37" y="341"/>
                    <a:pt x="37" y="341"/>
                  </a:cubicBezTo>
                  <a:cubicBezTo>
                    <a:pt x="33" y="345"/>
                    <a:pt x="33" y="350"/>
                    <a:pt x="37" y="353"/>
                  </a:cubicBezTo>
                  <a:cubicBezTo>
                    <a:pt x="93" y="410"/>
                    <a:pt x="93" y="410"/>
                    <a:pt x="93" y="410"/>
                  </a:cubicBezTo>
                  <a:cubicBezTo>
                    <a:pt x="97" y="413"/>
                    <a:pt x="102" y="413"/>
                    <a:pt x="105" y="410"/>
                  </a:cubicBezTo>
                  <a:cubicBezTo>
                    <a:pt x="134" y="381"/>
                    <a:pt x="134" y="381"/>
                    <a:pt x="134" y="381"/>
                  </a:cubicBezTo>
                  <a:cubicBezTo>
                    <a:pt x="147" y="388"/>
                    <a:pt x="160" y="394"/>
                    <a:pt x="175" y="398"/>
                  </a:cubicBezTo>
                  <a:cubicBezTo>
                    <a:pt x="175" y="438"/>
                    <a:pt x="175" y="438"/>
                    <a:pt x="175" y="438"/>
                  </a:cubicBezTo>
                  <a:cubicBezTo>
                    <a:pt x="175" y="443"/>
                    <a:pt x="178" y="447"/>
                    <a:pt x="183" y="447"/>
                  </a:cubicBezTo>
                  <a:cubicBezTo>
                    <a:pt x="263" y="447"/>
                    <a:pt x="263" y="447"/>
                    <a:pt x="263" y="447"/>
                  </a:cubicBezTo>
                  <a:cubicBezTo>
                    <a:pt x="268" y="447"/>
                    <a:pt x="271" y="443"/>
                    <a:pt x="271" y="438"/>
                  </a:cubicBezTo>
                  <a:cubicBezTo>
                    <a:pt x="271" y="398"/>
                    <a:pt x="271" y="398"/>
                    <a:pt x="271" y="398"/>
                  </a:cubicBezTo>
                  <a:cubicBezTo>
                    <a:pt x="286" y="394"/>
                    <a:pt x="299" y="388"/>
                    <a:pt x="312" y="381"/>
                  </a:cubicBezTo>
                  <a:cubicBezTo>
                    <a:pt x="341" y="410"/>
                    <a:pt x="341" y="410"/>
                    <a:pt x="341" y="410"/>
                  </a:cubicBezTo>
                  <a:cubicBezTo>
                    <a:pt x="344" y="413"/>
                    <a:pt x="350" y="413"/>
                    <a:pt x="353" y="410"/>
                  </a:cubicBezTo>
                  <a:cubicBezTo>
                    <a:pt x="409" y="353"/>
                    <a:pt x="409" y="353"/>
                    <a:pt x="409" y="353"/>
                  </a:cubicBezTo>
                  <a:cubicBezTo>
                    <a:pt x="413" y="350"/>
                    <a:pt x="413" y="345"/>
                    <a:pt x="409" y="341"/>
                  </a:cubicBezTo>
                  <a:cubicBezTo>
                    <a:pt x="381" y="313"/>
                    <a:pt x="381" y="313"/>
                    <a:pt x="381" y="313"/>
                  </a:cubicBezTo>
                  <a:cubicBezTo>
                    <a:pt x="388" y="300"/>
                    <a:pt x="393" y="286"/>
                    <a:pt x="397" y="272"/>
                  </a:cubicBezTo>
                  <a:cubicBezTo>
                    <a:pt x="438" y="272"/>
                    <a:pt x="438" y="272"/>
                    <a:pt x="438" y="272"/>
                  </a:cubicBezTo>
                  <a:cubicBezTo>
                    <a:pt x="443" y="272"/>
                    <a:pt x="447" y="268"/>
                    <a:pt x="447" y="263"/>
                  </a:cubicBezTo>
                  <a:cubicBezTo>
                    <a:pt x="447" y="184"/>
                    <a:pt x="447" y="184"/>
                    <a:pt x="447" y="184"/>
                  </a:cubicBezTo>
                  <a:cubicBezTo>
                    <a:pt x="447" y="179"/>
                    <a:pt x="443" y="175"/>
                    <a:pt x="438" y="175"/>
                  </a:cubicBezTo>
                  <a:cubicBezTo>
                    <a:pt x="397" y="175"/>
                    <a:pt x="397" y="175"/>
                    <a:pt x="397" y="175"/>
                  </a:cubicBezTo>
                  <a:cubicBezTo>
                    <a:pt x="393" y="161"/>
                    <a:pt x="388" y="147"/>
                    <a:pt x="381" y="135"/>
                  </a:cubicBezTo>
                  <a:cubicBezTo>
                    <a:pt x="409" y="106"/>
                    <a:pt x="409" y="106"/>
                    <a:pt x="409" y="106"/>
                  </a:cubicBezTo>
                  <a:cubicBezTo>
                    <a:pt x="413" y="103"/>
                    <a:pt x="413" y="97"/>
                    <a:pt x="409" y="94"/>
                  </a:cubicBezTo>
                  <a:cubicBezTo>
                    <a:pt x="353" y="37"/>
                    <a:pt x="353" y="37"/>
                    <a:pt x="353" y="37"/>
                  </a:cubicBezTo>
                  <a:cubicBezTo>
                    <a:pt x="350" y="34"/>
                    <a:pt x="344" y="34"/>
                    <a:pt x="341" y="37"/>
                  </a:cubicBezTo>
                  <a:cubicBezTo>
                    <a:pt x="312" y="66"/>
                    <a:pt x="312" y="66"/>
                    <a:pt x="312" y="66"/>
                  </a:cubicBezTo>
                  <a:cubicBezTo>
                    <a:pt x="300" y="59"/>
                    <a:pt x="286" y="53"/>
                    <a:pt x="271" y="49"/>
                  </a:cubicBezTo>
                  <a:cubicBezTo>
                    <a:pt x="271" y="9"/>
                    <a:pt x="271" y="9"/>
                    <a:pt x="271" y="9"/>
                  </a:cubicBezTo>
                  <a:cubicBezTo>
                    <a:pt x="271" y="4"/>
                    <a:pt x="268" y="0"/>
                    <a:pt x="263" y="0"/>
                  </a:cubicBezTo>
                  <a:cubicBezTo>
                    <a:pt x="183" y="0"/>
                    <a:pt x="183" y="0"/>
                    <a:pt x="183" y="0"/>
                  </a:cubicBezTo>
                  <a:cubicBezTo>
                    <a:pt x="178" y="0"/>
                    <a:pt x="175" y="4"/>
                    <a:pt x="175" y="9"/>
                  </a:cubicBezTo>
                  <a:cubicBezTo>
                    <a:pt x="175" y="49"/>
                    <a:pt x="175" y="49"/>
                    <a:pt x="175" y="49"/>
                  </a:cubicBezTo>
                  <a:cubicBezTo>
                    <a:pt x="160" y="53"/>
                    <a:pt x="147" y="59"/>
                    <a:pt x="134" y="66"/>
                  </a:cubicBezTo>
                  <a:cubicBezTo>
                    <a:pt x="105" y="37"/>
                    <a:pt x="105" y="37"/>
                    <a:pt x="105" y="37"/>
                  </a:cubicBezTo>
                  <a:cubicBezTo>
                    <a:pt x="102" y="34"/>
                    <a:pt x="97" y="34"/>
                    <a:pt x="93" y="37"/>
                  </a:cubicBezTo>
                  <a:cubicBezTo>
                    <a:pt x="37" y="94"/>
                    <a:pt x="37" y="94"/>
                    <a:pt x="37" y="94"/>
                  </a:cubicBezTo>
                  <a:cubicBezTo>
                    <a:pt x="33" y="97"/>
                    <a:pt x="33" y="102"/>
                    <a:pt x="37" y="106"/>
                  </a:cubicBezTo>
                  <a:cubicBezTo>
                    <a:pt x="65" y="134"/>
                    <a:pt x="65" y="134"/>
                    <a:pt x="65" y="134"/>
                  </a:cubicBezTo>
                  <a:cubicBezTo>
                    <a:pt x="58" y="147"/>
                    <a:pt x="53" y="161"/>
                    <a:pt x="49" y="175"/>
                  </a:cubicBezTo>
                  <a:cubicBezTo>
                    <a:pt x="8" y="175"/>
                    <a:pt x="8" y="175"/>
                    <a:pt x="8" y="175"/>
                  </a:cubicBezTo>
                  <a:cubicBezTo>
                    <a:pt x="3" y="175"/>
                    <a:pt x="0" y="179"/>
                    <a:pt x="0" y="184"/>
                  </a:cubicBezTo>
                  <a:close/>
                  <a:moveTo>
                    <a:pt x="92" y="223"/>
                  </a:moveTo>
                  <a:cubicBezTo>
                    <a:pt x="92" y="151"/>
                    <a:pt x="151" y="92"/>
                    <a:pt x="223" y="92"/>
                  </a:cubicBezTo>
                  <a:cubicBezTo>
                    <a:pt x="295" y="92"/>
                    <a:pt x="354" y="151"/>
                    <a:pt x="354" y="223"/>
                  </a:cubicBezTo>
                  <a:cubicBezTo>
                    <a:pt x="354" y="296"/>
                    <a:pt x="295" y="355"/>
                    <a:pt x="223" y="355"/>
                  </a:cubicBezTo>
                  <a:cubicBezTo>
                    <a:pt x="151" y="355"/>
                    <a:pt x="92" y="296"/>
                    <a:pt x="92" y="22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sp>
          <p:nvSpPr>
            <p:cNvPr id="621" name="Freeform 27">
              <a:extLst>
                <a:ext uri="{FF2B5EF4-FFF2-40B4-BE49-F238E27FC236}">
                  <a16:creationId xmlns:a16="http://schemas.microsoft.com/office/drawing/2014/main" id="{6458A3CD-FA0A-4FF9-A108-7CB87FF02511}"/>
                </a:ext>
              </a:extLst>
            </p:cNvPr>
            <p:cNvSpPr>
              <a:spLocks noEditPoints="1"/>
            </p:cNvSpPr>
            <p:nvPr/>
          </p:nvSpPr>
          <p:spPr bwMode="auto">
            <a:xfrm>
              <a:off x="3679" y="1006"/>
              <a:ext cx="378" cy="377"/>
            </a:xfrm>
            <a:custGeom>
              <a:avLst/>
              <a:gdLst>
                <a:gd name="T0" fmla="*/ 0 w 309"/>
                <a:gd name="T1" fmla="*/ 154 h 309"/>
                <a:gd name="T2" fmla="*/ 154 w 309"/>
                <a:gd name="T3" fmla="*/ 309 h 309"/>
                <a:gd name="T4" fmla="*/ 309 w 309"/>
                <a:gd name="T5" fmla="*/ 154 h 309"/>
                <a:gd name="T6" fmla="*/ 154 w 309"/>
                <a:gd name="T7" fmla="*/ 0 h 309"/>
                <a:gd name="T8" fmla="*/ 0 w 309"/>
                <a:gd name="T9" fmla="*/ 154 h 309"/>
                <a:gd name="T10" fmla="*/ 23 w 309"/>
                <a:gd name="T11" fmla="*/ 154 h 309"/>
                <a:gd name="T12" fmla="*/ 154 w 309"/>
                <a:gd name="T13" fmla="*/ 23 h 309"/>
                <a:gd name="T14" fmla="*/ 285 w 309"/>
                <a:gd name="T15" fmla="*/ 154 h 309"/>
                <a:gd name="T16" fmla="*/ 154 w 309"/>
                <a:gd name="T17" fmla="*/ 286 h 309"/>
                <a:gd name="T18" fmla="*/ 23 w 309"/>
                <a:gd name="T19" fmla="*/ 15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309">
                  <a:moveTo>
                    <a:pt x="0" y="154"/>
                  </a:moveTo>
                  <a:cubicBezTo>
                    <a:pt x="0" y="240"/>
                    <a:pt x="69" y="309"/>
                    <a:pt x="154" y="309"/>
                  </a:cubicBezTo>
                  <a:cubicBezTo>
                    <a:pt x="239" y="309"/>
                    <a:pt x="309" y="240"/>
                    <a:pt x="309" y="154"/>
                  </a:cubicBezTo>
                  <a:cubicBezTo>
                    <a:pt x="309" y="69"/>
                    <a:pt x="239" y="0"/>
                    <a:pt x="154" y="0"/>
                  </a:cubicBezTo>
                  <a:cubicBezTo>
                    <a:pt x="69" y="0"/>
                    <a:pt x="0" y="69"/>
                    <a:pt x="0" y="154"/>
                  </a:cubicBezTo>
                  <a:close/>
                  <a:moveTo>
                    <a:pt x="23" y="154"/>
                  </a:moveTo>
                  <a:cubicBezTo>
                    <a:pt x="23" y="82"/>
                    <a:pt x="82" y="23"/>
                    <a:pt x="154" y="23"/>
                  </a:cubicBezTo>
                  <a:cubicBezTo>
                    <a:pt x="226" y="23"/>
                    <a:pt x="285" y="82"/>
                    <a:pt x="285" y="154"/>
                  </a:cubicBezTo>
                  <a:cubicBezTo>
                    <a:pt x="285" y="227"/>
                    <a:pt x="226" y="286"/>
                    <a:pt x="154" y="286"/>
                  </a:cubicBezTo>
                  <a:cubicBezTo>
                    <a:pt x="82" y="286"/>
                    <a:pt x="23" y="227"/>
                    <a:pt x="23" y="154"/>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904" tIns="37453" rIns="74904" bIns="37453" numCol="1" anchor="t" anchorCtr="0" compatLnSpc="1">
              <a:prstTxWarp prst="textNoShape">
                <a:avLst/>
              </a:prstTxWarp>
            </a:bodyPr>
            <a:lstStyle/>
            <a:p>
              <a:pPr defTabSz="932597">
                <a:defRPr/>
              </a:pPr>
              <a:endParaRPr lang="en-US" sz="2400">
                <a:solidFill>
                  <a:srgbClr val="FFFFFF"/>
                </a:solidFill>
                <a:latin typeface="Segoe UI Light"/>
              </a:endParaRPr>
            </a:p>
          </p:txBody>
        </p:sp>
      </p:grpSp>
      <p:sp>
        <p:nvSpPr>
          <p:cNvPr id="622" name="Rectangle 621">
            <a:extLst>
              <a:ext uri="{FF2B5EF4-FFF2-40B4-BE49-F238E27FC236}">
                <a16:creationId xmlns:a16="http://schemas.microsoft.com/office/drawing/2014/main" id="{AE847601-4F7C-4472-B264-F7FDCBE3A474}"/>
              </a:ext>
            </a:extLst>
          </p:cNvPr>
          <p:cNvSpPr/>
          <p:nvPr/>
        </p:nvSpPr>
        <p:spPr bwMode="auto">
          <a:xfrm>
            <a:off x="7030267" y="3395009"/>
            <a:ext cx="1699160" cy="355616"/>
          </a:xfrm>
          <a:custGeom>
            <a:avLst/>
            <a:gdLst>
              <a:gd name="connsiteX0" fmla="*/ 0 w 1699401"/>
              <a:gd name="connsiteY0" fmla="*/ 0 h 355667"/>
              <a:gd name="connsiteX1" fmla="*/ 1699401 w 1699401"/>
              <a:gd name="connsiteY1" fmla="*/ 0 h 355667"/>
              <a:gd name="connsiteX2" fmla="*/ 1699401 w 1699401"/>
              <a:gd name="connsiteY2" fmla="*/ 355667 h 355667"/>
              <a:gd name="connsiteX3" fmla="*/ 0 w 1699401"/>
              <a:gd name="connsiteY3" fmla="*/ 355667 h 355667"/>
              <a:gd name="connsiteX4" fmla="*/ 0 w 1699401"/>
              <a:gd name="connsiteY4" fmla="*/ 0 h 35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9401" h="355667">
                <a:moveTo>
                  <a:pt x="0" y="0"/>
                </a:moveTo>
                <a:lnTo>
                  <a:pt x="1699401" y="0"/>
                </a:lnTo>
                <a:lnTo>
                  <a:pt x="1699401" y="355667"/>
                </a:lnTo>
                <a:lnTo>
                  <a:pt x="0" y="355667"/>
                </a:lnTo>
                <a:lnTo>
                  <a:pt x="0" y="0"/>
                </a:lnTo>
                <a:close/>
              </a:path>
            </a:pathLst>
          </a:cu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defTabSz="763828" fontAlgn="base">
              <a:lnSpc>
                <a:spcPct val="90000"/>
              </a:lnSpc>
              <a:spcBef>
                <a:spcPct val="0"/>
              </a:spcBef>
              <a:spcAft>
                <a:spcPct val="0"/>
              </a:spcAft>
              <a:defRPr/>
            </a:pPr>
            <a:r>
              <a:rPr lang="en-US">
                <a:gradFill>
                  <a:gsLst>
                    <a:gs pos="2917">
                      <a:srgbClr val="FFFFFF"/>
                    </a:gs>
                    <a:gs pos="30000">
                      <a:srgbClr val="FFFFFF"/>
                    </a:gs>
                  </a:gsLst>
                  <a:lin ang="5400000" scaled="0"/>
                </a:gradFill>
                <a:latin typeface="Segoe UI Light"/>
                <a:ea typeface="Segoe UI" pitchFamily="34" charset="0"/>
                <a:cs typeface="Segoe UI" pitchFamily="34" charset="0"/>
              </a:rPr>
              <a:t>Bot builder</a:t>
            </a:r>
          </a:p>
        </p:txBody>
      </p:sp>
      <p:sp>
        <p:nvSpPr>
          <p:cNvPr id="623" name="Rectangle 622">
            <a:extLst>
              <a:ext uri="{FF2B5EF4-FFF2-40B4-BE49-F238E27FC236}">
                <a16:creationId xmlns:a16="http://schemas.microsoft.com/office/drawing/2014/main" id="{0E1042A2-D71F-4287-B7A3-A6874573C360}"/>
              </a:ext>
            </a:extLst>
          </p:cNvPr>
          <p:cNvSpPr/>
          <p:nvPr/>
        </p:nvSpPr>
        <p:spPr bwMode="auto">
          <a:xfrm>
            <a:off x="7726551" y="4006697"/>
            <a:ext cx="1174456" cy="355616"/>
          </a:xfrm>
          <a:custGeom>
            <a:avLst/>
            <a:gdLst>
              <a:gd name="connsiteX0" fmla="*/ 0 w 1174623"/>
              <a:gd name="connsiteY0" fmla="*/ 0 h 355667"/>
              <a:gd name="connsiteX1" fmla="*/ 1174623 w 1174623"/>
              <a:gd name="connsiteY1" fmla="*/ 0 h 355667"/>
              <a:gd name="connsiteX2" fmla="*/ 1174623 w 1174623"/>
              <a:gd name="connsiteY2" fmla="*/ 355667 h 355667"/>
              <a:gd name="connsiteX3" fmla="*/ 0 w 1174623"/>
              <a:gd name="connsiteY3" fmla="*/ 355667 h 355667"/>
              <a:gd name="connsiteX4" fmla="*/ 0 w 1174623"/>
              <a:gd name="connsiteY4" fmla="*/ 0 h 35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623" h="355667">
                <a:moveTo>
                  <a:pt x="0" y="0"/>
                </a:moveTo>
                <a:lnTo>
                  <a:pt x="1174623" y="0"/>
                </a:lnTo>
                <a:lnTo>
                  <a:pt x="1174623" y="355667"/>
                </a:lnTo>
                <a:lnTo>
                  <a:pt x="0" y="355667"/>
                </a:lnTo>
                <a:lnTo>
                  <a:pt x="0" y="0"/>
                </a:lnTo>
                <a:close/>
              </a:path>
            </a:pathLst>
          </a:cu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defTabSz="763828" fontAlgn="base">
              <a:lnSpc>
                <a:spcPct val="90000"/>
              </a:lnSpc>
              <a:spcBef>
                <a:spcPct val="0"/>
              </a:spcBef>
              <a:spcAft>
                <a:spcPct val="0"/>
              </a:spcAft>
              <a:defRPr/>
            </a:pPr>
            <a:r>
              <a:rPr lang="en-US">
                <a:gradFill>
                  <a:gsLst>
                    <a:gs pos="2917">
                      <a:srgbClr val="FFFFFF"/>
                    </a:gs>
                    <a:gs pos="30000">
                      <a:srgbClr val="FFFFFF"/>
                    </a:gs>
                  </a:gsLst>
                  <a:lin ang="5400000" scaled="0"/>
                </a:gradFill>
                <a:latin typeface="Segoe UI Light"/>
                <a:ea typeface="Segoe UI" pitchFamily="34" charset="0"/>
                <a:cs typeface="Segoe UI" pitchFamily="34" charset="0"/>
              </a:rPr>
              <a:t>Platform services</a:t>
            </a:r>
          </a:p>
        </p:txBody>
      </p:sp>
      <p:sp>
        <p:nvSpPr>
          <p:cNvPr id="624" name="Rectangle 623">
            <a:extLst>
              <a:ext uri="{FF2B5EF4-FFF2-40B4-BE49-F238E27FC236}">
                <a16:creationId xmlns:a16="http://schemas.microsoft.com/office/drawing/2014/main" id="{16A302AE-670A-42B4-BABB-36906AAEF362}"/>
              </a:ext>
            </a:extLst>
          </p:cNvPr>
          <p:cNvSpPr/>
          <p:nvPr/>
        </p:nvSpPr>
        <p:spPr bwMode="auto">
          <a:xfrm>
            <a:off x="7030266" y="4773492"/>
            <a:ext cx="1586771" cy="355616"/>
          </a:xfrm>
          <a:custGeom>
            <a:avLst/>
            <a:gdLst>
              <a:gd name="connsiteX0" fmla="*/ 0 w 1586996"/>
              <a:gd name="connsiteY0" fmla="*/ 0 h 355667"/>
              <a:gd name="connsiteX1" fmla="*/ 1586996 w 1586996"/>
              <a:gd name="connsiteY1" fmla="*/ 0 h 355667"/>
              <a:gd name="connsiteX2" fmla="*/ 1586996 w 1586996"/>
              <a:gd name="connsiteY2" fmla="*/ 355667 h 355667"/>
              <a:gd name="connsiteX3" fmla="*/ 0 w 1586996"/>
              <a:gd name="connsiteY3" fmla="*/ 355667 h 355667"/>
              <a:gd name="connsiteX4" fmla="*/ 0 w 1586996"/>
              <a:gd name="connsiteY4" fmla="*/ 0 h 35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996" h="355667">
                <a:moveTo>
                  <a:pt x="0" y="0"/>
                </a:moveTo>
                <a:lnTo>
                  <a:pt x="1586996" y="0"/>
                </a:lnTo>
                <a:lnTo>
                  <a:pt x="1586996" y="355667"/>
                </a:lnTo>
                <a:lnTo>
                  <a:pt x="0" y="355667"/>
                </a:lnTo>
                <a:lnTo>
                  <a:pt x="0" y="0"/>
                </a:lnTo>
                <a:close/>
              </a:path>
            </a:pathLst>
          </a:cu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defTabSz="763828" fontAlgn="base">
              <a:lnSpc>
                <a:spcPct val="90000"/>
              </a:lnSpc>
              <a:spcBef>
                <a:spcPct val="0"/>
              </a:spcBef>
              <a:spcAft>
                <a:spcPct val="0"/>
              </a:spcAft>
              <a:defRPr/>
            </a:pPr>
            <a:r>
              <a:rPr lang="en-US">
                <a:gradFill>
                  <a:gsLst>
                    <a:gs pos="2917">
                      <a:srgbClr val="FFFFFF"/>
                    </a:gs>
                    <a:gs pos="30000">
                      <a:srgbClr val="FFFFFF"/>
                    </a:gs>
                  </a:gsLst>
                  <a:lin ang="5400000" scaled="0"/>
                </a:gradFill>
                <a:latin typeface="Segoe UI Light"/>
                <a:ea typeface="Segoe UI" pitchFamily="34" charset="0"/>
                <a:cs typeface="Segoe UI" pitchFamily="34" charset="0"/>
              </a:rPr>
              <a:t>Intelligent tools</a:t>
            </a:r>
          </a:p>
        </p:txBody>
      </p:sp>
      <p:sp>
        <p:nvSpPr>
          <p:cNvPr id="214" name="Freeform: Shape 213">
            <a:extLst>
              <a:ext uri="{FF2B5EF4-FFF2-40B4-BE49-F238E27FC236}">
                <a16:creationId xmlns:a16="http://schemas.microsoft.com/office/drawing/2014/main" id="{16D44CFF-BD9D-4F5B-8E3C-CDACC6CA5CED}"/>
              </a:ext>
            </a:extLst>
          </p:cNvPr>
          <p:cNvSpPr/>
          <p:nvPr/>
        </p:nvSpPr>
        <p:spPr bwMode="auto">
          <a:xfrm flipV="1">
            <a:off x="3486137" y="4978620"/>
            <a:ext cx="1562047" cy="192239"/>
          </a:xfrm>
          <a:custGeom>
            <a:avLst/>
            <a:gdLst>
              <a:gd name="connsiteX0" fmla="*/ 0 w 3183467"/>
              <a:gd name="connsiteY0" fmla="*/ 139700 h 139700"/>
              <a:gd name="connsiteX1" fmla="*/ 1600200 w 3183467"/>
              <a:gd name="connsiteY1" fmla="*/ 139700 h 139700"/>
              <a:gd name="connsiteX2" fmla="*/ 1739900 w 3183467"/>
              <a:gd name="connsiteY2" fmla="*/ 0 h 139700"/>
              <a:gd name="connsiteX3" fmla="*/ 3183467 w 3183467"/>
              <a:gd name="connsiteY3" fmla="*/ 0 h 139700"/>
            </a:gdLst>
            <a:ahLst/>
            <a:cxnLst>
              <a:cxn ang="0">
                <a:pos x="connsiteX0" y="connsiteY0"/>
              </a:cxn>
              <a:cxn ang="0">
                <a:pos x="connsiteX1" y="connsiteY1"/>
              </a:cxn>
              <a:cxn ang="0">
                <a:pos x="connsiteX2" y="connsiteY2"/>
              </a:cxn>
              <a:cxn ang="0">
                <a:pos x="connsiteX3" y="connsiteY3"/>
              </a:cxn>
            </a:cxnLst>
            <a:rect l="l" t="t" r="r" b="b"/>
            <a:pathLst>
              <a:path w="3183467" h="139700">
                <a:moveTo>
                  <a:pt x="0" y="139700"/>
                </a:moveTo>
                <a:lnTo>
                  <a:pt x="1600200" y="139700"/>
                </a:lnTo>
                <a:lnTo>
                  <a:pt x="1739900" y="0"/>
                </a:lnTo>
                <a:lnTo>
                  <a:pt x="3183467" y="0"/>
                </a:lnTo>
              </a:path>
            </a:pathLst>
          </a:custGeom>
          <a:noFill/>
          <a:ln w="3175" cap="flat">
            <a:solidFill>
              <a:schemeClr val="accent5"/>
            </a:solidFill>
            <a:prstDash val="solid"/>
            <a:miter lim="800000"/>
            <a:headEnd type="non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904" tIns="37453" rIns="74904" bIns="37453" numCol="1" spcCol="0" rtlCol="0" fromWordArt="0" anchor="ctr" anchorCtr="0" forceAA="0" compatLnSpc="1">
            <a:prstTxWarp prst="textNoShape">
              <a:avLst/>
            </a:prstTxWarp>
            <a:noAutofit/>
          </a:bodyPr>
          <a:lstStyle/>
          <a:p>
            <a:pPr algn="ctr" defTabSz="764049">
              <a:defRPr/>
            </a:pPr>
            <a:endParaRPr lang="en-US" sz="2400">
              <a:solidFill>
                <a:srgbClr val="414241"/>
              </a:solidFill>
              <a:latin typeface="Segoe UI Light"/>
            </a:endParaRPr>
          </a:p>
        </p:txBody>
      </p:sp>
    </p:spTree>
    <p:extLst>
      <p:ext uri="{BB962C8B-B14F-4D97-AF65-F5344CB8AC3E}">
        <p14:creationId xmlns:p14="http://schemas.microsoft.com/office/powerpoint/2010/main" val="231178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9108" fill="hold"/>
                                        <p:tgtEl>
                                          <p:spTgt spid="10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8"/>
                                        </p:tgtEl>
                                      </p:cBhvr>
                                    </p:cmd>
                                  </p:childTnLst>
                                </p:cTn>
                              </p:par>
                            </p:childTnLst>
                          </p:cTn>
                        </p:par>
                      </p:childTnLst>
                    </p:cTn>
                  </p:par>
                </p:childTnLst>
              </p:cTn>
              <p:nextCondLst>
                <p:cond evt="onClick" delay="0">
                  <p:tgtEl>
                    <p:spTgt spid="108"/>
                  </p:tgtEl>
                </p:cond>
              </p:nextCondLst>
            </p:seq>
            <p:video>
              <p:cMediaNode vol="80000">
                <p:cTn id="12" repeatCount="indefinite" fill="hold" display="0">
                  <p:stCondLst>
                    <p:cond delay="indefinite"/>
                  </p:stCondLst>
                </p:cTn>
                <p:tgtEl>
                  <p:spTgt spid="108"/>
                </p:tgtEl>
              </p:cMediaNode>
            </p:video>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FEBC3-090C-430F-9978-C7FD331B5E70}"/>
              </a:ext>
            </a:extLst>
          </p:cNvPr>
          <p:cNvSpPr>
            <a:spLocks noGrp="1"/>
          </p:cNvSpPr>
          <p:nvPr>
            <p:ph type="title"/>
          </p:nvPr>
        </p:nvSpPr>
        <p:spPr/>
        <p:txBody>
          <a:bodyPr/>
          <a:lstStyle/>
          <a:p>
            <a:r>
              <a:rPr lang="en-GB" dirty="0"/>
              <a:t>Search</a:t>
            </a:r>
          </a:p>
        </p:txBody>
      </p:sp>
      <p:sp>
        <p:nvSpPr>
          <p:cNvPr id="3" name="Rectangle 2">
            <a:extLst>
              <a:ext uri="{FF2B5EF4-FFF2-40B4-BE49-F238E27FC236}">
                <a16:creationId xmlns:a16="http://schemas.microsoft.com/office/drawing/2014/main" id="{C98149F4-B4BE-44C7-A4D0-F6D69F2EECB8}"/>
              </a:ext>
            </a:extLst>
          </p:cNvPr>
          <p:cNvSpPr/>
          <p:nvPr/>
        </p:nvSpPr>
        <p:spPr>
          <a:xfrm>
            <a:off x="2041637" y="2490600"/>
            <a:ext cx="8662240" cy="958518"/>
          </a:xfrm>
          <a:prstGeom prst="rect">
            <a:avLst/>
          </a:prstGeom>
        </p:spPr>
        <p:txBody>
          <a:bodyPr wrap="square">
            <a:spAutoFit/>
          </a:bodyPr>
          <a:lstStyle/>
          <a:p>
            <a:pPr algn="ctr" defTabSz="932597">
              <a:defRPr/>
            </a:pPr>
            <a:r>
              <a:rPr lang="en-GB" sz="5507" dirty="0">
                <a:solidFill>
                  <a:srgbClr val="E9E9E9">
                    <a:lumMod val="50000"/>
                  </a:srgbClr>
                </a:solidFill>
                <a:latin typeface="Segoe UI Light"/>
              </a:rPr>
              <a:t>http://aka.ms/jfkfiles-demo</a:t>
            </a:r>
          </a:p>
        </p:txBody>
      </p:sp>
    </p:spTree>
    <p:extLst>
      <p:ext uri="{BB962C8B-B14F-4D97-AF65-F5344CB8AC3E}">
        <p14:creationId xmlns:p14="http://schemas.microsoft.com/office/powerpoint/2010/main" val="57158397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46" y="245841"/>
            <a:ext cx="11946483" cy="587532"/>
          </a:xfrm>
        </p:spPr>
        <p:txBody>
          <a:bodyPr>
            <a:noAutofit/>
          </a:bodyPr>
          <a:lstStyle/>
          <a:p>
            <a:r>
              <a:rPr lang="en-US" sz="4400" b="1"/>
              <a:t>Cortana Intelligence Suite Architecture</a:t>
            </a:r>
          </a:p>
        </p:txBody>
      </p:sp>
      <p:grpSp>
        <p:nvGrpSpPr>
          <p:cNvPr id="7" name="Group 6"/>
          <p:cNvGrpSpPr/>
          <p:nvPr/>
        </p:nvGrpSpPr>
        <p:grpSpPr>
          <a:xfrm>
            <a:off x="9779474" y="1734341"/>
            <a:ext cx="2285003" cy="4655048"/>
            <a:chOff x="9588714" y="1666194"/>
            <a:chExt cx="2241039" cy="4565481"/>
          </a:xfrm>
        </p:grpSpPr>
        <p:sp>
          <p:nvSpPr>
            <p:cNvPr id="154" name="Rectangle 153"/>
            <p:cNvSpPr/>
            <p:nvPr/>
          </p:nvSpPr>
          <p:spPr>
            <a:xfrm>
              <a:off x="10329146" y="5903763"/>
              <a:ext cx="1500607" cy="327912"/>
            </a:xfrm>
            <a:prstGeom prst="rect">
              <a:avLst/>
            </a:prstGeom>
          </p:spPr>
          <p:txBody>
            <a:bodyPr wrap="none" lIns="0" tIns="0" rIns="0" bIns="0" anchor="ctr">
              <a:noAutofit/>
            </a:bodyPr>
            <a:lstStyle/>
            <a:p>
              <a:pPr defTabSz="932357">
                <a:lnSpc>
                  <a:spcPct val="90000"/>
                </a:lnSpc>
                <a:defRPr/>
              </a:pPr>
              <a:r>
                <a:rPr lang="en-US" sz="2448" kern="0">
                  <a:latin typeface="Segoe UI"/>
                </a:rPr>
                <a:t>Action</a:t>
              </a:r>
            </a:p>
          </p:txBody>
        </p:sp>
        <p:sp>
          <p:nvSpPr>
            <p:cNvPr id="158" name="Freeform 157"/>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357">
                <a:defRPr/>
              </a:pPr>
              <a:endParaRPr lang="en-US" sz="1836" kern="0">
                <a:latin typeface="Segoe UI"/>
              </a:endParaRPr>
            </a:p>
          </p:txBody>
        </p:sp>
        <p:sp>
          <p:nvSpPr>
            <p:cNvPr id="160" name="TextBox 159"/>
            <p:cNvSpPr txBox="1"/>
            <p:nvPr/>
          </p:nvSpPr>
          <p:spPr>
            <a:xfrm>
              <a:off x="10381650" y="1978779"/>
              <a:ext cx="1090058" cy="461695"/>
            </a:xfrm>
            <a:prstGeom prst="rect">
              <a:avLst/>
            </a:prstGeom>
            <a:noFill/>
          </p:spPr>
          <p:txBody>
            <a:bodyPr wrap="square" lIns="186442" tIns="149153" rIns="186442" bIns="149153"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People</a:t>
              </a:r>
            </a:p>
          </p:txBody>
        </p:sp>
        <p:sp>
          <p:nvSpPr>
            <p:cNvPr id="161" name="TextBox 160"/>
            <p:cNvSpPr txBox="1"/>
            <p:nvPr/>
          </p:nvSpPr>
          <p:spPr>
            <a:xfrm>
              <a:off x="10650439" y="5204330"/>
              <a:ext cx="868271" cy="332543"/>
            </a:xfrm>
            <a:prstGeom prst="rect">
              <a:avLst/>
            </a:prstGeom>
            <a:noFill/>
          </p:spPr>
          <p:txBody>
            <a:bodyPr wrap="square" lIns="0" tIns="0" rIns="0" bIns="0"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utomated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systems</a:t>
              </a:r>
            </a:p>
          </p:txBody>
        </p:sp>
        <p:grpSp>
          <p:nvGrpSpPr>
            <p:cNvPr id="162" name="Group 161"/>
            <p:cNvGrpSpPr/>
            <p:nvPr/>
          </p:nvGrpSpPr>
          <p:grpSpPr>
            <a:xfrm>
              <a:off x="9984119" y="2016920"/>
              <a:ext cx="377227" cy="385340"/>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167" name="Group 166"/>
            <p:cNvGrpSpPr/>
            <p:nvPr/>
          </p:nvGrpSpPr>
          <p:grpSpPr>
            <a:xfrm>
              <a:off x="10034296" y="5129436"/>
              <a:ext cx="385751" cy="482188"/>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170" name="Group 169"/>
            <p:cNvGrpSpPr/>
            <p:nvPr/>
          </p:nvGrpSpPr>
          <p:grpSpPr>
            <a:xfrm>
              <a:off x="9872701" y="3060921"/>
              <a:ext cx="1878892" cy="1542780"/>
              <a:chOff x="9910801" y="2434267"/>
              <a:chExt cx="1878892" cy="1542780"/>
            </a:xfrm>
          </p:grpSpPr>
          <p:sp>
            <p:nvSpPr>
              <p:cNvPr id="171" name="TextBox 170"/>
              <p:cNvSpPr txBox="1"/>
              <p:nvPr/>
            </p:nvSpPr>
            <p:spPr>
              <a:xfrm>
                <a:off x="9910801" y="3234749"/>
                <a:ext cx="1090057" cy="461695"/>
              </a:xfrm>
              <a:prstGeom prst="rect">
                <a:avLst/>
              </a:prstGeom>
              <a:noFill/>
            </p:spPr>
            <p:txBody>
              <a:bodyPr wrap="square" lIns="186442" tIns="149153" rIns="186442" bIns="149153"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defRPr/>
                  </a:pPr>
                  <a:endParaRPr lang="en-US" sz="2448" kern="0">
                    <a:latin typeface="Segoe UI"/>
                    <a:ea typeface="Segoe UI" pitchFamily="34" charset="0"/>
                    <a:cs typeface="Segoe UI" pitchFamily="34" charset="0"/>
                  </a:endParaRPr>
                </a:p>
              </p:txBody>
            </p:sp>
            <p:sp>
              <p:nvSpPr>
                <p:cNvPr id="175" name="TextBox 174"/>
                <p:cNvSpPr txBox="1"/>
                <p:nvPr/>
              </p:nvSpPr>
              <p:spPr>
                <a:xfrm>
                  <a:off x="11212737" y="3022354"/>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Web</a:t>
                  </a:r>
                </a:p>
              </p:txBody>
            </p:sp>
            <p:sp>
              <p:nvSpPr>
                <p:cNvPr id="176" name="TextBox 175"/>
                <p:cNvSpPr txBox="1"/>
                <p:nvPr/>
              </p:nvSpPr>
              <p:spPr>
                <a:xfrm>
                  <a:off x="11212737" y="3571986"/>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Mobile</a:t>
                  </a:r>
                </a:p>
              </p:txBody>
            </p:sp>
            <p:sp>
              <p:nvSpPr>
                <p:cNvPr id="177" name="TextBox 176"/>
                <p:cNvSpPr txBox="1"/>
                <p:nvPr/>
              </p:nvSpPr>
              <p:spPr>
                <a:xfrm>
                  <a:off x="11212737" y="4160203"/>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defRPr/>
                  </a:pPr>
                  <a:endParaRPr lang="en-US" sz="2448" kern="0">
                    <a:latin typeface="Segoe UI"/>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29" name="Group 28">
            <a:extLst>
              <a:ext uri="{FF2B5EF4-FFF2-40B4-BE49-F238E27FC236}">
                <a16:creationId xmlns:a16="http://schemas.microsoft.com/office/drawing/2014/main" id="{AA4004A0-264B-4EFC-88E4-FECC236060F8}"/>
              </a:ext>
            </a:extLst>
          </p:cNvPr>
          <p:cNvGrpSpPr/>
          <p:nvPr/>
        </p:nvGrpSpPr>
        <p:grpSpPr>
          <a:xfrm>
            <a:off x="2061631" y="1725016"/>
            <a:ext cx="2424081" cy="4589723"/>
            <a:chOff x="2061631" y="1725016"/>
            <a:chExt cx="2424081" cy="4589723"/>
          </a:xfrm>
        </p:grpSpPr>
        <p:sp>
          <p:nvSpPr>
            <p:cNvPr id="131" name="Rectangle 130"/>
            <p:cNvSpPr/>
            <p:nvPr/>
          </p:nvSpPr>
          <p:spPr bwMode="auto">
            <a:xfrm>
              <a:off x="2231551" y="1725016"/>
              <a:ext cx="1771444" cy="4269544"/>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Information Management</a:t>
              </a:r>
            </a:p>
          </p:txBody>
        </p:sp>
        <p:sp>
          <p:nvSpPr>
            <p:cNvPr id="138" name="Rectangle 137"/>
            <p:cNvSpPr/>
            <p:nvPr/>
          </p:nvSpPr>
          <p:spPr>
            <a:xfrm>
              <a:off x="2768755" y="4117286"/>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Event Hubs</a:t>
              </a:r>
              <a:endParaRPr lang="en-US" sz="1122" kern="0">
                <a:solidFill>
                  <a:schemeClr val="bg1"/>
                </a:solidFill>
                <a:latin typeface="Segoe UI"/>
              </a:endParaRPr>
            </a:p>
          </p:txBody>
        </p:sp>
        <p:cxnSp>
          <p:nvCxnSpPr>
            <p:cNvPr id="146" name="Straight Connector 145"/>
            <p:cNvCxnSpPr/>
            <p:nvPr/>
          </p:nvCxnSpPr>
          <p:spPr>
            <a:xfrm>
              <a:off x="2061631" y="6222835"/>
              <a:ext cx="2424081"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147" name="Group 146"/>
            <p:cNvGrpSpPr/>
            <p:nvPr/>
          </p:nvGrpSpPr>
          <p:grpSpPr>
            <a:xfrm rot="13500000">
              <a:off x="4290311" y="6131063"/>
              <a:ext cx="185059" cy="182293"/>
              <a:chOff x="459235" y="5929704"/>
              <a:chExt cx="292608" cy="288235"/>
            </a:xfrm>
            <a:solidFill>
              <a:srgbClr val="FFFFFF">
                <a:lumMod val="85000"/>
              </a:srgbClr>
            </a:solidFill>
          </p:grpSpPr>
          <p:cxnSp>
            <p:nvCxnSpPr>
              <p:cNvPr id="148" name="Straight Connector 147"/>
              <p:cNvCxnSpPr/>
              <p:nvPr/>
            </p:nvCxnSpPr>
            <p:spPr>
              <a:xfrm>
                <a:off x="469386" y="5929704"/>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149" name="Straight Connector 148"/>
              <p:cNvCxnSpPr/>
              <p:nvPr/>
            </p:nvCxnSpPr>
            <p:spPr>
              <a:xfrm>
                <a:off x="459235" y="6205766"/>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sp>
          <p:nvSpPr>
            <p:cNvPr id="186" name="Rectangle 185"/>
            <p:cNvSpPr/>
            <p:nvPr/>
          </p:nvSpPr>
          <p:spPr>
            <a:xfrm>
              <a:off x="2767030" y="3428615"/>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Catalog</a:t>
              </a:r>
            </a:p>
          </p:txBody>
        </p:sp>
        <p:grpSp>
          <p:nvGrpSpPr>
            <p:cNvPr id="187" name="Group 186"/>
            <p:cNvGrpSpPr/>
            <p:nvPr/>
          </p:nvGrpSpPr>
          <p:grpSpPr>
            <a:xfrm>
              <a:off x="2386308" y="3279762"/>
              <a:ext cx="407544" cy="433524"/>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sp>
          <p:nvSpPr>
            <p:cNvPr id="198" name="Rectangle 197"/>
            <p:cNvSpPr/>
            <p:nvPr/>
          </p:nvSpPr>
          <p:spPr>
            <a:xfrm>
              <a:off x="2775599" y="2698555"/>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Factory </a:t>
              </a:r>
              <a:endParaRPr lang="en-US" sz="1122" kern="0">
                <a:solidFill>
                  <a:schemeClr val="bg1"/>
                </a:solidFill>
                <a:latin typeface="Segoe UI"/>
              </a:endParaRPr>
            </a:p>
          </p:txBody>
        </p:sp>
        <p:sp>
          <p:nvSpPr>
            <p:cNvPr id="238" name="Freeform 237"/>
            <p:cNvSpPr/>
            <p:nvPr/>
          </p:nvSpPr>
          <p:spPr bwMode="auto">
            <a:xfrm>
              <a:off x="2382222" y="2550820"/>
              <a:ext cx="380255" cy="39959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sp>
          <p:nvSpPr>
            <p:cNvPr id="239" name="Freeform 238"/>
            <p:cNvSpPr/>
            <p:nvPr/>
          </p:nvSpPr>
          <p:spPr bwMode="auto">
            <a:xfrm>
              <a:off x="2402944" y="4057478"/>
              <a:ext cx="359197" cy="37588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34F37609-1561-4E0C-8948-6762942EF820}"/>
              </a:ext>
            </a:extLst>
          </p:cNvPr>
          <p:cNvGrpSpPr/>
          <p:nvPr/>
        </p:nvGrpSpPr>
        <p:grpSpPr>
          <a:xfrm>
            <a:off x="5172366" y="1725017"/>
            <a:ext cx="2845263" cy="4685550"/>
            <a:chOff x="5173173" y="1725017"/>
            <a:chExt cx="2845263" cy="4685550"/>
          </a:xfrm>
        </p:grpSpPr>
        <p:grpSp>
          <p:nvGrpSpPr>
            <p:cNvPr id="30" name="Group 29">
              <a:extLst>
                <a:ext uri="{FF2B5EF4-FFF2-40B4-BE49-F238E27FC236}">
                  <a16:creationId xmlns:a16="http://schemas.microsoft.com/office/drawing/2014/main" id="{BF885EE4-55A9-482C-BEED-884483882D77}"/>
                </a:ext>
              </a:extLst>
            </p:cNvPr>
            <p:cNvGrpSpPr/>
            <p:nvPr/>
          </p:nvGrpSpPr>
          <p:grpSpPr>
            <a:xfrm>
              <a:off x="6019975" y="1725017"/>
              <a:ext cx="1998461" cy="4269545"/>
              <a:chOff x="6019975" y="1725017"/>
              <a:chExt cx="1998461" cy="4269545"/>
            </a:xfrm>
          </p:grpSpPr>
          <p:sp>
            <p:nvSpPr>
              <p:cNvPr id="133" name="Rectangle 132"/>
              <p:cNvSpPr/>
              <p:nvPr/>
            </p:nvSpPr>
            <p:spPr bwMode="auto">
              <a:xfrm>
                <a:off x="6019975" y="1725017"/>
                <a:ext cx="1771443" cy="4269545"/>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Machine Learning and Analytics</a:t>
                </a:r>
              </a:p>
            </p:txBody>
          </p:sp>
          <p:sp>
            <p:nvSpPr>
              <p:cNvPr id="139" name="Rectangle 138"/>
              <p:cNvSpPr/>
              <p:nvPr/>
            </p:nvSpPr>
            <p:spPr>
              <a:xfrm>
                <a:off x="6724673" y="4039030"/>
                <a:ext cx="1293761" cy="61036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HDInsight </a:t>
                </a:r>
              </a:p>
              <a:p>
                <a:pPr defTabSz="932357">
                  <a:defRPr/>
                </a:pPr>
                <a:r>
                  <a:rPr lang="en-US" sz="1122" kern="0">
                    <a:solidFill>
                      <a:schemeClr val="bg1"/>
                    </a:solidFill>
                    <a:latin typeface="Segoe UI"/>
                    <a:cs typeface="Segoe UI Semilight" panose="020B0402040204020203" pitchFamily="34" charset="0"/>
                  </a:rPr>
                  <a:t>(Hadoop </a:t>
                </a:r>
                <a:br>
                  <a:rPr lang="en-US" sz="1122" kern="0">
                    <a:solidFill>
                      <a:schemeClr val="bg1"/>
                    </a:solidFill>
                    <a:latin typeface="Segoe UI"/>
                    <a:cs typeface="Segoe UI Semilight" panose="020B0402040204020203" pitchFamily="34" charset="0"/>
                  </a:rPr>
                </a:br>
                <a:r>
                  <a:rPr lang="en-US" sz="1122" kern="0">
                    <a:solidFill>
                      <a:schemeClr val="bg1"/>
                    </a:solidFill>
                    <a:latin typeface="Segoe UI"/>
                    <a:cs typeface="Segoe UI Semilight" panose="020B0402040204020203" pitchFamily="34" charset="0"/>
                  </a:rPr>
                  <a:t>and Spark)</a:t>
                </a:r>
              </a:p>
            </p:txBody>
          </p:sp>
          <p:sp>
            <p:nvSpPr>
              <p:cNvPr id="140" name="Rectangle 139"/>
              <p:cNvSpPr/>
              <p:nvPr/>
            </p:nvSpPr>
            <p:spPr>
              <a:xfrm>
                <a:off x="6724673" y="5003794"/>
                <a:ext cx="1293761"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Stream </a:t>
                </a:r>
              </a:p>
              <a:p>
                <a:pPr defTabSz="932357">
                  <a:defRPr/>
                </a:pPr>
                <a:r>
                  <a:rPr lang="en-US" sz="1122" kern="0">
                    <a:solidFill>
                      <a:schemeClr val="bg1"/>
                    </a:solidFill>
                    <a:latin typeface="Segoe UI"/>
                    <a:cs typeface="Segoe UI Semilight" panose="020B0402040204020203" pitchFamily="34" charset="0"/>
                  </a:rPr>
                  <a:t>Analytics</a:t>
                </a:r>
              </a:p>
            </p:txBody>
          </p:sp>
          <p:sp>
            <p:nvSpPr>
              <p:cNvPr id="192" name="Rectangle 191"/>
              <p:cNvSpPr/>
              <p:nvPr/>
            </p:nvSpPr>
            <p:spPr>
              <a:xfrm>
                <a:off x="6724673" y="3275602"/>
                <a:ext cx="1293763"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Lake Analytics</a:t>
                </a:r>
              </a:p>
            </p:txBody>
          </p:sp>
          <p:sp>
            <p:nvSpPr>
              <p:cNvPr id="199" name="Rectangle 198"/>
              <p:cNvSpPr/>
              <p:nvPr/>
            </p:nvSpPr>
            <p:spPr>
              <a:xfrm>
                <a:off x="6724672" y="2526987"/>
                <a:ext cx="1293763"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Machine Learning</a:t>
                </a:r>
              </a:p>
            </p:txBody>
          </p:sp>
        </p:grpSp>
        <p:grpSp>
          <p:nvGrpSpPr>
            <p:cNvPr id="13" name="Group 12">
              <a:extLst>
                <a:ext uri="{FF2B5EF4-FFF2-40B4-BE49-F238E27FC236}">
                  <a16:creationId xmlns:a16="http://schemas.microsoft.com/office/drawing/2014/main" id="{CCB53651-F5C9-42F8-9FA9-108D4D8D54E3}"/>
                </a:ext>
              </a:extLst>
            </p:cNvPr>
            <p:cNvGrpSpPr/>
            <p:nvPr/>
          </p:nvGrpSpPr>
          <p:grpSpPr>
            <a:xfrm>
              <a:off x="5173173" y="2530074"/>
              <a:ext cx="1590180" cy="3880493"/>
              <a:chOff x="5173173" y="2530074"/>
              <a:chExt cx="1590180" cy="3880493"/>
            </a:xfrm>
          </p:grpSpPr>
          <p:sp>
            <p:nvSpPr>
              <p:cNvPr id="145" name="Rectangle 144"/>
              <p:cNvSpPr/>
              <p:nvPr/>
            </p:nvSpPr>
            <p:spPr>
              <a:xfrm>
                <a:off x="5173173" y="6033861"/>
                <a:ext cx="1590180" cy="376706"/>
              </a:xfrm>
              <a:prstGeom prst="rect">
                <a:avLst/>
              </a:prstGeom>
            </p:spPr>
            <p:txBody>
              <a:bodyPr wrap="none" lIns="0" tIns="0" rIns="0" bIns="0" anchor="ctr">
                <a:spAutoFit/>
              </a:bodyPr>
              <a:lstStyle/>
              <a:p>
                <a:pPr algn="ctr" defTabSz="739250">
                  <a:spcBef>
                    <a:spcPct val="0"/>
                  </a:spcBef>
                  <a:spcAft>
                    <a:spcPct val="35000"/>
                  </a:spcAft>
                  <a:defRPr/>
                </a:pPr>
                <a:r>
                  <a:rPr lang="en-US" sz="2448" kern="0">
                    <a:latin typeface="Segoe UI"/>
                  </a:rPr>
                  <a:t>Intelligence</a:t>
                </a:r>
                <a:endParaRPr lang="en-US" sz="1836" b="1" kern="0" spc="-31">
                  <a:latin typeface="Segoe UI"/>
                  <a:cs typeface="Segoe UI Semilight" panose="020B0402040204020203" pitchFamily="34" charset="0"/>
                </a:endParaRPr>
              </a:p>
            </p:txBody>
          </p:sp>
          <p:grpSp>
            <p:nvGrpSpPr>
              <p:cNvPr id="193" name="Group 192"/>
              <p:cNvGrpSpPr/>
              <p:nvPr/>
            </p:nvGrpSpPr>
            <p:grpSpPr>
              <a:xfrm>
                <a:off x="6219906" y="3246348"/>
                <a:ext cx="381275" cy="498749"/>
                <a:chOff x="3473450" y="4579938"/>
                <a:chExt cx="1741488" cy="2278062"/>
              </a:xfrm>
              <a:solidFill>
                <a:srgbClr val="FFFFFF"/>
              </a:solidFill>
            </p:grpSpPr>
            <p:sp>
              <p:nvSpPr>
                <p:cNvPr id="194"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5"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232" name="Group 231"/>
              <p:cNvGrpSpPr/>
              <p:nvPr/>
            </p:nvGrpSpPr>
            <p:grpSpPr>
              <a:xfrm>
                <a:off x="6102722" y="5006159"/>
                <a:ext cx="538345" cy="413551"/>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grpSp>
          <p:sp>
            <p:nvSpPr>
              <p:cNvPr id="237" name="Freeform 236"/>
              <p:cNvSpPr>
                <a:spLocks/>
              </p:cNvSpPr>
              <p:nvPr/>
            </p:nvSpPr>
            <p:spPr bwMode="auto">
              <a:xfrm>
                <a:off x="6164528" y="4203764"/>
                <a:ext cx="485757" cy="3675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3233" tIns="46617" rIns="93233" bIns="46617" numCol="1" anchor="t" anchorCtr="0" compatLnSpc="1">
                <a:prstTxWarp prst="textNoShape">
                  <a:avLst/>
                </a:prstTxWarp>
              </a:bodyPr>
              <a:lstStyle/>
              <a:p>
                <a:pPr defTabSz="932357">
                  <a:defRPr/>
                </a:pPr>
                <a:endParaRPr lang="en-US" sz="1632" kern="0">
                  <a:latin typeface="Segoe UI"/>
                </a:endParaRPr>
              </a:p>
            </p:txBody>
          </p:sp>
          <p:sp>
            <p:nvSpPr>
              <p:cNvPr id="240" name="Freeform 239"/>
              <p:cNvSpPr/>
              <p:nvPr/>
            </p:nvSpPr>
            <p:spPr bwMode="auto">
              <a:xfrm flipH="1">
                <a:off x="6216407" y="2530074"/>
                <a:ext cx="388274" cy="41089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grpSp>
      <p:grpSp>
        <p:nvGrpSpPr>
          <p:cNvPr id="4" name="Group 3"/>
          <p:cNvGrpSpPr/>
          <p:nvPr/>
        </p:nvGrpSpPr>
        <p:grpSpPr>
          <a:xfrm>
            <a:off x="4125762" y="1725015"/>
            <a:ext cx="2105877" cy="4269545"/>
            <a:chOff x="4043785" y="1657049"/>
            <a:chExt cx="2065359" cy="4187396"/>
          </a:xfrm>
        </p:grpSpPr>
        <p:sp>
          <p:nvSpPr>
            <p:cNvPr id="132" name="Rectangle 131"/>
            <p:cNvSpPr/>
            <p:nvPr/>
          </p:nvSpPr>
          <p:spPr bwMode="auto">
            <a:xfrm>
              <a:off x="4043785" y="1657049"/>
              <a:ext cx="1737360" cy="4187396"/>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Big Data Stores</a:t>
              </a:r>
            </a:p>
          </p:txBody>
        </p:sp>
        <p:sp>
          <p:nvSpPr>
            <p:cNvPr id="185" name="Rectangle 184"/>
            <p:cNvSpPr/>
            <p:nvPr/>
          </p:nvSpPr>
          <p:spPr>
            <a:xfrm>
              <a:off x="4838128" y="3499681"/>
              <a:ext cx="1271016" cy="429263"/>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SQL Data </a:t>
              </a:r>
            </a:p>
            <a:p>
              <a:pPr defTabSz="932357">
                <a:defRPr/>
              </a:pPr>
              <a:r>
                <a:rPr lang="en-US" sz="1122" kern="0">
                  <a:solidFill>
                    <a:schemeClr val="bg1"/>
                  </a:solidFill>
                  <a:latin typeface="Segoe UI"/>
                  <a:cs typeface="Segoe UI Semilight" panose="020B0402040204020203" pitchFamily="34" charset="0"/>
                </a:rPr>
                <a:t>Warehouse</a:t>
              </a:r>
            </a:p>
          </p:txBody>
        </p:sp>
        <p:sp>
          <p:nvSpPr>
            <p:cNvPr id="200" name="Rectangle 199"/>
            <p:cNvSpPr/>
            <p:nvPr/>
          </p:nvSpPr>
          <p:spPr>
            <a:xfrm>
              <a:off x="4838127" y="2458883"/>
              <a:ext cx="1271016" cy="429263"/>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Lake</a:t>
              </a:r>
            </a:p>
            <a:p>
              <a:pPr defTabSz="932357">
                <a:defRPr/>
              </a:pPr>
              <a:r>
                <a:rPr lang="en-US" sz="1122" kern="0">
                  <a:solidFill>
                    <a:schemeClr val="bg1"/>
                  </a:solidFill>
                  <a:latin typeface="Segoe UI"/>
                  <a:cs typeface="Segoe UI Semilight" panose="020B0402040204020203" pitchFamily="34" charset="0"/>
                </a:rPr>
                <a:t>Store</a:t>
              </a:r>
            </a:p>
          </p:txBody>
        </p:sp>
        <p:grpSp>
          <p:nvGrpSpPr>
            <p:cNvPr id="201" name="Group 200"/>
            <p:cNvGrpSpPr/>
            <p:nvPr/>
          </p:nvGrpSpPr>
          <p:grpSpPr>
            <a:xfrm>
              <a:off x="4215995" y="2562311"/>
              <a:ext cx="196830" cy="206932"/>
              <a:chOff x="4106551" y="3401141"/>
              <a:chExt cx="254631" cy="267699"/>
            </a:xfrm>
          </p:grpSpPr>
          <p:sp>
            <p:nvSpPr>
              <p:cNvPr id="204" name="Rectangle 203"/>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5" name="Rectangle 204"/>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6" name="Oval 205"/>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7" name="Oval 206"/>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8" name="Rectangle 207"/>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9" name="Rectangle 208"/>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0" name="Oval 209"/>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1" name="Oval 210"/>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2" name="Rectangle 211"/>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3" name="Rectangle 212"/>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4" name="Oval 213"/>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5" name="Oval 214"/>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6" name="Rectangle 215"/>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7" name="Rectangle 216"/>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8" name="Oval 217"/>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9" name="Oval 218"/>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grpSp>
      </p:grpSp>
      <p:pic>
        <p:nvPicPr>
          <p:cNvPr id="10" name="Graphic 9">
            <a:extLst>
              <a:ext uri="{FF2B5EF4-FFF2-40B4-BE49-F238E27FC236}">
                <a16:creationId xmlns:a16="http://schemas.microsoft.com/office/drawing/2014/main" id="{00DC0E24-48B2-4809-9F01-041ED22EF0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33782" y="5314857"/>
            <a:ext cx="462146" cy="487469"/>
          </a:xfrm>
          <a:prstGeom prst="rect">
            <a:avLst/>
          </a:prstGeom>
        </p:spPr>
      </p:pic>
      <p:pic>
        <p:nvPicPr>
          <p:cNvPr id="17" name="Graphic 16">
            <a:extLst>
              <a:ext uri="{FF2B5EF4-FFF2-40B4-BE49-F238E27FC236}">
                <a16:creationId xmlns:a16="http://schemas.microsoft.com/office/drawing/2014/main" id="{104E327A-B1EB-48F9-96AA-ABCCABB9BA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39735" y="2507082"/>
            <a:ext cx="473182" cy="473182"/>
          </a:xfrm>
          <a:prstGeom prst="rect">
            <a:avLst/>
          </a:prstGeom>
        </p:spPr>
      </p:pic>
      <p:pic>
        <p:nvPicPr>
          <p:cNvPr id="19" name="Graphic 18">
            <a:extLst>
              <a:ext uri="{FF2B5EF4-FFF2-40B4-BE49-F238E27FC236}">
                <a16:creationId xmlns:a16="http://schemas.microsoft.com/office/drawing/2014/main" id="{5788BB0F-A777-45FE-A467-26AADAB977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9326" y="3497477"/>
            <a:ext cx="589306" cy="571266"/>
          </a:xfrm>
          <a:prstGeom prst="rect">
            <a:avLst/>
          </a:prstGeom>
        </p:spPr>
      </p:pic>
      <p:pic>
        <p:nvPicPr>
          <p:cNvPr id="21" name="Graphic 20">
            <a:extLst>
              <a:ext uri="{FF2B5EF4-FFF2-40B4-BE49-F238E27FC236}">
                <a16:creationId xmlns:a16="http://schemas.microsoft.com/office/drawing/2014/main" id="{24F58A51-C72A-4F59-B37A-B76C428957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98161" y="4722257"/>
            <a:ext cx="359181" cy="359181"/>
          </a:xfrm>
          <a:prstGeom prst="rect">
            <a:avLst/>
          </a:prstGeom>
        </p:spPr>
      </p:pic>
      <p:sp>
        <p:nvSpPr>
          <p:cNvPr id="191" name="Rectangle 190">
            <a:extLst>
              <a:ext uri="{FF2B5EF4-FFF2-40B4-BE49-F238E27FC236}">
                <a16:creationId xmlns:a16="http://schemas.microsoft.com/office/drawing/2014/main" id="{0FDCEAA9-8241-4710-B7E6-78829ACB814F}"/>
              </a:ext>
            </a:extLst>
          </p:cNvPr>
          <p:cNvSpPr/>
          <p:nvPr/>
        </p:nvSpPr>
        <p:spPr>
          <a:xfrm>
            <a:off x="2768102" y="4734503"/>
            <a:ext cx="1295950" cy="265009"/>
          </a:xfrm>
          <a:prstGeom prst="rect">
            <a:avLst/>
          </a:prstGeom>
        </p:spPr>
        <p:txBody>
          <a:bodyPr wrap="square">
            <a:spAutoFit/>
          </a:bodyPr>
          <a:lstStyle/>
          <a:p>
            <a:pPr defTabSz="932357">
              <a:defRPr/>
            </a:pPr>
            <a:r>
              <a:rPr lang="en-US" sz="1122" kern="0" err="1">
                <a:solidFill>
                  <a:schemeClr val="bg1"/>
                </a:solidFill>
                <a:latin typeface="Segoe UI"/>
                <a:cs typeface="Segoe UI Semilight" panose="020B0402040204020203" pitchFamily="34" charset="0"/>
              </a:rPr>
              <a:t>IoT</a:t>
            </a:r>
            <a:r>
              <a:rPr lang="en-US" sz="1122" kern="0">
                <a:solidFill>
                  <a:schemeClr val="bg1"/>
                </a:solidFill>
                <a:latin typeface="Segoe UI"/>
                <a:cs typeface="Segoe UI Semilight" panose="020B0402040204020203" pitchFamily="34" charset="0"/>
              </a:rPr>
              <a:t> Hubs</a:t>
            </a:r>
            <a:endParaRPr lang="en-US" sz="1122" kern="0">
              <a:solidFill>
                <a:schemeClr val="bg1"/>
              </a:solidFill>
              <a:latin typeface="Segoe UI"/>
            </a:endParaRPr>
          </a:p>
        </p:txBody>
      </p:sp>
      <p:grpSp>
        <p:nvGrpSpPr>
          <p:cNvPr id="28" name="Group 27">
            <a:extLst>
              <a:ext uri="{FF2B5EF4-FFF2-40B4-BE49-F238E27FC236}">
                <a16:creationId xmlns:a16="http://schemas.microsoft.com/office/drawing/2014/main" id="{147A9DD8-2F11-4375-8A99-2043C8BA6C88}"/>
              </a:ext>
            </a:extLst>
          </p:cNvPr>
          <p:cNvGrpSpPr/>
          <p:nvPr/>
        </p:nvGrpSpPr>
        <p:grpSpPr>
          <a:xfrm>
            <a:off x="433611" y="1734342"/>
            <a:ext cx="1966594" cy="4651594"/>
            <a:chOff x="433611" y="1734342"/>
            <a:chExt cx="1966594" cy="4651594"/>
          </a:xfrm>
        </p:grpSpPr>
        <p:grpSp>
          <p:nvGrpSpPr>
            <p:cNvPr id="3" name="Group 2"/>
            <p:cNvGrpSpPr/>
            <p:nvPr/>
          </p:nvGrpSpPr>
          <p:grpSpPr>
            <a:xfrm>
              <a:off x="545612" y="1734342"/>
              <a:ext cx="1854593" cy="4651594"/>
              <a:chOff x="532519" y="1666194"/>
              <a:chExt cx="1818910" cy="4562093"/>
            </a:xfrm>
          </p:grpSpPr>
          <p:sp>
            <p:nvSpPr>
              <p:cNvPr id="141" name="TextBox 140"/>
              <p:cNvSpPr txBox="1"/>
              <p:nvPr/>
            </p:nvSpPr>
            <p:spPr>
              <a:xfrm>
                <a:off x="1261370" y="1927965"/>
                <a:ext cx="1090059" cy="563250"/>
              </a:xfrm>
              <a:prstGeom prst="rect">
                <a:avLst/>
              </a:prstGeom>
              <a:noFill/>
            </p:spPr>
            <p:txBody>
              <a:bodyPr wrap="square" lIns="0" tIns="149153" rIns="186442" bIns="149153" rtlCol="0">
                <a:noAutofit/>
              </a:bodyPr>
              <a:lstStyle/>
              <a:p>
                <a:pPr defTabSz="950876">
                  <a:lnSpc>
                    <a:spcPct val="90000"/>
                  </a:lnSpc>
                  <a:spcAft>
                    <a:spcPts val="612"/>
                  </a:spcAft>
                  <a:defRPr/>
                </a:pPr>
                <a:r>
                  <a:rPr lang="en-US" sz="1224" kern="0" spc="-31">
                    <a:latin typeface="Segoe UI"/>
                    <a:cs typeface="Segoe UI Semilight" panose="020B0402040204020203" pitchFamily="34" charset="0"/>
                  </a:rPr>
                  <a:t>Data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sources</a:t>
                </a:r>
              </a:p>
            </p:txBody>
          </p:sp>
          <p:sp>
            <p:nvSpPr>
              <p:cNvPr id="142" name="TextBox 141"/>
              <p:cNvSpPr txBox="1"/>
              <p:nvPr/>
            </p:nvSpPr>
            <p:spPr>
              <a:xfrm>
                <a:off x="1214236" y="3529646"/>
                <a:ext cx="1090059" cy="579230"/>
              </a:xfrm>
              <a:prstGeom prst="rect">
                <a:avLst/>
              </a:prstGeom>
              <a:noFill/>
            </p:spPr>
            <p:txBody>
              <a:bodyPr wrap="square" lIns="0" tIns="149153" rIns="186442" bIns="149153" rtlCol="0">
                <a:no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pps</a:t>
                </a:r>
              </a:p>
            </p:txBody>
          </p:sp>
          <p:sp>
            <p:nvSpPr>
              <p:cNvPr id="143" name="TextBox 142"/>
              <p:cNvSpPr txBox="1"/>
              <p:nvPr/>
            </p:nvSpPr>
            <p:spPr>
              <a:xfrm>
                <a:off x="1211554" y="4995093"/>
                <a:ext cx="974964" cy="616531"/>
              </a:xfrm>
              <a:prstGeom prst="rect">
                <a:avLst/>
              </a:prstGeom>
              <a:noFill/>
            </p:spPr>
            <p:txBody>
              <a:bodyPr wrap="square" lIns="0" tIns="149153" rIns="186442" bIns="149153" rtlCol="0">
                <a:no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Sensors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amp; devices</a:t>
                </a:r>
              </a:p>
            </p:txBody>
          </p:sp>
          <p:sp>
            <p:nvSpPr>
              <p:cNvPr id="144" name="Rectangle 143"/>
              <p:cNvSpPr/>
              <p:nvPr/>
            </p:nvSpPr>
            <p:spPr>
              <a:xfrm>
                <a:off x="813890" y="5907143"/>
                <a:ext cx="933597" cy="321144"/>
              </a:xfrm>
              <a:prstGeom prst="rect">
                <a:avLst/>
              </a:prstGeom>
            </p:spPr>
            <p:txBody>
              <a:bodyPr wrap="none" lIns="0" tIns="0" rIns="0" bIns="0" anchor="ctr">
                <a:noAutofit/>
              </a:bodyPr>
              <a:lstStyle/>
              <a:p>
                <a:pPr defTabSz="932357">
                  <a:lnSpc>
                    <a:spcPct val="90000"/>
                  </a:lnSpc>
                  <a:defRPr/>
                </a:pPr>
                <a:r>
                  <a:rPr lang="en-US" sz="2448" kern="0">
                    <a:latin typeface="Segoe UI"/>
                  </a:rPr>
                  <a:t>Data</a:t>
                </a:r>
              </a:p>
            </p:txBody>
          </p:sp>
          <p:grpSp>
            <p:nvGrpSpPr>
              <p:cNvPr id="155" name="Group 154"/>
              <p:cNvGrpSpPr/>
              <p:nvPr/>
            </p:nvGrpSpPr>
            <p:grpSpPr>
              <a:xfrm>
                <a:off x="1789019" y="1666194"/>
                <a:ext cx="308472" cy="4199169"/>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357">
                    <a:defRPr/>
                  </a:pPr>
                  <a:endParaRPr lang="en-US" sz="1836" kern="0">
                    <a:latin typeface="Segoe UI"/>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grpSp>
            <p:nvGrpSpPr>
              <p:cNvPr id="245" name="Group 244"/>
              <p:cNvGrpSpPr/>
              <p:nvPr/>
            </p:nvGrpSpPr>
            <p:grpSpPr>
              <a:xfrm>
                <a:off x="532519" y="3627377"/>
                <a:ext cx="522040" cy="533547"/>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sp>
            <p:nvSpPr>
              <p:cNvPr id="257" name="Freeform 25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3233" tIns="46617" rIns="93233" bIns="46617" numCol="1" anchor="t" anchorCtr="0" compatLnSpc="1">
                <a:prstTxWarp prst="textNoShape">
                  <a:avLst/>
                </a:prstTxWarp>
                <a:noAutofit/>
              </a:bodyPr>
              <a:lstStyle/>
              <a:p>
                <a:pPr defTabSz="932357">
                  <a:defRPr/>
                </a:pPr>
                <a:endParaRPr lang="en-US" sz="1632" kern="0">
                  <a:latin typeface="Segoe UI"/>
                </a:endParaRPr>
              </a:p>
            </p:txBody>
          </p:sp>
        </p:grpSp>
        <p:pic>
          <p:nvPicPr>
            <p:cNvPr id="27" name="Graphic 26">
              <a:extLst>
                <a:ext uri="{FF2B5EF4-FFF2-40B4-BE49-F238E27FC236}">
                  <a16:creationId xmlns:a16="http://schemas.microsoft.com/office/drawing/2014/main" id="{F78CA0C8-7540-4172-90B2-F84BF315BE4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3611" y="2018117"/>
              <a:ext cx="595734" cy="595734"/>
            </a:xfrm>
            <a:prstGeom prst="rect">
              <a:avLst/>
            </a:prstGeom>
          </p:spPr>
        </p:pic>
      </p:grpSp>
      <p:grpSp>
        <p:nvGrpSpPr>
          <p:cNvPr id="261" name="Group 260">
            <a:extLst>
              <a:ext uri="{FF2B5EF4-FFF2-40B4-BE49-F238E27FC236}">
                <a16:creationId xmlns:a16="http://schemas.microsoft.com/office/drawing/2014/main" id="{07D62FF0-C989-44F9-91FA-D648D5144F86}"/>
              </a:ext>
            </a:extLst>
          </p:cNvPr>
          <p:cNvGrpSpPr/>
          <p:nvPr/>
        </p:nvGrpSpPr>
        <p:grpSpPr>
          <a:xfrm>
            <a:off x="7475086" y="1725015"/>
            <a:ext cx="2618105" cy="4589725"/>
            <a:chOff x="7475893" y="1725015"/>
            <a:chExt cx="2618105" cy="4589725"/>
          </a:xfrm>
        </p:grpSpPr>
        <p:grpSp>
          <p:nvGrpSpPr>
            <p:cNvPr id="258" name="Group 257">
              <a:extLst>
                <a:ext uri="{FF2B5EF4-FFF2-40B4-BE49-F238E27FC236}">
                  <a16:creationId xmlns:a16="http://schemas.microsoft.com/office/drawing/2014/main" id="{4F70C85A-9528-4C5D-B661-3DFCEA23070E}"/>
                </a:ext>
              </a:extLst>
            </p:cNvPr>
            <p:cNvGrpSpPr/>
            <p:nvPr/>
          </p:nvGrpSpPr>
          <p:grpSpPr>
            <a:xfrm>
              <a:off x="7475893" y="1725015"/>
              <a:ext cx="2618105" cy="4589725"/>
              <a:chOff x="7475893" y="1725015"/>
              <a:chExt cx="2618105" cy="4589725"/>
            </a:xfrm>
          </p:grpSpPr>
          <p:grpSp>
            <p:nvGrpSpPr>
              <p:cNvPr id="6" name="Group 5"/>
              <p:cNvGrpSpPr/>
              <p:nvPr/>
            </p:nvGrpSpPr>
            <p:grpSpPr>
              <a:xfrm>
                <a:off x="7475893" y="1725015"/>
                <a:ext cx="2618105" cy="4589725"/>
                <a:chOff x="7329456" y="1657048"/>
                <a:chExt cx="2567731" cy="4501416"/>
              </a:xfrm>
            </p:grpSpPr>
            <p:sp>
              <p:nvSpPr>
                <p:cNvPr id="130" name="Rectangle 129"/>
                <p:cNvSpPr/>
                <p:nvPr/>
              </p:nvSpPr>
              <p:spPr bwMode="auto">
                <a:xfrm>
                  <a:off x="7759316" y="4491484"/>
                  <a:ext cx="1737360" cy="1352961"/>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Dashboards &amp; Visualizations</a:t>
                  </a:r>
                </a:p>
              </p:txBody>
            </p:sp>
            <p:sp>
              <p:nvSpPr>
                <p:cNvPr id="129" name="Rectangle 128"/>
                <p:cNvSpPr/>
                <p:nvPr/>
              </p:nvSpPr>
              <p:spPr bwMode="auto">
                <a:xfrm>
                  <a:off x="7759316" y="1657048"/>
                  <a:ext cx="1737360" cy="2734231"/>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Intelligence</a:t>
                  </a:r>
                </a:p>
              </p:txBody>
            </p:sp>
            <p:sp>
              <p:nvSpPr>
                <p:cNvPr id="134" name="Rectangle 133"/>
                <p:cNvSpPr/>
                <p:nvPr/>
              </p:nvSpPr>
              <p:spPr>
                <a:xfrm>
                  <a:off x="8499498" y="3886224"/>
                  <a:ext cx="1268871" cy="25991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Cortana</a:t>
                  </a:r>
                </a:p>
              </p:txBody>
            </p:sp>
            <p:grpSp>
              <p:nvGrpSpPr>
                <p:cNvPr id="135" name="Group 134"/>
                <p:cNvGrpSpPr/>
                <p:nvPr/>
              </p:nvGrpSpPr>
              <p:grpSpPr>
                <a:xfrm>
                  <a:off x="7886100" y="3857296"/>
                  <a:ext cx="385370" cy="385370"/>
                  <a:chOff x="3236100" y="3476092"/>
                  <a:chExt cx="6884870" cy="6884839"/>
                </a:xfrm>
              </p:grpSpPr>
              <p:sp>
                <p:nvSpPr>
                  <p:cNvPr id="136" name="Freeform 135"/>
                  <p:cNvSpPr/>
                  <p:nvPr/>
                </p:nvSpPr>
                <p:spPr bwMode="auto">
                  <a:xfrm>
                    <a:off x="3236100" y="3476092"/>
                    <a:ext cx="6884870" cy="6884839"/>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spcBef>
                        <a:spcPct val="0"/>
                      </a:spcBef>
                      <a:spcAft>
                        <a:spcPct val="0"/>
                      </a:spcAft>
                      <a:defRPr/>
                    </a:pPr>
                    <a:endParaRPr lang="en-US" sz="3672" kern="0">
                      <a:latin typeface="Segoe UI"/>
                      <a:ea typeface="Segoe UI" pitchFamily="34" charset="0"/>
                      <a:cs typeface="Segoe UI" pitchFamily="34" charset="0"/>
                    </a:endParaRPr>
                  </a:p>
                </p:txBody>
              </p:sp>
              <p:sp>
                <p:nvSpPr>
                  <p:cNvPr id="137" name="Freeform 136"/>
                  <p:cNvSpPr/>
                  <p:nvPr/>
                </p:nvSpPr>
                <p:spPr bwMode="auto">
                  <a:xfrm>
                    <a:off x="3698520" y="3938512"/>
                    <a:ext cx="5959733" cy="5959739"/>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spcBef>
                        <a:spcPct val="0"/>
                      </a:spcBef>
                      <a:spcAft>
                        <a:spcPct val="0"/>
                      </a:spcAft>
                      <a:defRPr/>
                    </a:pPr>
                    <a:endParaRPr lang="en-US" sz="3672" kern="0">
                      <a:latin typeface="Segoe UI"/>
                      <a:ea typeface="Segoe UI" pitchFamily="34" charset="0"/>
                      <a:cs typeface="Segoe UI" pitchFamily="34" charset="0"/>
                    </a:endParaRPr>
                  </a:p>
                </p:txBody>
              </p:sp>
            </p:grpSp>
            <p:cxnSp>
              <p:nvCxnSpPr>
                <p:cNvPr id="150" name="Straight Connector 149"/>
                <p:cNvCxnSpPr/>
                <p:nvPr/>
              </p:nvCxnSpPr>
              <p:spPr>
                <a:xfrm>
                  <a:off x="7329456" y="6068327"/>
                  <a:ext cx="2377440"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151" name="Group 150"/>
                <p:cNvGrpSpPr/>
                <p:nvPr/>
              </p:nvGrpSpPr>
              <p:grpSpPr>
                <a:xfrm rot="13500000">
                  <a:off x="9515255" y="5978322"/>
                  <a:ext cx="181498" cy="178786"/>
                  <a:chOff x="459235" y="5929706"/>
                  <a:chExt cx="292608" cy="288235"/>
                </a:xfrm>
                <a:solidFill>
                  <a:srgbClr val="FFFFFF">
                    <a:lumMod val="85000"/>
                  </a:srgbClr>
                </a:solidFill>
              </p:grpSpPr>
              <p:cxnSp>
                <p:nvCxnSpPr>
                  <p:cNvPr id="152" name="Straight Connector 151"/>
                  <p:cNvCxnSpPr/>
                  <p:nvPr/>
                </p:nvCxnSpPr>
                <p:spPr>
                  <a:xfrm>
                    <a:off x="469386" y="5929706"/>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153" name="Straight Connector 152"/>
                  <p:cNvCxnSpPr/>
                  <p:nvPr/>
                </p:nvCxnSpPr>
                <p:spPr>
                  <a:xfrm>
                    <a:off x="459235" y="620576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cxnSp>
              <p:nvCxnSpPr>
                <p:cNvPr id="159" name="Straight Connector 15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499498" y="3127653"/>
                  <a:ext cx="1268871" cy="429263"/>
                </a:xfrm>
                <a:prstGeom prst="rect">
                  <a:avLst/>
                </a:prstGeom>
              </p:spPr>
              <p:txBody>
                <a:bodyPr wrap="square" anchor="ctr">
                  <a:spAutoFit/>
                </a:bodyPr>
                <a:lstStyle/>
                <a:p>
                  <a:pPr defTabSz="932357">
                    <a:defRPr/>
                  </a:pPr>
                  <a:r>
                    <a:rPr lang="en-US" sz="1122" kern="0">
                      <a:solidFill>
                        <a:schemeClr val="bg1"/>
                      </a:solidFill>
                      <a:latin typeface="Segoe UI"/>
                      <a:cs typeface="Segoe UI Semilight" panose="020B0402040204020203" pitchFamily="34" charset="0"/>
                    </a:rPr>
                    <a:t>Bot </a:t>
                  </a:r>
                  <a:br>
                    <a:rPr lang="en-US" sz="1122" kern="0">
                      <a:solidFill>
                        <a:schemeClr val="bg1"/>
                      </a:solidFill>
                      <a:latin typeface="Segoe UI"/>
                      <a:cs typeface="Segoe UI Semilight" panose="020B0402040204020203" pitchFamily="34" charset="0"/>
                    </a:rPr>
                  </a:br>
                  <a:r>
                    <a:rPr lang="en-US" sz="1122" kern="0">
                      <a:solidFill>
                        <a:schemeClr val="bg1"/>
                      </a:solidFill>
                      <a:latin typeface="Segoe UI"/>
                      <a:cs typeface="Segoe UI Semilight" panose="020B0402040204020203" pitchFamily="34" charset="0"/>
                    </a:rPr>
                    <a:t>Framework</a:t>
                  </a:r>
                </a:p>
              </p:txBody>
            </p:sp>
            <p:sp>
              <p:nvSpPr>
                <p:cNvPr id="220" name="Rectangle 219"/>
                <p:cNvSpPr/>
                <p:nvPr/>
              </p:nvSpPr>
              <p:spPr>
                <a:xfrm>
                  <a:off x="8502368" y="2443589"/>
                  <a:ext cx="1268871" cy="429263"/>
                </a:xfrm>
                <a:prstGeom prst="rect">
                  <a:avLst/>
                </a:prstGeom>
              </p:spPr>
              <p:txBody>
                <a:bodyPr wrap="square">
                  <a:spAutoFit/>
                </a:bodyPr>
                <a:lstStyle/>
                <a:p>
                  <a:pPr defTabSz="932357">
                    <a:defRPr/>
                  </a:pPr>
                  <a:r>
                    <a:rPr lang="en-US" sz="1122" kern="0" dirty="0">
                      <a:solidFill>
                        <a:schemeClr val="bg1"/>
                      </a:solidFill>
                      <a:latin typeface="Segoe UI"/>
                      <a:cs typeface="Segoe UI Semilight" panose="020B0402040204020203" pitchFamily="34" charset="0"/>
                    </a:rPr>
                    <a:t>Cognitive Services</a:t>
                  </a:r>
                </a:p>
              </p:txBody>
            </p:sp>
            <p:sp>
              <p:nvSpPr>
                <p:cNvPr id="223" name="Freeform 109"/>
                <p:cNvSpPr>
                  <a:spLocks/>
                </p:cNvSpPr>
                <p:nvPr/>
              </p:nvSpPr>
              <p:spPr bwMode="auto">
                <a:xfrm>
                  <a:off x="7944134" y="2601011"/>
                  <a:ext cx="148270" cy="149377"/>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24" name="Rectangle 223"/>
                <p:cNvSpPr/>
                <p:nvPr/>
              </p:nvSpPr>
              <p:spPr>
                <a:xfrm>
                  <a:off x="8482296" y="5298015"/>
                  <a:ext cx="1271017" cy="25991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Power BI</a:t>
                  </a:r>
                </a:p>
              </p:txBody>
            </p:sp>
            <p:sp>
              <p:nvSpPr>
                <p:cNvPr id="231" name="Freeform 230"/>
                <p:cNvSpPr/>
                <p:nvPr/>
              </p:nvSpPr>
              <p:spPr bwMode="auto">
                <a:xfrm>
                  <a:off x="7886492" y="3210001"/>
                  <a:ext cx="472750" cy="312851"/>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pic>
            <p:nvPicPr>
              <p:cNvPr id="12" name="Graphic 11">
                <a:extLst>
                  <a:ext uri="{FF2B5EF4-FFF2-40B4-BE49-F238E27FC236}">
                    <a16:creationId xmlns:a16="http://schemas.microsoft.com/office/drawing/2014/main" id="{C7F6CD21-B079-4086-9996-0561D96205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25713" y="2455613"/>
                <a:ext cx="552258" cy="552258"/>
              </a:xfrm>
              <a:prstGeom prst="rect">
                <a:avLst/>
              </a:prstGeom>
            </p:spPr>
          </p:pic>
        </p:grpSp>
        <p:pic>
          <p:nvPicPr>
            <p:cNvPr id="260" name="Graphic 259">
              <a:extLst>
                <a:ext uri="{FF2B5EF4-FFF2-40B4-BE49-F238E27FC236}">
                  <a16:creationId xmlns:a16="http://schemas.microsoft.com/office/drawing/2014/main" id="{5A4E6C27-DE64-4AE0-9032-9B580F16C8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8762" y="5283911"/>
              <a:ext cx="492186" cy="519155"/>
            </a:xfrm>
            <a:prstGeom prst="rect">
              <a:avLst/>
            </a:prstGeom>
          </p:spPr>
        </p:pic>
      </p:grpSp>
    </p:spTree>
    <p:extLst>
      <p:ext uri="{BB962C8B-B14F-4D97-AF65-F5344CB8AC3E}">
        <p14:creationId xmlns:p14="http://schemas.microsoft.com/office/powerpoint/2010/main" val="40844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61"/>
                                        </p:tgtEl>
                                        <p:attrNameLst>
                                          <p:attrName>style.visibility</p:attrName>
                                        </p:attrNameLst>
                                      </p:cBhvr>
                                      <p:to>
                                        <p:strVal val="visible"/>
                                      </p:to>
                                    </p:set>
                                    <p:animEffect transition="in" filter="fade">
                                      <p:cBhvr>
                                        <p:cTn id="27" dur="500"/>
                                        <p:tgtEl>
                                          <p:spTgt spid="26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Freeform: Shape 197">
            <a:extLst>
              <a:ext uri="{FF2B5EF4-FFF2-40B4-BE49-F238E27FC236}">
                <a16:creationId xmlns:a16="http://schemas.microsoft.com/office/drawing/2014/main" id="{1ADC9B0B-DF91-4851-BE58-762A0218DB02}"/>
              </a:ext>
            </a:extLst>
          </p:cNvPr>
          <p:cNvSpPr/>
          <p:nvPr/>
        </p:nvSpPr>
        <p:spPr bwMode="auto">
          <a:xfrm flipV="1">
            <a:off x="2791691" y="2369106"/>
            <a:ext cx="1853431" cy="102170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algn="ctr" defTabSz="896214">
              <a:defRPr/>
            </a:pPr>
            <a:endParaRPr lang="en-US" sz="1764" kern="0" dirty="0">
              <a:solidFill>
                <a:srgbClr val="353535"/>
              </a:solidFill>
              <a:latin typeface="Segoe UI Semilight"/>
            </a:endParaRPr>
          </a:p>
        </p:txBody>
      </p:sp>
      <p:sp>
        <p:nvSpPr>
          <p:cNvPr id="199" name="TextBox 198">
            <a:extLst>
              <a:ext uri="{FF2B5EF4-FFF2-40B4-BE49-F238E27FC236}">
                <a16:creationId xmlns:a16="http://schemas.microsoft.com/office/drawing/2014/main" id="{770D1C0C-CB93-4FED-8BF9-5B29D94F32B4}"/>
              </a:ext>
            </a:extLst>
          </p:cNvPr>
          <p:cNvSpPr txBox="1"/>
          <p:nvPr/>
        </p:nvSpPr>
        <p:spPr>
          <a:xfrm>
            <a:off x="2273419" y="3475171"/>
            <a:ext cx="2792093" cy="677354"/>
          </a:xfrm>
          <a:prstGeom prst="rect">
            <a:avLst/>
          </a:prstGeom>
          <a:noFill/>
        </p:spPr>
        <p:txBody>
          <a:bodyPr wrap="none" lIns="179260" tIns="143408" rIns="179260" bIns="143408" rtlCol="0">
            <a:spAutoFit/>
          </a:bodyPr>
          <a:lstStyle/>
          <a:p>
            <a:pPr algn="ctr" defTabSz="896214">
              <a:lnSpc>
                <a:spcPct val="90000"/>
              </a:lnSpc>
              <a:spcAft>
                <a:spcPts val="587"/>
              </a:spcAft>
              <a:defRPr/>
            </a:pPr>
            <a:r>
              <a:rPr lang="en-US" sz="2745" kern="0" spc="-49" dirty="0">
                <a:latin typeface="Segoe UI Semilight" panose="020B0402040204020203" pitchFamily="34" charset="0"/>
                <a:cs typeface="Segoe UI Semilight" panose="020B0402040204020203" pitchFamily="34" charset="0"/>
              </a:rPr>
              <a:t>Intelligent Cloud</a:t>
            </a:r>
          </a:p>
        </p:txBody>
      </p:sp>
      <p:sp>
        <p:nvSpPr>
          <p:cNvPr id="202" name="Freeform 5">
            <a:extLst>
              <a:ext uri="{FF2B5EF4-FFF2-40B4-BE49-F238E27FC236}">
                <a16:creationId xmlns:a16="http://schemas.microsoft.com/office/drawing/2014/main" id="{9AD84CD4-0192-4AB5-9EC0-BC5550F05450}"/>
              </a:ext>
            </a:extLst>
          </p:cNvPr>
          <p:cNvSpPr>
            <a:spLocks/>
          </p:cNvSpPr>
          <p:nvPr/>
        </p:nvSpPr>
        <p:spPr bwMode="auto">
          <a:xfrm>
            <a:off x="1010708" y="751243"/>
            <a:ext cx="5315853" cy="5324295"/>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2700">
            <a:solidFill>
              <a:srgbClr val="0070C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960" kern="0" dirty="0">
              <a:gradFill>
                <a:gsLst>
                  <a:gs pos="0">
                    <a:srgbClr val="FFFFFF"/>
                  </a:gs>
                  <a:gs pos="100000">
                    <a:srgbClr val="FFFFFF"/>
                  </a:gs>
                </a:gsLst>
                <a:lin ang="5400000" scaled="0"/>
              </a:gradFill>
              <a:latin typeface="Segoe UI Semilight"/>
              <a:cs typeface="Segoe UI" pitchFamily="34" charset="0"/>
            </a:endParaRPr>
          </a:p>
        </p:txBody>
      </p:sp>
      <p:sp>
        <p:nvSpPr>
          <p:cNvPr id="203" name="Oval 202">
            <a:extLst>
              <a:ext uri="{FF2B5EF4-FFF2-40B4-BE49-F238E27FC236}">
                <a16:creationId xmlns:a16="http://schemas.microsoft.com/office/drawing/2014/main" id="{8635044A-918A-4AB9-B70C-5B19BDEBD0EA}"/>
              </a:ext>
            </a:extLst>
          </p:cNvPr>
          <p:cNvSpPr/>
          <p:nvPr/>
        </p:nvSpPr>
        <p:spPr bwMode="auto">
          <a:xfrm>
            <a:off x="1467442" y="1212202"/>
            <a:ext cx="4400822" cy="4400822"/>
          </a:xfrm>
          <a:prstGeom prst="ellipse">
            <a:avLst/>
          </a:prstGeom>
          <a:noFill/>
          <a:ln w="127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96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4" name="Oval 203">
            <a:extLst>
              <a:ext uri="{FF2B5EF4-FFF2-40B4-BE49-F238E27FC236}">
                <a16:creationId xmlns:a16="http://schemas.microsoft.com/office/drawing/2014/main" id="{EAC17D4C-BB5E-4B6A-BE20-23002FECAA56}"/>
              </a:ext>
            </a:extLst>
          </p:cNvPr>
          <p:cNvSpPr/>
          <p:nvPr/>
        </p:nvSpPr>
        <p:spPr bwMode="auto">
          <a:xfrm>
            <a:off x="961033" y="705793"/>
            <a:ext cx="5413638" cy="5413638"/>
          </a:xfrm>
          <a:prstGeom prst="ellipse">
            <a:avLst/>
          </a:prstGeom>
          <a:noFill/>
          <a:ln w="127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96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05" name="Group 204">
            <a:extLst>
              <a:ext uri="{FF2B5EF4-FFF2-40B4-BE49-F238E27FC236}">
                <a16:creationId xmlns:a16="http://schemas.microsoft.com/office/drawing/2014/main" id="{54EB2DEA-8A05-42E3-B117-7219843E1E69}"/>
              </a:ext>
            </a:extLst>
          </p:cNvPr>
          <p:cNvGrpSpPr/>
          <p:nvPr/>
        </p:nvGrpSpPr>
        <p:grpSpPr>
          <a:xfrm>
            <a:off x="6068084" y="2639520"/>
            <a:ext cx="513297" cy="513297"/>
            <a:chOff x="8666945" y="2708556"/>
            <a:chExt cx="523664" cy="523664"/>
          </a:xfrm>
        </p:grpSpPr>
        <p:sp useBgFill="1">
          <p:nvSpPr>
            <p:cNvPr id="206" name="Oval 205">
              <a:extLst>
                <a:ext uri="{FF2B5EF4-FFF2-40B4-BE49-F238E27FC236}">
                  <a16:creationId xmlns:a16="http://schemas.microsoft.com/office/drawing/2014/main" id="{9B2C510E-E2FB-489D-B45D-BA662C54DFF8}"/>
                </a:ext>
              </a:extLst>
            </p:cNvPr>
            <p:cNvSpPr/>
            <p:nvPr/>
          </p:nvSpPr>
          <p:spPr bwMode="auto">
            <a:xfrm rot="4740000">
              <a:off x="8666945" y="2708556"/>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plant_3">
              <a:extLst>
                <a:ext uri="{FF2B5EF4-FFF2-40B4-BE49-F238E27FC236}">
                  <a16:creationId xmlns:a16="http://schemas.microsoft.com/office/drawing/2014/main" id="{749BEEB8-B5EB-401C-B5A5-3B76EC90077D}"/>
                </a:ext>
              </a:extLst>
            </p:cNvPr>
            <p:cNvSpPr>
              <a:spLocks noChangeAspect="1" noEditPoints="1"/>
            </p:cNvSpPr>
            <p:nvPr/>
          </p:nvSpPr>
          <p:spPr bwMode="auto">
            <a:xfrm>
              <a:off x="8832866" y="2806701"/>
              <a:ext cx="191824" cy="327376"/>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grpSp>
      <p:grpSp>
        <p:nvGrpSpPr>
          <p:cNvPr id="211" name="Group 210">
            <a:extLst>
              <a:ext uri="{FF2B5EF4-FFF2-40B4-BE49-F238E27FC236}">
                <a16:creationId xmlns:a16="http://schemas.microsoft.com/office/drawing/2014/main" id="{89E409C6-D8FB-4C7D-973E-B97356E04EEF}"/>
              </a:ext>
            </a:extLst>
          </p:cNvPr>
          <p:cNvGrpSpPr/>
          <p:nvPr/>
        </p:nvGrpSpPr>
        <p:grpSpPr>
          <a:xfrm>
            <a:off x="2941206" y="490478"/>
            <a:ext cx="513297" cy="513297"/>
            <a:chOff x="5476915" y="516110"/>
            <a:chExt cx="523664" cy="523664"/>
          </a:xfrm>
        </p:grpSpPr>
        <p:sp useBgFill="1">
          <p:nvSpPr>
            <p:cNvPr id="212" name="Oval 211">
              <a:extLst>
                <a:ext uri="{FF2B5EF4-FFF2-40B4-BE49-F238E27FC236}">
                  <a16:creationId xmlns:a16="http://schemas.microsoft.com/office/drawing/2014/main" id="{F34F9275-5E93-40E8-A0FD-58D7479701F1}"/>
                </a:ext>
              </a:extLst>
            </p:cNvPr>
            <p:cNvSpPr/>
            <p:nvPr/>
          </p:nvSpPr>
          <p:spPr bwMode="auto">
            <a:xfrm rot="21000000" flipH="1">
              <a:off x="5476915" y="516110"/>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3" name="key">
              <a:extLst>
                <a:ext uri="{FF2B5EF4-FFF2-40B4-BE49-F238E27FC236}">
                  <a16:creationId xmlns:a16="http://schemas.microsoft.com/office/drawing/2014/main" id="{68B35905-2263-44E4-8476-A464E15CBF1C}"/>
                </a:ext>
              </a:extLst>
            </p:cNvPr>
            <p:cNvSpPr>
              <a:spLocks noChangeAspect="1" noEditPoints="1"/>
            </p:cNvSpPr>
            <p:nvPr/>
          </p:nvSpPr>
          <p:spPr bwMode="auto">
            <a:xfrm>
              <a:off x="5591044" y="630997"/>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14" name="Group 213">
            <a:extLst>
              <a:ext uri="{FF2B5EF4-FFF2-40B4-BE49-F238E27FC236}">
                <a16:creationId xmlns:a16="http://schemas.microsoft.com/office/drawing/2014/main" id="{DA4A7EA5-26C5-4B79-B834-E277F3167736}"/>
              </a:ext>
            </a:extLst>
          </p:cNvPr>
          <p:cNvGrpSpPr/>
          <p:nvPr/>
        </p:nvGrpSpPr>
        <p:grpSpPr>
          <a:xfrm>
            <a:off x="1937081" y="886012"/>
            <a:ext cx="513297" cy="513297"/>
            <a:chOff x="4452509" y="919634"/>
            <a:chExt cx="523664" cy="523664"/>
          </a:xfrm>
        </p:grpSpPr>
        <p:sp useBgFill="1">
          <p:nvSpPr>
            <p:cNvPr id="215" name="Oval 214">
              <a:extLst>
                <a:ext uri="{FF2B5EF4-FFF2-40B4-BE49-F238E27FC236}">
                  <a16:creationId xmlns:a16="http://schemas.microsoft.com/office/drawing/2014/main" id="{14A99B0F-368D-401B-9707-AD02B6D87D3A}"/>
                </a:ext>
              </a:extLst>
            </p:cNvPr>
            <p:cNvSpPr/>
            <p:nvPr/>
          </p:nvSpPr>
          <p:spPr bwMode="auto">
            <a:xfrm rot="19620000" flipH="1">
              <a:off x="4452509" y="919634"/>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6" name="Temperature_med">
              <a:extLst>
                <a:ext uri="{FF2B5EF4-FFF2-40B4-BE49-F238E27FC236}">
                  <a16:creationId xmlns:a16="http://schemas.microsoft.com/office/drawing/2014/main" id="{9219B32C-8715-46B2-8FFF-4C5CDCF8DF74}"/>
                </a:ext>
              </a:extLst>
            </p:cNvPr>
            <p:cNvSpPr>
              <a:spLocks noChangeAspect="1" noEditPoints="1"/>
            </p:cNvSpPr>
            <p:nvPr/>
          </p:nvSpPr>
          <p:spPr bwMode="auto">
            <a:xfrm>
              <a:off x="4642457" y="1001713"/>
              <a:ext cx="143770" cy="359506"/>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217" name="Group 216">
            <a:extLst>
              <a:ext uri="{FF2B5EF4-FFF2-40B4-BE49-F238E27FC236}">
                <a16:creationId xmlns:a16="http://schemas.microsoft.com/office/drawing/2014/main" id="{E53CC953-44D2-427B-9909-746DF50BAE29}"/>
              </a:ext>
            </a:extLst>
          </p:cNvPr>
          <p:cNvGrpSpPr/>
          <p:nvPr/>
        </p:nvGrpSpPr>
        <p:grpSpPr>
          <a:xfrm>
            <a:off x="1194082" y="1603518"/>
            <a:ext cx="513297" cy="513297"/>
            <a:chOff x="3694504" y="1651631"/>
            <a:chExt cx="523664" cy="523664"/>
          </a:xfrm>
        </p:grpSpPr>
        <p:sp useBgFill="1">
          <p:nvSpPr>
            <p:cNvPr id="218" name="Oval 217">
              <a:extLst>
                <a:ext uri="{FF2B5EF4-FFF2-40B4-BE49-F238E27FC236}">
                  <a16:creationId xmlns:a16="http://schemas.microsoft.com/office/drawing/2014/main" id="{F5AF69D5-D609-4CCB-B7B8-41DEC5998034}"/>
                </a:ext>
              </a:extLst>
            </p:cNvPr>
            <p:cNvSpPr/>
            <p:nvPr/>
          </p:nvSpPr>
          <p:spPr bwMode="auto">
            <a:xfrm rot="18300000" flipH="1">
              <a:off x="3694504" y="1651631"/>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News_E900">
              <a:extLst>
                <a:ext uri="{FF2B5EF4-FFF2-40B4-BE49-F238E27FC236}">
                  <a16:creationId xmlns:a16="http://schemas.microsoft.com/office/drawing/2014/main" id="{449D905F-B35A-48FB-A5AA-51903E25FF94}"/>
                </a:ext>
              </a:extLst>
            </p:cNvPr>
            <p:cNvSpPr>
              <a:spLocks noChangeAspect="1" noEditPoints="1"/>
            </p:cNvSpPr>
            <p:nvPr/>
          </p:nvSpPr>
          <p:spPr bwMode="auto">
            <a:xfrm>
              <a:off x="3791529" y="1803455"/>
              <a:ext cx="329615" cy="220017"/>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20" name="Group 219">
            <a:extLst>
              <a:ext uri="{FF2B5EF4-FFF2-40B4-BE49-F238E27FC236}">
                <a16:creationId xmlns:a16="http://schemas.microsoft.com/office/drawing/2014/main" id="{52CB4D56-C2B0-442D-BF0F-92E7F0FDD546}"/>
              </a:ext>
            </a:extLst>
          </p:cNvPr>
          <p:cNvGrpSpPr/>
          <p:nvPr/>
        </p:nvGrpSpPr>
        <p:grpSpPr>
          <a:xfrm>
            <a:off x="1141254" y="4630088"/>
            <a:ext cx="513297" cy="513297"/>
            <a:chOff x="3640609" y="4739328"/>
            <a:chExt cx="523664" cy="523664"/>
          </a:xfrm>
        </p:grpSpPr>
        <p:sp useBgFill="1">
          <p:nvSpPr>
            <p:cNvPr id="221" name="Oval 220">
              <a:extLst>
                <a:ext uri="{FF2B5EF4-FFF2-40B4-BE49-F238E27FC236}">
                  <a16:creationId xmlns:a16="http://schemas.microsoft.com/office/drawing/2014/main" id="{8D49BA1B-11DB-47D4-8A05-305CAFE9669A}"/>
                </a:ext>
              </a:extLst>
            </p:cNvPr>
            <p:cNvSpPr/>
            <p:nvPr/>
          </p:nvSpPr>
          <p:spPr bwMode="auto">
            <a:xfrm rot="3420000">
              <a:off x="3640609" y="4739328"/>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2" name="ShoppingCart_E7BF">
              <a:extLst>
                <a:ext uri="{FF2B5EF4-FFF2-40B4-BE49-F238E27FC236}">
                  <a16:creationId xmlns:a16="http://schemas.microsoft.com/office/drawing/2014/main" id="{587E1E4D-0BCF-43E8-98F8-B44329060025}"/>
                </a:ext>
              </a:extLst>
            </p:cNvPr>
            <p:cNvSpPr>
              <a:spLocks noChangeAspect="1" noEditPoints="1"/>
            </p:cNvSpPr>
            <p:nvPr/>
          </p:nvSpPr>
          <p:spPr bwMode="auto">
            <a:xfrm>
              <a:off x="3739395" y="4862513"/>
              <a:ext cx="326092" cy="277294"/>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223" name="Group 222">
            <a:extLst>
              <a:ext uri="{FF2B5EF4-FFF2-40B4-BE49-F238E27FC236}">
                <a16:creationId xmlns:a16="http://schemas.microsoft.com/office/drawing/2014/main" id="{CE37FB96-2BE9-4C97-A0ED-18FF1B906673}"/>
              </a:ext>
            </a:extLst>
          </p:cNvPr>
          <p:cNvGrpSpPr/>
          <p:nvPr/>
        </p:nvGrpSpPr>
        <p:grpSpPr>
          <a:xfrm>
            <a:off x="4964704" y="4709464"/>
            <a:ext cx="517240" cy="517240"/>
            <a:chOff x="7541280" y="4820305"/>
            <a:chExt cx="527686" cy="527686"/>
          </a:xfrm>
        </p:grpSpPr>
        <p:sp useBgFill="1">
          <p:nvSpPr>
            <p:cNvPr id="224" name="Oval 223">
              <a:extLst>
                <a:ext uri="{FF2B5EF4-FFF2-40B4-BE49-F238E27FC236}">
                  <a16:creationId xmlns:a16="http://schemas.microsoft.com/office/drawing/2014/main" id="{FE306451-EAF8-4513-985D-A9D186A7DED9}"/>
                </a:ext>
              </a:extLst>
            </p:cNvPr>
            <p:cNvSpPr/>
            <p:nvPr/>
          </p:nvSpPr>
          <p:spPr bwMode="auto">
            <a:xfrm rot="18900000" flipH="1">
              <a:off x="7541280" y="482030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building_11">
              <a:extLst>
                <a:ext uri="{FF2B5EF4-FFF2-40B4-BE49-F238E27FC236}">
                  <a16:creationId xmlns:a16="http://schemas.microsoft.com/office/drawing/2014/main" id="{AAF5FAB2-2B11-4259-91C8-DF9F749F402F}"/>
                </a:ext>
              </a:extLst>
            </p:cNvPr>
            <p:cNvSpPr>
              <a:spLocks noChangeAspect="1" noEditPoints="1"/>
            </p:cNvSpPr>
            <p:nvPr/>
          </p:nvSpPr>
          <p:spPr bwMode="auto">
            <a:xfrm>
              <a:off x="7599615" y="4973522"/>
              <a:ext cx="411016" cy="221252"/>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29" name="Group 228">
            <a:extLst>
              <a:ext uri="{FF2B5EF4-FFF2-40B4-BE49-F238E27FC236}">
                <a16:creationId xmlns:a16="http://schemas.microsoft.com/office/drawing/2014/main" id="{9B5D98DE-A306-44DB-9D33-DDA3AE12D6FD}"/>
              </a:ext>
            </a:extLst>
          </p:cNvPr>
          <p:cNvGrpSpPr/>
          <p:nvPr/>
        </p:nvGrpSpPr>
        <p:grpSpPr>
          <a:xfrm>
            <a:off x="763744" y="2593229"/>
            <a:ext cx="513297" cy="513297"/>
            <a:chOff x="3255474" y="2661331"/>
            <a:chExt cx="523664" cy="523664"/>
          </a:xfrm>
        </p:grpSpPr>
        <p:sp useBgFill="1">
          <p:nvSpPr>
            <p:cNvPr id="230" name="Oval 229">
              <a:extLst>
                <a:ext uri="{FF2B5EF4-FFF2-40B4-BE49-F238E27FC236}">
                  <a16:creationId xmlns:a16="http://schemas.microsoft.com/office/drawing/2014/main" id="{95245A55-5B2C-413B-A152-217C0AF63E5F}"/>
                </a:ext>
              </a:extLst>
            </p:cNvPr>
            <p:cNvSpPr/>
            <p:nvPr/>
          </p:nvSpPr>
          <p:spPr bwMode="auto">
            <a:xfrm rot="16920000" flipH="1">
              <a:off x="3255474" y="2661331"/>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1" name="Freeform 13">
              <a:extLst>
                <a:ext uri="{FF2B5EF4-FFF2-40B4-BE49-F238E27FC236}">
                  <a16:creationId xmlns:a16="http://schemas.microsoft.com/office/drawing/2014/main" id="{6C1C3905-1F41-4201-82BF-F5FD26EC386F}"/>
                </a:ext>
              </a:extLst>
            </p:cNvPr>
            <p:cNvSpPr>
              <a:spLocks noEditPoints="1"/>
            </p:cNvSpPr>
            <p:nvPr/>
          </p:nvSpPr>
          <p:spPr bwMode="auto">
            <a:xfrm>
              <a:off x="3357962" y="2775201"/>
              <a:ext cx="318688" cy="295924"/>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grpSp>
      <p:grpSp>
        <p:nvGrpSpPr>
          <p:cNvPr id="232" name="Group 231">
            <a:extLst>
              <a:ext uri="{FF2B5EF4-FFF2-40B4-BE49-F238E27FC236}">
                <a16:creationId xmlns:a16="http://schemas.microsoft.com/office/drawing/2014/main" id="{1E7AE490-D6F0-476E-9285-D427DB47B60C}"/>
              </a:ext>
            </a:extLst>
          </p:cNvPr>
          <p:cNvGrpSpPr/>
          <p:nvPr/>
        </p:nvGrpSpPr>
        <p:grpSpPr>
          <a:xfrm>
            <a:off x="3973940" y="508503"/>
            <a:ext cx="513297" cy="513297"/>
            <a:chOff x="6530506" y="534500"/>
            <a:chExt cx="523664" cy="523664"/>
          </a:xfrm>
        </p:grpSpPr>
        <p:sp useBgFill="1">
          <p:nvSpPr>
            <p:cNvPr id="233" name="Oval 232">
              <a:extLst>
                <a:ext uri="{FF2B5EF4-FFF2-40B4-BE49-F238E27FC236}">
                  <a16:creationId xmlns:a16="http://schemas.microsoft.com/office/drawing/2014/main" id="{CD1D05F9-05A5-431E-A5E0-7C02AD3ACD1F}"/>
                </a:ext>
              </a:extLst>
            </p:cNvPr>
            <p:cNvSpPr/>
            <p:nvPr/>
          </p:nvSpPr>
          <p:spPr bwMode="auto">
            <a:xfrm rot="720000" flipH="1">
              <a:off x="6530506" y="534500"/>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33">
              <a:extLst>
                <a:ext uri="{FF2B5EF4-FFF2-40B4-BE49-F238E27FC236}">
                  <a16:creationId xmlns:a16="http://schemas.microsoft.com/office/drawing/2014/main" id="{0BFA28D2-DE64-4761-9684-B1DDE1C4BE13}"/>
                </a:ext>
              </a:extLst>
            </p:cNvPr>
            <p:cNvSpPr>
              <a:spLocks/>
            </p:cNvSpPr>
            <p:nvPr/>
          </p:nvSpPr>
          <p:spPr bwMode="auto">
            <a:xfrm>
              <a:off x="6633706" y="661988"/>
              <a:ext cx="317264" cy="268688"/>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235" name="Group 234">
            <a:extLst>
              <a:ext uri="{FF2B5EF4-FFF2-40B4-BE49-F238E27FC236}">
                <a16:creationId xmlns:a16="http://schemas.microsoft.com/office/drawing/2014/main" id="{C4A2E592-EBBA-4EEA-A254-11C93979F82C}"/>
              </a:ext>
            </a:extLst>
          </p:cNvPr>
          <p:cNvGrpSpPr/>
          <p:nvPr/>
        </p:nvGrpSpPr>
        <p:grpSpPr>
          <a:xfrm>
            <a:off x="754327" y="3672410"/>
            <a:ext cx="513297" cy="513297"/>
            <a:chOff x="3245867" y="3762307"/>
            <a:chExt cx="523664" cy="523664"/>
          </a:xfrm>
        </p:grpSpPr>
        <p:sp useBgFill="1">
          <p:nvSpPr>
            <p:cNvPr id="236" name="Oval 235">
              <a:extLst>
                <a:ext uri="{FF2B5EF4-FFF2-40B4-BE49-F238E27FC236}">
                  <a16:creationId xmlns:a16="http://schemas.microsoft.com/office/drawing/2014/main" id="{9C4A465D-6D47-4244-9898-F0C4088C8430}"/>
                </a:ext>
              </a:extLst>
            </p:cNvPr>
            <p:cNvSpPr/>
            <p:nvPr/>
          </p:nvSpPr>
          <p:spPr bwMode="auto">
            <a:xfrm rot="4740000">
              <a:off x="3245867" y="3762307"/>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Freeform 17">
              <a:extLst>
                <a:ext uri="{FF2B5EF4-FFF2-40B4-BE49-F238E27FC236}">
                  <a16:creationId xmlns:a16="http://schemas.microsoft.com/office/drawing/2014/main" id="{3A587C90-BC98-4920-B053-D0893804531D}"/>
                </a:ext>
              </a:extLst>
            </p:cNvPr>
            <p:cNvSpPr>
              <a:spLocks noEditPoints="1"/>
            </p:cNvSpPr>
            <p:nvPr/>
          </p:nvSpPr>
          <p:spPr bwMode="auto">
            <a:xfrm>
              <a:off x="3335338" y="3865138"/>
              <a:ext cx="344722" cy="31800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grpSp>
      <p:grpSp>
        <p:nvGrpSpPr>
          <p:cNvPr id="238" name="Group 237">
            <a:extLst>
              <a:ext uri="{FF2B5EF4-FFF2-40B4-BE49-F238E27FC236}">
                <a16:creationId xmlns:a16="http://schemas.microsoft.com/office/drawing/2014/main" id="{EDD8D4C7-AB49-4527-AE92-DF5FB8E16E5B}"/>
              </a:ext>
            </a:extLst>
          </p:cNvPr>
          <p:cNvGrpSpPr/>
          <p:nvPr/>
        </p:nvGrpSpPr>
        <p:grpSpPr>
          <a:xfrm>
            <a:off x="5681157" y="1681841"/>
            <a:ext cx="513297" cy="513297"/>
            <a:chOff x="8272203" y="1731535"/>
            <a:chExt cx="523664" cy="523664"/>
          </a:xfrm>
        </p:grpSpPr>
        <p:sp useBgFill="1">
          <p:nvSpPr>
            <p:cNvPr id="239" name="Oval 238">
              <a:extLst>
                <a:ext uri="{FF2B5EF4-FFF2-40B4-BE49-F238E27FC236}">
                  <a16:creationId xmlns:a16="http://schemas.microsoft.com/office/drawing/2014/main" id="{CBDCD8EB-7F5B-4816-9679-352E1986526A}"/>
                </a:ext>
              </a:extLst>
            </p:cNvPr>
            <p:cNvSpPr/>
            <p:nvPr/>
          </p:nvSpPr>
          <p:spPr bwMode="auto">
            <a:xfrm rot="3420000">
              <a:off x="8272203" y="1731535"/>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0" name="Freeform 5">
              <a:extLst>
                <a:ext uri="{FF2B5EF4-FFF2-40B4-BE49-F238E27FC236}">
                  <a16:creationId xmlns:a16="http://schemas.microsoft.com/office/drawing/2014/main" id="{87A89F3C-2C76-4A19-93F5-692C43704640}"/>
                </a:ext>
              </a:extLst>
            </p:cNvPr>
            <p:cNvSpPr>
              <a:spLocks noEditPoints="1"/>
            </p:cNvSpPr>
            <p:nvPr/>
          </p:nvSpPr>
          <p:spPr bwMode="auto">
            <a:xfrm>
              <a:off x="8434250" y="1881876"/>
              <a:ext cx="199570" cy="2229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41" name="Group 240">
            <a:extLst>
              <a:ext uri="{FF2B5EF4-FFF2-40B4-BE49-F238E27FC236}">
                <a16:creationId xmlns:a16="http://schemas.microsoft.com/office/drawing/2014/main" id="{C752C4F8-361D-4237-BD91-D59CEF672881}"/>
              </a:ext>
            </a:extLst>
          </p:cNvPr>
          <p:cNvGrpSpPr/>
          <p:nvPr/>
        </p:nvGrpSpPr>
        <p:grpSpPr>
          <a:xfrm>
            <a:off x="4924720" y="912085"/>
            <a:ext cx="513297" cy="513297"/>
            <a:chOff x="7500489" y="946234"/>
            <a:chExt cx="523664" cy="523664"/>
          </a:xfrm>
        </p:grpSpPr>
        <p:sp useBgFill="1">
          <p:nvSpPr>
            <p:cNvPr id="242" name="Oval 241">
              <a:extLst>
                <a:ext uri="{FF2B5EF4-FFF2-40B4-BE49-F238E27FC236}">
                  <a16:creationId xmlns:a16="http://schemas.microsoft.com/office/drawing/2014/main" id="{062E0030-C31F-4343-8D02-35795A3E0B85}"/>
                </a:ext>
              </a:extLst>
            </p:cNvPr>
            <p:cNvSpPr/>
            <p:nvPr/>
          </p:nvSpPr>
          <p:spPr bwMode="auto">
            <a:xfrm rot="2040000">
              <a:off x="7500489" y="946234"/>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3" name="Freeform 5">
              <a:extLst>
                <a:ext uri="{FF2B5EF4-FFF2-40B4-BE49-F238E27FC236}">
                  <a16:creationId xmlns:a16="http://schemas.microsoft.com/office/drawing/2014/main" id="{4B6788C3-C5E0-4DAE-84C3-F6C1DC233307}"/>
                </a:ext>
              </a:extLst>
            </p:cNvPr>
            <p:cNvSpPr>
              <a:spLocks noEditPoints="1"/>
            </p:cNvSpPr>
            <p:nvPr/>
          </p:nvSpPr>
          <p:spPr bwMode="auto">
            <a:xfrm>
              <a:off x="7665070" y="1052514"/>
              <a:ext cx="194502" cy="311106"/>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44" name="Group 243">
            <a:extLst>
              <a:ext uri="{FF2B5EF4-FFF2-40B4-BE49-F238E27FC236}">
                <a16:creationId xmlns:a16="http://schemas.microsoft.com/office/drawing/2014/main" id="{B6FB8411-F740-4C37-9D8D-FFCE9C318C42}"/>
              </a:ext>
            </a:extLst>
          </p:cNvPr>
          <p:cNvGrpSpPr/>
          <p:nvPr/>
        </p:nvGrpSpPr>
        <p:grpSpPr>
          <a:xfrm>
            <a:off x="1209469" y="3153994"/>
            <a:ext cx="517240" cy="517240"/>
            <a:chOff x="3710200" y="3233420"/>
            <a:chExt cx="527686" cy="527686"/>
          </a:xfrm>
        </p:grpSpPr>
        <p:sp useBgFill="1">
          <p:nvSpPr>
            <p:cNvPr id="245" name="Oval 244">
              <a:extLst>
                <a:ext uri="{FF2B5EF4-FFF2-40B4-BE49-F238E27FC236}">
                  <a16:creationId xmlns:a16="http://schemas.microsoft.com/office/drawing/2014/main" id="{7B209AC3-7A86-4225-842C-94B48DEDAA3A}"/>
                </a:ext>
              </a:extLst>
            </p:cNvPr>
            <p:cNvSpPr/>
            <p:nvPr/>
          </p:nvSpPr>
          <p:spPr bwMode="auto">
            <a:xfrm rot="5400000">
              <a:off x="3710200" y="3233420"/>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6" name="DeveloperTools_EC7A">
              <a:extLst>
                <a:ext uri="{FF2B5EF4-FFF2-40B4-BE49-F238E27FC236}">
                  <a16:creationId xmlns:a16="http://schemas.microsoft.com/office/drawing/2014/main" id="{D44D54EF-42BD-46B0-90D7-BD007F085DE6}"/>
                </a:ext>
              </a:extLst>
            </p:cNvPr>
            <p:cNvSpPr>
              <a:spLocks noChangeAspect="1" noEditPoints="1"/>
            </p:cNvSpPr>
            <p:nvPr/>
          </p:nvSpPr>
          <p:spPr bwMode="auto">
            <a:xfrm>
              <a:off x="3872869" y="3337848"/>
              <a:ext cx="202348" cy="31883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47" name="Group 246">
            <a:extLst>
              <a:ext uri="{FF2B5EF4-FFF2-40B4-BE49-F238E27FC236}">
                <a16:creationId xmlns:a16="http://schemas.microsoft.com/office/drawing/2014/main" id="{FCA56108-E0FE-4BCE-95E7-B99F0BD13DE7}"/>
              </a:ext>
            </a:extLst>
          </p:cNvPr>
          <p:cNvGrpSpPr/>
          <p:nvPr/>
        </p:nvGrpSpPr>
        <p:grpSpPr>
          <a:xfrm>
            <a:off x="3409236" y="5353761"/>
            <a:ext cx="517240" cy="517240"/>
            <a:chOff x="5954395" y="5477615"/>
            <a:chExt cx="527686" cy="527686"/>
          </a:xfrm>
        </p:grpSpPr>
        <p:sp useBgFill="1">
          <p:nvSpPr>
            <p:cNvPr id="248" name="Oval 247">
              <a:extLst>
                <a:ext uri="{FF2B5EF4-FFF2-40B4-BE49-F238E27FC236}">
                  <a16:creationId xmlns:a16="http://schemas.microsoft.com/office/drawing/2014/main" id="{5D49E003-5DFC-4043-819B-27DAC866FE6B}"/>
                </a:ext>
              </a:extLst>
            </p:cNvPr>
            <p:cNvSpPr/>
            <p:nvPr/>
          </p:nvSpPr>
          <p:spPr bwMode="auto">
            <a:xfrm>
              <a:off x="5954395" y="547761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9" name="Group 196">
              <a:extLst>
                <a:ext uri="{FF2B5EF4-FFF2-40B4-BE49-F238E27FC236}">
                  <a16:creationId xmlns:a16="http://schemas.microsoft.com/office/drawing/2014/main" id="{1619A89A-AFAE-41C3-9E84-9D2AF713EF2F}"/>
                </a:ext>
              </a:extLst>
            </p:cNvPr>
            <p:cNvGrpSpPr>
              <a:grpSpLocks noChangeAspect="1"/>
            </p:cNvGrpSpPr>
            <p:nvPr/>
          </p:nvGrpSpPr>
          <p:grpSpPr bwMode="auto">
            <a:xfrm>
              <a:off x="6130084" y="5573481"/>
              <a:ext cx="176308" cy="335955"/>
              <a:chOff x="7261" y="805"/>
              <a:chExt cx="127" cy="242"/>
            </a:xfrm>
          </p:grpSpPr>
          <p:sp>
            <p:nvSpPr>
              <p:cNvPr id="250" name="Freeform 197">
                <a:extLst>
                  <a:ext uri="{FF2B5EF4-FFF2-40B4-BE49-F238E27FC236}">
                    <a16:creationId xmlns:a16="http://schemas.microsoft.com/office/drawing/2014/main" id="{91BA491C-72BD-49C0-9D38-35EFEC259D5C}"/>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1" name="Freeform 198">
                <a:extLst>
                  <a:ext uri="{FF2B5EF4-FFF2-40B4-BE49-F238E27FC236}">
                    <a16:creationId xmlns:a16="http://schemas.microsoft.com/office/drawing/2014/main" id="{43EF43D0-B380-4FF5-91EB-F9E1D9050535}"/>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2" name="Freeform 199">
                <a:extLst>
                  <a:ext uri="{FF2B5EF4-FFF2-40B4-BE49-F238E27FC236}">
                    <a16:creationId xmlns:a16="http://schemas.microsoft.com/office/drawing/2014/main" id="{663A852A-7066-4A02-A7CF-BDE348042A4A}"/>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3" name="Freeform 200">
                <a:extLst>
                  <a:ext uri="{FF2B5EF4-FFF2-40B4-BE49-F238E27FC236}">
                    <a16:creationId xmlns:a16="http://schemas.microsoft.com/office/drawing/2014/main" id="{5163E551-090A-46FD-A6FE-64606DDBCDDB}"/>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4" name="Oval 201">
                <a:extLst>
                  <a:ext uri="{FF2B5EF4-FFF2-40B4-BE49-F238E27FC236}">
                    <a16:creationId xmlns:a16="http://schemas.microsoft.com/office/drawing/2014/main" id="{21C01F5D-A5DD-4E47-82B8-12CA3F7BC549}"/>
                  </a:ext>
                </a:extLst>
              </p:cNvPr>
              <p:cNvSpPr>
                <a:spLocks noChangeArrowheads="1"/>
              </p:cNvSpPr>
              <p:nvPr/>
            </p:nvSpPr>
            <p:spPr bwMode="auto">
              <a:xfrm>
                <a:off x="7287" y="878"/>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5" name="Oval 202">
                <a:extLst>
                  <a:ext uri="{FF2B5EF4-FFF2-40B4-BE49-F238E27FC236}">
                    <a16:creationId xmlns:a16="http://schemas.microsoft.com/office/drawing/2014/main" id="{7D338BFB-82A1-4FEE-A166-CC7FC358A1E6}"/>
                  </a:ext>
                </a:extLst>
              </p:cNvPr>
              <p:cNvSpPr>
                <a:spLocks noChangeArrowheads="1"/>
              </p:cNvSpPr>
              <p:nvPr/>
            </p:nvSpPr>
            <p:spPr bwMode="auto">
              <a:xfrm>
                <a:off x="7287" y="923"/>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sp>
            <p:nvSpPr>
              <p:cNvPr id="256" name="Oval 203">
                <a:extLst>
                  <a:ext uri="{FF2B5EF4-FFF2-40B4-BE49-F238E27FC236}">
                    <a16:creationId xmlns:a16="http://schemas.microsoft.com/office/drawing/2014/main" id="{6B97D30E-9B84-4EA3-920C-0E95DE20FA52}"/>
                  </a:ext>
                </a:extLst>
              </p:cNvPr>
              <p:cNvSpPr>
                <a:spLocks noChangeArrowheads="1"/>
              </p:cNvSpPr>
              <p:nvPr/>
            </p:nvSpPr>
            <p:spPr bwMode="auto">
              <a:xfrm>
                <a:off x="7287" y="967"/>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gradFill>
                    <a:gsLst>
                      <a:gs pos="0">
                        <a:srgbClr val="505050"/>
                      </a:gs>
                      <a:gs pos="100000">
                        <a:srgbClr val="505050"/>
                      </a:gs>
                    </a:gsLst>
                  </a:gradFill>
                  <a:latin typeface="Segoe UI Semilight"/>
                </a:endParaRPr>
              </a:p>
            </p:txBody>
          </p:sp>
        </p:grpSp>
      </p:grpSp>
      <p:grpSp>
        <p:nvGrpSpPr>
          <p:cNvPr id="257" name="Group 256">
            <a:extLst>
              <a:ext uri="{FF2B5EF4-FFF2-40B4-BE49-F238E27FC236}">
                <a16:creationId xmlns:a16="http://schemas.microsoft.com/office/drawing/2014/main" id="{AE9515C2-E86B-42CF-BD4A-2E0FA1BC8E08}"/>
              </a:ext>
            </a:extLst>
          </p:cNvPr>
          <p:cNvGrpSpPr/>
          <p:nvPr/>
        </p:nvGrpSpPr>
        <p:grpSpPr>
          <a:xfrm>
            <a:off x="2585188" y="5193582"/>
            <a:ext cx="517240" cy="517240"/>
            <a:chOff x="5113705" y="5314201"/>
            <a:chExt cx="527686" cy="527686"/>
          </a:xfrm>
        </p:grpSpPr>
        <p:sp useBgFill="1">
          <p:nvSpPr>
            <p:cNvPr id="258" name="Oval 257">
              <a:extLst>
                <a:ext uri="{FF2B5EF4-FFF2-40B4-BE49-F238E27FC236}">
                  <a16:creationId xmlns:a16="http://schemas.microsoft.com/office/drawing/2014/main" id="{9B9A1ABD-99E4-46AA-8AE1-DF3555F6B339}"/>
                </a:ext>
              </a:extLst>
            </p:cNvPr>
            <p:cNvSpPr/>
            <p:nvPr/>
          </p:nvSpPr>
          <p:spPr bwMode="auto">
            <a:xfrm rot="1320000">
              <a:off x="5113705" y="5314201"/>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59" name="Group 4">
              <a:extLst>
                <a:ext uri="{FF2B5EF4-FFF2-40B4-BE49-F238E27FC236}">
                  <a16:creationId xmlns:a16="http://schemas.microsoft.com/office/drawing/2014/main" id="{A2821604-8AAC-468A-99C2-C77B43E3A3FF}"/>
                </a:ext>
              </a:extLst>
            </p:cNvPr>
            <p:cNvGrpSpPr>
              <a:grpSpLocks noChangeAspect="1"/>
            </p:cNvGrpSpPr>
            <p:nvPr/>
          </p:nvGrpSpPr>
          <p:grpSpPr bwMode="auto">
            <a:xfrm>
              <a:off x="5199802" y="5476962"/>
              <a:ext cx="355492" cy="202164"/>
              <a:chOff x="4568" y="3459"/>
              <a:chExt cx="313" cy="178"/>
            </a:xfrm>
          </p:grpSpPr>
          <p:sp>
            <p:nvSpPr>
              <p:cNvPr id="260" name="Freeform 5">
                <a:extLst>
                  <a:ext uri="{FF2B5EF4-FFF2-40B4-BE49-F238E27FC236}">
                    <a16:creationId xmlns:a16="http://schemas.microsoft.com/office/drawing/2014/main" id="{82F99AC7-79A5-4CD2-A228-00E2F6DAD0A1}"/>
                  </a:ext>
                </a:extLst>
              </p:cNvPr>
              <p:cNvSpPr>
                <a:spLocks/>
              </p:cNvSpPr>
              <p:nvPr/>
            </p:nvSpPr>
            <p:spPr bwMode="auto">
              <a:xfrm>
                <a:off x="4645" y="3512"/>
                <a:ext cx="159" cy="63"/>
              </a:xfrm>
              <a:custGeom>
                <a:avLst/>
                <a:gdLst>
                  <a:gd name="T0" fmla="*/ 220 w 220"/>
                  <a:gd name="T1" fmla="*/ 67 h 87"/>
                  <a:gd name="T2" fmla="*/ 199 w 220"/>
                  <a:gd name="T3" fmla="*/ 87 h 87"/>
                  <a:gd name="T4" fmla="*/ 21 w 220"/>
                  <a:gd name="T5" fmla="*/ 87 h 87"/>
                  <a:gd name="T6" fmla="*/ 0 w 220"/>
                  <a:gd name="T7" fmla="*/ 67 h 87"/>
                  <a:gd name="T8" fmla="*/ 0 w 220"/>
                  <a:gd name="T9" fmla="*/ 21 h 87"/>
                  <a:gd name="T10" fmla="*/ 21 w 220"/>
                  <a:gd name="T11" fmla="*/ 0 h 87"/>
                  <a:gd name="T12" fmla="*/ 199 w 220"/>
                  <a:gd name="T13" fmla="*/ 0 h 87"/>
                  <a:gd name="T14" fmla="*/ 220 w 220"/>
                  <a:gd name="T15" fmla="*/ 21 h 87"/>
                  <a:gd name="T16" fmla="*/ 220 w 220"/>
                  <a:gd name="T17"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87">
                    <a:moveTo>
                      <a:pt x="220" y="67"/>
                    </a:moveTo>
                    <a:cubicBezTo>
                      <a:pt x="220" y="78"/>
                      <a:pt x="210" y="87"/>
                      <a:pt x="199" y="87"/>
                    </a:cubicBezTo>
                    <a:cubicBezTo>
                      <a:pt x="21" y="87"/>
                      <a:pt x="21" y="87"/>
                      <a:pt x="21" y="87"/>
                    </a:cubicBezTo>
                    <a:cubicBezTo>
                      <a:pt x="10" y="87"/>
                      <a:pt x="0" y="78"/>
                      <a:pt x="0" y="67"/>
                    </a:cubicBezTo>
                    <a:cubicBezTo>
                      <a:pt x="0" y="21"/>
                      <a:pt x="0" y="21"/>
                      <a:pt x="0" y="21"/>
                    </a:cubicBezTo>
                    <a:cubicBezTo>
                      <a:pt x="0" y="10"/>
                      <a:pt x="10" y="0"/>
                      <a:pt x="21" y="0"/>
                    </a:cubicBezTo>
                    <a:cubicBezTo>
                      <a:pt x="199" y="0"/>
                      <a:pt x="199" y="0"/>
                      <a:pt x="199" y="0"/>
                    </a:cubicBezTo>
                    <a:cubicBezTo>
                      <a:pt x="210" y="0"/>
                      <a:pt x="220" y="10"/>
                      <a:pt x="220" y="21"/>
                    </a:cubicBezTo>
                    <a:lnTo>
                      <a:pt x="220" y="67"/>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1" name="Freeform 6">
                <a:extLst>
                  <a:ext uri="{FF2B5EF4-FFF2-40B4-BE49-F238E27FC236}">
                    <a16:creationId xmlns:a16="http://schemas.microsoft.com/office/drawing/2014/main" id="{C59BE817-6CB6-4DE9-B80A-1FA76FDACBA2}"/>
                  </a:ext>
                </a:extLst>
              </p:cNvPr>
              <p:cNvSpPr>
                <a:spLocks/>
              </p:cNvSpPr>
              <p:nvPr/>
            </p:nvSpPr>
            <p:spPr bwMode="auto">
              <a:xfrm>
                <a:off x="4603" y="3511"/>
                <a:ext cx="24" cy="65"/>
              </a:xfrm>
              <a:custGeom>
                <a:avLst/>
                <a:gdLst>
                  <a:gd name="T0" fmla="*/ 33 w 33"/>
                  <a:gd name="T1" fmla="*/ 72 h 89"/>
                  <a:gd name="T2" fmla="*/ 17 w 33"/>
                  <a:gd name="T3" fmla="*/ 89 h 89"/>
                  <a:gd name="T4" fmla="*/ 0 w 33"/>
                  <a:gd name="T5" fmla="*/ 72 h 89"/>
                  <a:gd name="T6" fmla="*/ 0 w 33"/>
                  <a:gd name="T7" fmla="*/ 17 h 89"/>
                  <a:gd name="T8" fmla="*/ 17 w 33"/>
                  <a:gd name="T9" fmla="*/ 0 h 89"/>
                  <a:gd name="T10" fmla="*/ 33 w 33"/>
                  <a:gd name="T11" fmla="*/ 17 h 89"/>
                  <a:gd name="T12" fmla="*/ 33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33" y="72"/>
                    </a:moveTo>
                    <a:cubicBezTo>
                      <a:pt x="33" y="82"/>
                      <a:pt x="26" y="89"/>
                      <a:pt x="17" y="89"/>
                    </a:cubicBezTo>
                    <a:cubicBezTo>
                      <a:pt x="7" y="89"/>
                      <a:pt x="0" y="82"/>
                      <a:pt x="0" y="72"/>
                    </a:cubicBezTo>
                    <a:cubicBezTo>
                      <a:pt x="0" y="17"/>
                      <a:pt x="0" y="17"/>
                      <a:pt x="0" y="17"/>
                    </a:cubicBezTo>
                    <a:cubicBezTo>
                      <a:pt x="0" y="7"/>
                      <a:pt x="7" y="0"/>
                      <a:pt x="17" y="0"/>
                    </a:cubicBezTo>
                    <a:cubicBezTo>
                      <a:pt x="26" y="0"/>
                      <a:pt x="33" y="7"/>
                      <a:pt x="33" y="17"/>
                    </a:cubicBezTo>
                    <a:lnTo>
                      <a:pt x="33" y="72"/>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2" name="Line 7">
                <a:extLst>
                  <a:ext uri="{FF2B5EF4-FFF2-40B4-BE49-F238E27FC236}">
                    <a16:creationId xmlns:a16="http://schemas.microsoft.com/office/drawing/2014/main" id="{3E3F9607-8E65-45EB-BF8F-6D021206218E}"/>
                  </a:ext>
                </a:extLst>
              </p:cNvPr>
              <p:cNvSpPr>
                <a:spLocks noChangeShapeType="1"/>
              </p:cNvSpPr>
              <p:nvPr/>
            </p:nvSpPr>
            <p:spPr bwMode="auto">
              <a:xfrm>
                <a:off x="4568" y="3479"/>
                <a:ext cx="92"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3" name="Line 8">
                <a:extLst>
                  <a:ext uri="{FF2B5EF4-FFF2-40B4-BE49-F238E27FC236}">
                    <a16:creationId xmlns:a16="http://schemas.microsoft.com/office/drawing/2014/main" id="{72D0E268-1E85-4D24-A599-F46D29BFAA89}"/>
                  </a:ext>
                </a:extLst>
              </p:cNvPr>
              <p:cNvSpPr>
                <a:spLocks noChangeShapeType="1"/>
              </p:cNvSpPr>
              <p:nvPr/>
            </p:nvSpPr>
            <p:spPr bwMode="auto">
              <a:xfrm>
                <a:off x="4614" y="3479"/>
                <a:ext cx="0" cy="32"/>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4" name="Freeform 9">
                <a:extLst>
                  <a:ext uri="{FF2B5EF4-FFF2-40B4-BE49-F238E27FC236}">
                    <a16:creationId xmlns:a16="http://schemas.microsoft.com/office/drawing/2014/main" id="{94BE31E3-8194-4DA4-9E89-2ACE32650E46}"/>
                  </a:ext>
                </a:extLst>
              </p:cNvPr>
              <p:cNvSpPr>
                <a:spLocks/>
              </p:cNvSpPr>
              <p:nvPr/>
            </p:nvSpPr>
            <p:spPr bwMode="auto">
              <a:xfrm>
                <a:off x="4605" y="3459"/>
                <a:ext cx="19" cy="20"/>
              </a:xfrm>
              <a:custGeom>
                <a:avLst/>
                <a:gdLst>
                  <a:gd name="T0" fmla="*/ 26 w 26"/>
                  <a:gd name="T1" fmla="*/ 27 h 28"/>
                  <a:gd name="T2" fmla="*/ 26 w 26"/>
                  <a:gd name="T3" fmla="*/ 8 h 28"/>
                  <a:gd name="T4" fmla="*/ 18 w 26"/>
                  <a:gd name="T5" fmla="*/ 0 h 28"/>
                  <a:gd name="T6" fmla="*/ 8 w 26"/>
                  <a:gd name="T7" fmla="*/ 0 h 28"/>
                  <a:gd name="T8" fmla="*/ 0 w 26"/>
                  <a:gd name="T9" fmla="*/ 8 h 28"/>
                  <a:gd name="T10" fmla="*/ 0 w 26"/>
                  <a:gd name="T11" fmla="*/ 28 h 28"/>
                </a:gdLst>
                <a:ahLst/>
                <a:cxnLst>
                  <a:cxn ang="0">
                    <a:pos x="T0" y="T1"/>
                  </a:cxn>
                  <a:cxn ang="0">
                    <a:pos x="T2" y="T3"/>
                  </a:cxn>
                  <a:cxn ang="0">
                    <a:pos x="T4" y="T5"/>
                  </a:cxn>
                  <a:cxn ang="0">
                    <a:pos x="T6" y="T7"/>
                  </a:cxn>
                  <a:cxn ang="0">
                    <a:pos x="T8" y="T9"/>
                  </a:cxn>
                  <a:cxn ang="0">
                    <a:pos x="T10" y="T11"/>
                  </a:cxn>
                </a:cxnLst>
                <a:rect l="0" t="0" r="r" b="b"/>
                <a:pathLst>
                  <a:path w="26" h="28">
                    <a:moveTo>
                      <a:pt x="26" y="27"/>
                    </a:moveTo>
                    <a:cubicBezTo>
                      <a:pt x="26" y="8"/>
                      <a:pt x="26" y="8"/>
                      <a:pt x="26" y="8"/>
                    </a:cubicBezTo>
                    <a:cubicBezTo>
                      <a:pt x="26" y="4"/>
                      <a:pt x="23" y="0"/>
                      <a:pt x="18" y="0"/>
                    </a:cubicBezTo>
                    <a:cubicBezTo>
                      <a:pt x="8" y="0"/>
                      <a:pt x="8" y="0"/>
                      <a:pt x="8" y="0"/>
                    </a:cubicBezTo>
                    <a:cubicBezTo>
                      <a:pt x="3" y="0"/>
                      <a:pt x="0" y="4"/>
                      <a:pt x="0" y="8"/>
                    </a:cubicBezTo>
                    <a:cubicBezTo>
                      <a:pt x="0" y="28"/>
                      <a:pt x="0" y="28"/>
                      <a:pt x="0" y="2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5" name="Line 10">
                <a:extLst>
                  <a:ext uri="{FF2B5EF4-FFF2-40B4-BE49-F238E27FC236}">
                    <a16:creationId xmlns:a16="http://schemas.microsoft.com/office/drawing/2014/main" id="{2CFB42BE-7231-4649-B325-2E1E24F05AE7}"/>
                  </a:ext>
                </a:extLst>
              </p:cNvPr>
              <p:cNvSpPr>
                <a:spLocks noChangeShapeType="1"/>
              </p:cNvSpPr>
              <p:nvPr/>
            </p:nvSpPr>
            <p:spPr bwMode="auto">
              <a:xfrm>
                <a:off x="4627" y="3526"/>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6" name="Line 11">
                <a:extLst>
                  <a:ext uri="{FF2B5EF4-FFF2-40B4-BE49-F238E27FC236}">
                    <a16:creationId xmlns:a16="http://schemas.microsoft.com/office/drawing/2014/main" id="{827C8A94-75B7-4432-93EF-A616B0527C93}"/>
                  </a:ext>
                </a:extLst>
              </p:cNvPr>
              <p:cNvSpPr>
                <a:spLocks noChangeShapeType="1"/>
              </p:cNvSpPr>
              <p:nvPr/>
            </p:nvSpPr>
            <p:spPr bwMode="auto">
              <a:xfrm>
                <a:off x="4627" y="3558"/>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7" name="Freeform 12">
                <a:extLst>
                  <a:ext uri="{FF2B5EF4-FFF2-40B4-BE49-F238E27FC236}">
                    <a16:creationId xmlns:a16="http://schemas.microsoft.com/office/drawing/2014/main" id="{F494ABC9-0A19-4572-86AE-D06DD046430B}"/>
                  </a:ext>
                </a:extLst>
              </p:cNvPr>
              <p:cNvSpPr>
                <a:spLocks/>
              </p:cNvSpPr>
              <p:nvPr/>
            </p:nvSpPr>
            <p:spPr bwMode="auto">
              <a:xfrm>
                <a:off x="4822" y="3511"/>
                <a:ext cx="24" cy="65"/>
              </a:xfrm>
              <a:custGeom>
                <a:avLst/>
                <a:gdLst>
                  <a:gd name="T0" fmla="*/ 0 w 33"/>
                  <a:gd name="T1" fmla="*/ 72 h 89"/>
                  <a:gd name="T2" fmla="*/ 17 w 33"/>
                  <a:gd name="T3" fmla="*/ 89 h 89"/>
                  <a:gd name="T4" fmla="*/ 33 w 33"/>
                  <a:gd name="T5" fmla="*/ 72 h 89"/>
                  <a:gd name="T6" fmla="*/ 33 w 33"/>
                  <a:gd name="T7" fmla="*/ 17 h 89"/>
                  <a:gd name="T8" fmla="*/ 17 w 33"/>
                  <a:gd name="T9" fmla="*/ 0 h 89"/>
                  <a:gd name="T10" fmla="*/ 0 w 33"/>
                  <a:gd name="T11" fmla="*/ 17 h 89"/>
                  <a:gd name="T12" fmla="*/ 0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0" y="72"/>
                    </a:moveTo>
                    <a:cubicBezTo>
                      <a:pt x="0" y="82"/>
                      <a:pt x="8" y="89"/>
                      <a:pt x="17" y="89"/>
                    </a:cubicBezTo>
                    <a:cubicBezTo>
                      <a:pt x="26" y="89"/>
                      <a:pt x="33" y="82"/>
                      <a:pt x="33" y="72"/>
                    </a:cubicBezTo>
                    <a:cubicBezTo>
                      <a:pt x="33" y="17"/>
                      <a:pt x="33" y="17"/>
                      <a:pt x="33" y="17"/>
                    </a:cubicBezTo>
                    <a:cubicBezTo>
                      <a:pt x="33" y="7"/>
                      <a:pt x="26" y="0"/>
                      <a:pt x="17" y="0"/>
                    </a:cubicBezTo>
                    <a:cubicBezTo>
                      <a:pt x="8" y="0"/>
                      <a:pt x="0" y="7"/>
                      <a:pt x="0" y="17"/>
                    </a:cubicBezTo>
                    <a:lnTo>
                      <a:pt x="0" y="72"/>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8" name="Line 13">
                <a:extLst>
                  <a:ext uri="{FF2B5EF4-FFF2-40B4-BE49-F238E27FC236}">
                    <a16:creationId xmlns:a16="http://schemas.microsoft.com/office/drawing/2014/main" id="{915F8EA4-5421-4522-95B6-A33B2AE27F64}"/>
                  </a:ext>
                </a:extLst>
              </p:cNvPr>
              <p:cNvSpPr>
                <a:spLocks noChangeShapeType="1"/>
              </p:cNvSpPr>
              <p:nvPr/>
            </p:nvSpPr>
            <p:spPr bwMode="auto">
              <a:xfrm flipH="1">
                <a:off x="4789" y="3479"/>
                <a:ext cx="92"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69" name="Line 14">
                <a:extLst>
                  <a:ext uri="{FF2B5EF4-FFF2-40B4-BE49-F238E27FC236}">
                    <a16:creationId xmlns:a16="http://schemas.microsoft.com/office/drawing/2014/main" id="{871312C3-9307-4175-B835-55946347F4B9}"/>
                  </a:ext>
                </a:extLst>
              </p:cNvPr>
              <p:cNvSpPr>
                <a:spLocks noChangeShapeType="1"/>
              </p:cNvSpPr>
              <p:nvPr/>
            </p:nvSpPr>
            <p:spPr bwMode="auto">
              <a:xfrm>
                <a:off x="4835" y="3479"/>
                <a:ext cx="0" cy="32"/>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0" name="Freeform 15">
                <a:extLst>
                  <a:ext uri="{FF2B5EF4-FFF2-40B4-BE49-F238E27FC236}">
                    <a16:creationId xmlns:a16="http://schemas.microsoft.com/office/drawing/2014/main" id="{0C5CEB5A-5C5F-44AD-B8E5-FEBF07B94AFF}"/>
                  </a:ext>
                </a:extLst>
              </p:cNvPr>
              <p:cNvSpPr>
                <a:spLocks/>
              </p:cNvSpPr>
              <p:nvPr/>
            </p:nvSpPr>
            <p:spPr bwMode="auto">
              <a:xfrm>
                <a:off x="4825" y="3459"/>
                <a:ext cx="19" cy="20"/>
              </a:xfrm>
              <a:custGeom>
                <a:avLst/>
                <a:gdLst>
                  <a:gd name="T0" fmla="*/ 0 w 27"/>
                  <a:gd name="T1" fmla="*/ 27 h 28"/>
                  <a:gd name="T2" fmla="*/ 0 w 27"/>
                  <a:gd name="T3" fmla="*/ 8 h 28"/>
                  <a:gd name="T4" fmla="*/ 8 w 27"/>
                  <a:gd name="T5" fmla="*/ 0 h 28"/>
                  <a:gd name="T6" fmla="*/ 19 w 27"/>
                  <a:gd name="T7" fmla="*/ 0 h 28"/>
                  <a:gd name="T8" fmla="*/ 27 w 27"/>
                  <a:gd name="T9" fmla="*/ 8 h 28"/>
                  <a:gd name="T10" fmla="*/ 27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7"/>
                    </a:moveTo>
                    <a:cubicBezTo>
                      <a:pt x="0" y="8"/>
                      <a:pt x="0" y="8"/>
                      <a:pt x="0" y="8"/>
                    </a:cubicBezTo>
                    <a:cubicBezTo>
                      <a:pt x="0" y="4"/>
                      <a:pt x="4" y="0"/>
                      <a:pt x="8" y="0"/>
                    </a:cubicBezTo>
                    <a:cubicBezTo>
                      <a:pt x="19" y="0"/>
                      <a:pt x="19" y="0"/>
                      <a:pt x="19" y="0"/>
                    </a:cubicBezTo>
                    <a:cubicBezTo>
                      <a:pt x="23" y="0"/>
                      <a:pt x="27" y="4"/>
                      <a:pt x="27" y="8"/>
                    </a:cubicBezTo>
                    <a:cubicBezTo>
                      <a:pt x="27" y="28"/>
                      <a:pt x="27" y="28"/>
                      <a:pt x="27" y="2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1" name="Line 16">
                <a:extLst>
                  <a:ext uri="{FF2B5EF4-FFF2-40B4-BE49-F238E27FC236}">
                    <a16:creationId xmlns:a16="http://schemas.microsoft.com/office/drawing/2014/main" id="{367EFDE8-6C05-4012-8EAC-82E07B08FD87}"/>
                  </a:ext>
                </a:extLst>
              </p:cNvPr>
              <p:cNvSpPr>
                <a:spLocks noChangeShapeType="1"/>
              </p:cNvSpPr>
              <p:nvPr/>
            </p:nvSpPr>
            <p:spPr bwMode="auto">
              <a:xfrm flipH="1">
                <a:off x="4804" y="3526"/>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2" name="Line 17">
                <a:extLst>
                  <a:ext uri="{FF2B5EF4-FFF2-40B4-BE49-F238E27FC236}">
                    <a16:creationId xmlns:a16="http://schemas.microsoft.com/office/drawing/2014/main" id="{B6F87D8A-CD40-4327-9CE9-16EB87150F78}"/>
                  </a:ext>
                </a:extLst>
              </p:cNvPr>
              <p:cNvSpPr>
                <a:spLocks noChangeShapeType="1"/>
              </p:cNvSpPr>
              <p:nvPr/>
            </p:nvSpPr>
            <p:spPr bwMode="auto">
              <a:xfrm flipH="1">
                <a:off x="4804" y="3558"/>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3" name="Line 18">
                <a:extLst>
                  <a:ext uri="{FF2B5EF4-FFF2-40B4-BE49-F238E27FC236}">
                    <a16:creationId xmlns:a16="http://schemas.microsoft.com/office/drawing/2014/main" id="{410D948C-AEED-4F52-8826-7B60E8176316}"/>
                  </a:ext>
                </a:extLst>
              </p:cNvPr>
              <p:cNvSpPr>
                <a:spLocks noChangeShapeType="1"/>
              </p:cNvSpPr>
              <p:nvPr/>
            </p:nvSpPr>
            <p:spPr bwMode="auto">
              <a:xfrm flipH="1">
                <a:off x="4638" y="3573"/>
                <a:ext cx="33" cy="64"/>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4" name="Line 19">
                <a:extLst>
                  <a:ext uri="{FF2B5EF4-FFF2-40B4-BE49-F238E27FC236}">
                    <a16:creationId xmlns:a16="http://schemas.microsoft.com/office/drawing/2014/main" id="{C6425819-9C0B-4996-9413-2C69C8DD1467}"/>
                  </a:ext>
                </a:extLst>
              </p:cNvPr>
              <p:cNvSpPr>
                <a:spLocks noChangeShapeType="1"/>
              </p:cNvSpPr>
              <p:nvPr/>
            </p:nvSpPr>
            <p:spPr bwMode="auto">
              <a:xfrm>
                <a:off x="4777" y="3573"/>
                <a:ext cx="33" cy="64"/>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5" name="Line 20">
                <a:extLst>
                  <a:ext uri="{FF2B5EF4-FFF2-40B4-BE49-F238E27FC236}">
                    <a16:creationId xmlns:a16="http://schemas.microsoft.com/office/drawing/2014/main" id="{1BE1AABF-A1D4-4364-90BF-F8D71B5FA27C}"/>
                  </a:ext>
                </a:extLst>
              </p:cNvPr>
              <p:cNvSpPr>
                <a:spLocks noChangeShapeType="1"/>
              </p:cNvSpPr>
              <p:nvPr/>
            </p:nvSpPr>
            <p:spPr bwMode="auto">
              <a:xfrm>
                <a:off x="4683" y="3552"/>
                <a:ext cx="83"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276" name="Freeform 21">
                <a:extLst>
                  <a:ext uri="{FF2B5EF4-FFF2-40B4-BE49-F238E27FC236}">
                    <a16:creationId xmlns:a16="http://schemas.microsoft.com/office/drawing/2014/main" id="{8665AAE9-1C7E-4590-B21D-75ACEE075797}"/>
                  </a:ext>
                </a:extLst>
              </p:cNvPr>
              <p:cNvSpPr>
                <a:spLocks/>
              </p:cNvSpPr>
              <p:nvPr/>
            </p:nvSpPr>
            <p:spPr bwMode="auto">
              <a:xfrm>
                <a:off x="4686" y="3512"/>
                <a:ext cx="76" cy="20"/>
              </a:xfrm>
              <a:custGeom>
                <a:avLst/>
                <a:gdLst>
                  <a:gd name="T0" fmla="*/ 0 w 76"/>
                  <a:gd name="T1" fmla="*/ 0 h 20"/>
                  <a:gd name="T2" fmla="*/ 12 w 76"/>
                  <a:gd name="T3" fmla="*/ 20 h 20"/>
                  <a:gd name="T4" fmla="*/ 64 w 76"/>
                  <a:gd name="T5" fmla="*/ 20 h 20"/>
                  <a:gd name="T6" fmla="*/ 76 w 76"/>
                  <a:gd name="T7" fmla="*/ 0 h 20"/>
                </a:gdLst>
                <a:ahLst/>
                <a:cxnLst>
                  <a:cxn ang="0">
                    <a:pos x="T0" y="T1"/>
                  </a:cxn>
                  <a:cxn ang="0">
                    <a:pos x="T2" y="T3"/>
                  </a:cxn>
                  <a:cxn ang="0">
                    <a:pos x="T4" y="T5"/>
                  </a:cxn>
                  <a:cxn ang="0">
                    <a:pos x="T6" y="T7"/>
                  </a:cxn>
                </a:cxnLst>
                <a:rect l="0" t="0" r="r" b="b"/>
                <a:pathLst>
                  <a:path w="76" h="20">
                    <a:moveTo>
                      <a:pt x="0" y="0"/>
                    </a:moveTo>
                    <a:lnTo>
                      <a:pt x="12" y="20"/>
                    </a:lnTo>
                    <a:lnTo>
                      <a:pt x="64" y="20"/>
                    </a:lnTo>
                    <a:lnTo>
                      <a:pt x="76"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grpSp>
        <p:nvGrpSpPr>
          <p:cNvPr id="277" name="Group 276">
            <a:extLst>
              <a:ext uri="{FF2B5EF4-FFF2-40B4-BE49-F238E27FC236}">
                <a16:creationId xmlns:a16="http://schemas.microsoft.com/office/drawing/2014/main" id="{5C87D26A-94CD-44DB-A03C-AA614AB693C9}"/>
              </a:ext>
            </a:extLst>
          </p:cNvPr>
          <p:cNvGrpSpPr/>
          <p:nvPr/>
        </p:nvGrpSpPr>
        <p:grpSpPr>
          <a:xfrm>
            <a:off x="1853765" y="1598524"/>
            <a:ext cx="517240" cy="517240"/>
            <a:chOff x="4367508" y="1646534"/>
            <a:chExt cx="527686" cy="527686"/>
          </a:xfrm>
        </p:grpSpPr>
        <p:sp useBgFill="1">
          <p:nvSpPr>
            <p:cNvPr id="278" name="Oval 277">
              <a:extLst>
                <a:ext uri="{FF2B5EF4-FFF2-40B4-BE49-F238E27FC236}">
                  <a16:creationId xmlns:a16="http://schemas.microsoft.com/office/drawing/2014/main" id="{0281C2CD-B13E-4F73-A4A2-472DD85FFB82}"/>
                </a:ext>
              </a:extLst>
            </p:cNvPr>
            <p:cNvSpPr/>
            <p:nvPr/>
          </p:nvSpPr>
          <p:spPr bwMode="auto">
            <a:xfrm rot="18900000" flipH="1">
              <a:off x="4367508" y="1646534"/>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9" name="Freeform 5">
              <a:extLst>
                <a:ext uri="{FF2B5EF4-FFF2-40B4-BE49-F238E27FC236}">
                  <a16:creationId xmlns:a16="http://schemas.microsoft.com/office/drawing/2014/main" id="{5F75F446-D082-4DF3-9BB8-EABC99262382}"/>
                </a:ext>
              </a:extLst>
            </p:cNvPr>
            <p:cNvSpPr>
              <a:spLocks noEditPoints="1"/>
            </p:cNvSpPr>
            <p:nvPr/>
          </p:nvSpPr>
          <p:spPr bwMode="auto">
            <a:xfrm>
              <a:off x="4474153" y="1815803"/>
              <a:ext cx="314396" cy="189148"/>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grpSp>
      <p:grpSp>
        <p:nvGrpSpPr>
          <p:cNvPr id="280" name="Group 279">
            <a:extLst>
              <a:ext uri="{FF2B5EF4-FFF2-40B4-BE49-F238E27FC236}">
                <a16:creationId xmlns:a16="http://schemas.microsoft.com/office/drawing/2014/main" id="{252AA8A7-EF2E-4B98-BD5D-AD04F8086B6D}"/>
              </a:ext>
            </a:extLst>
          </p:cNvPr>
          <p:cNvGrpSpPr/>
          <p:nvPr/>
        </p:nvGrpSpPr>
        <p:grpSpPr>
          <a:xfrm>
            <a:off x="1384339" y="2294477"/>
            <a:ext cx="517238" cy="517238"/>
            <a:chOff x="3888602" y="2356543"/>
            <a:chExt cx="527684" cy="527684"/>
          </a:xfrm>
        </p:grpSpPr>
        <p:sp useBgFill="1">
          <p:nvSpPr>
            <p:cNvPr id="281" name="Oval 280">
              <a:extLst>
                <a:ext uri="{FF2B5EF4-FFF2-40B4-BE49-F238E27FC236}">
                  <a16:creationId xmlns:a16="http://schemas.microsoft.com/office/drawing/2014/main" id="{AD0E01AA-4CF0-4477-B870-6A85233C69C5}"/>
                </a:ext>
              </a:extLst>
            </p:cNvPr>
            <p:cNvSpPr/>
            <p:nvPr/>
          </p:nvSpPr>
          <p:spPr bwMode="auto">
            <a:xfrm rot="17580000" flipH="1">
              <a:off x="3888602" y="2356543"/>
              <a:ext cx="527684" cy="52768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2" name="Freeform 5">
              <a:extLst>
                <a:ext uri="{FF2B5EF4-FFF2-40B4-BE49-F238E27FC236}">
                  <a16:creationId xmlns:a16="http://schemas.microsoft.com/office/drawing/2014/main" id="{403B74AE-DBB4-4918-B144-D8E4E7C7306D}"/>
                </a:ext>
              </a:extLst>
            </p:cNvPr>
            <p:cNvSpPr>
              <a:spLocks noEditPoints="1"/>
            </p:cNvSpPr>
            <p:nvPr/>
          </p:nvSpPr>
          <p:spPr bwMode="auto">
            <a:xfrm>
              <a:off x="3976885" y="2528888"/>
              <a:ext cx="351120" cy="18299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283" name="Group 282">
            <a:extLst>
              <a:ext uri="{FF2B5EF4-FFF2-40B4-BE49-F238E27FC236}">
                <a16:creationId xmlns:a16="http://schemas.microsoft.com/office/drawing/2014/main" id="{033BCF91-5D39-44AB-B4FF-299B5080BEE2}"/>
              </a:ext>
            </a:extLst>
          </p:cNvPr>
          <p:cNvGrpSpPr/>
          <p:nvPr/>
        </p:nvGrpSpPr>
        <p:grpSpPr>
          <a:xfrm>
            <a:off x="4964705" y="1598524"/>
            <a:ext cx="517240" cy="517240"/>
            <a:chOff x="7541281" y="1646534"/>
            <a:chExt cx="527686" cy="527686"/>
          </a:xfrm>
        </p:grpSpPr>
        <p:sp useBgFill="1">
          <p:nvSpPr>
            <p:cNvPr id="284" name="Oval 283">
              <a:extLst>
                <a:ext uri="{FF2B5EF4-FFF2-40B4-BE49-F238E27FC236}">
                  <a16:creationId xmlns:a16="http://schemas.microsoft.com/office/drawing/2014/main" id="{4B14ECE6-3B6A-4E61-8F5F-A46B259868C9}"/>
                </a:ext>
              </a:extLst>
            </p:cNvPr>
            <p:cNvSpPr/>
            <p:nvPr/>
          </p:nvSpPr>
          <p:spPr bwMode="auto">
            <a:xfrm rot="2700000">
              <a:off x="7541281" y="1646534"/>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85" name="Group 284">
              <a:extLst>
                <a:ext uri="{FF2B5EF4-FFF2-40B4-BE49-F238E27FC236}">
                  <a16:creationId xmlns:a16="http://schemas.microsoft.com/office/drawing/2014/main" id="{026A3388-6EE0-42EA-AEA8-D91F8DC65BD1}"/>
                </a:ext>
              </a:extLst>
            </p:cNvPr>
            <p:cNvGrpSpPr/>
            <p:nvPr/>
          </p:nvGrpSpPr>
          <p:grpSpPr>
            <a:xfrm>
              <a:off x="7633632" y="1841500"/>
              <a:ext cx="342986" cy="137754"/>
              <a:chOff x="11103157" y="4417749"/>
              <a:chExt cx="347337" cy="139502"/>
            </a:xfrm>
          </p:grpSpPr>
          <p:sp>
            <p:nvSpPr>
              <p:cNvPr id="286" name="Rectangle 285">
                <a:extLst>
                  <a:ext uri="{FF2B5EF4-FFF2-40B4-BE49-F238E27FC236}">
                    <a16:creationId xmlns:a16="http://schemas.microsoft.com/office/drawing/2014/main" id="{56F5BF5B-FE07-4B8F-9C8C-1CE74158268F}"/>
                  </a:ext>
                </a:extLst>
              </p:cNvPr>
              <p:cNvSpPr>
                <a:spLocks noChangeArrowheads="1"/>
              </p:cNvSpPr>
              <p:nvPr/>
            </p:nvSpPr>
            <p:spPr bwMode="auto">
              <a:xfrm>
                <a:off x="11103157" y="4417749"/>
                <a:ext cx="347337" cy="139502"/>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gradFill>
                  <a:latin typeface="Segoe UI Semilight"/>
                </a:endParaRPr>
              </a:p>
            </p:txBody>
          </p:sp>
          <p:sp>
            <p:nvSpPr>
              <p:cNvPr id="287" name="Line 277">
                <a:extLst>
                  <a:ext uri="{FF2B5EF4-FFF2-40B4-BE49-F238E27FC236}">
                    <a16:creationId xmlns:a16="http://schemas.microsoft.com/office/drawing/2014/main" id="{0715D0B9-3DA3-4EB5-AFCE-F5B1EE190F42}"/>
                  </a:ext>
                </a:extLst>
              </p:cNvPr>
              <p:cNvSpPr>
                <a:spLocks noChangeShapeType="1"/>
              </p:cNvSpPr>
              <p:nvPr/>
            </p:nvSpPr>
            <p:spPr bwMode="auto">
              <a:xfrm flipH="1">
                <a:off x="11103157" y="4488923"/>
                <a:ext cx="149469"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gradFill>
                  <a:latin typeface="Segoe UI Semilight"/>
                </a:endParaRPr>
              </a:p>
            </p:txBody>
          </p:sp>
          <p:sp>
            <p:nvSpPr>
              <p:cNvPr id="288" name="Oval 287">
                <a:extLst>
                  <a:ext uri="{FF2B5EF4-FFF2-40B4-BE49-F238E27FC236}">
                    <a16:creationId xmlns:a16="http://schemas.microsoft.com/office/drawing/2014/main" id="{3F383D5A-5286-4D78-8066-5E3315C04752}"/>
                  </a:ext>
                </a:extLst>
              </p:cNvPr>
              <p:cNvSpPr>
                <a:spLocks noChangeArrowheads="1"/>
              </p:cNvSpPr>
              <p:nvPr/>
            </p:nvSpPr>
            <p:spPr bwMode="auto">
              <a:xfrm>
                <a:off x="11373624" y="4480383"/>
                <a:ext cx="12812" cy="14235"/>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gradFill>
                  <a:latin typeface="Segoe UI Semilight"/>
                </a:endParaRPr>
              </a:p>
            </p:txBody>
          </p:sp>
        </p:grpSp>
      </p:grpSp>
      <p:grpSp>
        <p:nvGrpSpPr>
          <p:cNvPr id="289" name="Group 288">
            <a:extLst>
              <a:ext uri="{FF2B5EF4-FFF2-40B4-BE49-F238E27FC236}">
                <a16:creationId xmlns:a16="http://schemas.microsoft.com/office/drawing/2014/main" id="{6EB5B7BD-E74E-4203-A64B-84677A21CC01}"/>
              </a:ext>
            </a:extLst>
          </p:cNvPr>
          <p:cNvGrpSpPr/>
          <p:nvPr/>
        </p:nvGrpSpPr>
        <p:grpSpPr>
          <a:xfrm>
            <a:off x="1384339" y="4013513"/>
            <a:ext cx="517240" cy="517240"/>
            <a:chOff x="3888602" y="4110297"/>
            <a:chExt cx="527686" cy="527686"/>
          </a:xfrm>
        </p:grpSpPr>
        <p:sp useBgFill="1">
          <p:nvSpPr>
            <p:cNvPr id="290" name="Oval 289">
              <a:extLst>
                <a:ext uri="{FF2B5EF4-FFF2-40B4-BE49-F238E27FC236}">
                  <a16:creationId xmlns:a16="http://schemas.microsoft.com/office/drawing/2014/main" id="{F4A1815C-E84D-48B7-A9FC-F1D9F95136AB}"/>
                </a:ext>
              </a:extLst>
            </p:cNvPr>
            <p:cNvSpPr/>
            <p:nvPr/>
          </p:nvSpPr>
          <p:spPr bwMode="auto">
            <a:xfrm rot="4020000">
              <a:off x="3888602" y="4110297"/>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1" name="Freeform 41">
              <a:extLst>
                <a:ext uri="{FF2B5EF4-FFF2-40B4-BE49-F238E27FC236}">
                  <a16:creationId xmlns:a16="http://schemas.microsoft.com/office/drawing/2014/main" id="{051C4993-C56C-40AE-BAF8-F5225C792113}"/>
                </a:ext>
              </a:extLst>
            </p:cNvPr>
            <p:cNvSpPr>
              <a:spLocks noEditPoints="1"/>
            </p:cNvSpPr>
            <p:nvPr/>
          </p:nvSpPr>
          <p:spPr bwMode="auto">
            <a:xfrm>
              <a:off x="3962698" y="4255548"/>
              <a:ext cx="379494" cy="237184"/>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292" name="Group 291">
            <a:extLst>
              <a:ext uri="{FF2B5EF4-FFF2-40B4-BE49-F238E27FC236}">
                <a16:creationId xmlns:a16="http://schemas.microsoft.com/office/drawing/2014/main" id="{184AA1CE-145D-41BF-9062-D1CFB4D453CE}"/>
              </a:ext>
            </a:extLst>
          </p:cNvPr>
          <p:cNvGrpSpPr/>
          <p:nvPr/>
        </p:nvGrpSpPr>
        <p:grpSpPr>
          <a:xfrm>
            <a:off x="5434132" y="4013514"/>
            <a:ext cx="517238" cy="517238"/>
            <a:chOff x="8020188" y="4110298"/>
            <a:chExt cx="527684" cy="527684"/>
          </a:xfrm>
        </p:grpSpPr>
        <p:sp useBgFill="1">
          <p:nvSpPr>
            <p:cNvPr id="293" name="Oval 292">
              <a:extLst>
                <a:ext uri="{FF2B5EF4-FFF2-40B4-BE49-F238E27FC236}">
                  <a16:creationId xmlns:a16="http://schemas.microsoft.com/office/drawing/2014/main" id="{83064E22-DC34-4557-AFA3-9B69C32FF648}"/>
                </a:ext>
              </a:extLst>
            </p:cNvPr>
            <p:cNvSpPr/>
            <p:nvPr/>
          </p:nvSpPr>
          <p:spPr bwMode="auto">
            <a:xfrm rot="17580000" flipH="1">
              <a:off x="8020188" y="4110298"/>
              <a:ext cx="527684" cy="52768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4" name="bus">
              <a:extLst>
                <a:ext uri="{FF2B5EF4-FFF2-40B4-BE49-F238E27FC236}">
                  <a16:creationId xmlns:a16="http://schemas.microsoft.com/office/drawing/2014/main" id="{7D768BA0-2CD6-4989-8CC8-D26B219C2E94}"/>
                </a:ext>
              </a:extLst>
            </p:cNvPr>
            <p:cNvSpPr>
              <a:spLocks noChangeAspect="1" noEditPoints="1"/>
            </p:cNvSpPr>
            <p:nvPr/>
          </p:nvSpPr>
          <p:spPr bwMode="auto">
            <a:xfrm>
              <a:off x="8162803" y="4252914"/>
              <a:ext cx="242456" cy="242454"/>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gradFill>
                <a:latin typeface="Segoe UI Semilight"/>
              </a:endParaRPr>
            </a:p>
          </p:txBody>
        </p:sp>
      </p:grpSp>
      <p:grpSp>
        <p:nvGrpSpPr>
          <p:cNvPr id="295" name="Group 294">
            <a:extLst>
              <a:ext uri="{FF2B5EF4-FFF2-40B4-BE49-F238E27FC236}">
                <a16:creationId xmlns:a16="http://schemas.microsoft.com/office/drawing/2014/main" id="{5CC2DFAB-D9D3-4484-9D50-B920EB338887}"/>
              </a:ext>
            </a:extLst>
          </p:cNvPr>
          <p:cNvGrpSpPr/>
          <p:nvPr/>
        </p:nvGrpSpPr>
        <p:grpSpPr>
          <a:xfrm>
            <a:off x="5609003" y="3153994"/>
            <a:ext cx="517240" cy="517240"/>
            <a:chOff x="8198591" y="3233420"/>
            <a:chExt cx="527686" cy="527686"/>
          </a:xfrm>
        </p:grpSpPr>
        <p:sp useBgFill="1">
          <p:nvSpPr>
            <p:cNvPr id="296" name="Oval 295">
              <a:extLst>
                <a:ext uri="{FF2B5EF4-FFF2-40B4-BE49-F238E27FC236}">
                  <a16:creationId xmlns:a16="http://schemas.microsoft.com/office/drawing/2014/main" id="{70931727-3716-4BCB-9C8B-F24920988673}"/>
                </a:ext>
              </a:extLst>
            </p:cNvPr>
            <p:cNvSpPr/>
            <p:nvPr/>
          </p:nvSpPr>
          <p:spPr bwMode="auto">
            <a:xfrm rot="5400000">
              <a:off x="8198591" y="3233420"/>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7" name="Airplane_E709">
              <a:extLst>
                <a:ext uri="{FF2B5EF4-FFF2-40B4-BE49-F238E27FC236}">
                  <a16:creationId xmlns:a16="http://schemas.microsoft.com/office/drawing/2014/main" id="{EA204DA2-8A11-4968-B253-59F298A05DFF}"/>
                </a:ext>
              </a:extLst>
            </p:cNvPr>
            <p:cNvSpPr>
              <a:spLocks noChangeAspect="1"/>
            </p:cNvSpPr>
            <p:nvPr/>
          </p:nvSpPr>
          <p:spPr bwMode="auto">
            <a:xfrm>
              <a:off x="8319857" y="3352801"/>
              <a:ext cx="285156" cy="288926"/>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298" name="Group 297">
            <a:extLst>
              <a:ext uri="{FF2B5EF4-FFF2-40B4-BE49-F238E27FC236}">
                <a16:creationId xmlns:a16="http://schemas.microsoft.com/office/drawing/2014/main" id="{85245B84-9FA3-491B-ADE3-04D10CEE65B7}"/>
              </a:ext>
            </a:extLst>
          </p:cNvPr>
          <p:cNvGrpSpPr/>
          <p:nvPr/>
        </p:nvGrpSpPr>
        <p:grpSpPr>
          <a:xfrm>
            <a:off x="1853766" y="4709464"/>
            <a:ext cx="517240" cy="517240"/>
            <a:chOff x="4367509" y="4820305"/>
            <a:chExt cx="527686" cy="527686"/>
          </a:xfrm>
        </p:grpSpPr>
        <p:sp useBgFill="1">
          <p:nvSpPr>
            <p:cNvPr id="299" name="Oval 298">
              <a:extLst>
                <a:ext uri="{FF2B5EF4-FFF2-40B4-BE49-F238E27FC236}">
                  <a16:creationId xmlns:a16="http://schemas.microsoft.com/office/drawing/2014/main" id="{15B37736-5099-4DE2-B1F6-D999F6C2042C}"/>
                </a:ext>
              </a:extLst>
            </p:cNvPr>
            <p:cNvSpPr/>
            <p:nvPr/>
          </p:nvSpPr>
          <p:spPr bwMode="auto">
            <a:xfrm rot="2700000">
              <a:off x="4367509" y="482030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00" name="Group 4">
              <a:extLst>
                <a:ext uri="{FF2B5EF4-FFF2-40B4-BE49-F238E27FC236}">
                  <a16:creationId xmlns:a16="http://schemas.microsoft.com/office/drawing/2014/main" id="{CF220C0D-785B-49F2-A32F-51EB8575A40E}"/>
                </a:ext>
              </a:extLst>
            </p:cNvPr>
            <p:cNvGrpSpPr>
              <a:grpSpLocks noChangeAspect="1"/>
            </p:cNvGrpSpPr>
            <p:nvPr/>
          </p:nvGrpSpPr>
          <p:grpSpPr bwMode="auto">
            <a:xfrm>
              <a:off x="4493886" y="4948927"/>
              <a:ext cx="274932" cy="270442"/>
              <a:chOff x="3794" y="2083"/>
              <a:chExt cx="245" cy="241"/>
            </a:xfrm>
          </p:grpSpPr>
          <p:sp>
            <p:nvSpPr>
              <p:cNvPr id="301" name="Rectangle 300">
                <a:extLst>
                  <a:ext uri="{FF2B5EF4-FFF2-40B4-BE49-F238E27FC236}">
                    <a16:creationId xmlns:a16="http://schemas.microsoft.com/office/drawing/2014/main" id="{2E2EE3D4-F5D5-4982-AE52-BB8A674A0AD6}"/>
                  </a:ext>
                </a:extLst>
              </p:cNvPr>
              <p:cNvSpPr>
                <a:spLocks noChangeArrowheads="1"/>
              </p:cNvSpPr>
              <p:nvPr/>
            </p:nvSpPr>
            <p:spPr bwMode="auto">
              <a:xfrm>
                <a:off x="3794" y="2083"/>
                <a:ext cx="245" cy="138"/>
              </a:xfrm>
              <a:prstGeom prst="rect">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302" name="Freeform 6">
                <a:extLst>
                  <a:ext uri="{FF2B5EF4-FFF2-40B4-BE49-F238E27FC236}">
                    <a16:creationId xmlns:a16="http://schemas.microsoft.com/office/drawing/2014/main" id="{11641495-F1A4-4466-9EC2-EF48463DB45F}"/>
                  </a:ext>
                </a:extLst>
              </p:cNvPr>
              <p:cNvSpPr>
                <a:spLocks/>
              </p:cNvSpPr>
              <p:nvPr/>
            </p:nvSpPr>
            <p:spPr bwMode="auto">
              <a:xfrm>
                <a:off x="3801" y="2287"/>
                <a:ext cx="231" cy="37"/>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303" name="Line 7">
                <a:extLst>
                  <a:ext uri="{FF2B5EF4-FFF2-40B4-BE49-F238E27FC236}">
                    <a16:creationId xmlns:a16="http://schemas.microsoft.com/office/drawing/2014/main" id="{3D72546C-8467-4752-9DC0-0F9BAA7A573B}"/>
                  </a:ext>
                </a:extLst>
              </p:cNvPr>
              <p:cNvSpPr>
                <a:spLocks noChangeShapeType="1"/>
              </p:cNvSpPr>
              <p:nvPr/>
            </p:nvSpPr>
            <p:spPr bwMode="auto">
              <a:xfrm>
                <a:off x="3917" y="2221"/>
                <a:ext cx="0" cy="36"/>
              </a:xfrm>
              <a:prstGeom prst="lin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304" name="Line 8">
                <a:extLst>
                  <a:ext uri="{FF2B5EF4-FFF2-40B4-BE49-F238E27FC236}">
                    <a16:creationId xmlns:a16="http://schemas.microsoft.com/office/drawing/2014/main" id="{E02BBD49-B4A7-47A0-BBF4-818BDF5701BC}"/>
                  </a:ext>
                </a:extLst>
              </p:cNvPr>
              <p:cNvSpPr>
                <a:spLocks noChangeShapeType="1"/>
              </p:cNvSpPr>
              <p:nvPr/>
            </p:nvSpPr>
            <p:spPr bwMode="auto">
              <a:xfrm>
                <a:off x="3873" y="2255"/>
                <a:ext cx="86" cy="0"/>
              </a:xfrm>
              <a:prstGeom prst="lin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grpSp>
        <p:nvGrpSpPr>
          <p:cNvPr id="305" name="Group 304">
            <a:extLst>
              <a:ext uri="{FF2B5EF4-FFF2-40B4-BE49-F238E27FC236}">
                <a16:creationId xmlns:a16="http://schemas.microsoft.com/office/drawing/2014/main" id="{60DDB346-F13D-494D-B7BC-5C387FF765A6}"/>
              </a:ext>
            </a:extLst>
          </p:cNvPr>
          <p:cNvGrpSpPr/>
          <p:nvPr/>
        </p:nvGrpSpPr>
        <p:grpSpPr>
          <a:xfrm>
            <a:off x="5434132" y="2294476"/>
            <a:ext cx="517240" cy="517240"/>
            <a:chOff x="8020188" y="2356542"/>
            <a:chExt cx="527686" cy="527686"/>
          </a:xfrm>
        </p:grpSpPr>
        <p:sp useBgFill="1">
          <p:nvSpPr>
            <p:cNvPr id="306" name="Oval 305">
              <a:extLst>
                <a:ext uri="{FF2B5EF4-FFF2-40B4-BE49-F238E27FC236}">
                  <a16:creationId xmlns:a16="http://schemas.microsoft.com/office/drawing/2014/main" id="{08FFACF2-A9CB-4057-9605-4EF0EAB3EE5F}"/>
                </a:ext>
              </a:extLst>
            </p:cNvPr>
            <p:cNvSpPr/>
            <p:nvPr/>
          </p:nvSpPr>
          <p:spPr bwMode="auto">
            <a:xfrm rot="4020000">
              <a:off x="8020188" y="2356542"/>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7" name="Freeform 5">
              <a:extLst>
                <a:ext uri="{FF2B5EF4-FFF2-40B4-BE49-F238E27FC236}">
                  <a16:creationId xmlns:a16="http://schemas.microsoft.com/office/drawing/2014/main" id="{F3726604-DE9D-48F2-BB5C-F8234C3A5D01}"/>
                </a:ext>
              </a:extLst>
            </p:cNvPr>
            <p:cNvSpPr>
              <a:spLocks noEditPoints="1"/>
            </p:cNvSpPr>
            <p:nvPr/>
          </p:nvSpPr>
          <p:spPr bwMode="auto">
            <a:xfrm>
              <a:off x="8162249" y="2463220"/>
              <a:ext cx="243564" cy="31433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nvGrpSpPr>
          <p:cNvPr id="308" name="Group 307">
            <a:extLst>
              <a:ext uri="{FF2B5EF4-FFF2-40B4-BE49-F238E27FC236}">
                <a16:creationId xmlns:a16="http://schemas.microsoft.com/office/drawing/2014/main" id="{B526BC2E-5D53-4558-896A-4266EC06BCAF}"/>
              </a:ext>
            </a:extLst>
          </p:cNvPr>
          <p:cNvGrpSpPr/>
          <p:nvPr/>
        </p:nvGrpSpPr>
        <p:grpSpPr>
          <a:xfrm>
            <a:off x="4233282" y="5193582"/>
            <a:ext cx="517240" cy="517240"/>
            <a:chOff x="6795084" y="5314201"/>
            <a:chExt cx="527686" cy="527686"/>
          </a:xfrm>
        </p:grpSpPr>
        <p:sp useBgFill="1">
          <p:nvSpPr>
            <p:cNvPr id="309" name="Oval 308">
              <a:extLst>
                <a:ext uri="{FF2B5EF4-FFF2-40B4-BE49-F238E27FC236}">
                  <a16:creationId xmlns:a16="http://schemas.microsoft.com/office/drawing/2014/main" id="{97EAC8A3-F559-4790-94CE-6EDE7812FD3F}"/>
                </a:ext>
              </a:extLst>
            </p:cNvPr>
            <p:cNvSpPr/>
            <p:nvPr/>
          </p:nvSpPr>
          <p:spPr bwMode="auto">
            <a:xfrm rot="20280000" flipH="1">
              <a:off x="6795084" y="5314201"/>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10" name="Group 8">
              <a:extLst>
                <a:ext uri="{FF2B5EF4-FFF2-40B4-BE49-F238E27FC236}">
                  <a16:creationId xmlns:a16="http://schemas.microsoft.com/office/drawing/2014/main" id="{664CBD42-2CFC-4542-8D12-7E24AA51DAA7}"/>
                </a:ext>
              </a:extLst>
            </p:cNvPr>
            <p:cNvGrpSpPr>
              <a:grpSpLocks noChangeAspect="1"/>
            </p:cNvGrpSpPr>
            <p:nvPr/>
          </p:nvGrpSpPr>
          <p:grpSpPr bwMode="auto">
            <a:xfrm>
              <a:off x="6879509" y="5432267"/>
              <a:ext cx="358836" cy="291554"/>
              <a:chOff x="5458" y="3157"/>
              <a:chExt cx="304" cy="247"/>
            </a:xfrm>
          </p:grpSpPr>
          <p:sp>
            <p:nvSpPr>
              <p:cNvPr id="311" name="Freeform 9">
                <a:extLst>
                  <a:ext uri="{FF2B5EF4-FFF2-40B4-BE49-F238E27FC236}">
                    <a16:creationId xmlns:a16="http://schemas.microsoft.com/office/drawing/2014/main" id="{006CCD31-AAE6-420A-8E6E-844A0800DB2D}"/>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sp>
            <p:nvSpPr>
              <p:cNvPr id="312" name="Freeform 10">
                <a:extLst>
                  <a:ext uri="{FF2B5EF4-FFF2-40B4-BE49-F238E27FC236}">
                    <a16:creationId xmlns:a16="http://schemas.microsoft.com/office/drawing/2014/main" id="{A2358446-BCEF-4CAC-B429-486B076C2B1D}"/>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dirty="0">
                  <a:gradFill>
                    <a:gsLst>
                      <a:gs pos="0">
                        <a:srgbClr val="505050"/>
                      </a:gs>
                      <a:gs pos="100000">
                        <a:srgbClr val="505050"/>
                      </a:gs>
                    </a:gsLst>
                    <a:lin ang="5400000" scaled="1"/>
                  </a:gradFill>
                  <a:latin typeface="Segoe UI Semilight"/>
                </a:endParaRPr>
              </a:p>
            </p:txBody>
          </p:sp>
        </p:grpSp>
      </p:grpSp>
      <p:grpSp>
        <p:nvGrpSpPr>
          <p:cNvPr id="313" name="Group 312">
            <a:extLst>
              <a:ext uri="{FF2B5EF4-FFF2-40B4-BE49-F238E27FC236}">
                <a16:creationId xmlns:a16="http://schemas.microsoft.com/office/drawing/2014/main" id="{B371DF1E-961E-4E3C-8F33-67361BBA0F9A}"/>
              </a:ext>
            </a:extLst>
          </p:cNvPr>
          <p:cNvGrpSpPr/>
          <p:nvPr/>
        </p:nvGrpSpPr>
        <p:grpSpPr>
          <a:xfrm>
            <a:off x="1897691" y="5399843"/>
            <a:ext cx="513297" cy="513297"/>
            <a:chOff x="4412323" y="5524629"/>
            <a:chExt cx="523664" cy="523664"/>
          </a:xfrm>
        </p:grpSpPr>
        <p:sp useBgFill="1">
          <p:nvSpPr>
            <p:cNvPr id="314" name="Oval 313">
              <a:extLst>
                <a:ext uri="{FF2B5EF4-FFF2-40B4-BE49-F238E27FC236}">
                  <a16:creationId xmlns:a16="http://schemas.microsoft.com/office/drawing/2014/main" id="{4F7BA010-4A9F-47F5-ABA4-2119156FA80C}"/>
                </a:ext>
              </a:extLst>
            </p:cNvPr>
            <p:cNvSpPr/>
            <p:nvPr/>
          </p:nvSpPr>
          <p:spPr bwMode="auto">
            <a:xfrm rot="2040000">
              <a:off x="4412323" y="5524629"/>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5" name="Freeform 25">
              <a:extLst>
                <a:ext uri="{FF2B5EF4-FFF2-40B4-BE49-F238E27FC236}">
                  <a16:creationId xmlns:a16="http://schemas.microsoft.com/office/drawing/2014/main" id="{576A9861-B202-4565-AEF4-9192089F4110}"/>
                </a:ext>
              </a:extLst>
            </p:cNvPr>
            <p:cNvSpPr>
              <a:spLocks noEditPoints="1"/>
            </p:cNvSpPr>
            <p:nvPr/>
          </p:nvSpPr>
          <p:spPr bwMode="auto">
            <a:xfrm>
              <a:off x="4522311" y="5638101"/>
              <a:ext cx="303690" cy="296722"/>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grpSp>
      <p:grpSp>
        <p:nvGrpSpPr>
          <p:cNvPr id="316" name="Group 315">
            <a:extLst>
              <a:ext uri="{FF2B5EF4-FFF2-40B4-BE49-F238E27FC236}">
                <a16:creationId xmlns:a16="http://schemas.microsoft.com/office/drawing/2014/main" id="{CF3EF85C-6029-4A82-B71E-6EF4728F5BD5}"/>
              </a:ext>
            </a:extLst>
          </p:cNvPr>
          <p:cNvGrpSpPr/>
          <p:nvPr/>
        </p:nvGrpSpPr>
        <p:grpSpPr>
          <a:xfrm>
            <a:off x="5628327" y="4708410"/>
            <a:ext cx="513297" cy="513297"/>
            <a:chOff x="8218306" y="4819232"/>
            <a:chExt cx="523664" cy="523664"/>
          </a:xfrm>
        </p:grpSpPr>
        <p:sp useBgFill="1">
          <p:nvSpPr>
            <p:cNvPr id="317" name="Oval 316">
              <a:extLst>
                <a:ext uri="{FF2B5EF4-FFF2-40B4-BE49-F238E27FC236}">
                  <a16:creationId xmlns:a16="http://schemas.microsoft.com/office/drawing/2014/main" id="{5A448470-2860-4DC2-9FC3-C01D86C8DF5B}"/>
                </a:ext>
              </a:extLst>
            </p:cNvPr>
            <p:cNvSpPr/>
            <p:nvPr/>
          </p:nvSpPr>
          <p:spPr bwMode="auto">
            <a:xfrm rot="18300000" flipH="1">
              <a:off x="8218306" y="4819232"/>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8" name="speedometer_2">
              <a:extLst>
                <a:ext uri="{FF2B5EF4-FFF2-40B4-BE49-F238E27FC236}">
                  <a16:creationId xmlns:a16="http://schemas.microsoft.com/office/drawing/2014/main" id="{37780E10-2DAA-4E4F-8EFE-E63D2D2A775D}"/>
                </a:ext>
              </a:extLst>
            </p:cNvPr>
            <p:cNvSpPr>
              <a:spLocks noChangeAspect="1" noEditPoints="1"/>
            </p:cNvSpPr>
            <p:nvPr/>
          </p:nvSpPr>
          <p:spPr bwMode="auto">
            <a:xfrm>
              <a:off x="8333024" y="4933950"/>
              <a:ext cx="294228" cy="29422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319" name="Group 318">
            <a:extLst>
              <a:ext uri="{FF2B5EF4-FFF2-40B4-BE49-F238E27FC236}">
                <a16:creationId xmlns:a16="http://schemas.microsoft.com/office/drawing/2014/main" id="{D4C293DA-E8C9-42C7-8AE4-0CF237F0BC33}"/>
              </a:ext>
            </a:extLst>
          </p:cNvPr>
          <p:cNvGrpSpPr/>
          <p:nvPr/>
        </p:nvGrpSpPr>
        <p:grpSpPr>
          <a:xfrm>
            <a:off x="4885328" y="5425916"/>
            <a:ext cx="513297" cy="513297"/>
            <a:chOff x="7460301" y="5551229"/>
            <a:chExt cx="523664" cy="523664"/>
          </a:xfrm>
        </p:grpSpPr>
        <p:sp useBgFill="1">
          <p:nvSpPr>
            <p:cNvPr id="320" name="Oval 319">
              <a:extLst>
                <a:ext uri="{FF2B5EF4-FFF2-40B4-BE49-F238E27FC236}">
                  <a16:creationId xmlns:a16="http://schemas.microsoft.com/office/drawing/2014/main" id="{88E73A91-D60D-43F2-8C34-7109C748B7A7}"/>
                </a:ext>
              </a:extLst>
            </p:cNvPr>
            <p:cNvSpPr/>
            <p:nvPr/>
          </p:nvSpPr>
          <p:spPr bwMode="auto">
            <a:xfrm rot="19620000" flipH="1">
              <a:off x="7460301" y="5551229"/>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1" name="document_6">
              <a:extLst>
                <a:ext uri="{FF2B5EF4-FFF2-40B4-BE49-F238E27FC236}">
                  <a16:creationId xmlns:a16="http://schemas.microsoft.com/office/drawing/2014/main" id="{A961200A-24E8-4615-B6A3-8E3E7814D285}"/>
                </a:ext>
              </a:extLst>
            </p:cNvPr>
            <p:cNvSpPr>
              <a:spLocks noChangeAspect="1" noEditPoints="1"/>
            </p:cNvSpPr>
            <p:nvPr/>
          </p:nvSpPr>
          <p:spPr bwMode="auto">
            <a:xfrm>
              <a:off x="7609395" y="5672138"/>
              <a:ext cx="225476" cy="28184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nvGrpSpPr>
          <p:cNvPr id="322" name="Group 321">
            <a:extLst>
              <a:ext uri="{FF2B5EF4-FFF2-40B4-BE49-F238E27FC236}">
                <a16:creationId xmlns:a16="http://schemas.microsoft.com/office/drawing/2014/main" id="{8E20FA44-5243-4B8D-84C5-482715C426F4}"/>
              </a:ext>
            </a:extLst>
          </p:cNvPr>
          <p:cNvGrpSpPr/>
          <p:nvPr/>
        </p:nvGrpSpPr>
        <p:grpSpPr>
          <a:xfrm>
            <a:off x="6058665" y="3718699"/>
            <a:ext cx="513297" cy="513297"/>
            <a:chOff x="8657336" y="3809532"/>
            <a:chExt cx="523664" cy="523664"/>
          </a:xfrm>
        </p:grpSpPr>
        <p:sp useBgFill="1">
          <p:nvSpPr>
            <p:cNvPr id="323" name="Oval 322">
              <a:extLst>
                <a:ext uri="{FF2B5EF4-FFF2-40B4-BE49-F238E27FC236}">
                  <a16:creationId xmlns:a16="http://schemas.microsoft.com/office/drawing/2014/main" id="{725558F1-D133-4D39-A960-5545121ADDF8}"/>
                </a:ext>
              </a:extLst>
            </p:cNvPr>
            <p:cNvSpPr/>
            <p:nvPr/>
          </p:nvSpPr>
          <p:spPr bwMode="auto">
            <a:xfrm rot="16920000" flipH="1">
              <a:off x="8657336" y="3809532"/>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24" name="Group 323">
              <a:extLst>
                <a:ext uri="{FF2B5EF4-FFF2-40B4-BE49-F238E27FC236}">
                  <a16:creationId xmlns:a16="http://schemas.microsoft.com/office/drawing/2014/main" id="{544987DA-42F6-4C10-8D53-6501F10B4EA8}"/>
                </a:ext>
              </a:extLst>
            </p:cNvPr>
            <p:cNvGrpSpPr/>
            <p:nvPr/>
          </p:nvGrpSpPr>
          <p:grpSpPr>
            <a:xfrm>
              <a:off x="8746154" y="3970338"/>
              <a:ext cx="346030" cy="202052"/>
              <a:chOff x="11030366" y="2382953"/>
              <a:chExt cx="397040" cy="231838"/>
            </a:xfrm>
          </p:grpSpPr>
          <p:sp>
            <p:nvSpPr>
              <p:cNvPr id="325" name="Freeform 77">
                <a:extLst>
                  <a:ext uri="{FF2B5EF4-FFF2-40B4-BE49-F238E27FC236}">
                    <a16:creationId xmlns:a16="http://schemas.microsoft.com/office/drawing/2014/main" id="{5C679A87-1947-46D3-859B-75DD95DD7225}"/>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sp>
            <p:nvSpPr>
              <p:cNvPr id="326" name="Freeform 78">
                <a:extLst>
                  <a:ext uri="{FF2B5EF4-FFF2-40B4-BE49-F238E27FC236}">
                    <a16:creationId xmlns:a16="http://schemas.microsoft.com/office/drawing/2014/main" id="{3EE56CC2-C8B2-4BA2-9688-690FBDC47189}"/>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1764" dirty="0">
                  <a:solidFill>
                    <a:srgbClr val="505050"/>
                  </a:solidFill>
                  <a:latin typeface="Segoe UI Semilight"/>
                </a:endParaRPr>
              </a:p>
            </p:txBody>
          </p:sp>
        </p:grpSp>
      </p:grpSp>
      <p:grpSp>
        <p:nvGrpSpPr>
          <p:cNvPr id="12" name="Group 11">
            <a:extLst>
              <a:ext uri="{FF2B5EF4-FFF2-40B4-BE49-F238E27FC236}">
                <a16:creationId xmlns:a16="http://schemas.microsoft.com/office/drawing/2014/main" id="{A648BFE3-A31F-49D6-AAD6-9324332D8D13}"/>
              </a:ext>
            </a:extLst>
          </p:cNvPr>
          <p:cNvGrpSpPr/>
          <p:nvPr/>
        </p:nvGrpSpPr>
        <p:grpSpPr>
          <a:xfrm>
            <a:off x="2585187" y="1114405"/>
            <a:ext cx="517240" cy="517240"/>
            <a:chOff x="7483482" y="1114067"/>
            <a:chExt cx="517313" cy="517313"/>
          </a:xfrm>
        </p:grpSpPr>
        <p:sp useBgFill="1">
          <p:nvSpPr>
            <p:cNvPr id="329" name="Oval 328">
              <a:extLst>
                <a:ext uri="{FF2B5EF4-FFF2-40B4-BE49-F238E27FC236}">
                  <a16:creationId xmlns:a16="http://schemas.microsoft.com/office/drawing/2014/main" id="{D9A27D95-697F-479C-AE92-3ADF748E32CA}"/>
                </a:ext>
              </a:extLst>
            </p:cNvPr>
            <p:cNvSpPr/>
            <p:nvPr/>
          </p:nvSpPr>
          <p:spPr bwMode="auto">
            <a:xfrm rot="20280000" flipH="1">
              <a:off x="7483482" y="1114067"/>
              <a:ext cx="517313" cy="517313"/>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30" name="Group 329">
              <a:extLst>
                <a:ext uri="{FF2B5EF4-FFF2-40B4-BE49-F238E27FC236}">
                  <a16:creationId xmlns:a16="http://schemas.microsoft.com/office/drawing/2014/main" id="{0CF36B43-DE2A-43F8-B6F2-C8688A2F29B5}"/>
                </a:ext>
              </a:extLst>
            </p:cNvPr>
            <p:cNvGrpSpPr/>
            <p:nvPr/>
          </p:nvGrpSpPr>
          <p:grpSpPr>
            <a:xfrm>
              <a:off x="7598074" y="1267056"/>
              <a:ext cx="288128" cy="211334"/>
              <a:chOff x="4036202" y="3031654"/>
              <a:chExt cx="514225" cy="377173"/>
            </a:xfrm>
          </p:grpSpPr>
          <p:sp>
            <p:nvSpPr>
              <p:cNvPr id="331" name="Freeform 9">
                <a:extLst>
                  <a:ext uri="{FF2B5EF4-FFF2-40B4-BE49-F238E27FC236}">
                    <a16:creationId xmlns:a16="http://schemas.microsoft.com/office/drawing/2014/main" id="{1C315359-B1FD-4F6E-99A1-026314339942}"/>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sp>
            <p:nvSpPr>
              <p:cNvPr id="332" name="Rectangle 331">
                <a:extLst>
                  <a:ext uri="{FF2B5EF4-FFF2-40B4-BE49-F238E27FC236}">
                    <a16:creationId xmlns:a16="http://schemas.microsoft.com/office/drawing/2014/main" id="{7B1F70FE-3E41-4910-AE7C-8BD8308A33C9}"/>
                  </a:ext>
                </a:extLst>
              </p:cNvPr>
              <p:cNvSpPr/>
              <p:nvPr/>
            </p:nvSpPr>
            <p:spPr bwMode="auto">
              <a:xfrm>
                <a:off x="4203700" y="3117850"/>
                <a:ext cx="95250" cy="95250"/>
              </a:xfrm>
              <a:prstGeom prst="rect">
                <a:avLst/>
              </a:prstGeom>
              <a:noFill/>
              <a:ln>
                <a:no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4" name="Group 13">
            <a:extLst>
              <a:ext uri="{FF2B5EF4-FFF2-40B4-BE49-F238E27FC236}">
                <a16:creationId xmlns:a16="http://schemas.microsoft.com/office/drawing/2014/main" id="{55E01643-A1A5-4AFD-89EF-379A0B87D527}"/>
              </a:ext>
            </a:extLst>
          </p:cNvPr>
          <p:cNvGrpSpPr/>
          <p:nvPr/>
        </p:nvGrpSpPr>
        <p:grpSpPr>
          <a:xfrm>
            <a:off x="3409234" y="954226"/>
            <a:ext cx="517240" cy="517240"/>
            <a:chOff x="8307646" y="953865"/>
            <a:chExt cx="517313" cy="517313"/>
          </a:xfrm>
        </p:grpSpPr>
        <p:sp useBgFill="1">
          <p:nvSpPr>
            <p:cNvPr id="327" name="Oval 326">
              <a:extLst>
                <a:ext uri="{FF2B5EF4-FFF2-40B4-BE49-F238E27FC236}">
                  <a16:creationId xmlns:a16="http://schemas.microsoft.com/office/drawing/2014/main" id="{8E0B29F6-2632-417A-85F2-538D602A8F14}"/>
                </a:ext>
              </a:extLst>
            </p:cNvPr>
            <p:cNvSpPr/>
            <p:nvPr/>
          </p:nvSpPr>
          <p:spPr bwMode="auto">
            <a:xfrm flipH="1">
              <a:off x="8307646" y="953865"/>
              <a:ext cx="517313" cy="517313"/>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33" name="Group 332">
              <a:extLst>
                <a:ext uri="{FF2B5EF4-FFF2-40B4-BE49-F238E27FC236}">
                  <a16:creationId xmlns:a16="http://schemas.microsoft.com/office/drawing/2014/main" id="{5275352D-9FD5-4F81-9D1B-3F54CC0F5C61}"/>
                </a:ext>
              </a:extLst>
            </p:cNvPr>
            <p:cNvGrpSpPr/>
            <p:nvPr/>
          </p:nvGrpSpPr>
          <p:grpSpPr>
            <a:xfrm>
              <a:off x="8397705" y="1100102"/>
              <a:ext cx="337197" cy="224838"/>
              <a:chOff x="4658896" y="2838920"/>
              <a:chExt cx="854707" cy="569907"/>
            </a:xfrm>
          </p:grpSpPr>
          <p:sp>
            <p:nvSpPr>
              <p:cNvPr id="334" name="Freeform 5">
                <a:extLst>
                  <a:ext uri="{FF2B5EF4-FFF2-40B4-BE49-F238E27FC236}">
                    <a16:creationId xmlns:a16="http://schemas.microsoft.com/office/drawing/2014/main" id="{9CAD89CD-4469-4847-983D-64C2E6D9EFBC}"/>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sp>
            <p:nvSpPr>
              <p:cNvPr id="335" name="Isosceles Triangle 334">
                <a:extLst>
                  <a:ext uri="{FF2B5EF4-FFF2-40B4-BE49-F238E27FC236}">
                    <a16:creationId xmlns:a16="http://schemas.microsoft.com/office/drawing/2014/main" id="{69D7975D-D263-472C-AED0-0B15E17600DF}"/>
                  </a:ext>
                </a:extLst>
              </p:cNvPr>
              <p:cNvSpPr/>
              <p:nvPr/>
            </p:nvSpPr>
            <p:spPr bwMode="auto">
              <a:xfrm>
                <a:off x="4921250" y="2965450"/>
                <a:ext cx="169418" cy="146050"/>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5" name="Group 14">
            <a:extLst>
              <a:ext uri="{FF2B5EF4-FFF2-40B4-BE49-F238E27FC236}">
                <a16:creationId xmlns:a16="http://schemas.microsoft.com/office/drawing/2014/main" id="{7EA0084D-8248-4820-9BEF-823B0146877E}"/>
              </a:ext>
            </a:extLst>
          </p:cNvPr>
          <p:cNvGrpSpPr/>
          <p:nvPr/>
        </p:nvGrpSpPr>
        <p:grpSpPr>
          <a:xfrm>
            <a:off x="4233283" y="1114405"/>
            <a:ext cx="517240" cy="517240"/>
            <a:chOff x="9131811" y="1114067"/>
            <a:chExt cx="517313" cy="517313"/>
          </a:xfrm>
        </p:grpSpPr>
        <p:sp useBgFill="1">
          <p:nvSpPr>
            <p:cNvPr id="328" name="Oval 327">
              <a:extLst>
                <a:ext uri="{FF2B5EF4-FFF2-40B4-BE49-F238E27FC236}">
                  <a16:creationId xmlns:a16="http://schemas.microsoft.com/office/drawing/2014/main" id="{AB63B0D3-E53E-4700-9216-6BA8FF7E7426}"/>
                </a:ext>
              </a:extLst>
            </p:cNvPr>
            <p:cNvSpPr/>
            <p:nvPr/>
          </p:nvSpPr>
          <p:spPr bwMode="auto">
            <a:xfrm rot="1320000">
              <a:off x="9131811" y="1114067"/>
              <a:ext cx="517313" cy="517313"/>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36" name="Group 335">
              <a:extLst>
                <a:ext uri="{FF2B5EF4-FFF2-40B4-BE49-F238E27FC236}">
                  <a16:creationId xmlns:a16="http://schemas.microsoft.com/office/drawing/2014/main" id="{B7C25549-19FE-42C1-BFBF-CFFC35EEEF45}"/>
                </a:ext>
              </a:extLst>
            </p:cNvPr>
            <p:cNvGrpSpPr/>
            <p:nvPr/>
          </p:nvGrpSpPr>
          <p:grpSpPr>
            <a:xfrm>
              <a:off x="9305236" y="1230973"/>
              <a:ext cx="170460" cy="283501"/>
              <a:chOff x="5622072" y="3034107"/>
              <a:chExt cx="225306" cy="374720"/>
            </a:xfrm>
          </p:grpSpPr>
          <p:sp>
            <p:nvSpPr>
              <p:cNvPr id="337" name="Freeform 5">
                <a:extLst>
                  <a:ext uri="{FF2B5EF4-FFF2-40B4-BE49-F238E27FC236}">
                    <a16:creationId xmlns:a16="http://schemas.microsoft.com/office/drawing/2014/main" id="{22C4EDB9-25DF-4419-A171-653841ECB3B3}"/>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29" tIns="44815" rIns="89629" bIns="44815" numCol="1" anchor="t" anchorCtr="0" compatLnSpc="1">
                <a:prstTxWarp prst="textNoShape">
                  <a:avLst/>
                </a:prstTxWarp>
              </a:bodyPr>
              <a:lstStyle/>
              <a:p>
                <a:pPr defTabSz="896214">
                  <a:defRPr/>
                </a:pPr>
                <a:endParaRPr lang="en-US" sz="1764" kern="0" dirty="0">
                  <a:solidFill>
                    <a:sysClr val="windowText" lastClr="000000"/>
                  </a:solidFill>
                  <a:latin typeface="Segoe UI Semilight"/>
                </a:endParaRPr>
              </a:p>
            </p:txBody>
          </p:sp>
          <p:sp>
            <p:nvSpPr>
              <p:cNvPr id="338" name="Oval 337">
                <a:extLst>
                  <a:ext uri="{FF2B5EF4-FFF2-40B4-BE49-F238E27FC236}">
                    <a16:creationId xmlns:a16="http://schemas.microsoft.com/office/drawing/2014/main" id="{49E0CDD8-EBB5-4401-984F-C16F4FDFF1F7}"/>
                  </a:ext>
                </a:extLst>
              </p:cNvPr>
              <p:cNvSpPr/>
              <p:nvPr/>
            </p:nvSpPr>
            <p:spPr bwMode="auto">
              <a:xfrm>
                <a:off x="5670550" y="3124200"/>
                <a:ext cx="107950" cy="10795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useBgFill="1">
        <p:nvSpPr>
          <p:cNvPr id="339" name="Intelligent Cloud">
            <a:extLst>
              <a:ext uri="{FF2B5EF4-FFF2-40B4-BE49-F238E27FC236}">
                <a16:creationId xmlns:a16="http://schemas.microsoft.com/office/drawing/2014/main" id="{9C57B8D7-ECC4-44BE-8D0B-35A52D01FA8D}"/>
              </a:ext>
            </a:extLst>
          </p:cNvPr>
          <p:cNvSpPr txBox="1"/>
          <p:nvPr/>
        </p:nvSpPr>
        <p:spPr>
          <a:xfrm>
            <a:off x="2338061" y="5864160"/>
            <a:ext cx="2662804" cy="677354"/>
          </a:xfrm>
          <a:prstGeom prst="rect">
            <a:avLst/>
          </a:prstGeom>
        </p:spPr>
        <p:txBody>
          <a:bodyPr wrap="none" lIns="179260" tIns="143408" rIns="179260" bIns="143408" rtlCol="0">
            <a:spAutoFit/>
          </a:bodyPr>
          <a:lstStyle/>
          <a:p>
            <a:pPr algn="ctr" defTabSz="896214">
              <a:lnSpc>
                <a:spcPct val="90000"/>
              </a:lnSpc>
              <a:spcAft>
                <a:spcPts val="587"/>
              </a:spcAft>
              <a:defRPr/>
            </a:pPr>
            <a:r>
              <a:rPr lang="en-US" sz="2745" kern="0" spc="-49" dirty="0">
                <a:latin typeface="Segoe UI Semilight" panose="020B0402040204020203" pitchFamily="34" charset="0"/>
                <a:cs typeface="Segoe UI Semilight" panose="020B0402040204020203" pitchFamily="34" charset="0"/>
              </a:rPr>
              <a:t>Intelligent Edge</a:t>
            </a:r>
          </a:p>
        </p:txBody>
      </p:sp>
      <p:sp>
        <p:nvSpPr>
          <p:cNvPr id="2" name="TextBox 1">
            <a:extLst>
              <a:ext uri="{FF2B5EF4-FFF2-40B4-BE49-F238E27FC236}">
                <a16:creationId xmlns:a16="http://schemas.microsoft.com/office/drawing/2014/main" id="{306D1D38-1EAD-4366-AE2D-396FC49659B3}"/>
              </a:ext>
            </a:extLst>
          </p:cNvPr>
          <p:cNvSpPr txBox="1"/>
          <p:nvPr/>
        </p:nvSpPr>
        <p:spPr>
          <a:xfrm>
            <a:off x="7291450" y="2234399"/>
            <a:ext cx="4706667" cy="2800543"/>
          </a:xfrm>
          <a:prstGeom prst="rect">
            <a:avLst/>
          </a:prstGeom>
          <a:noFill/>
        </p:spPr>
        <p:txBody>
          <a:bodyPr wrap="square" lIns="186521" tIns="149217" rIns="186521" bIns="149217" rtlCol="0">
            <a:spAutoFit/>
          </a:bodyPr>
          <a:lstStyle/>
          <a:p>
            <a:pPr>
              <a:lnSpc>
                <a:spcPct val="90000"/>
              </a:lnSpc>
              <a:spcAft>
                <a:spcPts val="612"/>
              </a:spcAft>
            </a:pPr>
            <a:r>
              <a:rPr lang="en-US" sz="2448" dirty="0"/>
              <a:t>Our strategy is to build best-in-class </a:t>
            </a:r>
            <a:r>
              <a:rPr lang="en-US" sz="2448" dirty="0">
                <a:latin typeface="Segoe UI Semibold" panose="020B0702040204020203" pitchFamily="34" charset="0"/>
                <a:cs typeface="Segoe UI Semibold" panose="020B0702040204020203" pitchFamily="34" charset="0"/>
              </a:rPr>
              <a:t>platforms</a:t>
            </a:r>
            <a:r>
              <a:rPr lang="en-US" sz="2448" dirty="0"/>
              <a:t> and productivity services for an </a:t>
            </a:r>
            <a:r>
              <a:rPr lang="en-US" sz="2448" dirty="0">
                <a:latin typeface="Segoe UI Semibold" panose="020B0702040204020203" pitchFamily="34" charset="0"/>
                <a:cs typeface="Segoe UI Semibold" panose="020B0702040204020203" pitchFamily="34" charset="0"/>
              </a:rPr>
              <a:t>intelligent cloud and an intelligent edge</a:t>
            </a:r>
            <a:r>
              <a:rPr lang="en-US" sz="2448" dirty="0"/>
              <a:t> infused with </a:t>
            </a:r>
            <a:r>
              <a:rPr lang="en-US" sz="2448" dirty="0">
                <a:latin typeface="Segoe UI Semibold" panose="020B0702040204020203" pitchFamily="34" charset="0"/>
                <a:cs typeface="Segoe UI Semibold" panose="020B0702040204020203" pitchFamily="34" charset="0"/>
              </a:rPr>
              <a:t>artificial intelligence </a:t>
            </a:r>
            <a:r>
              <a:rPr lang="en-US" sz="2448" dirty="0"/>
              <a:t>(“AI”).</a:t>
            </a:r>
          </a:p>
          <a:p>
            <a:pPr>
              <a:lnSpc>
                <a:spcPct val="90000"/>
              </a:lnSpc>
              <a:spcAft>
                <a:spcPts val="612"/>
              </a:spcAft>
            </a:pPr>
            <a:endParaRPr lang="en-GB" sz="2448"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14335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100"/>
                                  </p:stCondLst>
                                  <p:childTnLst>
                                    <p:set>
                                      <p:cBhvr>
                                        <p:cTn id="6" dur="1" fill="hold">
                                          <p:stCondLst>
                                            <p:cond delay="499"/>
                                          </p:stCondLst>
                                        </p:cTn>
                                        <p:tgtEl>
                                          <p:spTgt spid="20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204"/>
                                        </p:tgtEl>
                                      </p:cBhvr>
                                      <p:by x="0" y="0"/>
                                    </p:animScale>
                                  </p:childTnLst>
                                </p:cTn>
                              </p:par>
                              <p:par>
                                <p:cTn id="9" presetID="1" presetClass="entr" presetSubtype="0" fill="hold" grpId="0" nodeType="withEffect">
                                  <p:stCondLst>
                                    <p:cond delay="0"/>
                                  </p:stCondLst>
                                  <p:childTnLst>
                                    <p:set>
                                      <p:cBhvr>
                                        <p:cTn id="10" dur="1" fill="hold">
                                          <p:stCondLst>
                                            <p:cond delay="499"/>
                                          </p:stCondLst>
                                        </p:cTn>
                                        <p:tgtEl>
                                          <p:spTgt spid="203"/>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500" fill="hold"/>
                                        <p:tgtEl>
                                          <p:spTgt spid="203"/>
                                        </p:tgtEl>
                                      </p:cBhvr>
                                      <p:by x="0" y="0"/>
                                    </p:animScale>
                                  </p:childTnLst>
                                </p:cTn>
                              </p:par>
                              <p:par>
                                <p:cTn id="13" presetID="10" presetClass="entr" presetSubtype="0" fill="hold" grpId="0" nodeType="withEffect">
                                  <p:stCondLst>
                                    <p:cond delay="800"/>
                                  </p:stCondLst>
                                  <p:childTnLst>
                                    <p:set>
                                      <p:cBhvr>
                                        <p:cTn id="14" dur="1" fill="hold">
                                          <p:stCondLst>
                                            <p:cond delay="0"/>
                                          </p:stCondLst>
                                        </p:cTn>
                                        <p:tgtEl>
                                          <p:spTgt spid="199"/>
                                        </p:tgtEl>
                                        <p:attrNameLst>
                                          <p:attrName>style.visibility</p:attrName>
                                        </p:attrNameLst>
                                      </p:cBhvr>
                                      <p:to>
                                        <p:strVal val="visible"/>
                                      </p:to>
                                    </p:set>
                                    <p:animEffect transition="in" filter="fade">
                                      <p:cBhvr>
                                        <p:cTn id="15" dur="500"/>
                                        <p:tgtEl>
                                          <p:spTgt spid="199"/>
                                        </p:tgtEl>
                                      </p:cBhvr>
                                    </p:animEffect>
                                  </p:childTnLst>
                                </p:cTn>
                              </p:par>
                              <p:par>
                                <p:cTn id="16" presetID="42" presetClass="path" presetSubtype="0" decel="100000" fill="hold" grpId="1" nodeType="withEffect">
                                  <p:stCondLst>
                                    <p:cond delay="800"/>
                                  </p:stCondLst>
                                  <p:childTnLst>
                                    <p:animMotion origin="layout" path="M -1.875E-6 4.07407E-6 L -1.875E-6 0.02569 " pathEditMode="relative" rAng="0" ptsTypes="AA">
                                      <p:cBhvr>
                                        <p:cTn id="17" dur="500" spd="-100000" fill="hold"/>
                                        <p:tgtEl>
                                          <p:spTgt spid="199"/>
                                        </p:tgtEl>
                                        <p:attrNameLst>
                                          <p:attrName>ppt_x</p:attrName>
                                          <p:attrName>ppt_y</p:attrName>
                                        </p:attrNameLst>
                                      </p:cBhvr>
                                      <p:rCtr x="0" y="1273"/>
                                    </p:animMotion>
                                  </p:childTnLst>
                                </p:cTn>
                              </p:par>
                              <p:par>
                                <p:cTn id="18" presetID="1" presetClass="entr" presetSubtype="0" fill="hold" grpId="0" nodeType="withEffect">
                                  <p:stCondLst>
                                    <p:cond delay="300"/>
                                  </p:stCondLst>
                                  <p:childTnLst>
                                    <p:set>
                                      <p:cBhvr>
                                        <p:cTn id="19" dur="1" fill="hold">
                                          <p:stCondLst>
                                            <p:cond delay="299"/>
                                          </p:stCondLst>
                                        </p:cTn>
                                        <p:tgtEl>
                                          <p:spTgt spid="198"/>
                                        </p:tgtEl>
                                        <p:attrNameLst>
                                          <p:attrName>style.visibility</p:attrName>
                                        </p:attrNameLst>
                                      </p:cBhvr>
                                      <p:to>
                                        <p:strVal val="visible"/>
                                      </p:to>
                                    </p:set>
                                  </p:childTnLst>
                                </p:cTn>
                              </p:par>
                              <p:par>
                                <p:cTn id="20" presetID="6" presetClass="emph" presetSubtype="0" accel="100000" autoRev="1" fill="hold" grpId="1" nodeType="withEffect">
                                  <p:stCondLst>
                                    <p:cond delay="300"/>
                                  </p:stCondLst>
                                  <p:childTnLst>
                                    <p:animScale>
                                      <p:cBhvr>
                                        <p:cTn id="21" dur="300" fill="hold"/>
                                        <p:tgtEl>
                                          <p:spTgt spid="198"/>
                                        </p:tgtEl>
                                      </p:cBhvr>
                                      <p:by x="0" y="0"/>
                                    </p:animScale>
                                  </p:childTnLst>
                                </p:cTn>
                              </p:par>
                              <p:par>
                                <p:cTn id="22" presetID="1" presetClass="entr" presetSubtype="0" fill="hold" nodeType="withEffect">
                                  <p:stCondLst>
                                    <p:cond delay="800"/>
                                  </p:stCondLst>
                                  <p:childTnLst>
                                    <p:set>
                                      <p:cBhvr>
                                        <p:cTn id="23" dur="1" fill="hold">
                                          <p:stCondLst>
                                            <p:cond delay="299"/>
                                          </p:stCondLst>
                                        </p:cTn>
                                        <p:tgtEl>
                                          <p:spTgt spid="211"/>
                                        </p:tgtEl>
                                        <p:attrNameLst>
                                          <p:attrName>style.visibility</p:attrName>
                                        </p:attrNameLst>
                                      </p:cBhvr>
                                      <p:to>
                                        <p:strVal val="visible"/>
                                      </p:to>
                                    </p:set>
                                  </p:childTnLst>
                                </p:cTn>
                              </p:par>
                              <p:par>
                                <p:cTn id="24" presetID="6" presetClass="emph" presetSubtype="0" accel="100000" autoRev="1" fill="hold" nodeType="withEffect">
                                  <p:stCondLst>
                                    <p:cond delay="800"/>
                                  </p:stCondLst>
                                  <p:childTnLst>
                                    <p:animScale>
                                      <p:cBhvr>
                                        <p:cTn id="25" dur="300" fill="hold"/>
                                        <p:tgtEl>
                                          <p:spTgt spid="211"/>
                                        </p:tgtEl>
                                      </p:cBhvr>
                                      <p:by x="0" y="0"/>
                                    </p:animScale>
                                  </p:childTnLst>
                                </p:cTn>
                              </p:par>
                              <p:par>
                                <p:cTn id="26" presetID="1" presetClass="entr" presetSubtype="0" fill="hold" nodeType="withEffect">
                                  <p:stCondLst>
                                    <p:cond delay="800"/>
                                  </p:stCondLst>
                                  <p:childTnLst>
                                    <p:set>
                                      <p:cBhvr>
                                        <p:cTn id="27" dur="1" fill="hold">
                                          <p:stCondLst>
                                            <p:cond delay="299"/>
                                          </p:stCondLst>
                                        </p:cTn>
                                        <p:tgtEl>
                                          <p:spTgt spid="232"/>
                                        </p:tgtEl>
                                        <p:attrNameLst>
                                          <p:attrName>style.visibility</p:attrName>
                                        </p:attrNameLst>
                                      </p:cBhvr>
                                      <p:to>
                                        <p:strVal val="visible"/>
                                      </p:to>
                                    </p:set>
                                  </p:childTnLst>
                                </p:cTn>
                              </p:par>
                              <p:par>
                                <p:cTn id="28" presetID="6" presetClass="emph" presetSubtype="0" accel="100000" autoRev="1" fill="hold" nodeType="withEffect">
                                  <p:stCondLst>
                                    <p:cond delay="800"/>
                                  </p:stCondLst>
                                  <p:childTnLst>
                                    <p:animScale>
                                      <p:cBhvr>
                                        <p:cTn id="29" dur="300" fill="hold"/>
                                        <p:tgtEl>
                                          <p:spTgt spid="232"/>
                                        </p:tgtEl>
                                      </p:cBhvr>
                                      <p:by x="0" y="0"/>
                                    </p:animScale>
                                  </p:childTnLst>
                                </p:cTn>
                              </p:par>
                              <p:par>
                                <p:cTn id="30" presetID="1" presetClass="entr" presetSubtype="0" fill="hold" nodeType="withEffect">
                                  <p:stCondLst>
                                    <p:cond delay="800"/>
                                  </p:stCondLst>
                                  <p:childTnLst>
                                    <p:set>
                                      <p:cBhvr>
                                        <p:cTn id="31" dur="1" fill="hold">
                                          <p:stCondLst>
                                            <p:cond delay="299"/>
                                          </p:stCondLst>
                                        </p:cTn>
                                        <p:tgtEl>
                                          <p:spTgt spid="241"/>
                                        </p:tgtEl>
                                        <p:attrNameLst>
                                          <p:attrName>style.visibility</p:attrName>
                                        </p:attrNameLst>
                                      </p:cBhvr>
                                      <p:to>
                                        <p:strVal val="visible"/>
                                      </p:to>
                                    </p:set>
                                  </p:childTnLst>
                                </p:cTn>
                              </p:par>
                              <p:par>
                                <p:cTn id="32" presetID="6" presetClass="emph" presetSubtype="0" accel="100000" autoRev="1" fill="hold" nodeType="withEffect">
                                  <p:stCondLst>
                                    <p:cond delay="800"/>
                                  </p:stCondLst>
                                  <p:childTnLst>
                                    <p:animScale>
                                      <p:cBhvr>
                                        <p:cTn id="33" dur="300" fill="hold"/>
                                        <p:tgtEl>
                                          <p:spTgt spid="241"/>
                                        </p:tgtEl>
                                      </p:cBhvr>
                                      <p:by x="0" y="0"/>
                                    </p:animScale>
                                  </p:childTnLst>
                                </p:cTn>
                              </p:par>
                              <p:par>
                                <p:cTn id="34" presetID="1" presetClass="entr" presetSubtype="0" fill="hold" nodeType="withEffect">
                                  <p:stCondLst>
                                    <p:cond delay="800"/>
                                  </p:stCondLst>
                                  <p:childTnLst>
                                    <p:set>
                                      <p:cBhvr>
                                        <p:cTn id="35" dur="1" fill="hold">
                                          <p:stCondLst>
                                            <p:cond delay="299"/>
                                          </p:stCondLst>
                                        </p:cTn>
                                        <p:tgtEl>
                                          <p:spTgt spid="238"/>
                                        </p:tgtEl>
                                        <p:attrNameLst>
                                          <p:attrName>style.visibility</p:attrName>
                                        </p:attrNameLst>
                                      </p:cBhvr>
                                      <p:to>
                                        <p:strVal val="visible"/>
                                      </p:to>
                                    </p:set>
                                  </p:childTnLst>
                                </p:cTn>
                              </p:par>
                              <p:par>
                                <p:cTn id="36" presetID="6" presetClass="emph" presetSubtype="0" accel="100000" autoRev="1" fill="hold" nodeType="withEffect">
                                  <p:stCondLst>
                                    <p:cond delay="800"/>
                                  </p:stCondLst>
                                  <p:childTnLst>
                                    <p:animScale>
                                      <p:cBhvr>
                                        <p:cTn id="37" dur="300" fill="hold"/>
                                        <p:tgtEl>
                                          <p:spTgt spid="238"/>
                                        </p:tgtEl>
                                      </p:cBhvr>
                                      <p:by x="0" y="0"/>
                                    </p:animScale>
                                  </p:childTnLst>
                                </p:cTn>
                              </p:par>
                              <p:par>
                                <p:cTn id="38" presetID="1" presetClass="entr" presetSubtype="0" fill="hold" nodeType="withEffect">
                                  <p:stCondLst>
                                    <p:cond delay="800"/>
                                  </p:stCondLst>
                                  <p:childTnLst>
                                    <p:set>
                                      <p:cBhvr>
                                        <p:cTn id="39" dur="1" fill="hold">
                                          <p:stCondLst>
                                            <p:cond delay="299"/>
                                          </p:stCondLst>
                                        </p:cTn>
                                        <p:tgtEl>
                                          <p:spTgt spid="205"/>
                                        </p:tgtEl>
                                        <p:attrNameLst>
                                          <p:attrName>style.visibility</p:attrName>
                                        </p:attrNameLst>
                                      </p:cBhvr>
                                      <p:to>
                                        <p:strVal val="visible"/>
                                      </p:to>
                                    </p:set>
                                  </p:childTnLst>
                                </p:cTn>
                              </p:par>
                              <p:par>
                                <p:cTn id="40" presetID="6" presetClass="emph" presetSubtype="0" accel="100000" autoRev="1" fill="hold" nodeType="withEffect">
                                  <p:stCondLst>
                                    <p:cond delay="800"/>
                                  </p:stCondLst>
                                  <p:childTnLst>
                                    <p:animScale>
                                      <p:cBhvr>
                                        <p:cTn id="41" dur="300" fill="hold"/>
                                        <p:tgtEl>
                                          <p:spTgt spid="205"/>
                                        </p:tgtEl>
                                      </p:cBhvr>
                                      <p:by x="0" y="0"/>
                                    </p:animScale>
                                  </p:childTnLst>
                                </p:cTn>
                              </p:par>
                              <p:par>
                                <p:cTn id="42" presetID="1" presetClass="entr" presetSubtype="0" fill="hold" nodeType="withEffect">
                                  <p:stCondLst>
                                    <p:cond delay="800"/>
                                  </p:stCondLst>
                                  <p:childTnLst>
                                    <p:set>
                                      <p:cBhvr>
                                        <p:cTn id="43" dur="1" fill="hold">
                                          <p:stCondLst>
                                            <p:cond delay="299"/>
                                          </p:stCondLst>
                                        </p:cTn>
                                        <p:tgtEl>
                                          <p:spTgt spid="322"/>
                                        </p:tgtEl>
                                        <p:attrNameLst>
                                          <p:attrName>style.visibility</p:attrName>
                                        </p:attrNameLst>
                                      </p:cBhvr>
                                      <p:to>
                                        <p:strVal val="visible"/>
                                      </p:to>
                                    </p:set>
                                  </p:childTnLst>
                                </p:cTn>
                              </p:par>
                              <p:par>
                                <p:cTn id="44" presetID="6" presetClass="emph" presetSubtype="0" accel="100000" autoRev="1" fill="hold" nodeType="withEffect">
                                  <p:stCondLst>
                                    <p:cond delay="800"/>
                                  </p:stCondLst>
                                  <p:childTnLst>
                                    <p:animScale>
                                      <p:cBhvr>
                                        <p:cTn id="45" dur="300" fill="hold"/>
                                        <p:tgtEl>
                                          <p:spTgt spid="322"/>
                                        </p:tgtEl>
                                      </p:cBhvr>
                                      <p:by x="0" y="0"/>
                                    </p:animScale>
                                  </p:childTnLst>
                                </p:cTn>
                              </p:par>
                              <p:par>
                                <p:cTn id="46" presetID="1" presetClass="entr" presetSubtype="0" fill="hold" nodeType="withEffect">
                                  <p:stCondLst>
                                    <p:cond delay="800"/>
                                  </p:stCondLst>
                                  <p:childTnLst>
                                    <p:set>
                                      <p:cBhvr>
                                        <p:cTn id="47" dur="1" fill="hold">
                                          <p:stCondLst>
                                            <p:cond delay="299"/>
                                          </p:stCondLst>
                                        </p:cTn>
                                        <p:tgtEl>
                                          <p:spTgt spid="316"/>
                                        </p:tgtEl>
                                        <p:attrNameLst>
                                          <p:attrName>style.visibility</p:attrName>
                                        </p:attrNameLst>
                                      </p:cBhvr>
                                      <p:to>
                                        <p:strVal val="visible"/>
                                      </p:to>
                                    </p:set>
                                  </p:childTnLst>
                                </p:cTn>
                              </p:par>
                              <p:par>
                                <p:cTn id="48" presetID="6" presetClass="emph" presetSubtype="0" accel="100000" autoRev="1" fill="hold" nodeType="withEffect">
                                  <p:stCondLst>
                                    <p:cond delay="800"/>
                                  </p:stCondLst>
                                  <p:childTnLst>
                                    <p:animScale>
                                      <p:cBhvr>
                                        <p:cTn id="49" dur="300" fill="hold"/>
                                        <p:tgtEl>
                                          <p:spTgt spid="316"/>
                                        </p:tgtEl>
                                      </p:cBhvr>
                                      <p:by x="0" y="0"/>
                                    </p:animScale>
                                  </p:childTnLst>
                                </p:cTn>
                              </p:par>
                              <p:par>
                                <p:cTn id="50" presetID="1" presetClass="entr" presetSubtype="0" fill="hold" nodeType="withEffect">
                                  <p:stCondLst>
                                    <p:cond delay="800"/>
                                  </p:stCondLst>
                                  <p:childTnLst>
                                    <p:set>
                                      <p:cBhvr>
                                        <p:cTn id="51" dur="1" fill="hold">
                                          <p:stCondLst>
                                            <p:cond delay="299"/>
                                          </p:stCondLst>
                                        </p:cTn>
                                        <p:tgtEl>
                                          <p:spTgt spid="319"/>
                                        </p:tgtEl>
                                        <p:attrNameLst>
                                          <p:attrName>style.visibility</p:attrName>
                                        </p:attrNameLst>
                                      </p:cBhvr>
                                      <p:to>
                                        <p:strVal val="visible"/>
                                      </p:to>
                                    </p:set>
                                  </p:childTnLst>
                                </p:cTn>
                              </p:par>
                              <p:par>
                                <p:cTn id="52" presetID="6" presetClass="emph" presetSubtype="0" accel="100000" autoRev="1" fill="hold" nodeType="withEffect">
                                  <p:stCondLst>
                                    <p:cond delay="800"/>
                                  </p:stCondLst>
                                  <p:childTnLst>
                                    <p:animScale>
                                      <p:cBhvr>
                                        <p:cTn id="53" dur="300" fill="hold"/>
                                        <p:tgtEl>
                                          <p:spTgt spid="319"/>
                                        </p:tgtEl>
                                      </p:cBhvr>
                                      <p:by x="0" y="0"/>
                                    </p:animScale>
                                  </p:childTnLst>
                                </p:cTn>
                              </p:par>
                              <p:par>
                                <p:cTn id="54" presetID="1" presetClass="entr" presetSubtype="0" fill="hold" nodeType="withEffect">
                                  <p:stCondLst>
                                    <p:cond delay="800"/>
                                  </p:stCondLst>
                                  <p:childTnLst>
                                    <p:set>
                                      <p:cBhvr>
                                        <p:cTn id="55" dur="1" fill="hold">
                                          <p:stCondLst>
                                            <p:cond delay="299"/>
                                          </p:stCondLst>
                                        </p:cTn>
                                        <p:tgtEl>
                                          <p:spTgt spid="313"/>
                                        </p:tgtEl>
                                        <p:attrNameLst>
                                          <p:attrName>style.visibility</p:attrName>
                                        </p:attrNameLst>
                                      </p:cBhvr>
                                      <p:to>
                                        <p:strVal val="visible"/>
                                      </p:to>
                                    </p:set>
                                  </p:childTnLst>
                                </p:cTn>
                              </p:par>
                              <p:par>
                                <p:cTn id="56" presetID="6" presetClass="emph" presetSubtype="0" accel="100000" autoRev="1" fill="hold" nodeType="withEffect">
                                  <p:stCondLst>
                                    <p:cond delay="800"/>
                                  </p:stCondLst>
                                  <p:childTnLst>
                                    <p:animScale>
                                      <p:cBhvr>
                                        <p:cTn id="57" dur="300" fill="hold"/>
                                        <p:tgtEl>
                                          <p:spTgt spid="313"/>
                                        </p:tgtEl>
                                      </p:cBhvr>
                                      <p:by x="0" y="0"/>
                                    </p:animScale>
                                  </p:childTnLst>
                                </p:cTn>
                              </p:par>
                              <p:par>
                                <p:cTn id="58" presetID="1" presetClass="entr" presetSubtype="0" fill="hold" nodeType="withEffect">
                                  <p:stCondLst>
                                    <p:cond delay="800"/>
                                  </p:stCondLst>
                                  <p:childTnLst>
                                    <p:set>
                                      <p:cBhvr>
                                        <p:cTn id="59" dur="1" fill="hold">
                                          <p:stCondLst>
                                            <p:cond delay="299"/>
                                          </p:stCondLst>
                                        </p:cTn>
                                        <p:tgtEl>
                                          <p:spTgt spid="220"/>
                                        </p:tgtEl>
                                        <p:attrNameLst>
                                          <p:attrName>style.visibility</p:attrName>
                                        </p:attrNameLst>
                                      </p:cBhvr>
                                      <p:to>
                                        <p:strVal val="visible"/>
                                      </p:to>
                                    </p:set>
                                  </p:childTnLst>
                                </p:cTn>
                              </p:par>
                              <p:par>
                                <p:cTn id="60" presetID="6" presetClass="emph" presetSubtype="0" accel="100000" autoRev="1" fill="hold" nodeType="withEffect">
                                  <p:stCondLst>
                                    <p:cond delay="800"/>
                                  </p:stCondLst>
                                  <p:childTnLst>
                                    <p:animScale>
                                      <p:cBhvr>
                                        <p:cTn id="61" dur="300" fill="hold"/>
                                        <p:tgtEl>
                                          <p:spTgt spid="220"/>
                                        </p:tgtEl>
                                      </p:cBhvr>
                                      <p:by x="0" y="0"/>
                                    </p:animScale>
                                  </p:childTnLst>
                                </p:cTn>
                              </p:par>
                              <p:par>
                                <p:cTn id="62" presetID="1" presetClass="entr" presetSubtype="0" fill="hold" nodeType="withEffect">
                                  <p:stCondLst>
                                    <p:cond delay="800"/>
                                  </p:stCondLst>
                                  <p:childTnLst>
                                    <p:set>
                                      <p:cBhvr>
                                        <p:cTn id="63" dur="1" fill="hold">
                                          <p:stCondLst>
                                            <p:cond delay="299"/>
                                          </p:stCondLst>
                                        </p:cTn>
                                        <p:tgtEl>
                                          <p:spTgt spid="235"/>
                                        </p:tgtEl>
                                        <p:attrNameLst>
                                          <p:attrName>style.visibility</p:attrName>
                                        </p:attrNameLst>
                                      </p:cBhvr>
                                      <p:to>
                                        <p:strVal val="visible"/>
                                      </p:to>
                                    </p:set>
                                  </p:childTnLst>
                                </p:cTn>
                              </p:par>
                              <p:par>
                                <p:cTn id="64" presetID="6" presetClass="emph" presetSubtype="0" accel="100000" autoRev="1" fill="hold" nodeType="withEffect">
                                  <p:stCondLst>
                                    <p:cond delay="800"/>
                                  </p:stCondLst>
                                  <p:childTnLst>
                                    <p:animScale>
                                      <p:cBhvr>
                                        <p:cTn id="65" dur="300" fill="hold"/>
                                        <p:tgtEl>
                                          <p:spTgt spid="235"/>
                                        </p:tgtEl>
                                      </p:cBhvr>
                                      <p:by x="0" y="0"/>
                                    </p:animScale>
                                  </p:childTnLst>
                                </p:cTn>
                              </p:par>
                              <p:par>
                                <p:cTn id="66" presetID="1" presetClass="entr" presetSubtype="0" fill="hold" nodeType="withEffect">
                                  <p:stCondLst>
                                    <p:cond delay="800"/>
                                  </p:stCondLst>
                                  <p:childTnLst>
                                    <p:set>
                                      <p:cBhvr>
                                        <p:cTn id="67" dur="1" fill="hold">
                                          <p:stCondLst>
                                            <p:cond delay="299"/>
                                          </p:stCondLst>
                                        </p:cTn>
                                        <p:tgtEl>
                                          <p:spTgt spid="229"/>
                                        </p:tgtEl>
                                        <p:attrNameLst>
                                          <p:attrName>style.visibility</p:attrName>
                                        </p:attrNameLst>
                                      </p:cBhvr>
                                      <p:to>
                                        <p:strVal val="visible"/>
                                      </p:to>
                                    </p:set>
                                  </p:childTnLst>
                                </p:cTn>
                              </p:par>
                              <p:par>
                                <p:cTn id="68" presetID="6" presetClass="emph" presetSubtype="0" accel="100000" autoRev="1" fill="hold" nodeType="withEffect">
                                  <p:stCondLst>
                                    <p:cond delay="800"/>
                                  </p:stCondLst>
                                  <p:childTnLst>
                                    <p:animScale>
                                      <p:cBhvr>
                                        <p:cTn id="69" dur="300" fill="hold"/>
                                        <p:tgtEl>
                                          <p:spTgt spid="229"/>
                                        </p:tgtEl>
                                      </p:cBhvr>
                                      <p:by x="0" y="0"/>
                                    </p:animScale>
                                  </p:childTnLst>
                                </p:cTn>
                              </p:par>
                              <p:par>
                                <p:cTn id="70" presetID="1" presetClass="entr" presetSubtype="0" fill="hold" nodeType="withEffect">
                                  <p:stCondLst>
                                    <p:cond delay="800"/>
                                  </p:stCondLst>
                                  <p:childTnLst>
                                    <p:set>
                                      <p:cBhvr>
                                        <p:cTn id="71" dur="1" fill="hold">
                                          <p:stCondLst>
                                            <p:cond delay="299"/>
                                          </p:stCondLst>
                                        </p:cTn>
                                        <p:tgtEl>
                                          <p:spTgt spid="217"/>
                                        </p:tgtEl>
                                        <p:attrNameLst>
                                          <p:attrName>style.visibility</p:attrName>
                                        </p:attrNameLst>
                                      </p:cBhvr>
                                      <p:to>
                                        <p:strVal val="visible"/>
                                      </p:to>
                                    </p:set>
                                  </p:childTnLst>
                                </p:cTn>
                              </p:par>
                              <p:par>
                                <p:cTn id="72" presetID="6" presetClass="emph" presetSubtype="0" accel="100000" autoRev="1" fill="hold" nodeType="withEffect">
                                  <p:stCondLst>
                                    <p:cond delay="800"/>
                                  </p:stCondLst>
                                  <p:childTnLst>
                                    <p:animScale>
                                      <p:cBhvr>
                                        <p:cTn id="73" dur="300" fill="hold"/>
                                        <p:tgtEl>
                                          <p:spTgt spid="217"/>
                                        </p:tgtEl>
                                      </p:cBhvr>
                                      <p:by x="0" y="0"/>
                                    </p:animScale>
                                  </p:childTnLst>
                                </p:cTn>
                              </p:par>
                              <p:par>
                                <p:cTn id="74" presetID="1" presetClass="entr" presetSubtype="0" fill="hold" nodeType="withEffect">
                                  <p:stCondLst>
                                    <p:cond delay="800"/>
                                  </p:stCondLst>
                                  <p:childTnLst>
                                    <p:set>
                                      <p:cBhvr>
                                        <p:cTn id="75" dur="1" fill="hold">
                                          <p:stCondLst>
                                            <p:cond delay="299"/>
                                          </p:stCondLst>
                                        </p:cTn>
                                        <p:tgtEl>
                                          <p:spTgt spid="214"/>
                                        </p:tgtEl>
                                        <p:attrNameLst>
                                          <p:attrName>style.visibility</p:attrName>
                                        </p:attrNameLst>
                                      </p:cBhvr>
                                      <p:to>
                                        <p:strVal val="visible"/>
                                      </p:to>
                                    </p:set>
                                  </p:childTnLst>
                                </p:cTn>
                              </p:par>
                              <p:par>
                                <p:cTn id="76" presetID="6" presetClass="emph" presetSubtype="0" accel="100000" autoRev="1" fill="hold" nodeType="withEffect">
                                  <p:stCondLst>
                                    <p:cond delay="800"/>
                                  </p:stCondLst>
                                  <p:childTnLst>
                                    <p:animScale>
                                      <p:cBhvr>
                                        <p:cTn id="77" dur="300" fill="hold"/>
                                        <p:tgtEl>
                                          <p:spTgt spid="214"/>
                                        </p:tgtEl>
                                      </p:cBhvr>
                                      <p:by x="0" y="0"/>
                                    </p:animScale>
                                  </p:childTnLst>
                                </p:cTn>
                              </p:par>
                              <p:par>
                                <p:cTn id="78" presetID="1" presetClass="entr" presetSubtype="0" fill="hold" nodeType="withEffect">
                                  <p:stCondLst>
                                    <p:cond delay="800"/>
                                  </p:stCondLst>
                                  <p:childTnLst>
                                    <p:set>
                                      <p:cBhvr>
                                        <p:cTn id="79" dur="1" fill="hold">
                                          <p:stCondLst>
                                            <p:cond delay="299"/>
                                          </p:stCondLst>
                                        </p:cTn>
                                        <p:tgtEl>
                                          <p:spTgt spid="283"/>
                                        </p:tgtEl>
                                        <p:attrNameLst>
                                          <p:attrName>style.visibility</p:attrName>
                                        </p:attrNameLst>
                                      </p:cBhvr>
                                      <p:to>
                                        <p:strVal val="visible"/>
                                      </p:to>
                                    </p:set>
                                  </p:childTnLst>
                                </p:cTn>
                              </p:par>
                              <p:par>
                                <p:cTn id="80" presetID="6" presetClass="emph" presetSubtype="0" accel="100000" autoRev="1" fill="hold" nodeType="withEffect">
                                  <p:stCondLst>
                                    <p:cond delay="800"/>
                                  </p:stCondLst>
                                  <p:childTnLst>
                                    <p:animScale>
                                      <p:cBhvr>
                                        <p:cTn id="81" dur="300" fill="hold"/>
                                        <p:tgtEl>
                                          <p:spTgt spid="283"/>
                                        </p:tgtEl>
                                      </p:cBhvr>
                                      <p:by x="0" y="0"/>
                                    </p:animScale>
                                  </p:childTnLst>
                                </p:cTn>
                              </p:par>
                              <p:par>
                                <p:cTn id="82" presetID="1" presetClass="entr" presetSubtype="0" fill="hold" nodeType="withEffect">
                                  <p:stCondLst>
                                    <p:cond delay="800"/>
                                  </p:stCondLst>
                                  <p:childTnLst>
                                    <p:set>
                                      <p:cBhvr>
                                        <p:cTn id="83" dur="1" fill="hold">
                                          <p:stCondLst>
                                            <p:cond delay="299"/>
                                          </p:stCondLst>
                                        </p:cTn>
                                        <p:tgtEl>
                                          <p:spTgt spid="305"/>
                                        </p:tgtEl>
                                        <p:attrNameLst>
                                          <p:attrName>style.visibility</p:attrName>
                                        </p:attrNameLst>
                                      </p:cBhvr>
                                      <p:to>
                                        <p:strVal val="visible"/>
                                      </p:to>
                                    </p:set>
                                  </p:childTnLst>
                                </p:cTn>
                              </p:par>
                              <p:par>
                                <p:cTn id="84" presetID="6" presetClass="emph" presetSubtype="0" accel="100000" autoRev="1" fill="hold" nodeType="withEffect">
                                  <p:stCondLst>
                                    <p:cond delay="800"/>
                                  </p:stCondLst>
                                  <p:childTnLst>
                                    <p:animScale>
                                      <p:cBhvr>
                                        <p:cTn id="85" dur="300" fill="hold"/>
                                        <p:tgtEl>
                                          <p:spTgt spid="305"/>
                                        </p:tgtEl>
                                      </p:cBhvr>
                                      <p:by x="0" y="0"/>
                                    </p:animScale>
                                  </p:childTnLst>
                                </p:cTn>
                              </p:par>
                              <p:par>
                                <p:cTn id="86" presetID="1" presetClass="entr" presetSubtype="0" fill="hold" nodeType="withEffect">
                                  <p:stCondLst>
                                    <p:cond delay="800"/>
                                  </p:stCondLst>
                                  <p:childTnLst>
                                    <p:set>
                                      <p:cBhvr>
                                        <p:cTn id="87" dur="1" fill="hold">
                                          <p:stCondLst>
                                            <p:cond delay="299"/>
                                          </p:stCondLst>
                                        </p:cTn>
                                        <p:tgtEl>
                                          <p:spTgt spid="295"/>
                                        </p:tgtEl>
                                        <p:attrNameLst>
                                          <p:attrName>style.visibility</p:attrName>
                                        </p:attrNameLst>
                                      </p:cBhvr>
                                      <p:to>
                                        <p:strVal val="visible"/>
                                      </p:to>
                                    </p:set>
                                  </p:childTnLst>
                                </p:cTn>
                              </p:par>
                              <p:par>
                                <p:cTn id="88" presetID="6" presetClass="emph" presetSubtype="0" accel="100000" autoRev="1" fill="hold" nodeType="withEffect">
                                  <p:stCondLst>
                                    <p:cond delay="800"/>
                                  </p:stCondLst>
                                  <p:childTnLst>
                                    <p:animScale>
                                      <p:cBhvr>
                                        <p:cTn id="89" dur="300" fill="hold"/>
                                        <p:tgtEl>
                                          <p:spTgt spid="295"/>
                                        </p:tgtEl>
                                      </p:cBhvr>
                                      <p:by x="0" y="0"/>
                                    </p:animScale>
                                  </p:childTnLst>
                                </p:cTn>
                              </p:par>
                              <p:par>
                                <p:cTn id="90" presetID="1" presetClass="entr" presetSubtype="0" fill="hold" nodeType="withEffect">
                                  <p:stCondLst>
                                    <p:cond delay="800"/>
                                  </p:stCondLst>
                                  <p:childTnLst>
                                    <p:set>
                                      <p:cBhvr>
                                        <p:cTn id="91" dur="1" fill="hold">
                                          <p:stCondLst>
                                            <p:cond delay="299"/>
                                          </p:stCondLst>
                                        </p:cTn>
                                        <p:tgtEl>
                                          <p:spTgt spid="292"/>
                                        </p:tgtEl>
                                        <p:attrNameLst>
                                          <p:attrName>style.visibility</p:attrName>
                                        </p:attrNameLst>
                                      </p:cBhvr>
                                      <p:to>
                                        <p:strVal val="visible"/>
                                      </p:to>
                                    </p:set>
                                  </p:childTnLst>
                                </p:cTn>
                              </p:par>
                              <p:par>
                                <p:cTn id="92" presetID="6" presetClass="emph" presetSubtype="0" accel="100000" autoRev="1" fill="hold" nodeType="withEffect">
                                  <p:stCondLst>
                                    <p:cond delay="800"/>
                                  </p:stCondLst>
                                  <p:childTnLst>
                                    <p:animScale>
                                      <p:cBhvr>
                                        <p:cTn id="93" dur="300" fill="hold"/>
                                        <p:tgtEl>
                                          <p:spTgt spid="292"/>
                                        </p:tgtEl>
                                      </p:cBhvr>
                                      <p:by x="0" y="0"/>
                                    </p:animScale>
                                  </p:childTnLst>
                                </p:cTn>
                              </p:par>
                              <p:par>
                                <p:cTn id="94" presetID="1" presetClass="entr" presetSubtype="0" fill="hold" nodeType="withEffect">
                                  <p:stCondLst>
                                    <p:cond delay="800"/>
                                  </p:stCondLst>
                                  <p:childTnLst>
                                    <p:set>
                                      <p:cBhvr>
                                        <p:cTn id="95" dur="1" fill="hold">
                                          <p:stCondLst>
                                            <p:cond delay="299"/>
                                          </p:stCondLst>
                                        </p:cTn>
                                        <p:tgtEl>
                                          <p:spTgt spid="223"/>
                                        </p:tgtEl>
                                        <p:attrNameLst>
                                          <p:attrName>style.visibility</p:attrName>
                                        </p:attrNameLst>
                                      </p:cBhvr>
                                      <p:to>
                                        <p:strVal val="visible"/>
                                      </p:to>
                                    </p:set>
                                  </p:childTnLst>
                                </p:cTn>
                              </p:par>
                              <p:par>
                                <p:cTn id="96" presetID="6" presetClass="emph" presetSubtype="0" accel="100000" autoRev="1" fill="hold" nodeType="withEffect">
                                  <p:stCondLst>
                                    <p:cond delay="800"/>
                                  </p:stCondLst>
                                  <p:childTnLst>
                                    <p:animScale>
                                      <p:cBhvr>
                                        <p:cTn id="97" dur="300" fill="hold"/>
                                        <p:tgtEl>
                                          <p:spTgt spid="223"/>
                                        </p:tgtEl>
                                      </p:cBhvr>
                                      <p:by x="0" y="0"/>
                                    </p:animScale>
                                  </p:childTnLst>
                                </p:cTn>
                              </p:par>
                              <p:par>
                                <p:cTn id="98" presetID="1" presetClass="entr" presetSubtype="0" fill="hold" nodeType="withEffect">
                                  <p:stCondLst>
                                    <p:cond delay="800"/>
                                  </p:stCondLst>
                                  <p:childTnLst>
                                    <p:set>
                                      <p:cBhvr>
                                        <p:cTn id="99" dur="1" fill="hold">
                                          <p:stCondLst>
                                            <p:cond delay="299"/>
                                          </p:stCondLst>
                                        </p:cTn>
                                        <p:tgtEl>
                                          <p:spTgt spid="308"/>
                                        </p:tgtEl>
                                        <p:attrNameLst>
                                          <p:attrName>style.visibility</p:attrName>
                                        </p:attrNameLst>
                                      </p:cBhvr>
                                      <p:to>
                                        <p:strVal val="visible"/>
                                      </p:to>
                                    </p:set>
                                  </p:childTnLst>
                                </p:cTn>
                              </p:par>
                              <p:par>
                                <p:cTn id="100" presetID="6" presetClass="emph" presetSubtype="0" accel="100000" autoRev="1" fill="hold" nodeType="withEffect">
                                  <p:stCondLst>
                                    <p:cond delay="800"/>
                                  </p:stCondLst>
                                  <p:childTnLst>
                                    <p:animScale>
                                      <p:cBhvr>
                                        <p:cTn id="101" dur="300" fill="hold"/>
                                        <p:tgtEl>
                                          <p:spTgt spid="308"/>
                                        </p:tgtEl>
                                      </p:cBhvr>
                                      <p:by x="0" y="0"/>
                                    </p:animScale>
                                  </p:childTnLst>
                                </p:cTn>
                              </p:par>
                              <p:par>
                                <p:cTn id="102" presetID="1" presetClass="entr" presetSubtype="0" fill="hold" nodeType="withEffect">
                                  <p:stCondLst>
                                    <p:cond delay="800"/>
                                  </p:stCondLst>
                                  <p:childTnLst>
                                    <p:set>
                                      <p:cBhvr>
                                        <p:cTn id="103" dur="1" fill="hold">
                                          <p:stCondLst>
                                            <p:cond delay="299"/>
                                          </p:stCondLst>
                                        </p:cTn>
                                        <p:tgtEl>
                                          <p:spTgt spid="247"/>
                                        </p:tgtEl>
                                        <p:attrNameLst>
                                          <p:attrName>style.visibility</p:attrName>
                                        </p:attrNameLst>
                                      </p:cBhvr>
                                      <p:to>
                                        <p:strVal val="visible"/>
                                      </p:to>
                                    </p:set>
                                  </p:childTnLst>
                                </p:cTn>
                              </p:par>
                              <p:par>
                                <p:cTn id="104" presetID="6" presetClass="emph" presetSubtype="0" accel="100000" autoRev="1" fill="hold" nodeType="withEffect">
                                  <p:stCondLst>
                                    <p:cond delay="800"/>
                                  </p:stCondLst>
                                  <p:childTnLst>
                                    <p:animScale>
                                      <p:cBhvr>
                                        <p:cTn id="105" dur="300" fill="hold"/>
                                        <p:tgtEl>
                                          <p:spTgt spid="247"/>
                                        </p:tgtEl>
                                      </p:cBhvr>
                                      <p:by x="0" y="0"/>
                                    </p:animScale>
                                  </p:childTnLst>
                                </p:cTn>
                              </p:par>
                              <p:par>
                                <p:cTn id="106" presetID="1" presetClass="entr" presetSubtype="0" fill="hold" nodeType="withEffect">
                                  <p:stCondLst>
                                    <p:cond delay="800"/>
                                  </p:stCondLst>
                                  <p:childTnLst>
                                    <p:set>
                                      <p:cBhvr>
                                        <p:cTn id="107" dur="1" fill="hold">
                                          <p:stCondLst>
                                            <p:cond delay="299"/>
                                          </p:stCondLst>
                                        </p:cTn>
                                        <p:tgtEl>
                                          <p:spTgt spid="257"/>
                                        </p:tgtEl>
                                        <p:attrNameLst>
                                          <p:attrName>style.visibility</p:attrName>
                                        </p:attrNameLst>
                                      </p:cBhvr>
                                      <p:to>
                                        <p:strVal val="visible"/>
                                      </p:to>
                                    </p:set>
                                  </p:childTnLst>
                                </p:cTn>
                              </p:par>
                              <p:par>
                                <p:cTn id="108" presetID="6" presetClass="emph" presetSubtype="0" accel="100000" autoRev="1" fill="hold" nodeType="withEffect">
                                  <p:stCondLst>
                                    <p:cond delay="800"/>
                                  </p:stCondLst>
                                  <p:childTnLst>
                                    <p:animScale>
                                      <p:cBhvr>
                                        <p:cTn id="109" dur="300" fill="hold"/>
                                        <p:tgtEl>
                                          <p:spTgt spid="257"/>
                                        </p:tgtEl>
                                      </p:cBhvr>
                                      <p:by x="0" y="0"/>
                                    </p:animScale>
                                  </p:childTnLst>
                                </p:cTn>
                              </p:par>
                              <p:par>
                                <p:cTn id="110" presetID="1" presetClass="entr" presetSubtype="0" fill="hold" nodeType="withEffect">
                                  <p:stCondLst>
                                    <p:cond delay="800"/>
                                  </p:stCondLst>
                                  <p:childTnLst>
                                    <p:set>
                                      <p:cBhvr>
                                        <p:cTn id="111" dur="1" fill="hold">
                                          <p:stCondLst>
                                            <p:cond delay="299"/>
                                          </p:stCondLst>
                                        </p:cTn>
                                        <p:tgtEl>
                                          <p:spTgt spid="298"/>
                                        </p:tgtEl>
                                        <p:attrNameLst>
                                          <p:attrName>style.visibility</p:attrName>
                                        </p:attrNameLst>
                                      </p:cBhvr>
                                      <p:to>
                                        <p:strVal val="visible"/>
                                      </p:to>
                                    </p:set>
                                  </p:childTnLst>
                                </p:cTn>
                              </p:par>
                              <p:par>
                                <p:cTn id="112" presetID="6" presetClass="emph" presetSubtype="0" accel="100000" autoRev="1" fill="hold" nodeType="withEffect">
                                  <p:stCondLst>
                                    <p:cond delay="800"/>
                                  </p:stCondLst>
                                  <p:childTnLst>
                                    <p:animScale>
                                      <p:cBhvr>
                                        <p:cTn id="113" dur="300" fill="hold"/>
                                        <p:tgtEl>
                                          <p:spTgt spid="298"/>
                                        </p:tgtEl>
                                      </p:cBhvr>
                                      <p:by x="0" y="0"/>
                                    </p:animScale>
                                  </p:childTnLst>
                                </p:cTn>
                              </p:par>
                              <p:par>
                                <p:cTn id="114" presetID="1" presetClass="entr" presetSubtype="0" fill="hold" nodeType="withEffect">
                                  <p:stCondLst>
                                    <p:cond delay="800"/>
                                  </p:stCondLst>
                                  <p:childTnLst>
                                    <p:set>
                                      <p:cBhvr>
                                        <p:cTn id="115" dur="1" fill="hold">
                                          <p:stCondLst>
                                            <p:cond delay="299"/>
                                          </p:stCondLst>
                                        </p:cTn>
                                        <p:tgtEl>
                                          <p:spTgt spid="289"/>
                                        </p:tgtEl>
                                        <p:attrNameLst>
                                          <p:attrName>style.visibility</p:attrName>
                                        </p:attrNameLst>
                                      </p:cBhvr>
                                      <p:to>
                                        <p:strVal val="visible"/>
                                      </p:to>
                                    </p:set>
                                  </p:childTnLst>
                                </p:cTn>
                              </p:par>
                              <p:par>
                                <p:cTn id="116" presetID="6" presetClass="emph" presetSubtype="0" accel="100000" autoRev="1" fill="hold" nodeType="withEffect">
                                  <p:stCondLst>
                                    <p:cond delay="800"/>
                                  </p:stCondLst>
                                  <p:childTnLst>
                                    <p:animScale>
                                      <p:cBhvr>
                                        <p:cTn id="117" dur="300" fill="hold"/>
                                        <p:tgtEl>
                                          <p:spTgt spid="289"/>
                                        </p:tgtEl>
                                      </p:cBhvr>
                                      <p:by x="0" y="0"/>
                                    </p:animScale>
                                  </p:childTnLst>
                                </p:cTn>
                              </p:par>
                              <p:par>
                                <p:cTn id="118" presetID="1" presetClass="entr" presetSubtype="0" fill="hold" nodeType="withEffect">
                                  <p:stCondLst>
                                    <p:cond delay="800"/>
                                  </p:stCondLst>
                                  <p:childTnLst>
                                    <p:set>
                                      <p:cBhvr>
                                        <p:cTn id="119" dur="1" fill="hold">
                                          <p:stCondLst>
                                            <p:cond delay="299"/>
                                          </p:stCondLst>
                                        </p:cTn>
                                        <p:tgtEl>
                                          <p:spTgt spid="244"/>
                                        </p:tgtEl>
                                        <p:attrNameLst>
                                          <p:attrName>style.visibility</p:attrName>
                                        </p:attrNameLst>
                                      </p:cBhvr>
                                      <p:to>
                                        <p:strVal val="visible"/>
                                      </p:to>
                                    </p:set>
                                  </p:childTnLst>
                                </p:cTn>
                              </p:par>
                              <p:par>
                                <p:cTn id="120" presetID="6" presetClass="emph" presetSubtype="0" accel="100000" autoRev="1" fill="hold" nodeType="withEffect">
                                  <p:stCondLst>
                                    <p:cond delay="800"/>
                                  </p:stCondLst>
                                  <p:childTnLst>
                                    <p:animScale>
                                      <p:cBhvr>
                                        <p:cTn id="121" dur="300" fill="hold"/>
                                        <p:tgtEl>
                                          <p:spTgt spid="244"/>
                                        </p:tgtEl>
                                      </p:cBhvr>
                                      <p:by x="0" y="0"/>
                                    </p:animScale>
                                  </p:childTnLst>
                                </p:cTn>
                              </p:par>
                              <p:par>
                                <p:cTn id="122" presetID="1" presetClass="entr" presetSubtype="0" fill="hold" nodeType="withEffect">
                                  <p:stCondLst>
                                    <p:cond delay="800"/>
                                  </p:stCondLst>
                                  <p:childTnLst>
                                    <p:set>
                                      <p:cBhvr>
                                        <p:cTn id="123" dur="1" fill="hold">
                                          <p:stCondLst>
                                            <p:cond delay="299"/>
                                          </p:stCondLst>
                                        </p:cTn>
                                        <p:tgtEl>
                                          <p:spTgt spid="280"/>
                                        </p:tgtEl>
                                        <p:attrNameLst>
                                          <p:attrName>style.visibility</p:attrName>
                                        </p:attrNameLst>
                                      </p:cBhvr>
                                      <p:to>
                                        <p:strVal val="visible"/>
                                      </p:to>
                                    </p:set>
                                  </p:childTnLst>
                                </p:cTn>
                              </p:par>
                              <p:par>
                                <p:cTn id="124" presetID="6" presetClass="emph" presetSubtype="0" accel="100000" autoRev="1" fill="hold" nodeType="withEffect">
                                  <p:stCondLst>
                                    <p:cond delay="800"/>
                                  </p:stCondLst>
                                  <p:childTnLst>
                                    <p:animScale>
                                      <p:cBhvr>
                                        <p:cTn id="125" dur="300" fill="hold"/>
                                        <p:tgtEl>
                                          <p:spTgt spid="280"/>
                                        </p:tgtEl>
                                      </p:cBhvr>
                                      <p:by x="0" y="0"/>
                                    </p:animScale>
                                  </p:childTnLst>
                                </p:cTn>
                              </p:par>
                              <p:par>
                                <p:cTn id="126" presetID="1" presetClass="entr" presetSubtype="0" fill="hold" nodeType="withEffect">
                                  <p:stCondLst>
                                    <p:cond delay="800"/>
                                  </p:stCondLst>
                                  <p:childTnLst>
                                    <p:set>
                                      <p:cBhvr>
                                        <p:cTn id="127" dur="1" fill="hold">
                                          <p:stCondLst>
                                            <p:cond delay="299"/>
                                          </p:stCondLst>
                                        </p:cTn>
                                        <p:tgtEl>
                                          <p:spTgt spid="277"/>
                                        </p:tgtEl>
                                        <p:attrNameLst>
                                          <p:attrName>style.visibility</p:attrName>
                                        </p:attrNameLst>
                                      </p:cBhvr>
                                      <p:to>
                                        <p:strVal val="visible"/>
                                      </p:to>
                                    </p:set>
                                  </p:childTnLst>
                                </p:cTn>
                              </p:par>
                              <p:par>
                                <p:cTn id="128" presetID="6" presetClass="emph" presetSubtype="0" accel="100000" autoRev="1" fill="hold" nodeType="withEffect">
                                  <p:stCondLst>
                                    <p:cond delay="800"/>
                                  </p:stCondLst>
                                  <p:childTnLst>
                                    <p:animScale>
                                      <p:cBhvr>
                                        <p:cTn id="129" dur="300" fill="hold"/>
                                        <p:tgtEl>
                                          <p:spTgt spid="277"/>
                                        </p:tgtEl>
                                      </p:cBhvr>
                                      <p:by x="0" y="0"/>
                                    </p:animScale>
                                  </p:childTnLst>
                                </p:cTn>
                              </p:par>
                              <p:par>
                                <p:cTn id="130" presetID="1" presetClass="entr" presetSubtype="0" fill="hold" nodeType="withEffect">
                                  <p:stCondLst>
                                    <p:cond delay="800"/>
                                  </p:stCondLst>
                                  <p:childTnLst>
                                    <p:set>
                                      <p:cBhvr>
                                        <p:cTn id="131" dur="1" fill="hold">
                                          <p:stCondLst>
                                            <p:cond delay="299"/>
                                          </p:stCondLst>
                                        </p:cTn>
                                        <p:tgtEl>
                                          <p:spTgt spid="12"/>
                                        </p:tgtEl>
                                        <p:attrNameLst>
                                          <p:attrName>style.visibility</p:attrName>
                                        </p:attrNameLst>
                                      </p:cBhvr>
                                      <p:to>
                                        <p:strVal val="visible"/>
                                      </p:to>
                                    </p:set>
                                  </p:childTnLst>
                                </p:cTn>
                              </p:par>
                              <p:par>
                                <p:cTn id="132" presetID="6" presetClass="emph" presetSubtype="0" accel="100000" autoRev="1" fill="hold" nodeType="withEffect">
                                  <p:stCondLst>
                                    <p:cond delay="800"/>
                                  </p:stCondLst>
                                  <p:childTnLst>
                                    <p:animScale>
                                      <p:cBhvr>
                                        <p:cTn id="133" dur="300" fill="hold"/>
                                        <p:tgtEl>
                                          <p:spTgt spid="12"/>
                                        </p:tgtEl>
                                      </p:cBhvr>
                                      <p:by x="0" y="0"/>
                                    </p:animScale>
                                  </p:childTnLst>
                                </p:cTn>
                              </p:par>
                              <p:par>
                                <p:cTn id="134" presetID="1" presetClass="entr" presetSubtype="0" fill="hold" nodeType="withEffect">
                                  <p:stCondLst>
                                    <p:cond delay="800"/>
                                  </p:stCondLst>
                                  <p:childTnLst>
                                    <p:set>
                                      <p:cBhvr>
                                        <p:cTn id="135" dur="1" fill="hold">
                                          <p:stCondLst>
                                            <p:cond delay="299"/>
                                          </p:stCondLst>
                                        </p:cTn>
                                        <p:tgtEl>
                                          <p:spTgt spid="14"/>
                                        </p:tgtEl>
                                        <p:attrNameLst>
                                          <p:attrName>style.visibility</p:attrName>
                                        </p:attrNameLst>
                                      </p:cBhvr>
                                      <p:to>
                                        <p:strVal val="visible"/>
                                      </p:to>
                                    </p:set>
                                  </p:childTnLst>
                                </p:cTn>
                              </p:par>
                              <p:par>
                                <p:cTn id="136" presetID="6" presetClass="emph" presetSubtype="0" accel="100000" autoRev="1" fill="hold" nodeType="withEffect">
                                  <p:stCondLst>
                                    <p:cond delay="800"/>
                                  </p:stCondLst>
                                  <p:childTnLst>
                                    <p:animScale>
                                      <p:cBhvr>
                                        <p:cTn id="137" dur="300" fill="hold"/>
                                        <p:tgtEl>
                                          <p:spTgt spid="14"/>
                                        </p:tgtEl>
                                      </p:cBhvr>
                                      <p:by x="0" y="0"/>
                                    </p:animScale>
                                  </p:childTnLst>
                                </p:cTn>
                              </p:par>
                              <p:par>
                                <p:cTn id="138" presetID="1" presetClass="entr" presetSubtype="0" fill="hold" nodeType="withEffect">
                                  <p:stCondLst>
                                    <p:cond delay="800"/>
                                  </p:stCondLst>
                                  <p:childTnLst>
                                    <p:set>
                                      <p:cBhvr>
                                        <p:cTn id="139" dur="1" fill="hold">
                                          <p:stCondLst>
                                            <p:cond delay="299"/>
                                          </p:stCondLst>
                                        </p:cTn>
                                        <p:tgtEl>
                                          <p:spTgt spid="15"/>
                                        </p:tgtEl>
                                        <p:attrNameLst>
                                          <p:attrName>style.visibility</p:attrName>
                                        </p:attrNameLst>
                                      </p:cBhvr>
                                      <p:to>
                                        <p:strVal val="visible"/>
                                      </p:to>
                                    </p:set>
                                  </p:childTnLst>
                                </p:cTn>
                              </p:par>
                              <p:par>
                                <p:cTn id="140" presetID="6" presetClass="emph" presetSubtype="0" accel="100000" autoRev="1" fill="hold" nodeType="withEffect">
                                  <p:stCondLst>
                                    <p:cond delay="800"/>
                                  </p:stCondLst>
                                  <p:childTnLst>
                                    <p:animScale>
                                      <p:cBhvr>
                                        <p:cTn id="141" dur="300" fill="hold"/>
                                        <p:tgtEl>
                                          <p:spTgt spid="15"/>
                                        </p:tgtEl>
                                      </p:cBhvr>
                                      <p:by x="0" y="0"/>
                                    </p:animScale>
                                  </p:childTnLst>
                                </p:cTn>
                              </p:par>
                              <p:par>
                                <p:cTn id="142" presetID="10" presetClass="entr" presetSubtype="0" fill="hold" grpId="0" nodeType="withEffect">
                                  <p:stCondLst>
                                    <p:cond delay="1000"/>
                                  </p:stCondLst>
                                  <p:childTnLst>
                                    <p:set>
                                      <p:cBhvr>
                                        <p:cTn id="143" dur="1" fill="hold">
                                          <p:stCondLst>
                                            <p:cond delay="0"/>
                                          </p:stCondLst>
                                        </p:cTn>
                                        <p:tgtEl>
                                          <p:spTgt spid="202"/>
                                        </p:tgtEl>
                                        <p:attrNameLst>
                                          <p:attrName>style.visibility</p:attrName>
                                        </p:attrNameLst>
                                      </p:cBhvr>
                                      <p:to>
                                        <p:strVal val="visible"/>
                                      </p:to>
                                    </p:set>
                                    <p:animEffect transition="in" filter="fade">
                                      <p:cBhvr>
                                        <p:cTn id="144" dur="500"/>
                                        <p:tgtEl>
                                          <p:spTgt spid="202"/>
                                        </p:tgtEl>
                                      </p:cBhvr>
                                    </p:animEffect>
                                  </p:childTnLst>
                                </p:cTn>
                              </p:par>
                              <p:par>
                                <p:cTn id="145" presetID="10" presetClass="entr" presetSubtype="0" fill="hold" grpId="0" nodeType="withEffect">
                                  <p:stCondLst>
                                    <p:cond delay="800"/>
                                  </p:stCondLst>
                                  <p:childTnLst>
                                    <p:set>
                                      <p:cBhvr>
                                        <p:cTn id="146" dur="1" fill="hold">
                                          <p:stCondLst>
                                            <p:cond delay="0"/>
                                          </p:stCondLst>
                                        </p:cTn>
                                        <p:tgtEl>
                                          <p:spTgt spid="339"/>
                                        </p:tgtEl>
                                        <p:attrNameLst>
                                          <p:attrName>style.visibility</p:attrName>
                                        </p:attrNameLst>
                                      </p:cBhvr>
                                      <p:to>
                                        <p:strVal val="visible"/>
                                      </p:to>
                                    </p:set>
                                    <p:animEffect transition="in" filter="fade">
                                      <p:cBhvr>
                                        <p:cTn id="147" dur="500"/>
                                        <p:tgtEl>
                                          <p:spTgt spid="339"/>
                                        </p:tgtEl>
                                      </p:cBhvr>
                                    </p:animEffect>
                                  </p:childTnLst>
                                </p:cTn>
                              </p:par>
                              <p:par>
                                <p:cTn id="148" presetID="42" presetClass="path" presetSubtype="0" decel="100000" fill="hold" grpId="1" nodeType="withEffect">
                                  <p:stCondLst>
                                    <p:cond delay="800"/>
                                  </p:stCondLst>
                                  <p:childTnLst>
                                    <p:animMotion origin="layout" path="M -2.08333E-6 -2.59259E-6 L -2.08333E-6 0.0257 " pathEditMode="relative" rAng="0" ptsTypes="AA">
                                      <p:cBhvr>
                                        <p:cTn id="149" dur="500" spd="-100000" fill="hold"/>
                                        <p:tgtEl>
                                          <p:spTgt spid="339"/>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8" grpId="0" animBg="1"/>
      <p:bldP spid="198" grpId="1" animBg="1"/>
      <p:bldP spid="199" grpId="0"/>
      <p:bldP spid="199" grpId="1"/>
      <p:bldP spid="202" grpId="0" animBg="1"/>
      <p:bldP spid="203" grpId="0" animBg="1"/>
      <p:bldP spid="203" grpId="1" animBg="1"/>
      <p:bldP spid="204" grpId="0" animBg="1"/>
      <p:bldP spid="204" grpId="1" animBg="1"/>
      <p:bldP spid="339" grpId="0" animBg="1"/>
      <p:bldP spid="339" grpId="1"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4E4632A-C390-40C2-9550-9BA2984BFC69}"/>
              </a:ext>
            </a:extLst>
          </p:cNvPr>
          <p:cNvGrpSpPr/>
          <p:nvPr/>
        </p:nvGrpSpPr>
        <p:grpSpPr>
          <a:xfrm>
            <a:off x="5268245" y="2645566"/>
            <a:ext cx="1828541" cy="1828541"/>
            <a:chOff x="5268111" y="2645445"/>
            <a:chExt cx="1828800" cy="1828800"/>
          </a:xfrm>
        </p:grpSpPr>
        <p:sp>
          <p:nvSpPr>
            <p:cNvPr id="253" name="Oval 252"/>
            <p:cNvSpPr>
              <a:spLocks noChangeAspect="1"/>
            </p:cNvSpPr>
            <p:nvPr/>
          </p:nvSpPr>
          <p:spPr bwMode="auto">
            <a:xfrm>
              <a:off x="5268111" y="2645445"/>
              <a:ext cx="1828800" cy="1828800"/>
            </a:xfrm>
            <a:prstGeom prst="ellipse">
              <a:avLst/>
            </a:prstGeom>
            <a:noFill/>
            <a:ln w="304800">
              <a:solidFill>
                <a:schemeClr val="accent5">
                  <a:lumMod val="10000"/>
                  <a:lumOff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6" name="globe" title="Icon of the earth">
              <a:extLst>
                <a:ext uri="{FF2B5EF4-FFF2-40B4-BE49-F238E27FC236}">
                  <a16:creationId xmlns:a16="http://schemas.microsoft.com/office/drawing/2014/main" id="{BC63D89F-20A2-43F5-BDA0-2E71CB388C03}"/>
                </a:ext>
              </a:extLst>
            </p:cNvPr>
            <p:cNvSpPr>
              <a:spLocks noChangeAspect="1" noEditPoints="1"/>
            </p:cNvSpPr>
            <p:nvPr/>
          </p:nvSpPr>
          <p:spPr bwMode="auto">
            <a:xfrm>
              <a:off x="5360793" y="2738127"/>
              <a:ext cx="1662545" cy="1662545"/>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solidFill>
              <a:schemeClr val="bg1"/>
            </a:solidFill>
            <a:ln w="19050" cap="sq">
              <a:solidFill>
                <a:srgbClr val="0070C0"/>
              </a:solidFill>
              <a:prstDash val="solid"/>
              <a:miter lim="800000"/>
              <a:headEnd/>
              <a:tailEnd/>
            </a:ln>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sp>
        <p:nvSpPr>
          <p:cNvPr id="4" name="Title 3">
            <a:extLst>
              <a:ext uri="{FF2B5EF4-FFF2-40B4-BE49-F238E27FC236}">
                <a16:creationId xmlns:a16="http://schemas.microsoft.com/office/drawing/2014/main" id="{EF4EBF58-E953-414A-AFDB-4A5642277368}"/>
              </a:ext>
            </a:extLst>
          </p:cNvPr>
          <p:cNvSpPr>
            <a:spLocks noGrp="1"/>
          </p:cNvSpPr>
          <p:nvPr>
            <p:ph type="title"/>
          </p:nvPr>
        </p:nvSpPr>
        <p:spPr/>
        <p:txBody>
          <a:bodyPr/>
          <a:lstStyle/>
          <a:p>
            <a:r>
              <a:rPr lang="en-US"/>
              <a:t>Innovation at work – real IoT use cases</a:t>
            </a:r>
          </a:p>
        </p:txBody>
      </p:sp>
      <p:grpSp>
        <p:nvGrpSpPr>
          <p:cNvPr id="127" name="Group 126">
            <a:extLst>
              <a:ext uri="{FF2B5EF4-FFF2-40B4-BE49-F238E27FC236}">
                <a16:creationId xmlns:a16="http://schemas.microsoft.com/office/drawing/2014/main" id="{EA57B92E-59F7-4A38-AAF5-90790C21C0A5}"/>
              </a:ext>
            </a:extLst>
          </p:cNvPr>
          <p:cNvGrpSpPr/>
          <p:nvPr/>
        </p:nvGrpSpPr>
        <p:grpSpPr>
          <a:xfrm>
            <a:off x="479975" y="5284365"/>
            <a:ext cx="968461" cy="626781"/>
            <a:chOff x="523515" y="5798889"/>
            <a:chExt cx="968599" cy="626869"/>
          </a:xfrm>
        </p:grpSpPr>
        <p:sp>
          <p:nvSpPr>
            <p:cNvPr id="75" name="TextBox 74"/>
            <p:cNvSpPr txBox="1"/>
            <p:nvPr/>
          </p:nvSpPr>
          <p:spPr>
            <a:xfrm>
              <a:off x="523515" y="6256357"/>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Postboxes</a:t>
              </a:r>
            </a:p>
          </p:txBody>
        </p:sp>
        <p:sp>
          <p:nvSpPr>
            <p:cNvPr id="178" name="OpenMailbox_F008" title="Icon of an open mailbox with a letter coming out">
              <a:extLst>
                <a:ext uri="{FF2B5EF4-FFF2-40B4-BE49-F238E27FC236}">
                  <a16:creationId xmlns:a16="http://schemas.microsoft.com/office/drawing/2014/main" id="{40738543-F8A4-46B1-9662-FBA0E02637AB}"/>
                </a:ext>
              </a:extLst>
            </p:cNvPr>
            <p:cNvSpPr>
              <a:spLocks noChangeAspect="1" noEditPoints="1"/>
            </p:cNvSpPr>
            <p:nvPr/>
          </p:nvSpPr>
          <p:spPr bwMode="auto">
            <a:xfrm>
              <a:off x="796164" y="5798889"/>
              <a:ext cx="423300" cy="36576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15875" cap="flat">
              <a:solidFill>
                <a:srgbClr val="0070C0"/>
              </a:solidFill>
              <a:prstDash val="solid"/>
            </a:ln>
            <a:extLst/>
          </p:spPr>
          <p:txBody>
            <a:bodyPr vert="horz" wrap="square" lIns="0" tIns="0" rIns="0" bIns="0" numCol="1" anchor="ctr" anchorCtr="0" compatLnSpc="1">
              <a:prstTxWarp prst="textNoShape">
                <a:avLst/>
              </a:prstTxWarp>
            </a:bodyPr>
            <a:lstStyle/>
            <a:p>
              <a:pPr algn="ctr"/>
              <a:endParaRPr lang="en-US"/>
            </a:p>
          </p:txBody>
        </p:sp>
      </p:grpSp>
      <p:grpSp>
        <p:nvGrpSpPr>
          <p:cNvPr id="132" name="Group 131">
            <a:extLst>
              <a:ext uri="{FF2B5EF4-FFF2-40B4-BE49-F238E27FC236}">
                <a16:creationId xmlns:a16="http://schemas.microsoft.com/office/drawing/2014/main" id="{1294D37D-B889-4839-AF60-358764A6BC21}"/>
              </a:ext>
            </a:extLst>
          </p:cNvPr>
          <p:cNvGrpSpPr/>
          <p:nvPr/>
        </p:nvGrpSpPr>
        <p:grpSpPr>
          <a:xfrm>
            <a:off x="3553440" y="2438591"/>
            <a:ext cx="506798" cy="600894"/>
            <a:chOff x="3183488" y="2730775"/>
            <a:chExt cx="506870" cy="600979"/>
          </a:xfrm>
        </p:grpSpPr>
        <p:sp>
          <p:nvSpPr>
            <p:cNvPr id="162" name="Rectangle 161"/>
            <p:cNvSpPr/>
            <p:nvPr/>
          </p:nvSpPr>
          <p:spPr>
            <a:xfrm>
              <a:off x="3183488" y="3162353"/>
              <a:ext cx="506870" cy="1694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384" fontAlgn="base">
                <a:lnSpc>
                  <a:spcPct val="90000"/>
                </a:lnSpc>
                <a:spcBef>
                  <a:spcPct val="0"/>
                </a:spcBef>
                <a:spcAft>
                  <a:spcPts val="600"/>
                </a:spcAft>
                <a:defRPr/>
              </a:pPr>
              <a:r>
                <a:rPr lang="en-US" sz="1199" kern="0">
                  <a:gradFill>
                    <a:gsLst>
                      <a:gs pos="2917">
                        <a:srgbClr val="353535"/>
                      </a:gs>
                      <a:gs pos="32000">
                        <a:srgbClr val="353535"/>
                      </a:gs>
                    </a:gsLst>
                    <a:lin ang="5400000" scaled="0"/>
                  </a:gradFill>
                </a:rPr>
                <a:t>Buses</a:t>
              </a:r>
            </a:p>
          </p:txBody>
        </p:sp>
        <p:sp>
          <p:nvSpPr>
            <p:cNvPr id="179" name="bus" title="Icon of a bus">
              <a:extLst>
                <a:ext uri="{FF2B5EF4-FFF2-40B4-BE49-F238E27FC236}">
                  <a16:creationId xmlns:a16="http://schemas.microsoft.com/office/drawing/2014/main" id="{897FA047-012E-4549-9E37-288ADB3A4A67}"/>
                </a:ext>
              </a:extLst>
            </p:cNvPr>
            <p:cNvSpPr>
              <a:spLocks noChangeAspect="1" noEditPoints="1"/>
            </p:cNvSpPr>
            <p:nvPr/>
          </p:nvSpPr>
          <p:spPr bwMode="auto">
            <a:xfrm>
              <a:off x="3254043" y="2730775"/>
              <a:ext cx="365760" cy="365760"/>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gradFill>
              </a:endParaRPr>
            </a:p>
          </p:txBody>
        </p:sp>
      </p:grpSp>
      <p:grpSp>
        <p:nvGrpSpPr>
          <p:cNvPr id="97" name="Group 96">
            <a:extLst>
              <a:ext uri="{FF2B5EF4-FFF2-40B4-BE49-F238E27FC236}">
                <a16:creationId xmlns:a16="http://schemas.microsoft.com/office/drawing/2014/main" id="{0C69AE9E-0BA7-4AD7-85A3-71FB7364BD31}"/>
              </a:ext>
            </a:extLst>
          </p:cNvPr>
          <p:cNvGrpSpPr/>
          <p:nvPr/>
        </p:nvGrpSpPr>
        <p:grpSpPr>
          <a:xfrm>
            <a:off x="7211442" y="5942242"/>
            <a:ext cx="904857" cy="589450"/>
            <a:chOff x="2984431" y="5798889"/>
            <a:chExt cx="904985" cy="589534"/>
          </a:xfrm>
        </p:grpSpPr>
        <p:sp>
          <p:nvSpPr>
            <p:cNvPr id="159" name="Rectangle 158"/>
            <p:cNvSpPr/>
            <p:nvPr/>
          </p:nvSpPr>
          <p:spPr>
            <a:xfrm>
              <a:off x="2984431" y="6200185"/>
              <a:ext cx="904985" cy="188238"/>
            </a:xfrm>
            <a:prstGeom prst="rect">
              <a:avLst/>
            </a:prstGeom>
          </p:spPr>
          <p:txBody>
            <a:bodyPr vert="horz" wrap="square" lIns="0" tIns="0" rIns="0" bIns="0" anchor="ctr" anchorCtr="0">
              <a:spAutoFit/>
            </a:bodyPr>
            <a:lstStyle/>
            <a:p>
              <a:pPr algn="ctr" defTabSz="932418">
                <a:defRPr/>
              </a:pPr>
              <a:r>
                <a:rPr lang="en-US" sz="1199" kern="0">
                  <a:gradFill>
                    <a:gsLst>
                      <a:gs pos="2917">
                        <a:srgbClr val="353535"/>
                      </a:gs>
                      <a:gs pos="32000">
                        <a:srgbClr val="353535"/>
                      </a:gs>
                    </a:gsLst>
                    <a:lin ang="5400000" scaled="0"/>
                  </a:gradFill>
                </a:rPr>
                <a:t>Trucks</a:t>
              </a:r>
            </a:p>
          </p:txBody>
        </p:sp>
        <p:sp>
          <p:nvSpPr>
            <p:cNvPr id="192" name="Truck" title="Icon of a truck with a storage trailer">
              <a:extLst>
                <a:ext uri="{FF2B5EF4-FFF2-40B4-BE49-F238E27FC236}">
                  <a16:creationId xmlns:a16="http://schemas.microsoft.com/office/drawing/2014/main" id="{D6F3D4E3-F4EA-4276-AC9E-5EF8D275ED60}"/>
                </a:ext>
              </a:extLst>
            </p:cNvPr>
            <p:cNvSpPr>
              <a:spLocks noChangeAspect="1" noEditPoints="1"/>
            </p:cNvSpPr>
            <p:nvPr/>
          </p:nvSpPr>
          <p:spPr bwMode="auto">
            <a:xfrm>
              <a:off x="3037341" y="5798889"/>
              <a:ext cx="799164" cy="365760"/>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64" name="Group 63">
            <a:extLst>
              <a:ext uri="{FF2B5EF4-FFF2-40B4-BE49-F238E27FC236}">
                <a16:creationId xmlns:a16="http://schemas.microsoft.com/office/drawing/2014/main" id="{4800ED72-EF6E-4FC4-B2DD-EDFE0218637D}"/>
              </a:ext>
            </a:extLst>
          </p:cNvPr>
          <p:cNvGrpSpPr/>
          <p:nvPr/>
        </p:nvGrpSpPr>
        <p:grpSpPr>
          <a:xfrm>
            <a:off x="4363096" y="1530353"/>
            <a:ext cx="968461" cy="619045"/>
            <a:chOff x="2952624" y="1489330"/>
            <a:chExt cx="968599" cy="619132"/>
          </a:xfrm>
        </p:grpSpPr>
        <p:sp>
          <p:nvSpPr>
            <p:cNvPr id="83" name="TextBox 82"/>
            <p:cNvSpPr txBox="1"/>
            <p:nvPr/>
          </p:nvSpPr>
          <p:spPr>
            <a:xfrm>
              <a:off x="2952624" y="1939061"/>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solidFill>
                    <a:srgbClr val="353535"/>
                  </a:solidFill>
                </a:rPr>
                <a:t>Auto</a:t>
              </a:r>
            </a:p>
          </p:txBody>
        </p:sp>
        <p:sp>
          <p:nvSpPr>
            <p:cNvPr id="208" name="Car_4" title="Icon of the side of a car">
              <a:extLst>
                <a:ext uri="{FF2B5EF4-FFF2-40B4-BE49-F238E27FC236}">
                  <a16:creationId xmlns:a16="http://schemas.microsoft.com/office/drawing/2014/main" id="{3D301568-66AE-4629-9862-F54A099F1A7F}"/>
                </a:ext>
              </a:extLst>
            </p:cNvPr>
            <p:cNvSpPr>
              <a:spLocks noChangeAspect="1" noEditPoints="1"/>
            </p:cNvSpPr>
            <p:nvPr/>
          </p:nvSpPr>
          <p:spPr bwMode="auto">
            <a:xfrm>
              <a:off x="3136299" y="1489330"/>
              <a:ext cx="601248" cy="36576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67" name="Group 66">
            <a:extLst>
              <a:ext uri="{FF2B5EF4-FFF2-40B4-BE49-F238E27FC236}">
                <a16:creationId xmlns:a16="http://schemas.microsoft.com/office/drawing/2014/main" id="{86DD6FE7-E89E-4DB5-8F5A-E4F951F5EFDE}"/>
              </a:ext>
            </a:extLst>
          </p:cNvPr>
          <p:cNvGrpSpPr/>
          <p:nvPr/>
        </p:nvGrpSpPr>
        <p:grpSpPr>
          <a:xfrm>
            <a:off x="2023786" y="3466126"/>
            <a:ext cx="658206" cy="619047"/>
            <a:chOff x="6723395" y="1489330"/>
            <a:chExt cx="658300" cy="619134"/>
          </a:xfrm>
        </p:grpSpPr>
        <p:sp>
          <p:nvSpPr>
            <p:cNvPr id="140" name="TextBox 139"/>
            <p:cNvSpPr txBox="1"/>
            <p:nvPr/>
          </p:nvSpPr>
          <p:spPr>
            <a:xfrm>
              <a:off x="6723395" y="1939063"/>
              <a:ext cx="658300"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ecurity</a:t>
              </a:r>
            </a:p>
          </p:txBody>
        </p:sp>
        <p:sp>
          <p:nvSpPr>
            <p:cNvPr id="256" name="Fingerprint_E928" title="Icon of a fingerprint">
              <a:extLst>
                <a:ext uri="{FF2B5EF4-FFF2-40B4-BE49-F238E27FC236}">
                  <a16:creationId xmlns:a16="http://schemas.microsoft.com/office/drawing/2014/main" id="{A9C665BD-B072-4AB6-9892-4B4512CCEBC3}"/>
                </a:ext>
              </a:extLst>
            </p:cNvPr>
            <p:cNvSpPr>
              <a:spLocks noChangeAspect="1" noEditPoints="1"/>
            </p:cNvSpPr>
            <p:nvPr/>
          </p:nvSpPr>
          <p:spPr bwMode="auto">
            <a:xfrm>
              <a:off x="6916555" y="1489330"/>
              <a:ext cx="271980"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65" name="Group 64">
            <a:extLst>
              <a:ext uri="{FF2B5EF4-FFF2-40B4-BE49-F238E27FC236}">
                <a16:creationId xmlns:a16="http://schemas.microsoft.com/office/drawing/2014/main" id="{9F43D321-9FB7-47A5-8297-53E7F1086E1A}"/>
              </a:ext>
            </a:extLst>
          </p:cNvPr>
          <p:cNvGrpSpPr/>
          <p:nvPr/>
        </p:nvGrpSpPr>
        <p:grpSpPr>
          <a:xfrm>
            <a:off x="9305281" y="1341053"/>
            <a:ext cx="968461" cy="619045"/>
            <a:chOff x="4300924" y="1489330"/>
            <a:chExt cx="968599" cy="619132"/>
          </a:xfrm>
        </p:grpSpPr>
        <p:sp>
          <p:nvSpPr>
            <p:cNvPr id="111" name="TextBox 110"/>
            <p:cNvSpPr txBox="1"/>
            <p:nvPr/>
          </p:nvSpPr>
          <p:spPr>
            <a:xfrm>
              <a:off x="4300924" y="1939061"/>
              <a:ext cx="968599" cy="169401"/>
            </a:xfrm>
            <a:prstGeom prst="rect">
              <a:avLst/>
            </a:prstGeom>
            <a:noFill/>
            <a:ln>
              <a:noFill/>
            </a:ln>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Agriculture</a:t>
              </a:r>
            </a:p>
          </p:txBody>
        </p:sp>
        <p:sp>
          <p:nvSpPr>
            <p:cNvPr id="258" name="plant_3" title="Icon of three stalks of wheat">
              <a:extLst>
                <a:ext uri="{FF2B5EF4-FFF2-40B4-BE49-F238E27FC236}">
                  <a16:creationId xmlns:a16="http://schemas.microsoft.com/office/drawing/2014/main" id="{F2D67489-9E83-470C-8299-0BB49F1CA728}"/>
                </a:ext>
              </a:extLst>
            </p:cNvPr>
            <p:cNvSpPr>
              <a:spLocks noChangeAspect="1" noEditPoints="1"/>
            </p:cNvSpPr>
            <p:nvPr/>
          </p:nvSpPr>
          <p:spPr bwMode="auto">
            <a:xfrm>
              <a:off x="4678979" y="1489330"/>
              <a:ext cx="212488" cy="365760"/>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71" name="Group 70">
            <a:extLst>
              <a:ext uri="{FF2B5EF4-FFF2-40B4-BE49-F238E27FC236}">
                <a16:creationId xmlns:a16="http://schemas.microsoft.com/office/drawing/2014/main" id="{76917932-ECAD-4BF2-AB05-97879B0A23E8}"/>
              </a:ext>
            </a:extLst>
          </p:cNvPr>
          <p:cNvGrpSpPr/>
          <p:nvPr/>
        </p:nvGrpSpPr>
        <p:grpSpPr>
          <a:xfrm>
            <a:off x="10881911" y="2730887"/>
            <a:ext cx="968461" cy="600894"/>
            <a:chOff x="10882571" y="2730775"/>
            <a:chExt cx="968599" cy="600979"/>
          </a:xfrm>
        </p:grpSpPr>
        <p:sp>
          <p:nvSpPr>
            <p:cNvPr id="200" name="TextBox 199"/>
            <p:cNvSpPr txBox="1"/>
            <p:nvPr/>
          </p:nvSpPr>
          <p:spPr>
            <a:xfrm>
              <a:off x="10882571" y="3162353"/>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Racing</a:t>
              </a:r>
            </a:p>
          </p:txBody>
        </p:sp>
        <p:sp>
          <p:nvSpPr>
            <p:cNvPr id="261" name="flag_4" title="Icon of two flags crossed over each other">
              <a:extLst>
                <a:ext uri="{FF2B5EF4-FFF2-40B4-BE49-F238E27FC236}">
                  <a16:creationId xmlns:a16="http://schemas.microsoft.com/office/drawing/2014/main" id="{B86E19F1-656E-4E1C-8B13-BB358BF0542E}"/>
                </a:ext>
              </a:extLst>
            </p:cNvPr>
            <p:cNvSpPr>
              <a:spLocks noChangeAspect="1" noEditPoints="1"/>
            </p:cNvSpPr>
            <p:nvPr/>
          </p:nvSpPr>
          <p:spPr bwMode="auto">
            <a:xfrm>
              <a:off x="11088472" y="2730775"/>
              <a:ext cx="556796" cy="365760"/>
            </a:xfrm>
            <a:custGeom>
              <a:avLst/>
              <a:gdLst>
                <a:gd name="T0" fmla="*/ 221 w 239"/>
                <a:gd name="T1" fmla="*/ 73 h 157"/>
                <a:gd name="T2" fmla="*/ 202 w 239"/>
                <a:gd name="T3" fmla="*/ 92 h 157"/>
                <a:gd name="T4" fmla="*/ 148 w 239"/>
                <a:gd name="T5" fmla="*/ 37 h 157"/>
                <a:gd name="T6" fmla="*/ 185 w 239"/>
                <a:gd name="T7" fmla="*/ 0 h 157"/>
                <a:gd name="T8" fmla="*/ 239 w 239"/>
                <a:gd name="T9" fmla="*/ 55 h 157"/>
                <a:gd name="T10" fmla="*/ 221 w 239"/>
                <a:gd name="T11" fmla="*/ 73 h 157"/>
                <a:gd name="T12" fmla="*/ 148 w 239"/>
                <a:gd name="T13" fmla="*/ 37 h 157"/>
                <a:gd name="T14" fmla="*/ 28 w 239"/>
                <a:gd name="T15" fmla="*/ 157 h 157"/>
                <a:gd name="T16" fmla="*/ 19 w 239"/>
                <a:gd name="T17" fmla="*/ 74 h 157"/>
                <a:gd name="T18" fmla="*/ 37 w 239"/>
                <a:gd name="T19" fmla="*/ 92 h 157"/>
                <a:gd name="T20" fmla="*/ 91 w 239"/>
                <a:gd name="T21" fmla="*/ 37 h 157"/>
                <a:gd name="T22" fmla="*/ 54 w 239"/>
                <a:gd name="T23" fmla="*/ 0 h 157"/>
                <a:gd name="T24" fmla="*/ 0 w 239"/>
                <a:gd name="T25" fmla="*/ 55 h 157"/>
                <a:gd name="T26" fmla="*/ 19 w 239"/>
                <a:gd name="T27" fmla="*/ 74 h 157"/>
                <a:gd name="T28" fmla="*/ 211 w 239"/>
                <a:gd name="T29" fmla="*/ 157 h 157"/>
                <a:gd name="T30" fmla="*/ 91 w 239"/>
                <a:gd name="T31" fmla="*/ 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9" h="157">
                  <a:moveTo>
                    <a:pt x="221" y="73"/>
                  </a:moveTo>
                  <a:lnTo>
                    <a:pt x="202" y="92"/>
                  </a:lnTo>
                  <a:lnTo>
                    <a:pt x="148" y="37"/>
                  </a:lnTo>
                  <a:lnTo>
                    <a:pt x="185" y="0"/>
                  </a:lnTo>
                  <a:lnTo>
                    <a:pt x="239" y="55"/>
                  </a:lnTo>
                  <a:lnTo>
                    <a:pt x="221" y="73"/>
                  </a:lnTo>
                  <a:moveTo>
                    <a:pt x="148" y="37"/>
                  </a:moveTo>
                  <a:lnTo>
                    <a:pt x="28" y="157"/>
                  </a:lnTo>
                  <a:moveTo>
                    <a:pt x="19" y="74"/>
                  </a:moveTo>
                  <a:lnTo>
                    <a:pt x="37" y="92"/>
                  </a:lnTo>
                  <a:lnTo>
                    <a:pt x="91" y="37"/>
                  </a:lnTo>
                  <a:lnTo>
                    <a:pt x="54" y="0"/>
                  </a:lnTo>
                  <a:lnTo>
                    <a:pt x="0" y="55"/>
                  </a:lnTo>
                  <a:lnTo>
                    <a:pt x="19" y="74"/>
                  </a:lnTo>
                  <a:moveTo>
                    <a:pt x="211" y="157"/>
                  </a:moveTo>
                  <a:lnTo>
                    <a:pt x="91" y="37"/>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344" name="Group 343">
            <a:extLst>
              <a:ext uri="{FF2B5EF4-FFF2-40B4-BE49-F238E27FC236}">
                <a16:creationId xmlns:a16="http://schemas.microsoft.com/office/drawing/2014/main" id="{51A913E1-0ABF-414C-89DF-F11689BF5532}"/>
              </a:ext>
            </a:extLst>
          </p:cNvPr>
          <p:cNvGrpSpPr/>
          <p:nvPr/>
        </p:nvGrpSpPr>
        <p:grpSpPr>
          <a:xfrm>
            <a:off x="7252851" y="4734495"/>
            <a:ext cx="968461" cy="714911"/>
            <a:chOff x="5706136" y="4669961"/>
            <a:chExt cx="968599" cy="715012"/>
          </a:xfrm>
        </p:grpSpPr>
        <p:sp>
          <p:nvSpPr>
            <p:cNvPr id="197" name="TextBox 196"/>
            <p:cNvSpPr txBox="1"/>
            <p:nvPr/>
          </p:nvSpPr>
          <p:spPr>
            <a:xfrm>
              <a:off x="5706136" y="5046171"/>
              <a:ext cx="968599" cy="338802"/>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Manufacturing</a:t>
              </a:r>
            </a:p>
          </p:txBody>
        </p:sp>
        <p:sp>
          <p:nvSpPr>
            <p:cNvPr id="265" name="Manufacturing_E99C" title="Icon of a robotic arm">
              <a:extLst>
                <a:ext uri="{FF2B5EF4-FFF2-40B4-BE49-F238E27FC236}">
                  <a16:creationId xmlns:a16="http://schemas.microsoft.com/office/drawing/2014/main" id="{B9BA925D-0D4A-4340-AFD3-FBD3FB15B503}"/>
                </a:ext>
              </a:extLst>
            </p:cNvPr>
            <p:cNvSpPr>
              <a:spLocks noChangeAspect="1" noEditPoints="1"/>
            </p:cNvSpPr>
            <p:nvPr/>
          </p:nvSpPr>
          <p:spPr bwMode="auto">
            <a:xfrm>
              <a:off x="6003353" y="4669961"/>
              <a:ext cx="374164" cy="36576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348" name="Group 347">
            <a:extLst>
              <a:ext uri="{FF2B5EF4-FFF2-40B4-BE49-F238E27FC236}">
                <a16:creationId xmlns:a16="http://schemas.microsoft.com/office/drawing/2014/main" id="{864531F4-A183-44CB-9C8C-AC452BCA396F}"/>
              </a:ext>
            </a:extLst>
          </p:cNvPr>
          <p:cNvGrpSpPr/>
          <p:nvPr/>
        </p:nvGrpSpPr>
        <p:grpSpPr>
          <a:xfrm>
            <a:off x="450043" y="4245061"/>
            <a:ext cx="968461" cy="656685"/>
            <a:chOff x="523515" y="3671969"/>
            <a:chExt cx="968599" cy="656777"/>
          </a:xfrm>
        </p:grpSpPr>
        <p:sp>
          <p:nvSpPr>
            <p:cNvPr id="80" name="TextBox 79"/>
            <p:cNvSpPr txBox="1"/>
            <p:nvPr/>
          </p:nvSpPr>
          <p:spPr>
            <a:xfrm>
              <a:off x="523515" y="4159345"/>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hopping</a:t>
              </a:r>
            </a:p>
          </p:txBody>
        </p:sp>
        <p:sp>
          <p:nvSpPr>
            <p:cNvPr id="272" name="ShoppingCart_E7BF" title="Icon of a shopping cart">
              <a:extLst>
                <a:ext uri="{FF2B5EF4-FFF2-40B4-BE49-F238E27FC236}">
                  <a16:creationId xmlns:a16="http://schemas.microsoft.com/office/drawing/2014/main" id="{48515BD5-05E0-4DA6-8860-3FD7B8B5D7C1}"/>
                </a:ext>
              </a:extLst>
            </p:cNvPr>
            <p:cNvSpPr>
              <a:spLocks noChangeAspect="1" noEditPoints="1"/>
            </p:cNvSpPr>
            <p:nvPr/>
          </p:nvSpPr>
          <p:spPr bwMode="auto">
            <a:xfrm>
              <a:off x="792750" y="3671969"/>
              <a:ext cx="430128" cy="36576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109" name="Group 108">
            <a:extLst>
              <a:ext uri="{FF2B5EF4-FFF2-40B4-BE49-F238E27FC236}">
                <a16:creationId xmlns:a16="http://schemas.microsoft.com/office/drawing/2014/main" id="{DC63C5B4-58C8-4099-920F-C147D3F11AFB}"/>
              </a:ext>
            </a:extLst>
          </p:cNvPr>
          <p:cNvGrpSpPr/>
          <p:nvPr/>
        </p:nvGrpSpPr>
        <p:grpSpPr>
          <a:xfrm>
            <a:off x="1595762" y="5798568"/>
            <a:ext cx="968461" cy="598791"/>
            <a:chOff x="1595105" y="5798889"/>
            <a:chExt cx="968599" cy="598875"/>
          </a:xfrm>
        </p:grpSpPr>
        <p:sp>
          <p:nvSpPr>
            <p:cNvPr id="171" name="TextBox 170"/>
            <p:cNvSpPr txBox="1"/>
            <p:nvPr/>
          </p:nvSpPr>
          <p:spPr>
            <a:xfrm>
              <a:off x="1595105" y="6228363"/>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mart meters</a:t>
              </a:r>
            </a:p>
          </p:txBody>
        </p:sp>
        <p:sp>
          <p:nvSpPr>
            <p:cNvPr id="273" name="money" title="Icon of a creditcard with signal lines on top">
              <a:extLst>
                <a:ext uri="{FF2B5EF4-FFF2-40B4-BE49-F238E27FC236}">
                  <a16:creationId xmlns:a16="http://schemas.microsoft.com/office/drawing/2014/main" id="{51BF9C31-6522-492D-AC1C-F4AE86778FCF}"/>
                </a:ext>
              </a:extLst>
            </p:cNvPr>
            <p:cNvSpPr>
              <a:spLocks noChangeAspect="1" noEditPoints="1"/>
            </p:cNvSpPr>
            <p:nvPr/>
          </p:nvSpPr>
          <p:spPr bwMode="auto">
            <a:xfrm>
              <a:off x="1946114" y="5798889"/>
              <a:ext cx="266580" cy="365760"/>
            </a:xfrm>
            <a:custGeom>
              <a:avLst/>
              <a:gdLst>
                <a:gd name="T0" fmla="*/ 0 w 238"/>
                <a:gd name="T1" fmla="*/ 179 h 326"/>
                <a:gd name="T2" fmla="*/ 20 w 238"/>
                <a:gd name="T3" fmla="*/ 159 h 326"/>
                <a:gd name="T4" fmla="*/ 218 w 238"/>
                <a:gd name="T5" fmla="*/ 159 h 326"/>
                <a:gd name="T6" fmla="*/ 238 w 238"/>
                <a:gd name="T7" fmla="*/ 179 h 326"/>
                <a:gd name="T8" fmla="*/ 238 w 238"/>
                <a:gd name="T9" fmla="*/ 306 h 326"/>
                <a:gd name="T10" fmla="*/ 218 w 238"/>
                <a:gd name="T11" fmla="*/ 326 h 326"/>
                <a:gd name="T12" fmla="*/ 20 w 238"/>
                <a:gd name="T13" fmla="*/ 326 h 326"/>
                <a:gd name="T14" fmla="*/ 0 w 238"/>
                <a:gd name="T15" fmla="*/ 306 h 326"/>
                <a:gd name="T16" fmla="*/ 0 w 238"/>
                <a:gd name="T17" fmla="*/ 179 h 326"/>
                <a:gd name="T18" fmla="*/ 0 w 238"/>
                <a:gd name="T19" fmla="*/ 196 h 326"/>
                <a:gd name="T20" fmla="*/ 238 w 238"/>
                <a:gd name="T21" fmla="*/ 196 h 326"/>
                <a:gd name="T22" fmla="*/ 168 w 238"/>
                <a:gd name="T23" fmla="*/ 267 h 326"/>
                <a:gd name="T24" fmla="*/ 211 w 238"/>
                <a:gd name="T25" fmla="*/ 267 h 326"/>
                <a:gd name="T26" fmla="*/ 172 w 238"/>
                <a:gd name="T27" fmla="*/ 106 h 326"/>
                <a:gd name="T28" fmla="*/ 118 w 238"/>
                <a:gd name="T29" fmla="*/ 82 h 326"/>
                <a:gd name="T30" fmla="*/ 66 w 238"/>
                <a:gd name="T31" fmla="*/ 103 h 326"/>
                <a:gd name="T32" fmla="*/ 201 w 238"/>
                <a:gd name="T33" fmla="*/ 77 h 326"/>
                <a:gd name="T34" fmla="*/ 118 w 238"/>
                <a:gd name="T35" fmla="*/ 42 h 326"/>
                <a:gd name="T36" fmla="*/ 37 w 238"/>
                <a:gd name="T37" fmla="*/ 74 h 326"/>
                <a:gd name="T38" fmla="*/ 231 w 238"/>
                <a:gd name="T39" fmla="*/ 47 h 326"/>
                <a:gd name="T40" fmla="*/ 118 w 238"/>
                <a:gd name="T41" fmla="*/ 0 h 326"/>
                <a:gd name="T42" fmla="*/ 7 w 238"/>
                <a:gd name="T43"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326">
                  <a:moveTo>
                    <a:pt x="0" y="179"/>
                  </a:moveTo>
                  <a:cubicBezTo>
                    <a:pt x="0" y="168"/>
                    <a:pt x="9" y="159"/>
                    <a:pt x="20" y="159"/>
                  </a:cubicBezTo>
                  <a:cubicBezTo>
                    <a:pt x="218" y="159"/>
                    <a:pt x="218" y="159"/>
                    <a:pt x="218" y="159"/>
                  </a:cubicBezTo>
                  <a:cubicBezTo>
                    <a:pt x="229" y="159"/>
                    <a:pt x="238" y="168"/>
                    <a:pt x="238" y="179"/>
                  </a:cubicBezTo>
                  <a:cubicBezTo>
                    <a:pt x="238" y="306"/>
                    <a:pt x="238" y="306"/>
                    <a:pt x="238" y="306"/>
                  </a:cubicBezTo>
                  <a:cubicBezTo>
                    <a:pt x="238" y="317"/>
                    <a:pt x="229" y="326"/>
                    <a:pt x="218" y="326"/>
                  </a:cubicBezTo>
                  <a:cubicBezTo>
                    <a:pt x="20" y="326"/>
                    <a:pt x="20" y="326"/>
                    <a:pt x="20" y="326"/>
                  </a:cubicBezTo>
                  <a:cubicBezTo>
                    <a:pt x="9" y="326"/>
                    <a:pt x="0" y="317"/>
                    <a:pt x="0" y="306"/>
                  </a:cubicBezTo>
                  <a:lnTo>
                    <a:pt x="0" y="179"/>
                  </a:lnTo>
                  <a:close/>
                  <a:moveTo>
                    <a:pt x="0" y="196"/>
                  </a:moveTo>
                  <a:cubicBezTo>
                    <a:pt x="238" y="196"/>
                    <a:pt x="238" y="196"/>
                    <a:pt x="238" y="196"/>
                  </a:cubicBezTo>
                  <a:moveTo>
                    <a:pt x="168" y="267"/>
                  </a:moveTo>
                  <a:cubicBezTo>
                    <a:pt x="211" y="267"/>
                    <a:pt x="211" y="267"/>
                    <a:pt x="211" y="267"/>
                  </a:cubicBezTo>
                  <a:moveTo>
                    <a:pt x="172" y="106"/>
                  </a:moveTo>
                  <a:cubicBezTo>
                    <a:pt x="159" y="91"/>
                    <a:pt x="139" y="82"/>
                    <a:pt x="118" y="82"/>
                  </a:cubicBezTo>
                  <a:cubicBezTo>
                    <a:pt x="97" y="82"/>
                    <a:pt x="79" y="90"/>
                    <a:pt x="66" y="103"/>
                  </a:cubicBezTo>
                  <a:moveTo>
                    <a:pt x="201" y="77"/>
                  </a:moveTo>
                  <a:cubicBezTo>
                    <a:pt x="180" y="55"/>
                    <a:pt x="150" y="42"/>
                    <a:pt x="118" y="42"/>
                  </a:cubicBezTo>
                  <a:cubicBezTo>
                    <a:pt x="86" y="42"/>
                    <a:pt x="58" y="54"/>
                    <a:pt x="37" y="74"/>
                  </a:cubicBezTo>
                  <a:moveTo>
                    <a:pt x="231" y="47"/>
                  </a:moveTo>
                  <a:cubicBezTo>
                    <a:pt x="202" y="18"/>
                    <a:pt x="162" y="0"/>
                    <a:pt x="118" y="0"/>
                  </a:cubicBezTo>
                  <a:cubicBezTo>
                    <a:pt x="74" y="0"/>
                    <a:pt x="35" y="17"/>
                    <a:pt x="7" y="45"/>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70" name="Group 69">
            <a:extLst>
              <a:ext uri="{FF2B5EF4-FFF2-40B4-BE49-F238E27FC236}">
                <a16:creationId xmlns:a16="http://schemas.microsoft.com/office/drawing/2014/main" id="{3404C74F-F417-4395-8907-A28AD30177EF}"/>
              </a:ext>
            </a:extLst>
          </p:cNvPr>
          <p:cNvGrpSpPr/>
          <p:nvPr/>
        </p:nvGrpSpPr>
        <p:grpSpPr>
          <a:xfrm>
            <a:off x="11149428" y="1489616"/>
            <a:ext cx="968461" cy="593711"/>
            <a:chOff x="11150127" y="1489330"/>
            <a:chExt cx="968599" cy="593794"/>
          </a:xfrm>
        </p:grpSpPr>
        <p:sp>
          <p:nvSpPr>
            <p:cNvPr id="137" name="TextBox 136"/>
            <p:cNvSpPr txBox="1"/>
            <p:nvPr/>
          </p:nvSpPr>
          <p:spPr>
            <a:xfrm>
              <a:off x="11150127" y="1913723"/>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Buildings</a:t>
              </a:r>
            </a:p>
          </p:txBody>
        </p:sp>
        <p:sp>
          <p:nvSpPr>
            <p:cNvPr id="275" name="building_8" title="Icon of tall buildings">
              <a:extLst>
                <a:ext uri="{FF2B5EF4-FFF2-40B4-BE49-F238E27FC236}">
                  <a16:creationId xmlns:a16="http://schemas.microsoft.com/office/drawing/2014/main" id="{B4476E06-9758-45AD-8310-501C54B6090E}"/>
                </a:ext>
              </a:extLst>
            </p:cNvPr>
            <p:cNvSpPr>
              <a:spLocks noChangeAspect="1" noEditPoints="1"/>
            </p:cNvSpPr>
            <p:nvPr/>
          </p:nvSpPr>
          <p:spPr bwMode="auto">
            <a:xfrm>
              <a:off x="11466040" y="1489330"/>
              <a:ext cx="336772" cy="3657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158" name="Group 157">
            <a:extLst>
              <a:ext uri="{FF2B5EF4-FFF2-40B4-BE49-F238E27FC236}">
                <a16:creationId xmlns:a16="http://schemas.microsoft.com/office/drawing/2014/main" id="{140B9EBF-AC88-4990-B9BD-C0BAAA0A1526}"/>
              </a:ext>
            </a:extLst>
          </p:cNvPr>
          <p:cNvGrpSpPr/>
          <p:nvPr/>
        </p:nvGrpSpPr>
        <p:grpSpPr>
          <a:xfrm>
            <a:off x="7818988" y="3840341"/>
            <a:ext cx="968461" cy="619364"/>
            <a:chOff x="7656998" y="3671969"/>
            <a:chExt cx="968599" cy="619452"/>
          </a:xfrm>
        </p:grpSpPr>
        <p:sp>
          <p:nvSpPr>
            <p:cNvPr id="96" name="TextBox 95"/>
            <p:cNvSpPr txBox="1"/>
            <p:nvPr/>
          </p:nvSpPr>
          <p:spPr>
            <a:xfrm>
              <a:off x="7656998" y="4122020"/>
              <a:ext cx="968599" cy="169401"/>
            </a:xfrm>
            <a:prstGeom prst="rect">
              <a:avLst/>
            </a:prstGeom>
            <a:noFill/>
            <a:ln>
              <a:noFill/>
            </a:ln>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Factories</a:t>
              </a:r>
            </a:p>
          </p:txBody>
        </p:sp>
        <p:sp>
          <p:nvSpPr>
            <p:cNvPr id="276" name="factory_3" title="Icon of a factory or warehouse">
              <a:extLst>
                <a:ext uri="{FF2B5EF4-FFF2-40B4-BE49-F238E27FC236}">
                  <a16:creationId xmlns:a16="http://schemas.microsoft.com/office/drawing/2014/main" id="{8D87FAC3-2674-45F1-BB1B-8D9CD5E8B3F2}"/>
                </a:ext>
              </a:extLst>
            </p:cNvPr>
            <p:cNvSpPr>
              <a:spLocks noChangeAspect="1" noEditPoints="1"/>
            </p:cNvSpPr>
            <p:nvPr/>
          </p:nvSpPr>
          <p:spPr bwMode="auto">
            <a:xfrm>
              <a:off x="7845991" y="3671969"/>
              <a:ext cx="590612" cy="365760"/>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73" name="Group 72">
            <a:extLst>
              <a:ext uri="{FF2B5EF4-FFF2-40B4-BE49-F238E27FC236}">
                <a16:creationId xmlns:a16="http://schemas.microsoft.com/office/drawing/2014/main" id="{AC6867BC-CAE6-499D-8561-B7D098D64106}"/>
              </a:ext>
            </a:extLst>
          </p:cNvPr>
          <p:cNvGrpSpPr/>
          <p:nvPr/>
        </p:nvGrpSpPr>
        <p:grpSpPr>
          <a:xfrm>
            <a:off x="10692141" y="4664135"/>
            <a:ext cx="1054962" cy="775670"/>
            <a:chOff x="10692776" y="4664301"/>
            <a:chExt cx="1055111" cy="775780"/>
          </a:xfrm>
        </p:grpSpPr>
        <p:sp>
          <p:nvSpPr>
            <p:cNvPr id="154" name="TextBox 153"/>
            <p:cNvSpPr txBox="1"/>
            <p:nvPr/>
          </p:nvSpPr>
          <p:spPr>
            <a:xfrm>
              <a:off x="10692776" y="5101279"/>
              <a:ext cx="1055111" cy="338802"/>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Vaccine dispensers</a:t>
              </a:r>
            </a:p>
          </p:txBody>
        </p:sp>
        <p:sp>
          <p:nvSpPr>
            <p:cNvPr id="279" name="Beaker_F196" title="Icon of a scientific flask with liquid in it">
              <a:extLst>
                <a:ext uri="{FF2B5EF4-FFF2-40B4-BE49-F238E27FC236}">
                  <a16:creationId xmlns:a16="http://schemas.microsoft.com/office/drawing/2014/main" id="{A1FDFB84-6782-402B-B717-9C95811C7E02}"/>
                </a:ext>
              </a:extLst>
            </p:cNvPr>
            <p:cNvSpPr>
              <a:spLocks noChangeAspect="1" noEditPoints="1"/>
            </p:cNvSpPr>
            <p:nvPr/>
          </p:nvSpPr>
          <p:spPr bwMode="auto">
            <a:xfrm>
              <a:off x="11062053" y="4664301"/>
              <a:ext cx="316556"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grpSp>
      <p:grpSp>
        <p:nvGrpSpPr>
          <p:cNvPr id="138" name="Group 137">
            <a:extLst>
              <a:ext uri="{FF2B5EF4-FFF2-40B4-BE49-F238E27FC236}">
                <a16:creationId xmlns:a16="http://schemas.microsoft.com/office/drawing/2014/main" id="{7E6AC80E-B50D-4B15-9323-C11D5F502A96}"/>
              </a:ext>
            </a:extLst>
          </p:cNvPr>
          <p:cNvGrpSpPr/>
          <p:nvPr/>
        </p:nvGrpSpPr>
        <p:grpSpPr>
          <a:xfrm>
            <a:off x="337744" y="1994612"/>
            <a:ext cx="1249970" cy="619544"/>
            <a:chOff x="382741" y="2730775"/>
            <a:chExt cx="1250147" cy="619632"/>
          </a:xfrm>
        </p:grpSpPr>
        <p:sp>
          <p:nvSpPr>
            <p:cNvPr id="165" name="Rectangle 164"/>
            <p:cNvSpPr/>
            <p:nvPr/>
          </p:nvSpPr>
          <p:spPr>
            <a:xfrm>
              <a:off x="382741" y="3162168"/>
              <a:ext cx="1250147" cy="188239"/>
            </a:xfrm>
            <a:prstGeom prst="rect">
              <a:avLst/>
            </a:prstGeom>
          </p:spPr>
          <p:txBody>
            <a:bodyPr vert="horz" wrap="square" lIns="0" tIns="0" rIns="0" bIns="0" anchor="ctr" anchorCtr="0">
              <a:spAutoFit/>
            </a:bodyPr>
            <a:lstStyle/>
            <a:p>
              <a:pPr algn="ctr" defTabSz="932418">
                <a:defRPr/>
              </a:pPr>
              <a:r>
                <a:rPr lang="en-US" sz="1199" kern="0">
                  <a:gradFill>
                    <a:gsLst>
                      <a:gs pos="2917">
                        <a:srgbClr val="353535"/>
                      </a:gs>
                      <a:gs pos="32000">
                        <a:srgbClr val="353535"/>
                      </a:gs>
                    </a:gsLst>
                    <a:lin ang="5400000" scaled="0"/>
                  </a:gradFill>
                </a:rPr>
                <a:t>Workspaces</a:t>
              </a:r>
            </a:p>
          </p:txBody>
        </p:sp>
        <p:sp>
          <p:nvSpPr>
            <p:cNvPr id="280" name="desk_2" title="Icon of a desk with a PC on top">
              <a:extLst>
                <a:ext uri="{FF2B5EF4-FFF2-40B4-BE49-F238E27FC236}">
                  <a16:creationId xmlns:a16="http://schemas.microsoft.com/office/drawing/2014/main" id="{95CF43B6-2C18-49A9-9C81-E6EBDA8F4DCF}"/>
                </a:ext>
              </a:extLst>
            </p:cNvPr>
            <p:cNvSpPr>
              <a:spLocks noChangeAspect="1" noEditPoints="1"/>
            </p:cNvSpPr>
            <p:nvPr/>
          </p:nvSpPr>
          <p:spPr bwMode="auto">
            <a:xfrm>
              <a:off x="799396" y="2730775"/>
              <a:ext cx="416836" cy="365760"/>
            </a:xfrm>
            <a:custGeom>
              <a:avLst/>
              <a:gdLst>
                <a:gd name="T0" fmla="*/ 0 w 253"/>
                <a:gd name="T1" fmla="*/ 94 h 222"/>
                <a:gd name="T2" fmla="*/ 253 w 253"/>
                <a:gd name="T3" fmla="*/ 94 h 222"/>
                <a:gd name="T4" fmla="*/ 17 w 253"/>
                <a:gd name="T5" fmla="*/ 94 h 222"/>
                <a:gd name="T6" fmla="*/ 17 w 253"/>
                <a:gd name="T7" fmla="*/ 222 h 222"/>
                <a:gd name="T8" fmla="*/ 235 w 253"/>
                <a:gd name="T9" fmla="*/ 94 h 222"/>
                <a:gd name="T10" fmla="*/ 235 w 253"/>
                <a:gd name="T11" fmla="*/ 222 h 222"/>
                <a:gd name="T12" fmla="*/ 0 w 253"/>
                <a:gd name="T13" fmla="*/ 222 h 222"/>
                <a:gd name="T14" fmla="*/ 35 w 253"/>
                <a:gd name="T15" fmla="*/ 222 h 222"/>
                <a:gd name="T16" fmla="*/ 216 w 253"/>
                <a:gd name="T17" fmla="*/ 222 h 222"/>
                <a:gd name="T18" fmla="*/ 253 w 253"/>
                <a:gd name="T19" fmla="*/ 222 h 222"/>
                <a:gd name="T20" fmla="*/ 17 w 253"/>
                <a:gd name="T21" fmla="*/ 131 h 222"/>
                <a:gd name="T22" fmla="*/ 235 w 253"/>
                <a:gd name="T23" fmla="*/ 131 h 222"/>
                <a:gd name="T24" fmla="*/ 171 w 253"/>
                <a:gd name="T25" fmla="*/ 70 h 222"/>
                <a:gd name="T26" fmla="*/ 190 w 253"/>
                <a:gd name="T27" fmla="*/ 70 h 222"/>
                <a:gd name="T28" fmla="*/ 209 w 253"/>
                <a:gd name="T29" fmla="*/ 54 h 222"/>
                <a:gd name="T30" fmla="*/ 209 w 253"/>
                <a:gd name="T31" fmla="*/ 18 h 222"/>
                <a:gd name="T32" fmla="*/ 152 w 253"/>
                <a:gd name="T33" fmla="*/ 18 h 222"/>
                <a:gd name="T34" fmla="*/ 152 w 253"/>
                <a:gd name="T35" fmla="*/ 94 h 222"/>
                <a:gd name="T36" fmla="*/ 209 w 253"/>
                <a:gd name="T37" fmla="*/ 94 h 222"/>
                <a:gd name="T38" fmla="*/ 209 w 253"/>
                <a:gd name="T39" fmla="*/ 54 h 222"/>
                <a:gd name="T40" fmla="*/ 127 w 253"/>
                <a:gd name="T41" fmla="*/ 25 h 222"/>
                <a:gd name="T42" fmla="*/ 127 w 253"/>
                <a:gd name="T43" fmla="*/ 0 h 222"/>
                <a:gd name="T44" fmla="*/ 35 w 253"/>
                <a:gd name="T45" fmla="*/ 0 h 222"/>
                <a:gd name="T46" fmla="*/ 35 w 253"/>
                <a:gd name="T47" fmla="*/ 57 h 222"/>
                <a:gd name="T48" fmla="*/ 127 w 253"/>
                <a:gd name="T49" fmla="*/ 57 h 222"/>
                <a:gd name="T50" fmla="*/ 127 w 253"/>
                <a:gd name="T51" fmla="*/ 25 h 222"/>
                <a:gd name="T52" fmla="*/ 54 w 253"/>
                <a:gd name="T53" fmla="*/ 85 h 222"/>
                <a:gd name="T54" fmla="*/ 108 w 253"/>
                <a:gd name="T55" fmla="*/ 85 h 222"/>
                <a:gd name="T56" fmla="*/ 81 w 253"/>
                <a:gd name="T57" fmla="*/ 57 h 222"/>
                <a:gd name="T58" fmla="*/ 81 w 253"/>
                <a:gd name="T59" fmla="*/ 8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3" h="222">
                  <a:moveTo>
                    <a:pt x="0" y="94"/>
                  </a:moveTo>
                  <a:lnTo>
                    <a:pt x="253" y="94"/>
                  </a:lnTo>
                  <a:moveTo>
                    <a:pt x="17" y="94"/>
                  </a:moveTo>
                  <a:lnTo>
                    <a:pt x="17" y="222"/>
                  </a:lnTo>
                  <a:moveTo>
                    <a:pt x="235" y="94"/>
                  </a:moveTo>
                  <a:lnTo>
                    <a:pt x="235" y="222"/>
                  </a:lnTo>
                  <a:moveTo>
                    <a:pt x="0" y="222"/>
                  </a:moveTo>
                  <a:lnTo>
                    <a:pt x="35" y="222"/>
                  </a:lnTo>
                  <a:moveTo>
                    <a:pt x="216" y="222"/>
                  </a:moveTo>
                  <a:lnTo>
                    <a:pt x="253" y="222"/>
                  </a:lnTo>
                  <a:moveTo>
                    <a:pt x="17" y="131"/>
                  </a:moveTo>
                  <a:lnTo>
                    <a:pt x="235" y="131"/>
                  </a:lnTo>
                  <a:moveTo>
                    <a:pt x="171" y="70"/>
                  </a:moveTo>
                  <a:lnTo>
                    <a:pt x="190" y="70"/>
                  </a:lnTo>
                  <a:moveTo>
                    <a:pt x="209" y="54"/>
                  </a:moveTo>
                  <a:lnTo>
                    <a:pt x="209" y="18"/>
                  </a:lnTo>
                  <a:lnTo>
                    <a:pt x="152" y="18"/>
                  </a:lnTo>
                  <a:lnTo>
                    <a:pt x="152" y="94"/>
                  </a:lnTo>
                  <a:lnTo>
                    <a:pt x="209" y="94"/>
                  </a:lnTo>
                  <a:lnTo>
                    <a:pt x="209" y="54"/>
                  </a:lnTo>
                  <a:moveTo>
                    <a:pt x="127" y="25"/>
                  </a:moveTo>
                  <a:lnTo>
                    <a:pt x="127" y="0"/>
                  </a:lnTo>
                  <a:lnTo>
                    <a:pt x="35" y="0"/>
                  </a:lnTo>
                  <a:lnTo>
                    <a:pt x="35" y="57"/>
                  </a:lnTo>
                  <a:lnTo>
                    <a:pt x="127" y="57"/>
                  </a:lnTo>
                  <a:lnTo>
                    <a:pt x="127" y="25"/>
                  </a:lnTo>
                  <a:moveTo>
                    <a:pt x="54" y="85"/>
                  </a:moveTo>
                  <a:lnTo>
                    <a:pt x="108" y="85"/>
                  </a:lnTo>
                  <a:moveTo>
                    <a:pt x="81" y="57"/>
                  </a:moveTo>
                  <a:lnTo>
                    <a:pt x="81" y="85"/>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grpSp>
      <p:grpSp>
        <p:nvGrpSpPr>
          <p:cNvPr id="351" name="Group 350">
            <a:extLst>
              <a:ext uri="{FF2B5EF4-FFF2-40B4-BE49-F238E27FC236}">
                <a16:creationId xmlns:a16="http://schemas.microsoft.com/office/drawing/2014/main" id="{C4D74A88-3018-46C3-897F-6D0FF8B74CC4}"/>
              </a:ext>
            </a:extLst>
          </p:cNvPr>
          <p:cNvGrpSpPr/>
          <p:nvPr/>
        </p:nvGrpSpPr>
        <p:grpSpPr>
          <a:xfrm>
            <a:off x="4532027" y="2730886"/>
            <a:ext cx="506798" cy="591565"/>
            <a:chOff x="4531788" y="2730775"/>
            <a:chExt cx="506870" cy="591648"/>
          </a:xfrm>
        </p:grpSpPr>
        <p:sp>
          <p:nvSpPr>
            <p:cNvPr id="193" name="Train2_EA0E" title="Icon of a train">
              <a:extLst>
                <a:ext uri="{FF2B5EF4-FFF2-40B4-BE49-F238E27FC236}">
                  <a16:creationId xmlns:a16="http://schemas.microsoft.com/office/drawing/2014/main" id="{16CE3191-D85E-461A-886B-3AFF1F4F2D21}"/>
                </a:ext>
              </a:extLst>
            </p:cNvPr>
            <p:cNvSpPr>
              <a:spLocks noChangeAspect="1" noEditPoints="1"/>
            </p:cNvSpPr>
            <p:nvPr/>
          </p:nvSpPr>
          <p:spPr bwMode="auto">
            <a:xfrm>
              <a:off x="4643721" y="2730775"/>
              <a:ext cx="283004" cy="365760"/>
            </a:xfrm>
            <a:custGeom>
              <a:avLst/>
              <a:gdLst>
                <a:gd name="T0" fmla="*/ 2996 w 2996"/>
                <a:gd name="T1" fmla="*/ 3872 h 3872"/>
                <a:gd name="T2" fmla="*/ 2369 w 2996"/>
                <a:gd name="T3" fmla="*/ 3245 h 3872"/>
                <a:gd name="T4" fmla="*/ 621 w 2996"/>
                <a:gd name="T5" fmla="*/ 3251 h 3872"/>
                <a:gd name="T6" fmla="*/ 0 w 2996"/>
                <a:gd name="T7" fmla="*/ 3872 h 3872"/>
                <a:gd name="T8" fmla="*/ 1867 w 2996"/>
                <a:gd name="T9" fmla="*/ 1624 h 3872"/>
                <a:gd name="T10" fmla="*/ 1492 w 2996"/>
                <a:gd name="T11" fmla="*/ 1998 h 3872"/>
                <a:gd name="T12" fmla="*/ 1117 w 2996"/>
                <a:gd name="T13" fmla="*/ 1624 h 3872"/>
                <a:gd name="T14" fmla="*/ 1492 w 2996"/>
                <a:gd name="T15" fmla="*/ 1249 h 3872"/>
                <a:gd name="T16" fmla="*/ 1867 w 2996"/>
                <a:gd name="T17" fmla="*/ 1624 h 3872"/>
                <a:gd name="T18" fmla="*/ 1492 w 2996"/>
                <a:gd name="T19" fmla="*/ 0 h 3872"/>
                <a:gd name="T20" fmla="*/ 1492 w 2996"/>
                <a:gd name="T21" fmla="*/ 749 h 3872"/>
                <a:gd name="T22" fmla="*/ 480 w 2996"/>
                <a:gd name="T23" fmla="*/ 999 h 3872"/>
                <a:gd name="T24" fmla="*/ 1492 w 2996"/>
                <a:gd name="T25" fmla="*/ 749 h 3872"/>
                <a:gd name="T26" fmla="*/ 2504 w 2996"/>
                <a:gd name="T27" fmla="*/ 999 h 3872"/>
                <a:gd name="T28" fmla="*/ 368 w 2996"/>
                <a:gd name="T29" fmla="*/ 2748 h 3872"/>
                <a:gd name="T30" fmla="*/ 2616 w 2996"/>
                <a:gd name="T31" fmla="*/ 2748 h 3872"/>
                <a:gd name="T32" fmla="*/ 1492 w 2996"/>
                <a:gd name="T33" fmla="*/ 2748 h 3872"/>
                <a:gd name="T34" fmla="*/ 1492 w 2996"/>
                <a:gd name="T35" fmla="*/ 3539 h 3872"/>
                <a:gd name="T36" fmla="*/ 2117 w 2996"/>
                <a:gd name="T37" fmla="*/ 2748 h 3872"/>
                <a:gd name="T38" fmla="*/ 2117 w 2996"/>
                <a:gd name="T39" fmla="*/ 3330 h 3872"/>
                <a:gd name="T40" fmla="*/ 867 w 2996"/>
                <a:gd name="T41" fmla="*/ 2748 h 3872"/>
                <a:gd name="T42" fmla="*/ 867 w 2996"/>
                <a:gd name="T43" fmla="*/ 3330 h 3872"/>
                <a:gd name="T44" fmla="*/ 2445 w 2996"/>
                <a:gd name="T45" fmla="*/ 3221 h 3872"/>
                <a:gd name="T46" fmla="*/ 1492 w 2996"/>
                <a:gd name="T47" fmla="*/ 3539 h 3872"/>
                <a:gd name="T48" fmla="*/ 539 w 2996"/>
                <a:gd name="T49" fmla="*/ 3221 h 3872"/>
                <a:gd name="T50" fmla="*/ 368 w 2996"/>
                <a:gd name="T51" fmla="*/ 2984 h 3872"/>
                <a:gd name="T52" fmla="*/ 368 w 2996"/>
                <a:gd name="T53" fmla="*/ 1249 h 3872"/>
                <a:gd name="T54" fmla="*/ 493 w 2996"/>
                <a:gd name="T55" fmla="*/ 874 h 3872"/>
                <a:gd name="T56" fmla="*/ 493 w 2996"/>
                <a:gd name="T57" fmla="*/ 414 h 3872"/>
                <a:gd name="T58" fmla="*/ 682 w 2996"/>
                <a:gd name="T59" fmla="*/ 171 h 3872"/>
                <a:gd name="T60" fmla="*/ 1242 w 2996"/>
                <a:gd name="T61" fmla="*/ 31 h 3872"/>
                <a:gd name="T62" fmla="*/ 1363 w 2996"/>
                <a:gd name="T63" fmla="*/ 8 h 3872"/>
                <a:gd name="T64" fmla="*/ 1492 w 2996"/>
                <a:gd name="T65" fmla="*/ 0 h 3872"/>
                <a:gd name="T66" fmla="*/ 1621 w 2996"/>
                <a:gd name="T67" fmla="*/ 8 h 3872"/>
                <a:gd name="T68" fmla="*/ 1742 w 2996"/>
                <a:gd name="T69" fmla="*/ 31 h 3872"/>
                <a:gd name="T70" fmla="*/ 2302 w 2996"/>
                <a:gd name="T71" fmla="*/ 171 h 3872"/>
                <a:gd name="T72" fmla="*/ 2491 w 2996"/>
                <a:gd name="T73" fmla="*/ 414 h 3872"/>
                <a:gd name="T74" fmla="*/ 2491 w 2996"/>
                <a:gd name="T75" fmla="*/ 874 h 3872"/>
                <a:gd name="T76" fmla="*/ 2616 w 2996"/>
                <a:gd name="T77" fmla="*/ 1249 h 3872"/>
                <a:gd name="T78" fmla="*/ 2616 w 2996"/>
                <a:gd name="T79" fmla="*/ 2984 h 3872"/>
                <a:gd name="T80" fmla="*/ 2445 w 2996"/>
                <a:gd name="T81" fmla="*/ 3221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96" h="3872">
                  <a:moveTo>
                    <a:pt x="2996" y="3872"/>
                  </a:moveTo>
                  <a:cubicBezTo>
                    <a:pt x="2369" y="3245"/>
                    <a:pt x="2369" y="3245"/>
                    <a:pt x="2369" y="3245"/>
                  </a:cubicBezTo>
                  <a:moveTo>
                    <a:pt x="621" y="3251"/>
                  </a:moveTo>
                  <a:cubicBezTo>
                    <a:pt x="0" y="3872"/>
                    <a:pt x="0" y="3872"/>
                    <a:pt x="0" y="3872"/>
                  </a:cubicBezTo>
                  <a:moveTo>
                    <a:pt x="1867" y="1624"/>
                  </a:moveTo>
                  <a:cubicBezTo>
                    <a:pt x="1867" y="1831"/>
                    <a:pt x="1699" y="1998"/>
                    <a:pt x="1492" y="1998"/>
                  </a:cubicBezTo>
                  <a:cubicBezTo>
                    <a:pt x="1285" y="1998"/>
                    <a:pt x="1117" y="1831"/>
                    <a:pt x="1117" y="1624"/>
                  </a:cubicBezTo>
                  <a:cubicBezTo>
                    <a:pt x="1117" y="1417"/>
                    <a:pt x="1285" y="1249"/>
                    <a:pt x="1492" y="1249"/>
                  </a:cubicBezTo>
                  <a:cubicBezTo>
                    <a:pt x="1699" y="1249"/>
                    <a:pt x="1867" y="1417"/>
                    <a:pt x="1867" y="1624"/>
                  </a:cubicBezTo>
                  <a:close/>
                  <a:moveTo>
                    <a:pt x="1492" y="0"/>
                  </a:moveTo>
                  <a:cubicBezTo>
                    <a:pt x="1492" y="749"/>
                    <a:pt x="1492" y="749"/>
                    <a:pt x="1492" y="749"/>
                  </a:cubicBezTo>
                  <a:moveTo>
                    <a:pt x="480" y="999"/>
                  </a:moveTo>
                  <a:cubicBezTo>
                    <a:pt x="1492" y="749"/>
                    <a:pt x="1492" y="749"/>
                    <a:pt x="1492" y="749"/>
                  </a:cubicBezTo>
                  <a:cubicBezTo>
                    <a:pt x="2504" y="999"/>
                    <a:pt x="2504" y="999"/>
                    <a:pt x="2504" y="999"/>
                  </a:cubicBezTo>
                  <a:moveTo>
                    <a:pt x="368" y="2748"/>
                  </a:moveTo>
                  <a:cubicBezTo>
                    <a:pt x="2616" y="2748"/>
                    <a:pt x="2616" y="2748"/>
                    <a:pt x="2616" y="2748"/>
                  </a:cubicBezTo>
                  <a:moveTo>
                    <a:pt x="1492" y="2748"/>
                  </a:moveTo>
                  <a:cubicBezTo>
                    <a:pt x="1492" y="3539"/>
                    <a:pt x="1492" y="3539"/>
                    <a:pt x="1492" y="3539"/>
                  </a:cubicBezTo>
                  <a:moveTo>
                    <a:pt x="2117" y="2748"/>
                  </a:moveTo>
                  <a:cubicBezTo>
                    <a:pt x="2117" y="3330"/>
                    <a:pt x="2117" y="3330"/>
                    <a:pt x="2117" y="3330"/>
                  </a:cubicBezTo>
                  <a:moveTo>
                    <a:pt x="867" y="2748"/>
                  </a:moveTo>
                  <a:cubicBezTo>
                    <a:pt x="867" y="3330"/>
                    <a:pt x="867" y="3330"/>
                    <a:pt x="867" y="3330"/>
                  </a:cubicBezTo>
                  <a:moveTo>
                    <a:pt x="2445" y="3221"/>
                  </a:moveTo>
                  <a:cubicBezTo>
                    <a:pt x="1492" y="3539"/>
                    <a:pt x="1492" y="3539"/>
                    <a:pt x="1492" y="3539"/>
                  </a:cubicBezTo>
                  <a:cubicBezTo>
                    <a:pt x="539" y="3221"/>
                    <a:pt x="539" y="3221"/>
                    <a:pt x="539" y="3221"/>
                  </a:cubicBezTo>
                  <a:cubicBezTo>
                    <a:pt x="437" y="3187"/>
                    <a:pt x="368" y="3092"/>
                    <a:pt x="368" y="2984"/>
                  </a:cubicBezTo>
                  <a:cubicBezTo>
                    <a:pt x="368" y="1249"/>
                    <a:pt x="368" y="1249"/>
                    <a:pt x="368" y="1249"/>
                  </a:cubicBezTo>
                  <a:cubicBezTo>
                    <a:pt x="493" y="874"/>
                    <a:pt x="493" y="874"/>
                    <a:pt x="493" y="874"/>
                  </a:cubicBezTo>
                  <a:cubicBezTo>
                    <a:pt x="493" y="414"/>
                    <a:pt x="493" y="414"/>
                    <a:pt x="493" y="414"/>
                  </a:cubicBezTo>
                  <a:cubicBezTo>
                    <a:pt x="493" y="299"/>
                    <a:pt x="571" y="199"/>
                    <a:pt x="682" y="171"/>
                  </a:cubicBezTo>
                  <a:cubicBezTo>
                    <a:pt x="1242" y="31"/>
                    <a:pt x="1242" y="31"/>
                    <a:pt x="1242" y="31"/>
                  </a:cubicBezTo>
                  <a:cubicBezTo>
                    <a:pt x="1281" y="21"/>
                    <a:pt x="1321" y="13"/>
                    <a:pt x="1363" y="8"/>
                  </a:cubicBezTo>
                  <a:cubicBezTo>
                    <a:pt x="1404" y="3"/>
                    <a:pt x="1448" y="0"/>
                    <a:pt x="1492" y="0"/>
                  </a:cubicBezTo>
                  <a:cubicBezTo>
                    <a:pt x="1536" y="0"/>
                    <a:pt x="1580" y="3"/>
                    <a:pt x="1621" y="8"/>
                  </a:cubicBezTo>
                  <a:cubicBezTo>
                    <a:pt x="1663" y="13"/>
                    <a:pt x="1703" y="21"/>
                    <a:pt x="1742" y="31"/>
                  </a:cubicBezTo>
                  <a:cubicBezTo>
                    <a:pt x="2302" y="171"/>
                    <a:pt x="2302" y="171"/>
                    <a:pt x="2302" y="171"/>
                  </a:cubicBezTo>
                  <a:cubicBezTo>
                    <a:pt x="2413" y="199"/>
                    <a:pt x="2491" y="299"/>
                    <a:pt x="2491" y="414"/>
                  </a:cubicBezTo>
                  <a:cubicBezTo>
                    <a:pt x="2491" y="874"/>
                    <a:pt x="2491" y="874"/>
                    <a:pt x="2491" y="874"/>
                  </a:cubicBezTo>
                  <a:cubicBezTo>
                    <a:pt x="2616" y="1249"/>
                    <a:pt x="2616" y="1249"/>
                    <a:pt x="2616" y="1249"/>
                  </a:cubicBezTo>
                  <a:cubicBezTo>
                    <a:pt x="2616" y="2984"/>
                    <a:pt x="2616" y="2984"/>
                    <a:pt x="2616" y="2984"/>
                  </a:cubicBezTo>
                  <a:cubicBezTo>
                    <a:pt x="2616" y="3092"/>
                    <a:pt x="2547" y="3187"/>
                    <a:pt x="2445" y="3221"/>
                  </a:cubicBez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2" name="Rectangle 281">
              <a:extLst>
                <a:ext uri="{FF2B5EF4-FFF2-40B4-BE49-F238E27FC236}">
                  <a16:creationId xmlns:a16="http://schemas.microsoft.com/office/drawing/2014/main" id="{4764D63E-C6D3-4D0F-BBDC-0D6035865D65}"/>
                </a:ext>
              </a:extLst>
            </p:cNvPr>
            <p:cNvSpPr/>
            <p:nvPr/>
          </p:nvSpPr>
          <p:spPr>
            <a:xfrm>
              <a:off x="4531788" y="3153022"/>
              <a:ext cx="506870" cy="1694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384" fontAlgn="base">
                <a:lnSpc>
                  <a:spcPct val="90000"/>
                </a:lnSpc>
                <a:spcBef>
                  <a:spcPct val="0"/>
                </a:spcBef>
                <a:spcAft>
                  <a:spcPts val="600"/>
                </a:spcAft>
                <a:defRPr/>
              </a:pPr>
              <a:r>
                <a:rPr lang="en-US" sz="1199" kern="0">
                  <a:gradFill>
                    <a:gsLst>
                      <a:gs pos="2917">
                        <a:srgbClr val="353535"/>
                      </a:gs>
                      <a:gs pos="32000">
                        <a:srgbClr val="353535"/>
                      </a:gs>
                    </a:gsLst>
                    <a:lin ang="5400000" scaled="0"/>
                  </a:gradFill>
                </a:rPr>
                <a:t>Trains</a:t>
              </a:r>
            </a:p>
          </p:txBody>
        </p:sp>
      </p:grpSp>
      <p:grpSp>
        <p:nvGrpSpPr>
          <p:cNvPr id="350" name="Group 349">
            <a:extLst>
              <a:ext uri="{FF2B5EF4-FFF2-40B4-BE49-F238E27FC236}">
                <a16:creationId xmlns:a16="http://schemas.microsoft.com/office/drawing/2014/main" id="{3C508ADC-C700-47AB-88A3-B73C8C89DC04}"/>
              </a:ext>
            </a:extLst>
          </p:cNvPr>
          <p:cNvGrpSpPr/>
          <p:nvPr/>
        </p:nvGrpSpPr>
        <p:grpSpPr>
          <a:xfrm>
            <a:off x="4074266" y="3813381"/>
            <a:ext cx="591150" cy="599050"/>
            <a:chOff x="3141307" y="3671969"/>
            <a:chExt cx="591233" cy="599136"/>
          </a:xfrm>
        </p:grpSpPr>
        <p:sp>
          <p:nvSpPr>
            <p:cNvPr id="194" name="Train_E7C0" title="Icon of passenger train">
              <a:extLst>
                <a:ext uri="{FF2B5EF4-FFF2-40B4-BE49-F238E27FC236}">
                  <a16:creationId xmlns:a16="http://schemas.microsoft.com/office/drawing/2014/main" id="{705D51F1-BAA7-494B-A8E7-C8B85892A19E}"/>
                </a:ext>
              </a:extLst>
            </p:cNvPr>
            <p:cNvSpPr>
              <a:spLocks noChangeAspect="1" noEditPoints="1"/>
            </p:cNvSpPr>
            <p:nvPr/>
          </p:nvSpPr>
          <p:spPr bwMode="auto">
            <a:xfrm>
              <a:off x="3295509" y="3671969"/>
              <a:ext cx="282828" cy="365760"/>
            </a:xfrm>
            <a:custGeom>
              <a:avLst/>
              <a:gdLst>
                <a:gd name="T0" fmla="*/ 2867 w 2996"/>
                <a:gd name="T1" fmla="*/ 3000 h 3875"/>
                <a:gd name="T2" fmla="*/ 2617 w 2996"/>
                <a:gd name="T3" fmla="*/ 3250 h 3875"/>
                <a:gd name="T4" fmla="*/ 367 w 2996"/>
                <a:gd name="T5" fmla="*/ 3250 h 3875"/>
                <a:gd name="T6" fmla="*/ 117 w 2996"/>
                <a:gd name="T7" fmla="*/ 3000 h 3875"/>
                <a:gd name="T8" fmla="*/ 117 w 2996"/>
                <a:gd name="T9" fmla="*/ 250 h 3875"/>
                <a:gd name="T10" fmla="*/ 367 w 2996"/>
                <a:gd name="T11" fmla="*/ 0 h 3875"/>
                <a:gd name="T12" fmla="*/ 2617 w 2996"/>
                <a:gd name="T13" fmla="*/ 0 h 3875"/>
                <a:gd name="T14" fmla="*/ 2867 w 2996"/>
                <a:gd name="T15" fmla="*/ 250 h 3875"/>
                <a:gd name="T16" fmla="*/ 2867 w 2996"/>
                <a:gd name="T17" fmla="*/ 3000 h 3875"/>
                <a:gd name="T18" fmla="*/ 617 w 2996"/>
                <a:gd name="T19" fmla="*/ 2875 h 3875"/>
                <a:gd name="T20" fmla="*/ 742 w 2996"/>
                <a:gd name="T21" fmla="*/ 2750 h 3875"/>
                <a:gd name="T22" fmla="*/ 617 w 2996"/>
                <a:gd name="T23" fmla="*/ 2625 h 3875"/>
                <a:gd name="T24" fmla="*/ 492 w 2996"/>
                <a:gd name="T25" fmla="*/ 2750 h 3875"/>
                <a:gd name="T26" fmla="*/ 617 w 2996"/>
                <a:gd name="T27" fmla="*/ 2875 h 3875"/>
                <a:gd name="T28" fmla="*/ 2367 w 2996"/>
                <a:gd name="T29" fmla="*/ 2875 h 3875"/>
                <a:gd name="T30" fmla="*/ 2492 w 2996"/>
                <a:gd name="T31" fmla="*/ 2750 h 3875"/>
                <a:gd name="T32" fmla="*/ 2367 w 2996"/>
                <a:gd name="T33" fmla="*/ 2625 h 3875"/>
                <a:gd name="T34" fmla="*/ 2242 w 2996"/>
                <a:gd name="T35" fmla="*/ 2750 h 3875"/>
                <a:gd name="T36" fmla="*/ 2367 w 2996"/>
                <a:gd name="T37" fmla="*/ 2875 h 3875"/>
                <a:gd name="T38" fmla="*/ 117 w 2996"/>
                <a:gd name="T39" fmla="*/ 2250 h 3875"/>
                <a:gd name="T40" fmla="*/ 2867 w 2996"/>
                <a:gd name="T41" fmla="*/ 2250 h 3875"/>
                <a:gd name="T42" fmla="*/ 117 w 2996"/>
                <a:gd name="T43" fmla="*/ 1000 h 3875"/>
                <a:gd name="T44" fmla="*/ 2867 w 2996"/>
                <a:gd name="T45" fmla="*/ 1000 h 3875"/>
                <a:gd name="T46" fmla="*/ 992 w 2996"/>
                <a:gd name="T47" fmla="*/ 500 h 3875"/>
                <a:gd name="T48" fmla="*/ 1992 w 2996"/>
                <a:gd name="T49" fmla="*/ 500 h 3875"/>
                <a:gd name="T50" fmla="*/ 2996 w 2996"/>
                <a:gd name="T51" fmla="*/ 3875 h 3875"/>
                <a:gd name="T52" fmla="*/ 2369 w 2996"/>
                <a:gd name="T53" fmla="*/ 3248 h 3875"/>
                <a:gd name="T54" fmla="*/ 621 w 2996"/>
                <a:gd name="T55" fmla="*/ 3254 h 3875"/>
                <a:gd name="T56" fmla="*/ 0 w 2996"/>
                <a:gd name="T57" fmla="*/ 3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96" h="3875">
                  <a:moveTo>
                    <a:pt x="2867" y="3000"/>
                  </a:moveTo>
                  <a:cubicBezTo>
                    <a:pt x="2867" y="3138"/>
                    <a:pt x="2755" y="3250"/>
                    <a:pt x="2617" y="3250"/>
                  </a:cubicBezTo>
                  <a:cubicBezTo>
                    <a:pt x="367" y="3250"/>
                    <a:pt x="367" y="3250"/>
                    <a:pt x="367" y="3250"/>
                  </a:cubicBezTo>
                  <a:cubicBezTo>
                    <a:pt x="229" y="3250"/>
                    <a:pt x="117" y="3138"/>
                    <a:pt x="117" y="3000"/>
                  </a:cubicBezTo>
                  <a:cubicBezTo>
                    <a:pt x="117" y="250"/>
                    <a:pt x="117" y="250"/>
                    <a:pt x="117" y="250"/>
                  </a:cubicBezTo>
                  <a:cubicBezTo>
                    <a:pt x="117" y="112"/>
                    <a:pt x="229" y="0"/>
                    <a:pt x="367" y="0"/>
                  </a:cubicBezTo>
                  <a:cubicBezTo>
                    <a:pt x="2617" y="0"/>
                    <a:pt x="2617" y="0"/>
                    <a:pt x="2617" y="0"/>
                  </a:cubicBezTo>
                  <a:cubicBezTo>
                    <a:pt x="2755" y="0"/>
                    <a:pt x="2867" y="112"/>
                    <a:pt x="2867" y="250"/>
                  </a:cubicBezTo>
                  <a:lnTo>
                    <a:pt x="2867" y="3000"/>
                  </a:lnTo>
                  <a:close/>
                  <a:moveTo>
                    <a:pt x="617" y="2875"/>
                  </a:moveTo>
                  <a:cubicBezTo>
                    <a:pt x="686" y="2875"/>
                    <a:pt x="742" y="2819"/>
                    <a:pt x="742" y="2750"/>
                  </a:cubicBezTo>
                  <a:cubicBezTo>
                    <a:pt x="742" y="2681"/>
                    <a:pt x="686" y="2625"/>
                    <a:pt x="617" y="2625"/>
                  </a:cubicBezTo>
                  <a:cubicBezTo>
                    <a:pt x="548" y="2625"/>
                    <a:pt x="492" y="2681"/>
                    <a:pt x="492" y="2750"/>
                  </a:cubicBezTo>
                  <a:cubicBezTo>
                    <a:pt x="492" y="2819"/>
                    <a:pt x="548" y="2875"/>
                    <a:pt x="617" y="2875"/>
                  </a:cubicBezTo>
                  <a:close/>
                  <a:moveTo>
                    <a:pt x="2367" y="2875"/>
                  </a:moveTo>
                  <a:cubicBezTo>
                    <a:pt x="2436" y="2875"/>
                    <a:pt x="2492" y="2819"/>
                    <a:pt x="2492" y="2750"/>
                  </a:cubicBezTo>
                  <a:cubicBezTo>
                    <a:pt x="2492" y="2681"/>
                    <a:pt x="2436" y="2625"/>
                    <a:pt x="2367" y="2625"/>
                  </a:cubicBezTo>
                  <a:cubicBezTo>
                    <a:pt x="2298" y="2625"/>
                    <a:pt x="2242" y="2681"/>
                    <a:pt x="2242" y="2750"/>
                  </a:cubicBezTo>
                  <a:cubicBezTo>
                    <a:pt x="2242" y="2819"/>
                    <a:pt x="2298" y="2875"/>
                    <a:pt x="2367" y="2875"/>
                  </a:cubicBezTo>
                  <a:close/>
                  <a:moveTo>
                    <a:pt x="117" y="2250"/>
                  </a:moveTo>
                  <a:cubicBezTo>
                    <a:pt x="2867" y="2250"/>
                    <a:pt x="2867" y="2250"/>
                    <a:pt x="2867" y="2250"/>
                  </a:cubicBezTo>
                  <a:moveTo>
                    <a:pt x="117" y="1000"/>
                  </a:moveTo>
                  <a:cubicBezTo>
                    <a:pt x="2867" y="1000"/>
                    <a:pt x="2867" y="1000"/>
                    <a:pt x="2867" y="1000"/>
                  </a:cubicBezTo>
                  <a:moveTo>
                    <a:pt x="992" y="500"/>
                  </a:moveTo>
                  <a:cubicBezTo>
                    <a:pt x="1992" y="500"/>
                    <a:pt x="1992" y="500"/>
                    <a:pt x="1992" y="500"/>
                  </a:cubicBezTo>
                  <a:moveTo>
                    <a:pt x="2996" y="3875"/>
                  </a:moveTo>
                  <a:cubicBezTo>
                    <a:pt x="2369" y="3248"/>
                    <a:pt x="2369" y="3248"/>
                    <a:pt x="2369" y="3248"/>
                  </a:cubicBezTo>
                  <a:moveTo>
                    <a:pt x="621" y="3254"/>
                  </a:moveTo>
                  <a:cubicBezTo>
                    <a:pt x="0" y="3875"/>
                    <a:pt x="0" y="3875"/>
                    <a:pt x="0" y="3875"/>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3" name="Rectangle 282">
              <a:extLst>
                <a:ext uri="{FF2B5EF4-FFF2-40B4-BE49-F238E27FC236}">
                  <a16:creationId xmlns:a16="http://schemas.microsoft.com/office/drawing/2014/main" id="{589CEDCD-68C6-485D-86B7-EC632AA81DB4}"/>
                </a:ext>
              </a:extLst>
            </p:cNvPr>
            <p:cNvSpPr/>
            <p:nvPr/>
          </p:nvSpPr>
          <p:spPr>
            <a:xfrm>
              <a:off x="3141307" y="4105010"/>
              <a:ext cx="591233" cy="1660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384" fontAlgn="base">
                <a:lnSpc>
                  <a:spcPct val="90000"/>
                </a:lnSpc>
                <a:spcBef>
                  <a:spcPct val="0"/>
                </a:spcBef>
                <a:spcAft>
                  <a:spcPts val="600"/>
                </a:spcAft>
                <a:defRPr/>
              </a:pPr>
              <a:r>
                <a:rPr lang="en-US" sz="1199" kern="0">
                  <a:gradFill>
                    <a:gsLst>
                      <a:gs pos="2917">
                        <a:srgbClr val="353535"/>
                      </a:gs>
                      <a:gs pos="32000">
                        <a:srgbClr val="353535"/>
                      </a:gs>
                    </a:gsLst>
                    <a:lin ang="5400000" scaled="0"/>
                  </a:gradFill>
                </a:rPr>
                <a:t>Subways</a:t>
              </a:r>
            </a:p>
          </p:txBody>
        </p:sp>
      </p:grpSp>
      <p:grpSp>
        <p:nvGrpSpPr>
          <p:cNvPr id="55" name="Group 54">
            <a:extLst>
              <a:ext uri="{FF2B5EF4-FFF2-40B4-BE49-F238E27FC236}">
                <a16:creationId xmlns:a16="http://schemas.microsoft.com/office/drawing/2014/main" id="{AEFB8F28-C3BD-4045-9517-B378175AF670}"/>
              </a:ext>
            </a:extLst>
          </p:cNvPr>
          <p:cNvGrpSpPr/>
          <p:nvPr/>
        </p:nvGrpSpPr>
        <p:grpSpPr>
          <a:xfrm>
            <a:off x="3268846" y="5393679"/>
            <a:ext cx="990836" cy="801898"/>
            <a:chOff x="512326" y="1306450"/>
            <a:chExt cx="990977" cy="802011"/>
          </a:xfrm>
        </p:grpSpPr>
        <p:sp>
          <p:nvSpPr>
            <p:cNvPr id="195" name="plant_3" title="Icon of three stalks of wheat">
              <a:extLst>
                <a:ext uri="{FF2B5EF4-FFF2-40B4-BE49-F238E27FC236}">
                  <a16:creationId xmlns:a16="http://schemas.microsoft.com/office/drawing/2014/main" id="{F339DBDC-427B-4A32-AB46-F9457E133C76}"/>
                </a:ext>
              </a:extLst>
            </p:cNvPr>
            <p:cNvSpPr>
              <a:spLocks noChangeAspect="1" noEditPoints="1"/>
            </p:cNvSpPr>
            <p:nvPr/>
          </p:nvSpPr>
          <p:spPr bwMode="auto">
            <a:xfrm>
              <a:off x="847080" y="1306450"/>
              <a:ext cx="321469" cy="548640"/>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solidFill>
              <a:schemeClr val="bg1"/>
            </a:solidFill>
            <a:ln w="15875" cap="flat">
              <a:noFill/>
              <a:prstDash val="solid"/>
              <a:miter lim="800000"/>
              <a:headEnd/>
              <a:tailEnd/>
            </a:ln>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sp>
          <p:nvSpPr>
            <p:cNvPr id="209" name="Boat" title="Icon of a large boat">
              <a:extLst>
                <a:ext uri="{FF2B5EF4-FFF2-40B4-BE49-F238E27FC236}">
                  <a16:creationId xmlns:a16="http://schemas.microsoft.com/office/drawing/2014/main" id="{4D6FBC81-AEEC-4687-9CD2-C25FDDA9D3D4}"/>
                </a:ext>
              </a:extLst>
            </p:cNvPr>
            <p:cNvSpPr>
              <a:spLocks noChangeAspect="1" noEditPoints="1"/>
            </p:cNvSpPr>
            <p:nvPr/>
          </p:nvSpPr>
          <p:spPr bwMode="auto">
            <a:xfrm>
              <a:off x="796712" y="1489330"/>
              <a:ext cx="422204" cy="365760"/>
            </a:xfrm>
            <a:custGeom>
              <a:avLst/>
              <a:gdLst>
                <a:gd name="T0" fmla="*/ 158 w 316"/>
                <a:gd name="T1" fmla="*/ 42 h 274"/>
                <a:gd name="T2" fmla="*/ 221 w 316"/>
                <a:gd name="T3" fmla="*/ 42 h 274"/>
                <a:gd name="T4" fmla="*/ 241 w 316"/>
                <a:gd name="T5" fmla="*/ 84 h 274"/>
                <a:gd name="T6" fmla="*/ 262 w 316"/>
                <a:gd name="T7" fmla="*/ 84 h 274"/>
                <a:gd name="T8" fmla="*/ 262 w 316"/>
                <a:gd name="T9" fmla="*/ 160 h 274"/>
                <a:gd name="T10" fmla="*/ 311 w 316"/>
                <a:gd name="T11" fmla="*/ 176 h 274"/>
                <a:gd name="T12" fmla="*/ 268 w 316"/>
                <a:gd name="T13" fmla="*/ 263 h 274"/>
                <a:gd name="T14" fmla="*/ 253 w 316"/>
                <a:gd name="T15" fmla="*/ 273 h 274"/>
                <a:gd name="T16" fmla="*/ 205 w 316"/>
                <a:gd name="T17" fmla="*/ 252 h 274"/>
                <a:gd name="T18" fmla="*/ 158 w 316"/>
                <a:gd name="T19" fmla="*/ 274 h 274"/>
                <a:gd name="T20" fmla="*/ 111 w 316"/>
                <a:gd name="T21" fmla="*/ 252 h 274"/>
                <a:gd name="T22" fmla="*/ 63 w 316"/>
                <a:gd name="T23" fmla="*/ 273 h 274"/>
                <a:gd name="T24" fmla="*/ 48 w 316"/>
                <a:gd name="T25" fmla="*/ 263 h 274"/>
                <a:gd name="T26" fmla="*/ 5 w 316"/>
                <a:gd name="T27" fmla="*/ 176 h 274"/>
                <a:gd name="T28" fmla="*/ 54 w 316"/>
                <a:gd name="T29" fmla="*/ 160 h 274"/>
                <a:gd name="T30" fmla="*/ 54 w 316"/>
                <a:gd name="T31" fmla="*/ 84 h 274"/>
                <a:gd name="T32" fmla="*/ 74 w 316"/>
                <a:gd name="T33" fmla="*/ 84 h 274"/>
                <a:gd name="T34" fmla="*/ 95 w 316"/>
                <a:gd name="T35" fmla="*/ 42 h 274"/>
                <a:gd name="T36" fmla="*/ 158 w 316"/>
                <a:gd name="T37" fmla="*/ 42 h 274"/>
                <a:gd name="T38" fmla="*/ 179 w 316"/>
                <a:gd name="T39" fmla="*/ 42 h 274"/>
                <a:gd name="T40" fmla="*/ 179 w 316"/>
                <a:gd name="T41" fmla="*/ 0 h 274"/>
                <a:gd name="T42" fmla="*/ 137 w 316"/>
                <a:gd name="T43" fmla="*/ 0 h 274"/>
                <a:gd name="T44" fmla="*/ 137 w 316"/>
                <a:gd name="T45" fmla="*/ 42 h 274"/>
                <a:gd name="T46" fmla="*/ 262 w 316"/>
                <a:gd name="T47" fmla="*/ 160 h 274"/>
                <a:gd name="T48" fmla="*/ 158 w 316"/>
                <a:gd name="T49" fmla="*/ 127 h 274"/>
                <a:gd name="T50" fmla="*/ 54 w 316"/>
                <a:gd name="T51" fmla="*/ 160 h 274"/>
                <a:gd name="T52" fmla="*/ 74 w 316"/>
                <a:gd name="T53" fmla="*/ 84 h 274"/>
                <a:gd name="T54" fmla="*/ 241 w 316"/>
                <a:gd name="T55" fmla="*/ 84 h 274"/>
                <a:gd name="T56" fmla="*/ 158 w 316"/>
                <a:gd name="T57" fmla="*/ 271 h 274"/>
                <a:gd name="T58" fmla="*/ 158 w 316"/>
                <a:gd name="T59" fmla="*/ 129 h 274"/>
                <a:gd name="T60" fmla="*/ 0 w 316"/>
                <a:gd name="T61" fmla="*/ 253 h 274"/>
                <a:gd name="T62" fmla="*/ 41 w 316"/>
                <a:gd name="T63" fmla="*/ 253 h 274"/>
                <a:gd name="T64" fmla="*/ 275 w 316"/>
                <a:gd name="T65" fmla="*/ 253 h 274"/>
                <a:gd name="T66" fmla="*/ 316 w 316"/>
                <a:gd name="T67" fmla="*/ 25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6" h="274">
                  <a:moveTo>
                    <a:pt x="158" y="42"/>
                  </a:moveTo>
                  <a:cubicBezTo>
                    <a:pt x="221" y="42"/>
                    <a:pt x="221" y="42"/>
                    <a:pt x="221" y="42"/>
                  </a:cubicBezTo>
                  <a:cubicBezTo>
                    <a:pt x="241" y="84"/>
                    <a:pt x="241" y="84"/>
                    <a:pt x="241" y="84"/>
                  </a:cubicBezTo>
                  <a:cubicBezTo>
                    <a:pt x="262" y="84"/>
                    <a:pt x="262" y="84"/>
                    <a:pt x="262" y="84"/>
                  </a:cubicBezTo>
                  <a:cubicBezTo>
                    <a:pt x="262" y="160"/>
                    <a:pt x="262" y="160"/>
                    <a:pt x="262" y="160"/>
                  </a:cubicBezTo>
                  <a:cubicBezTo>
                    <a:pt x="311" y="176"/>
                    <a:pt x="311" y="176"/>
                    <a:pt x="311" y="176"/>
                  </a:cubicBezTo>
                  <a:cubicBezTo>
                    <a:pt x="268" y="263"/>
                    <a:pt x="268" y="263"/>
                    <a:pt x="268" y="263"/>
                  </a:cubicBezTo>
                  <a:cubicBezTo>
                    <a:pt x="268" y="263"/>
                    <a:pt x="264" y="273"/>
                    <a:pt x="253" y="273"/>
                  </a:cubicBezTo>
                  <a:cubicBezTo>
                    <a:pt x="232" y="273"/>
                    <a:pt x="226" y="252"/>
                    <a:pt x="205" y="252"/>
                  </a:cubicBezTo>
                  <a:cubicBezTo>
                    <a:pt x="188" y="252"/>
                    <a:pt x="177" y="274"/>
                    <a:pt x="158" y="274"/>
                  </a:cubicBezTo>
                  <a:cubicBezTo>
                    <a:pt x="139" y="274"/>
                    <a:pt x="128" y="252"/>
                    <a:pt x="111" y="252"/>
                  </a:cubicBezTo>
                  <a:cubicBezTo>
                    <a:pt x="90" y="252"/>
                    <a:pt x="84" y="273"/>
                    <a:pt x="63" y="273"/>
                  </a:cubicBezTo>
                  <a:cubicBezTo>
                    <a:pt x="52" y="273"/>
                    <a:pt x="48" y="263"/>
                    <a:pt x="48" y="263"/>
                  </a:cubicBezTo>
                  <a:cubicBezTo>
                    <a:pt x="5" y="176"/>
                    <a:pt x="5" y="176"/>
                    <a:pt x="5" y="176"/>
                  </a:cubicBezTo>
                  <a:cubicBezTo>
                    <a:pt x="54" y="160"/>
                    <a:pt x="54" y="160"/>
                    <a:pt x="54" y="160"/>
                  </a:cubicBezTo>
                  <a:cubicBezTo>
                    <a:pt x="54" y="84"/>
                    <a:pt x="54" y="84"/>
                    <a:pt x="54" y="84"/>
                  </a:cubicBezTo>
                  <a:cubicBezTo>
                    <a:pt x="74" y="84"/>
                    <a:pt x="74" y="84"/>
                    <a:pt x="74" y="84"/>
                  </a:cubicBezTo>
                  <a:cubicBezTo>
                    <a:pt x="95" y="42"/>
                    <a:pt x="95" y="42"/>
                    <a:pt x="95" y="42"/>
                  </a:cubicBezTo>
                  <a:cubicBezTo>
                    <a:pt x="158" y="42"/>
                    <a:pt x="158" y="42"/>
                    <a:pt x="158" y="42"/>
                  </a:cubicBezTo>
                  <a:moveTo>
                    <a:pt x="179" y="42"/>
                  </a:moveTo>
                  <a:cubicBezTo>
                    <a:pt x="179" y="0"/>
                    <a:pt x="179" y="0"/>
                    <a:pt x="179" y="0"/>
                  </a:cubicBezTo>
                  <a:cubicBezTo>
                    <a:pt x="137" y="0"/>
                    <a:pt x="137" y="0"/>
                    <a:pt x="137" y="0"/>
                  </a:cubicBezTo>
                  <a:cubicBezTo>
                    <a:pt x="137" y="42"/>
                    <a:pt x="137" y="42"/>
                    <a:pt x="137" y="42"/>
                  </a:cubicBezTo>
                  <a:moveTo>
                    <a:pt x="262" y="160"/>
                  </a:moveTo>
                  <a:cubicBezTo>
                    <a:pt x="158" y="127"/>
                    <a:pt x="158" y="127"/>
                    <a:pt x="158" y="127"/>
                  </a:cubicBezTo>
                  <a:cubicBezTo>
                    <a:pt x="54" y="160"/>
                    <a:pt x="54" y="160"/>
                    <a:pt x="54" y="160"/>
                  </a:cubicBezTo>
                  <a:moveTo>
                    <a:pt x="74" y="84"/>
                  </a:moveTo>
                  <a:cubicBezTo>
                    <a:pt x="241" y="84"/>
                    <a:pt x="241" y="84"/>
                    <a:pt x="241" y="84"/>
                  </a:cubicBezTo>
                  <a:moveTo>
                    <a:pt x="158" y="271"/>
                  </a:moveTo>
                  <a:cubicBezTo>
                    <a:pt x="158" y="129"/>
                    <a:pt x="158" y="129"/>
                    <a:pt x="158" y="129"/>
                  </a:cubicBezTo>
                  <a:moveTo>
                    <a:pt x="0" y="253"/>
                  </a:moveTo>
                  <a:cubicBezTo>
                    <a:pt x="41" y="253"/>
                    <a:pt x="41" y="253"/>
                    <a:pt x="41" y="253"/>
                  </a:cubicBezTo>
                  <a:moveTo>
                    <a:pt x="275" y="253"/>
                  </a:moveTo>
                  <a:cubicBezTo>
                    <a:pt x="316" y="253"/>
                    <a:pt x="316" y="253"/>
                    <a:pt x="316" y="253"/>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4" name="Rectangle 283">
              <a:extLst>
                <a:ext uri="{FF2B5EF4-FFF2-40B4-BE49-F238E27FC236}">
                  <a16:creationId xmlns:a16="http://schemas.microsoft.com/office/drawing/2014/main" id="{CC0C31F4-6F50-46BC-8A66-662BF26D9988}"/>
                </a:ext>
              </a:extLst>
            </p:cNvPr>
            <p:cNvSpPr/>
            <p:nvPr/>
          </p:nvSpPr>
          <p:spPr>
            <a:xfrm>
              <a:off x="512326" y="1939060"/>
              <a:ext cx="990977" cy="169401"/>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hipping</a:t>
              </a:r>
            </a:p>
          </p:txBody>
        </p:sp>
      </p:grpSp>
      <p:grpSp>
        <p:nvGrpSpPr>
          <p:cNvPr id="343" name="Group 342">
            <a:extLst>
              <a:ext uri="{FF2B5EF4-FFF2-40B4-BE49-F238E27FC236}">
                <a16:creationId xmlns:a16="http://schemas.microsoft.com/office/drawing/2014/main" id="{0461A59C-4DFA-4753-A62A-C22005D866B6}"/>
              </a:ext>
            </a:extLst>
          </p:cNvPr>
          <p:cNvGrpSpPr/>
          <p:nvPr/>
        </p:nvGrpSpPr>
        <p:grpSpPr>
          <a:xfrm>
            <a:off x="8615591" y="5340563"/>
            <a:ext cx="1177994" cy="628568"/>
            <a:chOff x="7552217" y="4669961"/>
            <a:chExt cx="1178161" cy="628657"/>
          </a:xfrm>
        </p:grpSpPr>
        <p:sp>
          <p:nvSpPr>
            <p:cNvPr id="251" name="Thunderstorms_E9C6" title="Icon of thunderclouds and lightning">
              <a:extLst>
                <a:ext uri="{FF2B5EF4-FFF2-40B4-BE49-F238E27FC236}">
                  <a16:creationId xmlns:a16="http://schemas.microsoft.com/office/drawing/2014/main" id="{E599242E-4532-4564-B82F-55C07601BC88}"/>
                </a:ext>
              </a:extLst>
            </p:cNvPr>
            <p:cNvSpPr>
              <a:spLocks noChangeAspect="1" noEditPoints="1"/>
            </p:cNvSpPr>
            <p:nvPr/>
          </p:nvSpPr>
          <p:spPr bwMode="auto">
            <a:xfrm>
              <a:off x="7915237" y="4669961"/>
              <a:ext cx="452120" cy="365760"/>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5" name="TextBox 284">
              <a:extLst>
                <a:ext uri="{FF2B5EF4-FFF2-40B4-BE49-F238E27FC236}">
                  <a16:creationId xmlns:a16="http://schemas.microsoft.com/office/drawing/2014/main" id="{864CEAC5-CCCF-4678-A71C-F157C51AFC9F}"/>
                </a:ext>
              </a:extLst>
            </p:cNvPr>
            <p:cNvSpPr txBox="1"/>
            <p:nvPr/>
          </p:nvSpPr>
          <p:spPr>
            <a:xfrm>
              <a:off x="7552217" y="5132524"/>
              <a:ext cx="1178161" cy="166094"/>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Weather Systems</a:t>
              </a:r>
            </a:p>
          </p:txBody>
        </p:sp>
      </p:grpSp>
      <p:grpSp>
        <p:nvGrpSpPr>
          <p:cNvPr id="68" name="Group 67">
            <a:extLst>
              <a:ext uri="{FF2B5EF4-FFF2-40B4-BE49-F238E27FC236}">
                <a16:creationId xmlns:a16="http://schemas.microsoft.com/office/drawing/2014/main" id="{DF47068B-04D6-4E64-B470-B02C92BC2E4F}"/>
              </a:ext>
            </a:extLst>
          </p:cNvPr>
          <p:cNvGrpSpPr/>
          <p:nvPr/>
        </p:nvGrpSpPr>
        <p:grpSpPr>
          <a:xfrm>
            <a:off x="7619412" y="1554648"/>
            <a:ext cx="968461" cy="619045"/>
            <a:chOff x="7864980" y="1489330"/>
            <a:chExt cx="968599" cy="619132"/>
          </a:xfrm>
        </p:grpSpPr>
        <p:sp>
          <p:nvSpPr>
            <p:cNvPr id="254" name="SecurityCamera_EB35" title="Icon of a security camera">
              <a:extLst>
                <a:ext uri="{FF2B5EF4-FFF2-40B4-BE49-F238E27FC236}">
                  <a16:creationId xmlns:a16="http://schemas.microsoft.com/office/drawing/2014/main" id="{F068100A-CDD6-47C1-9B22-7E8BB455EA11}"/>
                </a:ext>
              </a:extLst>
            </p:cNvPr>
            <p:cNvSpPr>
              <a:spLocks noChangeAspect="1" noEditPoints="1"/>
            </p:cNvSpPr>
            <p:nvPr/>
          </p:nvSpPr>
          <p:spPr bwMode="auto">
            <a:xfrm>
              <a:off x="8137447" y="1489330"/>
              <a:ext cx="423664" cy="365760"/>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sp>
          <p:nvSpPr>
            <p:cNvPr id="286" name="TextBox 285">
              <a:extLst>
                <a:ext uri="{FF2B5EF4-FFF2-40B4-BE49-F238E27FC236}">
                  <a16:creationId xmlns:a16="http://schemas.microsoft.com/office/drawing/2014/main" id="{9C866D21-02EB-4005-AAB0-E7C682A131F8}"/>
                </a:ext>
              </a:extLst>
            </p:cNvPr>
            <p:cNvSpPr txBox="1"/>
            <p:nvPr/>
          </p:nvSpPr>
          <p:spPr>
            <a:xfrm>
              <a:off x="7864980" y="1939061"/>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urveillance</a:t>
              </a:r>
            </a:p>
          </p:txBody>
        </p:sp>
      </p:grpSp>
      <p:grpSp>
        <p:nvGrpSpPr>
          <p:cNvPr id="161" name="Group 160">
            <a:extLst>
              <a:ext uri="{FF2B5EF4-FFF2-40B4-BE49-F238E27FC236}">
                <a16:creationId xmlns:a16="http://schemas.microsoft.com/office/drawing/2014/main" id="{C021591C-D0DB-407A-8737-446FE57BAA27}"/>
              </a:ext>
            </a:extLst>
          </p:cNvPr>
          <p:cNvGrpSpPr/>
          <p:nvPr/>
        </p:nvGrpSpPr>
        <p:grpSpPr>
          <a:xfrm>
            <a:off x="8720358" y="2429515"/>
            <a:ext cx="968461" cy="619045"/>
            <a:chOff x="8973726" y="1489330"/>
            <a:chExt cx="968599" cy="619132"/>
          </a:xfrm>
        </p:grpSpPr>
        <p:sp>
          <p:nvSpPr>
            <p:cNvPr id="277" name="sports" title="Icon of a rugby ball and soccer ball">
              <a:extLst>
                <a:ext uri="{FF2B5EF4-FFF2-40B4-BE49-F238E27FC236}">
                  <a16:creationId xmlns:a16="http://schemas.microsoft.com/office/drawing/2014/main" id="{DF8AC9CF-E142-40D6-850A-E4D03B0148A5}"/>
                </a:ext>
              </a:extLst>
            </p:cNvPr>
            <p:cNvSpPr>
              <a:spLocks noChangeAspect="1" noEditPoints="1"/>
            </p:cNvSpPr>
            <p:nvPr/>
          </p:nvSpPr>
          <p:spPr bwMode="auto">
            <a:xfrm>
              <a:off x="9273957" y="1489330"/>
              <a:ext cx="368136" cy="365760"/>
            </a:xfrm>
            <a:custGeom>
              <a:avLst/>
              <a:gdLst>
                <a:gd name="T0" fmla="*/ 75 w 349"/>
                <a:gd name="T1" fmla="*/ 123 h 348"/>
                <a:gd name="T2" fmla="*/ 212 w 349"/>
                <a:gd name="T3" fmla="*/ 0 h 348"/>
                <a:gd name="T4" fmla="*/ 349 w 349"/>
                <a:gd name="T5" fmla="*/ 137 h 348"/>
                <a:gd name="T6" fmla="*/ 222 w 349"/>
                <a:gd name="T7" fmla="*/ 274 h 348"/>
                <a:gd name="T8" fmla="*/ 21 w 349"/>
                <a:gd name="T9" fmla="*/ 139 h 348"/>
                <a:gd name="T10" fmla="*/ 62 w 349"/>
                <a:gd name="T11" fmla="*/ 288 h 348"/>
                <a:gd name="T12" fmla="*/ 212 w 349"/>
                <a:gd name="T13" fmla="*/ 329 h 348"/>
                <a:gd name="T14" fmla="*/ 171 w 349"/>
                <a:gd name="T15" fmla="*/ 180 h 348"/>
                <a:gd name="T16" fmla="*/ 21 w 349"/>
                <a:gd name="T17" fmla="*/ 139 h 348"/>
                <a:gd name="T18" fmla="*/ 92 w 349"/>
                <a:gd name="T19" fmla="*/ 211 h 348"/>
                <a:gd name="T20" fmla="*/ 138 w 349"/>
                <a:gd name="T21" fmla="*/ 256 h 348"/>
                <a:gd name="T22" fmla="*/ 75 w 349"/>
                <a:gd name="T23" fmla="*/ 123 h 348"/>
                <a:gd name="T24" fmla="*/ 74 w 349"/>
                <a:gd name="T25" fmla="*/ 128 h 348"/>
                <a:gd name="T26" fmla="*/ 161 w 349"/>
                <a:gd name="T27" fmla="*/ 123 h 348"/>
                <a:gd name="T28" fmla="*/ 179 w 349"/>
                <a:gd name="T29" fmla="*/ 175 h 348"/>
                <a:gd name="T30" fmla="*/ 245 w 349"/>
                <a:gd name="T31" fmla="*/ 175 h 348"/>
                <a:gd name="T32" fmla="*/ 262 w 349"/>
                <a:gd name="T33" fmla="*/ 123 h 348"/>
                <a:gd name="T34" fmla="*/ 212 w 349"/>
                <a:gd name="T35" fmla="*/ 85 h 348"/>
                <a:gd name="T36" fmla="*/ 161 w 349"/>
                <a:gd name="T37" fmla="*/ 123 h 348"/>
                <a:gd name="T38" fmla="*/ 162 w 349"/>
                <a:gd name="T39" fmla="*/ 8 h 348"/>
                <a:gd name="T40" fmla="*/ 212 w 349"/>
                <a:gd name="T41" fmla="*/ 41 h 348"/>
                <a:gd name="T42" fmla="*/ 261 w 349"/>
                <a:gd name="T43" fmla="*/ 8 h 348"/>
                <a:gd name="T44" fmla="*/ 212 w 349"/>
                <a:gd name="T45" fmla="*/ 85 h 348"/>
                <a:gd name="T46" fmla="*/ 212 w 349"/>
                <a:gd name="T47" fmla="*/ 39 h 348"/>
                <a:gd name="T48" fmla="*/ 262 w 349"/>
                <a:gd name="T49" fmla="*/ 123 h 348"/>
                <a:gd name="T50" fmla="*/ 307 w 349"/>
                <a:gd name="T51" fmla="*/ 113 h 348"/>
                <a:gd name="T52" fmla="*/ 322 w 349"/>
                <a:gd name="T53" fmla="*/ 56 h 348"/>
                <a:gd name="T54" fmla="*/ 348 w 349"/>
                <a:gd name="T55" fmla="*/ 153 h 348"/>
                <a:gd name="T56" fmla="*/ 307 w 349"/>
                <a:gd name="T57" fmla="*/ 113 h 348"/>
                <a:gd name="T58" fmla="*/ 99 w 349"/>
                <a:gd name="T59" fmla="*/ 56 h 348"/>
                <a:gd name="T60" fmla="*/ 115 w 349"/>
                <a:gd name="T61" fmla="*/ 113 h 348"/>
                <a:gd name="T62" fmla="*/ 160 w 349"/>
                <a:gd name="T63" fmla="*/ 123 h 348"/>
                <a:gd name="T64" fmla="*/ 94 w 349"/>
                <a:gd name="T65" fmla="*/ 133 h 348"/>
                <a:gd name="T66" fmla="*/ 115 w 349"/>
                <a:gd name="T67" fmla="*/ 113 h 348"/>
                <a:gd name="T68" fmla="*/ 245 w 349"/>
                <a:gd name="T69" fmla="*/ 175 h 348"/>
                <a:gd name="T70" fmla="*/ 270 w 349"/>
                <a:gd name="T71" fmla="*/ 215 h 348"/>
                <a:gd name="T72" fmla="*/ 323 w 349"/>
                <a:gd name="T73" fmla="*/ 218 h 348"/>
                <a:gd name="T74" fmla="*/ 245 w 349"/>
                <a:gd name="T75" fmla="*/ 271 h 348"/>
                <a:gd name="T76" fmla="*/ 270 w 349"/>
                <a:gd name="T77" fmla="*/ 21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9" h="348">
                  <a:moveTo>
                    <a:pt x="75" y="123"/>
                  </a:moveTo>
                  <a:cubicBezTo>
                    <a:pt x="82" y="54"/>
                    <a:pt x="140" y="0"/>
                    <a:pt x="212" y="0"/>
                  </a:cubicBezTo>
                  <a:cubicBezTo>
                    <a:pt x="288" y="0"/>
                    <a:pt x="349" y="61"/>
                    <a:pt x="349" y="137"/>
                  </a:cubicBezTo>
                  <a:cubicBezTo>
                    <a:pt x="349" y="210"/>
                    <a:pt x="293" y="269"/>
                    <a:pt x="222" y="274"/>
                  </a:cubicBezTo>
                  <a:moveTo>
                    <a:pt x="21" y="139"/>
                  </a:moveTo>
                  <a:cubicBezTo>
                    <a:pt x="0" y="160"/>
                    <a:pt x="10" y="236"/>
                    <a:pt x="62" y="288"/>
                  </a:cubicBezTo>
                  <a:cubicBezTo>
                    <a:pt x="115" y="341"/>
                    <a:pt x="192" y="348"/>
                    <a:pt x="212" y="329"/>
                  </a:cubicBezTo>
                  <a:cubicBezTo>
                    <a:pt x="232" y="309"/>
                    <a:pt x="223" y="232"/>
                    <a:pt x="171" y="180"/>
                  </a:cubicBezTo>
                  <a:cubicBezTo>
                    <a:pt x="118" y="127"/>
                    <a:pt x="45" y="115"/>
                    <a:pt x="21" y="139"/>
                  </a:cubicBezTo>
                  <a:close/>
                  <a:moveTo>
                    <a:pt x="92" y="211"/>
                  </a:moveTo>
                  <a:cubicBezTo>
                    <a:pt x="138" y="256"/>
                    <a:pt x="138" y="256"/>
                    <a:pt x="138" y="256"/>
                  </a:cubicBezTo>
                  <a:moveTo>
                    <a:pt x="75" y="123"/>
                  </a:moveTo>
                  <a:cubicBezTo>
                    <a:pt x="75" y="125"/>
                    <a:pt x="74" y="128"/>
                    <a:pt x="74" y="128"/>
                  </a:cubicBezTo>
                  <a:moveTo>
                    <a:pt x="161" y="123"/>
                  </a:moveTo>
                  <a:cubicBezTo>
                    <a:pt x="179" y="175"/>
                    <a:pt x="179" y="175"/>
                    <a:pt x="179" y="175"/>
                  </a:cubicBezTo>
                  <a:cubicBezTo>
                    <a:pt x="245" y="175"/>
                    <a:pt x="245" y="175"/>
                    <a:pt x="245" y="175"/>
                  </a:cubicBezTo>
                  <a:cubicBezTo>
                    <a:pt x="262" y="123"/>
                    <a:pt x="262" y="123"/>
                    <a:pt x="262" y="123"/>
                  </a:cubicBezTo>
                  <a:cubicBezTo>
                    <a:pt x="212" y="85"/>
                    <a:pt x="212" y="85"/>
                    <a:pt x="212" y="85"/>
                  </a:cubicBezTo>
                  <a:lnTo>
                    <a:pt x="161" y="123"/>
                  </a:lnTo>
                  <a:close/>
                  <a:moveTo>
                    <a:pt x="162" y="8"/>
                  </a:moveTo>
                  <a:cubicBezTo>
                    <a:pt x="212" y="41"/>
                    <a:pt x="212" y="41"/>
                    <a:pt x="212" y="41"/>
                  </a:cubicBezTo>
                  <a:cubicBezTo>
                    <a:pt x="261" y="8"/>
                    <a:pt x="261" y="8"/>
                    <a:pt x="261" y="8"/>
                  </a:cubicBezTo>
                  <a:moveTo>
                    <a:pt x="212" y="85"/>
                  </a:moveTo>
                  <a:cubicBezTo>
                    <a:pt x="212" y="39"/>
                    <a:pt x="212" y="39"/>
                    <a:pt x="212" y="39"/>
                  </a:cubicBezTo>
                  <a:moveTo>
                    <a:pt x="262" y="123"/>
                  </a:moveTo>
                  <a:cubicBezTo>
                    <a:pt x="307" y="113"/>
                    <a:pt x="307" y="113"/>
                    <a:pt x="307" y="113"/>
                  </a:cubicBezTo>
                  <a:cubicBezTo>
                    <a:pt x="322" y="56"/>
                    <a:pt x="322" y="56"/>
                    <a:pt x="322" y="56"/>
                  </a:cubicBezTo>
                  <a:moveTo>
                    <a:pt x="348" y="153"/>
                  </a:moveTo>
                  <a:cubicBezTo>
                    <a:pt x="307" y="113"/>
                    <a:pt x="307" y="113"/>
                    <a:pt x="307" y="113"/>
                  </a:cubicBezTo>
                  <a:moveTo>
                    <a:pt x="99" y="56"/>
                  </a:moveTo>
                  <a:cubicBezTo>
                    <a:pt x="115" y="113"/>
                    <a:pt x="115" y="113"/>
                    <a:pt x="115" y="113"/>
                  </a:cubicBezTo>
                  <a:cubicBezTo>
                    <a:pt x="160" y="123"/>
                    <a:pt x="160" y="123"/>
                    <a:pt x="160" y="123"/>
                  </a:cubicBezTo>
                  <a:moveTo>
                    <a:pt x="94" y="133"/>
                  </a:moveTo>
                  <a:cubicBezTo>
                    <a:pt x="115" y="113"/>
                    <a:pt x="115" y="113"/>
                    <a:pt x="115" y="113"/>
                  </a:cubicBezTo>
                  <a:moveTo>
                    <a:pt x="245" y="175"/>
                  </a:moveTo>
                  <a:cubicBezTo>
                    <a:pt x="270" y="215"/>
                    <a:pt x="270" y="215"/>
                    <a:pt x="270" y="215"/>
                  </a:cubicBezTo>
                  <a:cubicBezTo>
                    <a:pt x="323" y="218"/>
                    <a:pt x="323" y="218"/>
                    <a:pt x="323" y="218"/>
                  </a:cubicBezTo>
                  <a:moveTo>
                    <a:pt x="245" y="271"/>
                  </a:moveTo>
                  <a:cubicBezTo>
                    <a:pt x="270" y="215"/>
                    <a:pt x="270" y="215"/>
                    <a:pt x="270" y="215"/>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87" name="TextBox 286">
              <a:extLst>
                <a:ext uri="{FF2B5EF4-FFF2-40B4-BE49-F238E27FC236}">
                  <a16:creationId xmlns:a16="http://schemas.microsoft.com/office/drawing/2014/main" id="{3189AEC4-20E4-4BFD-A977-87DF2B33AD79}"/>
                </a:ext>
              </a:extLst>
            </p:cNvPr>
            <p:cNvSpPr txBox="1"/>
            <p:nvPr/>
          </p:nvSpPr>
          <p:spPr>
            <a:xfrm>
              <a:off x="8973726" y="1939061"/>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ports</a:t>
              </a:r>
            </a:p>
          </p:txBody>
        </p:sp>
      </p:grpSp>
      <p:grpSp>
        <p:nvGrpSpPr>
          <p:cNvPr id="66" name="Group 65">
            <a:extLst>
              <a:ext uri="{FF2B5EF4-FFF2-40B4-BE49-F238E27FC236}">
                <a16:creationId xmlns:a16="http://schemas.microsoft.com/office/drawing/2014/main" id="{09A7F265-86EB-4D1C-919F-B184CBC5B214}"/>
              </a:ext>
            </a:extLst>
          </p:cNvPr>
          <p:cNvGrpSpPr/>
          <p:nvPr/>
        </p:nvGrpSpPr>
        <p:grpSpPr>
          <a:xfrm>
            <a:off x="6181918" y="1664027"/>
            <a:ext cx="968461" cy="619045"/>
            <a:chOff x="5706136" y="1489330"/>
            <a:chExt cx="968599" cy="619132"/>
          </a:xfrm>
        </p:grpSpPr>
        <p:sp>
          <p:nvSpPr>
            <p:cNvPr id="274" name="construction" title="Icon of a construction helmet">
              <a:extLst>
                <a:ext uri="{FF2B5EF4-FFF2-40B4-BE49-F238E27FC236}">
                  <a16:creationId xmlns:a16="http://schemas.microsoft.com/office/drawing/2014/main" id="{BB16FC72-D70D-4777-93B1-597AEEE2B61B}"/>
                </a:ext>
              </a:extLst>
            </p:cNvPr>
            <p:cNvSpPr>
              <a:spLocks noChangeAspect="1" noEditPoints="1"/>
            </p:cNvSpPr>
            <p:nvPr/>
          </p:nvSpPr>
          <p:spPr bwMode="auto">
            <a:xfrm>
              <a:off x="5900197" y="1489330"/>
              <a:ext cx="580476" cy="365760"/>
            </a:xfrm>
            <a:custGeom>
              <a:avLst/>
              <a:gdLst>
                <a:gd name="T0" fmla="*/ 253 w 286"/>
                <a:gd name="T1" fmla="*/ 150 h 180"/>
                <a:gd name="T2" fmla="*/ 286 w 286"/>
                <a:gd name="T3" fmla="*/ 150 h 180"/>
                <a:gd name="T4" fmla="*/ 286 w 286"/>
                <a:gd name="T5" fmla="*/ 180 h 180"/>
                <a:gd name="T6" fmla="*/ 0 w 286"/>
                <a:gd name="T7" fmla="*/ 180 h 180"/>
                <a:gd name="T8" fmla="*/ 0 w 286"/>
                <a:gd name="T9" fmla="*/ 150 h 180"/>
                <a:gd name="T10" fmla="*/ 33 w 286"/>
                <a:gd name="T11" fmla="*/ 150 h 180"/>
                <a:gd name="T12" fmla="*/ 143 w 286"/>
                <a:gd name="T13" fmla="*/ 0 h 180"/>
                <a:gd name="T14" fmla="*/ 143 w 286"/>
                <a:gd name="T15" fmla="*/ 54 h 180"/>
                <a:gd name="T16" fmla="*/ 177 w 286"/>
                <a:gd name="T17" fmla="*/ 70 h 180"/>
                <a:gd name="T18" fmla="*/ 177 w 286"/>
                <a:gd name="T19" fmla="*/ 0 h 180"/>
                <a:gd name="T20" fmla="*/ 108 w 286"/>
                <a:gd name="T21" fmla="*/ 0 h 180"/>
                <a:gd name="T22" fmla="*/ 108 w 286"/>
                <a:gd name="T23" fmla="*/ 70 h 180"/>
                <a:gd name="T24" fmla="*/ 69 w 286"/>
                <a:gd name="T25" fmla="*/ 150 h 180"/>
                <a:gd name="T26" fmla="*/ 217 w 286"/>
                <a:gd name="T27" fmla="*/ 150 h 180"/>
                <a:gd name="T28" fmla="*/ 265 w 286"/>
                <a:gd name="T29" fmla="*/ 150 h 180"/>
                <a:gd name="T30" fmla="*/ 266 w 286"/>
                <a:gd name="T31" fmla="*/ 145 h 180"/>
                <a:gd name="T32" fmla="*/ 177 w 286"/>
                <a:gd name="T33" fmla="*/ 27 h 180"/>
                <a:gd name="T34" fmla="*/ 108 w 286"/>
                <a:gd name="T35" fmla="*/ 26 h 180"/>
                <a:gd name="T36" fmla="*/ 18 w 286"/>
                <a:gd name="T37" fmla="*/ 145 h 180"/>
                <a:gd name="T38" fmla="*/ 19 w 286"/>
                <a:gd name="T39" fmla="*/ 150 h 180"/>
                <a:gd name="T40" fmla="*/ 142 w 286"/>
                <a:gd name="T41" fmla="*/ 90 h 180"/>
                <a:gd name="T42" fmla="*/ 122 w 286"/>
                <a:gd name="T43" fmla="*/ 110 h 180"/>
                <a:gd name="T44" fmla="*/ 142 w 286"/>
                <a:gd name="T45" fmla="*/ 130 h 180"/>
                <a:gd name="T46" fmla="*/ 162 w 286"/>
                <a:gd name="T47" fmla="*/ 110 h 180"/>
                <a:gd name="T48" fmla="*/ 142 w 286"/>
                <a:gd name="T49"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180">
                  <a:moveTo>
                    <a:pt x="253" y="150"/>
                  </a:moveTo>
                  <a:cubicBezTo>
                    <a:pt x="286" y="150"/>
                    <a:pt x="286" y="150"/>
                    <a:pt x="286" y="150"/>
                  </a:cubicBezTo>
                  <a:cubicBezTo>
                    <a:pt x="286" y="180"/>
                    <a:pt x="286" y="180"/>
                    <a:pt x="286" y="180"/>
                  </a:cubicBezTo>
                  <a:cubicBezTo>
                    <a:pt x="0" y="180"/>
                    <a:pt x="0" y="180"/>
                    <a:pt x="0" y="180"/>
                  </a:cubicBezTo>
                  <a:cubicBezTo>
                    <a:pt x="0" y="150"/>
                    <a:pt x="0" y="150"/>
                    <a:pt x="0" y="150"/>
                  </a:cubicBezTo>
                  <a:cubicBezTo>
                    <a:pt x="33" y="150"/>
                    <a:pt x="33" y="150"/>
                    <a:pt x="33" y="150"/>
                  </a:cubicBezTo>
                  <a:moveTo>
                    <a:pt x="143" y="0"/>
                  </a:moveTo>
                  <a:cubicBezTo>
                    <a:pt x="143" y="54"/>
                    <a:pt x="143" y="54"/>
                    <a:pt x="143" y="54"/>
                  </a:cubicBezTo>
                  <a:moveTo>
                    <a:pt x="177" y="70"/>
                  </a:moveTo>
                  <a:cubicBezTo>
                    <a:pt x="177" y="0"/>
                    <a:pt x="177" y="0"/>
                    <a:pt x="177" y="0"/>
                  </a:cubicBezTo>
                  <a:cubicBezTo>
                    <a:pt x="108" y="0"/>
                    <a:pt x="108" y="0"/>
                    <a:pt x="108" y="0"/>
                  </a:cubicBezTo>
                  <a:cubicBezTo>
                    <a:pt x="108" y="70"/>
                    <a:pt x="108" y="70"/>
                    <a:pt x="108" y="70"/>
                  </a:cubicBezTo>
                  <a:moveTo>
                    <a:pt x="69" y="150"/>
                  </a:moveTo>
                  <a:cubicBezTo>
                    <a:pt x="217" y="150"/>
                    <a:pt x="217" y="150"/>
                    <a:pt x="217" y="150"/>
                  </a:cubicBezTo>
                  <a:moveTo>
                    <a:pt x="265" y="150"/>
                  </a:moveTo>
                  <a:cubicBezTo>
                    <a:pt x="265" y="148"/>
                    <a:pt x="266" y="147"/>
                    <a:pt x="266" y="145"/>
                  </a:cubicBezTo>
                  <a:cubicBezTo>
                    <a:pt x="266" y="89"/>
                    <a:pt x="228" y="42"/>
                    <a:pt x="177" y="27"/>
                  </a:cubicBezTo>
                  <a:moveTo>
                    <a:pt x="108" y="26"/>
                  </a:moveTo>
                  <a:cubicBezTo>
                    <a:pt x="56" y="39"/>
                    <a:pt x="18" y="89"/>
                    <a:pt x="18" y="145"/>
                  </a:cubicBezTo>
                  <a:cubicBezTo>
                    <a:pt x="18" y="147"/>
                    <a:pt x="18" y="148"/>
                    <a:pt x="19" y="150"/>
                  </a:cubicBezTo>
                  <a:moveTo>
                    <a:pt x="142" y="90"/>
                  </a:moveTo>
                  <a:cubicBezTo>
                    <a:pt x="131" y="90"/>
                    <a:pt x="122" y="99"/>
                    <a:pt x="122" y="110"/>
                  </a:cubicBezTo>
                  <a:cubicBezTo>
                    <a:pt x="122" y="121"/>
                    <a:pt x="131" y="130"/>
                    <a:pt x="142" y="130"/>
                  </a:cubicBezTo>
                  <a:cubicBezTo>
                    <a:pt x="153" y="130"/>
                    <a:pt x="162" y="121"/>
                    <a:pt x="162" y="110"/>
                  </a:cubicBezTo>
                  <a:cubicBezTo>
                    <a:pt x="162" y="99"/>
                    <a:pt x="153" y="90"/>
                    <a:pt x="142" y="90"/>
                  </a:cubicBez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gradFill>
                  <a:gsLst>
                    <a:gs pos="0">
                      <a:srgbClr val="505050"/>
                    </a:gs>
                    <a:gs pos="100000">
                      <a:srgbClr val="505050"/>
                    </a:gs>
                  </a:gsLst>
                </a:gradFill>
              </a:endParaRPr>
            </a:p>
          </p:txBody>
        </p:sp>
        <p:sp>
          <p:nvSpPr>
            <p:cNvPr id="288" name="TextBox 287">
              <a:extLst>
                <a:ext uri="{FF2B5EF4-FFF2-40B4-BE49-F238E27FC236}">
                  <a16:creationId xmlns:a16="http://schemas.microsoft.com/office/drawing/2014/main" id="{8CC11501-88FB-49E7-BB22-ACEA5E14EBE0}"/>
                </a:ext>
              </a:extLst>
            </p:cNvPr>
            <p:cNvSpPr txBox="1"/>
            <p:nvPr/>
          </p:nvSpPr>
          <p:spPr>
            <a:xfrm>
              <a:off x="5706136" y="1939061"/>
              <a:ext cx="968599" cy="169401"/>
            </a:xfrm>
            <a:prstGeom prst="rect">
              <a:avLst/>
            </a:prstGeom>
            <a:noFill/>
            <a:ln>
              <a:noFill/>
            </a:ln>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Construction</a:t>
              </a:r>
            </a:p>
          </p:txBody>
        </p:sp>
      </p:grpSp>
      <p:grpSp>
        <p:nvGrpSpPr>
          <p:cNvPr id="152" name="Group 151">
            <a:extLst>
              <a:ext uri="{FF2B5EF4-FFF2-40B4-BE49-F238E27FC236}">
                <a16:creationId xmlns:a16="http://schemas.microsoft.com/office/drawing/2014/main" id="{F09725AB-8CA6-412E-9737-787FF17A620D}"/>
              </a:ext>
            </a:extLst>
          </p:cNvPr>
          <p:cNvGrpSpPr/>
          <p:nvPr/>
        </p:nvGrpSpPr>
        <p:grpSpPr>
          <a:xfrm>
            <a:off x="7459876" y="2730887"/>
            <a:ext cx="1362298" cy="600894"/>
            <a:chOff x="7460051" y="2730775"/>
            <a:chExt cx="1362492" cy="600979"/>
          </a:xfrm>
        </p:grpSpPr>
        <p:sp>
          <p:nvSpPr>
            <p:cNvPr id="289" name="people_24" title="Icon of a person with a shovel digging">
              <a:extLst>
                <a:ext uri="{FF2B5EF4-FFF2-40B4-BE49-F238E27FC236}">
                  <a16:creationId xmlns:a16="http://schemas.microsoft.com/office/drawing/2014/main" id="{742B5353-8086-44AE-84B8-E59AFC766336}"/>
                </a:ext>
              </a:extLst>
            </p:cNvPr>
            <p:cNvSpPr>
              <a:spLocks noChangeAspect="1" noEditPoints="1"/>
            </p:cNvSpPr>
            <p:nvPr/>
          </p:nvSpPr>
          <p:spPr bwMode="auto">
            <a:xfrm>
              <a:off x="7948279" y="2730775"/>
              <a:ext cx="386036" cy="365760"/>
            </a:xfrm>
            <a:custGeom>
              <a:avLst/>
              <a:gdLst>
                <a:gd name="T0" fmla="*/ 190 w 333"/>
                <a:gd name="T1" fmla="*/ 66 h 316"/>
                <a:gd name="T2" fmla="*/ 213 w 333"/>
                <a:gd name="T3" fmla="*/ 178 h 316"/>
                <a:gd name="T4" fmla="*/ 197 w 333"/>
                <a:gd name="T5" fmla="*/ 203 h 316"/>
                <a:gd name="T6" fmla="*/ 197 w 333"/>
                <a:gd name="T7" fmla="*/ 203 h 316"/>
                <a:gd name="T8" fmla="*/ 172 w 333"/>
                <a:gd name="T9" fmla="*/ 186 h 316"/>
                <a:gd name="T10" fmla="*/ 161 w 333"/>
                <a:gd name="T11" fmla="*/ 134 h 316"/>
                <a:gd name="T12" fmla="*/ 161 w 333"/>
                <a:gd name="T13" fmla="*/ 134 h 316"/>
                <a:gd name="T14" fmla="*/ 161 w 333"/>
                <a:gd name="T15" fmla="*/ 169 h 316"/>
                <a:gd name="T16" fmla="*/ 180 w 333"/>
                <a:gd name="T17" fmla="*/ 228 h 316"/>
                <a:gd name="T18" fmla="*/ 180 w 333"/>
                <a:gd name="T19" fmla="*/ 294 h 316"/>
                <a:gd name="T20" fmla="*/ 157 w 333"/>
                <a:gd name="T21" fmla="*/ 316 h 316"/>
                <a:gd name="T22" fmla="*/ 157 w 333"/>
                <a:gd name="T23" fmla="*/ 316 h 316"/>
                <a:gd name="T24" fmla="*/ 134 w 333"/>
                <a:gd name="T25" fmla="*/ 294 h 316"/>
                <a:gd name="T26" fmla="*/ 134 w 333"/>
                <a:gd name="T27" fmla="*/ 235 h 316"/>
                <a:gd name="T28" fmla="*/ 115 w 333"/>
                <a:gd name="T29" fmla="*/ 199 h 316"/>
                <a:gd name="T30" fmla="*/ 113 w 333"/>
                <a:gd name="T31" fmla="*/ 198 h 316"/>
                <a:gd name="T32" fmla="*/ 112 w 333"/>
                <a:gd name="T33" fmla="*/ 198 h 316"/>
                <a:gd name="T34" fmla="*/ 111 w 333"/>
                <a:gd name="T35" fmla="*/ 201 h 316"/>
                <a:gd name="T36" fmla="*/ 111 w 333"/>
                <a:gd name="T37" fmla="*/ 250 h 316"/>
                <a:gd name="T38" fmla="*/ 61 w 333"/>
                <a:gd name="T39" fmla="*/ 300 h 316"/>
                <a:gd name="T40" fmla="*/ 27 w 333"/>
                <a:gd name="T41" fmla="*/ 300 h 316"/>
                <a:gd name="T42" fmla="*/ 27 w 333"/>
                <a:gd name="T43" fmla="*/ 300 h 316"/>
                <a:gd name="T44" fmla="*/ 27 w 333"/>
                <a:gd name="T45" fmla="*/ 266 h 316"/>
                <a:gd name="T46" fmla="*/ 67 w 333"/>
                <a:gd name="T47" fmla="*/ 227 h 316"/>
                <a:gd name="T48" fmla="*/ 67 w 333"/>
                <a:gd name="T49" fmla="*/ 126 h 316"/>
                <a:gd name="T50" fmla="*/ 204 w 333"/>
                <a:gd name="T51" fmla="*/ 35 h 316"/>
                <a:gd name="T52" fmla="*/ 204 w 333"/>
                <a:gd name="T53" fmla="*/ 35 h 316"/>
                <a:gd name="T54" fmla="*/ 168 w 333"/>
                <a:gd name="T55" fmla="*/ 0 h 316"/>
                <a:gd name="T56" fmla="*/ 168 w 333"/>
                <a:gd name="T57" fmla="*/ 0 h 316"/>
                <a:gd name="T58" fmla="*/ 133 w 333"/>
                <a:gd name="T59" fmla="*/ 35 h 316"/>
                <a:gd name="T60" fmla="*/ 133 w 333"/>
                <a:gd name="T61" fmla="*/ 35 h 316"/>
                <a:gd name="T62" fmla="*/ 168 w 333"/>
                <a:gd name="T63" fmla="*/ 71 h 316"/>
                <a:gd name="T64" fmla="*/ 168 w 333"/>
                <a:gd name="T65" fmla="*/ 71 h 316"/>
                <a:gd name="T66" fmla="*/ 204 w 333"/>
                <a:gd name="T67" fmla="*/ 35 h 316"/>
                <a:gd name="T68" fmla="*/ 131 w 333"/>
                <a:gd name="T69" fmla="*/ 45 h 316"/>
                <a:gd name="T70" fmla="*/ 115 w 333"/>
                <a:gd name="T71" fmla="*/ 45 h 316"/>
                <a:gd name="T72" fmla="*/ 21 w 333"/>
                <a:gd name="T73" fmla="*/ 72 h 316"/>
                <a:gd name="T74" fmla="*/ 21 w 333"/>
                <a:gd name="T75" fmla="*/ 72 h 316"/>
                <a:gd name="T76" fmla="*/ 21 w 333"/>
                <a:gd name="T77" fmla="*/ 125 h 316"/>
                <a:gd name="T78" fmla="*/ 44 w 333"/>
                <a:gd name="T79" fmla="*/ 148 h 316"/>
                <a:gd name="T80" fmla="*/ 44 w 333"/>
                <a:gd name="T81" fmla="*/ 148 h 316"/>
                <a:gd name="T82" fmla="*/ 67 w 333"/>
                <a:gd name="T83" fmla="*/ 125 h 316"/>
                <a:gd name="T84" fmla="*/ 67 w 333"/>
                <a:gd name="T85" fmla="*/ 120 h 316"/>
                <a:gd name="T86" fmla="*/ 67 w 333"/>
                <a:gd name="T87" fmla="*/ 108 h 316"/>
                <a:gd name="T88" fmla="*/ 102 w 333"/>
                <a:gd name="T89" fmla="*/ 98 h 316"/>
                <a:gd name="T90" fmla="*/ 81 w 333"/>
                <a:gd name="T91" fmla="*/ 104 h 316"/>
                <a:gd name="T92" fmla="*/ 252 w 333"/>
                <a:gd name="T93" fmla="*/ 274 h 316"/>
                <a:gd name="T94" fmla="*/ 232 w 333"/>
                <a:gd name="T95" fmla="*/ 316 h 316"/>
                <a:gd name="T96" fmla="*/ 333 w 333"/>
                <a:gd name="T97" fmla="*/ 316 h 316"/>
                <a:gd name="T98" fmla="*/ 283 w 333"/>
                <a:gd name="T99" fmla="*/ 215 h 316"/>
                <a:gd name="T100" fmla="*/ 252 w 333"/>
                <a:gd name="T101" fmla="*/ 274 h 316"/>
                <a:gd name="T102" fmla="*/ 0 w 333"/>
                <a:gd name="T103" fmla="*/ 24 h 316"/>
                <a:gd name="T104" fmla="*/ 42 w 333"/>
                <a:gd name="T105" fmla="*/ 6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316">
                  <a:moveTo>
                    <a:pt x="190" y="66"/>
                  </a:moveTo>
                  <a:cubicBezTo>
                    <a:pt x="213" y="178"/>
                    <a:pt x="213" y="178"/>
                    <a:pt x="213" y="178"/>
                  </a:cubicBezTo>
                  <a:cubicBezTo>
                    <a:pt x="216" y="189"/>
                    <a:pt x="208" y="200"/>
                    <a:pt x="197" y="203"/>
                  </a:cubicBezTo>
                  <a:cubicBezTo>
                    <a:pt x="197" y="203"/>
                    <a:pt x="197" y="203"/>
                    <a:pt x="197" y="203"/>
                  </a:cubicBezTo>
                  <a:cubicBezTo>
                    <a:pt x="186" y="205"/>
                    <a:pt x="175" y="198"/>
                    <a:pt x="172" y="186"/>
                  </a:cubicBezTo>
                  <a:cubicBezTo>
                    <a:pt x="161" y="134"/>
                    <a:pt x="161" y="134"/>
                    <a:pt x="161" y="134"/>
                  </a:cubicBezTo>
                  <a:cubicBezTo>
                    <a:pt x="161" y="134"/>
                    <a:pt x="161" y="134"/>
                    <a:pt x="161" y="134"/>
                  </a:cubicBezTo>
                  <a:cubicBezTo>
                    <a:pt x="161" y="169"/>
                    <a:pt x="161" y="169"/>
                    <a:pt x="161" y="169"/>
                  </a:cubicBezTo>
                  <a:cubicBezTo>
                    <a:pt x="180" y="228"/>
                    <a:pt x="180" y="228"/>
                    <a:pt x="180" y="228"/>
                  </a:cubicBezTo>
                  <a:cubicBezTo>
                    <a:pt x="180" y="294"/>
                    <a:pt x="180" y="294"/>
                    <a:pt x="180" y="294"/>
                  </a:cubicBezTo>
                  <a:cubicBezTo>
                    <a:pt x="180" y="306"/>
                    <a:pt x="170" y="316"/>
                    <a:pt x="157" y="316"/>
                  </a:cubicBezTo>
                  <a:cubicBezTo>
                    <a:pt x="157" y="316"/>
                    <a:pt x="157" y="316"/>
                    <a:pt x="157" y="316"/>
                  </a:cubicBezTo>
                  <a:cubicBezTo>
                    <a:pt x="145" y="316"/>
                    <a:pt x="134" y="306"/>
                    <a:pt x="134" y="294"/>
                  </a:cubicBezTo>
                  <a:cubicBezTo>
                    <a:pt x="134" y="235"/>
                    <a:pt x="134" y="235"/>
                    <a:pt x="134" y="235"/>
                  </a:cubicBezTo>
                  <a:cubicBezTo>
                    <a:pt x="115" y="199"/>
                    <a:pt x="115" y="199"/>
                    <a:pt x="115" y="199"/>
                  </a:cubicBezTo>
                  <a:cubicBezTo>
                    <a:pt x="115" y="198"/>
                    <a:pt x="113" y="197"/>
                    <a:pt x="113" y="198"/>
                  </a:cubicBezTo>
                  <a:cubicBezTo>
                    <a:pt x="112" y="198"/>
                    <a:pt x="112" y="198"/>
                    <a:pt x="112" y="198"/>
                  </a:cubicBezTo>
                  <a:cubicBezTo>
                    <a:pt x="111" y="199"/>
                    <a:pt x="111" y="201"/>
                    <a:pt x="111" y="201"/>
                  </a:cubicBezTo>
                  <a:cubicBezTo>
                    <a:pt x="111" y="250"/>
                    <a:pt x="111" y="250"/>
                    <a:pt x="111" y="250"/>
                  </a:cubicBezTo>
                  <a:cubicBezTo>
                    <a:pt x="61" y="300"/>
                    <a:pt x="61" y="300"/>
                    <a:pt x="61" y="300"/>
                  </a:cubicBezTo>
                  <a:cubicBezTo>
                    <a:pt x="52" y="309"/>
                    <a:pt x="37" y="309"/>
                    <a:pt x="27" y="300"/>
                  </a:cubicBezTo>
                  <a:cubicBezTo>
                    <a:pt x="27" y="300"/>
                    <a:pt x="27" y="300"/>
                    <a:pt x="27" y="300"/>
                  </a:cubicBezTo>
                  <a:cubicBezTo>
                    <a:pt x="18" y="290"/>
                    <a:pt x="18" y="275"/>
                    <a:pt x="27" y="266"/>
                  </a:cubicBezTo>
                  <a:cubicBezTo>
                    <a:pt x="67" y="227"/>
                    <a:pt x="67" y="227"/>
                    <a:pt x="67" y="227"/>
                  </a:cubicBezTo>
                  <a:cubicBezTo>
                    <a:pt x="67" y="126"/>
                    <a:pt x="67" y="126"/>
                    <a:pt x="67" y="126"/>
                  </a:cubicBezTo>
                  <a:moveTo>
                    <a:pt x="204" y="35"/>
                  </a:moveTo>
                  <a:cubicBezTo>
                    <a:pt x="204" y="35"/>
                    <a:pt x="204" y="35"/>
                    <a:pt x="204" y="35"/>
                  </a:cubicBezTo>
                  <a:cubicBezTo>
                    <a:pt x="204" y="16"/>
                    <a:pt x="188" y="0"/>
                    <a:pt x="168" y="0"/>
                  </a:cubicBezTo>
                  <a:cubicBezTo>
                    <a:pt x="168" y="0"/>
                    <a:pt x="168" y="0"/>
                    <a:pt x="168" y="0"/>
                  </a:cubicBezTo>
                  <a:cubicBezTo>
                    <a:pt x="149" y="0"/>
                    <a:pt x="133" y="16"/>
                    <a:pt x="133" y="35"/>
                  </a:cubicBezTo>
                  <a:cubicBezTo>
                    <a:pt x="133" y="35"/>
                    <a:pt x="133" y="35"/>
                    <a:pt x="133" y="35"/>
                  </a:cubicBezTo>
                  <a:cubicBezTo>
                    <a:pt x="133" y="55"/>
                    <a:pt x="149" y="71"/>
                    <a:pt x="168" y="71"/>
                  </a:cubicBezTo>
                  <a:cubicBezTo>
                    <a:pt x="168" y="71"/>
                    <a:pt x="168" y="71"/>
                    <a:pt x="168" y="71"/>
                  </a:cubicBezTo>
                  <a:cubicBezTo>
                    <a:pt x="188" y="71"/>
                    <a:pt x="204" y="55"/>
                    <a:pt x="204" y="35"/>
                  </a:cubicBezTo>
                  <a:close/>
                  <a:moveTo>
                    <a:pt x="131" y="45"/>
                  </a:moveTo>
                  <a:cubicBezTo>
                    <a:pt x="115" y="45"/>
                    <a:pt x="115" y="45"/>
                    <a:pt x="115" y="45"/>
                  </a:cubicBezTo>
                  <a:cubicBezTo>
                    <a:pt x="21" y="72"/>
                    <a:pt x="21" y="72"/>
                    <a:pt x="21" y="72"/>
                  </a:cubicBezTo>
                  <a:cubicBezTo>
                    <a:pt x="21" y="72"/>
                    <a:pt x="21" y="72"/>
                    <a:pt x="21" y="72"/>
                  </a:cubicBezTo>
                  <a:cubicBezTo>
                    <a:pt x="21" y="125"/>
                    <a:pt x="21" y="125"/>
                    <a:pt x="21" y="125"/>
                  </a:cubicBezTo>
                  <a:cubicBezTo>
                    <a:pt x="21" y="137"/>
                    <a:pt x="31" y="148"/>
                    <a:pt x="44" y="148"/>
                  </a:cubicBezTo>
                  <a:cubicBezTo>
                    <a:pt x="44" y="148"/>
                    <a:pt x="44" y="148"/>
                    <a:pt x="44" y="148"/>
                  </a:cubicBezTo>
                  <a:cubicBezTo>
                    <a:pt x="56" y="148"/>
                    <a:pt x="67" y="137"/>
                    <a:pt x="67" y="125"/>
                  </a:cubicBezTo>
                  <a:cubicBezTo>
                    <a:pt x="67" y="120"/>
                    <a:pt x="67" y="120"/>
                    <a:pt x="67" y="120"/>
                  </a:cubicBezTo>
                  <a:cubicBezTo>
                    <a:pt x="67" y="108"/>
                    <a:pt x="67" y="108"/>
                    <a:pt x="67" y="108"/>
                  </a:cubicBezTo>
                  <a:cubicBezTo>
                    <a:pt x="102" y="98"/>
                    <a:pt x="102" y="98"/>
                    <a:pt x="102" y="98"/>
                  </a:cubicBezTo>
                  <a:moveTo>
                    <a:pt x="81" y="104"/>
                  </a:moveTo>
                  <a:cubicBezTo>
                    <a:pt x="252" y="274"/>
                    <a:pt x="252" y="274"/>
                    <a:pt x="252" y="274"/>
                  </a:cubicBezTo>
                  <a:cubicBezTo>
                    <a:pt x="232" y="316"/>
                    <a:pt x="232" y="316"/>
                    <a:pt x="232" y="316"/>
                  </a:cubicBezTo>
                  <a:cubicBezTo>
                    <a:pt x="333" y="316"/>
                    <a:pt x="333" y="316"/>
                    <a:pt x="333" y="316"/>
                  </a:cubicBezTo>
                  <a:cubicBezTo>
                    <a:pt x="283" y="215"/>
                    <a:pt x="283" y="215"/>
                    <a:pt x="283" y="215"/>
                  </a:cubicBezTo>
                  <a:cubicBezTo>
                    <a:pt x="252" y="274"/>
                    <a:pt x="252" y="274"/>
                    <a:pt x="252" y="274"/>
                  </a:cubicBezTo>
                  <a:moveTo>
                    <a:pt x="0" y="24"/>
                  </a:moveTo>
                  <a:cubicBezTo>
                    <a:pt x="42" y="66"/>
                    <a:pt x="42" y="66"/>
                    <a:pt x="42" y="66"/>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a:p>
          </p:txBody>
        </p:sp>
        <p:sp>
          <p:nvSpPr>
            <p:cNvPr id="290" name="TextBox 289">
              <a:extLst>
                <a:ext uri="{FF2B5EF4-FFF2-40B4-BE49-F238E27FC236}">
                  <a16:creationId xmlns:a16="http://schemas.microsoft.com/office/drawing/2014/main" id="{E12A1880-EE36-4C8A-8C15-024375966B3E}"/>
                </a:ext>
              </a:extLst>
            </p:cNvPr>
            <p:cNvSpPr txBox="1"/>
            <p:nvPr/>
          </p:nvSpPr>
          <p:spPr>
            <a:xfrm>
              <a:off x="7460051" y="3162353"/>
              <a:ext cx="1362492"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Worker Safety</a:t>
              </a:r>
            </a:p>
          </p:txBody>
        </p:sp>
      </p:grpSp>
      <p:grpSp>
        <p:nvGrpSpPr>
          <p:cNvPr id="135" name="Group 134">
            <a:extLst>
              <a:ext uri="{FF2B5EF4-FFF2-40B4-BE49-F238E27FC236}">
                <a16:creationId xmlns:a16="http://schemas.microsoft.com/office/drawing/2014/main" id="{E13BCD2B-275C-45B5-9746-290A048399D9}"/>
              </a:ext>
            </a:extLst>
          </p:cNvPr>
          <p:cNvGrpSpPr/>
          <p:nvPr/>
        </p:nvGrpSpPr>
        <p:grpSpPr>
          <a:xfrm>
            <a:off x="2014754" y="2407141"/>
            <a:ext cx="990836" cy="600894"/>
            <a:chOff x="1583916" y="2730775"/>
            <a:chExt cx="990977" cy="600979"/>
          </a:xfrm>
        </p:grpSpPr>
        <p:sp>
          <p:nvSpPr>
            <p:cNvPr id="212" name="POI_ECAF" title="Icon of a map location marker">
              <a:extLst>
                <a:ext uri="{FF2B5EF4-FFF2-40B4-BE49-F238E27FC236}">
                  <a16:creationId xmlns:a16="http://schemas.microsoft.com/office/drawing/2014/main" id="{5CC4A756-7BC1-4DC0-9E1B-0102FC452106}"/>
                </a:ext>
              </a:extLst>
            </p:cNvPr>
            <p:cNvSpPr>
              <a:spLocks noChangeAspect="1" noEditPoints="1"/>
            </p:cNvSpPr>
            <p:nvPr/>
          </p:nvSpPr>
          <p:spPr bwMode="auto">
            <a:xfrm>
              <a:off x="1965116" y="2730775"/>
              <a:ext cx="228576"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91" name="Rectangle 290">
              <a:extLst>
                <a:ext uri="{FF2B5EF4-FFF2-40B4-BE49-F238E27FC236}">
                  <a16:creationId xmlns:a16="http://schemas.microsoft.com/office/drawing/2014/main" id="{4BFA0197-02E7-4922-A0A8-419DD2CB2BAA}"/>
                </a:ext>
              </a:extLst>
            </p:cNvPr>
            <p:cNvSpPr/>
            <p:nvPr/>
          </p:nvSpPr>
          <p:spPr>
            <a:xfrm>
              <a:off x="1583916" y="3162353"/>
              <a:ext cx="990977" cy="169401"/>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Location</a:t>
              </a:r>
            </a:p>
          </p:txBody>
        </p:sp>
      </p:grpSp>
      <p:grpSp>
        <p:nvGrpSpPr>
          <p:cNvPr id="177" name="Group 176">
            <a:extLst>
              <a:ext uri="{FF2B5EF4-FFF2-40B4-BE49-F238E27FC236}">
                <a16:creationId xmlns:a16="http://schemas.microsoft.com/office/drawing/2014/main" id="{7F2D3A97-E8C8-4681-A37C-0E8860D2BF7B}"/>
              </a:ext>
            </a:extLst>
          </p:cNvPr>
          <p:cNvGrpSpPr/>
          <p:nvPr/>
        </p:nvGrpSpPr>
        <p:grpSpPr>
          <a:xfrm>
            <a:off x="1670483" y="4302296"/>
            <a:ext cx="990836" cy="748110"/>
            <a:chOff x="1669837" y="4302407"/>
            <a:chExt cx="990977" cy="748216"/>
          </a:xfrm>
        </p:grpSpPr>
        <p:sp>
          <p:nvSpPr>
            <p:cNvPr id="181" name="Rectangle 180"/>
            <p:cNvSpPr/>
            <p:nvPr/>
          </p:nvSpPr>
          <p:spPr>
            <a:xfrm>
              <a:off x="1669837" y="4881222"/>
              <a:ext cx="990977" cy="169401"/>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Power Plants</a:t>
              </a:r>
            </a:p>
          </p:txBody>
        </p:sp>
        <p:sp>
          <p:nvSpPr>
            <p:cNvPr id="295" name="Freeform 9">
              <a:extLst>
                <a:ext uri="{FF2B5EF4-FFF2-40B4-BE49-F238E27FC236}">
                  <a16:creationId xmlns:a16="http://schemas.microsoft.com/office/drawing/2014/main" id="{5A148E1E-2D04-4665-A224-8AAE4C087160}"/>
                </a:ext>
              </a:extLst>
            </p:cNvPr>
            <p:cNvSpPr>
              <a:spLocks noChangeAspect="1" noEditPoints="1"/>
            </p:cNvSpPr>
            <p:nvPr/>
          </p:nvSpPr>
          <p:spPr bwMode="auto">
            <a:xfrm>
              <a:off x="2035338" y="4302407"/>
              <a:ext cx="259975" cy="457200"/>
            </a:xfrm>
            <a:custGeom>
              <a:avLst/>
              <a:gdLst>
                <a:gd name="T0" fmla="*/ 107 w 144"/>
                <a:gd name="T1" fmla="*/ 1 h 256"/>
                <a:gd name="T2" fmla="*/ 104 w 144"/>
                <a:gd name="T3" fmla="*/ 2 h 256"/>
                <a:gd name="T4" fmla="*/ 1 w 144"/>
                <a:gd name="T5" fmla="*/ 152 h 256"/>
                <a:gd name="T6" fmla="*/ 4 w 144"/>
                <a:gd name="T7" fmla="*/ 157 h 256"/>
                <a:gd name="T8" fmla="*/ 60 w 144"/>
                <a:gd name="T9" fmla="*/ 157 h 256"/>
                <a:gd name="T10" fmla="*/ 32 w 144"/>
                <a:gd name="T11" fmla="*/ 251 h 256"/>
                <a:gd name="T12" fmla="*/ 33 w 144"/>
                <a:gd name="T13" fmla="*/ 255 h 256"/>
                <a:gd name="T14" fmla="*/ 37 w 144"/>
                <a:gd name="T15" fmla="*/ 254 h 256"/>
                <a:gd name="T16" fmla="*/ 143 w 144"/>
                <a:gd name="T17" fmla="*/ 102 h 256"/>
                <a:gd name="T18" fmla="*/ 140 w 144"/>
                <a:gd name="T19" fmla="*/ 98 h 256"/>
                <a:gd name="T20" fmla="*/ 82 w 144"/>
                <a:gd name="T21" fmla="*/ 98 h 256"/>
                <a:gd name="T22" fmla="*/ 110 w 144"/>
                <a:gd name="T23" fmla="*/ 5 h 256"/>
                <a:gd name="T24" fmla="*/ 107 w 144"/>
                <a:gd name="T25" fmla="*/ 1 h 256"/>
                <a:gd name="T26" fmla="*/ 98 w 144"/>
                <a:gd name="T27" fmla="*/ 22 h 256"/>
                <a:gd name="T28" fmla="*/ 75 w 144"/>
                <a:gd name="T29" fmla="*/ 100 h 256"/>
                <a:gd name="T30" fmla="*/ 78 w 144"/>
                <a:gd name="T31" fmla="*/ 104 h 256"/>
                <a:gd name="T32" fmla="*/ 134 w 144"/>
                <a:gd name="T33" fmla="*/ 104 h 256"/>
                <a:gd name="T34" fmla="*/ 43 w 144"/>
                <a:gd name="T35" fmla="*/ 234 h 256"/>
                <a:gd name="T36" fmla="*/ 67 w 144"/>
                <a:gd name="T37" fmla="*/ 155 h 256"/>
                <a:gd name="T38" fmla="*/ 64 w 144"/>
                <a:gd name="T39" fmla="*/ 151 h 256"/>
                <a:gd name="T40" fmla="*/ 10 w 144"/>
                <a:gd name="T41" fmla="*/ 151 h 256"/>
                <a:gd name="T42" fmla="*/ 98 w 144"/>
                <a:gd name="T43"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256">
                  <a:moveTo>
                    <a:pt x="107" y="1"/>
                  </a:moveTo>
                  <a:cubicBezTo>
                    <a:pt x="106" y="1"/>
                    <a:pt x="105" y="1"/>
                    <a:pt x="104" y="2"/>
                  </a:cubicBezTo>
                  <a:cubicBezTo>
                    <a:pt x="1" y="152"/>
                    <a:pt x="1" y="152"/>
                    <a:pt x="1" y="152"/>
                  </a:cubicBezTo>
                  <a:cubicBezTo>
                    <a:pt x="0" y="154"/>
                    <a:pt x="1" y="157"/>
                    <a:pt x="4" y="157"/>
                  </a:cubicBezTo>
                  <a:cubicBezTo>
                    <a:pt x="60" y="157"/>
                    <a:pt x="60" y="157"/>
                    <a:pt x="60" y="157"/>
                  </a:cubicBezTo>
                  <a:cubicBezTo>
                    <a:pt x="32" y="251"/>
                    <a:pt x="32" y="251"/>
                    <a:pt x="32" y="251"/>
                  </a:cubicBezTo>
                  <a:cubicBezTo>
                    <a:pt x="31" y="253"/>
                    <a:pt x="32" y="254"/>
                    <a:pt x="33" y="255"/>
                  </a:cubicBezTo>
                  <a:cubicBezTo>
                    <a:pt x="35" y="256"/>
                    <a:pt x="36" y="255"/>
                    <a:pt x="37" y="254"/>
                  </a:cubicBezTo>
                  <a:cubicBezTo>
                    <a:pt x="143" y="102"/>
                    <a:pt x="143" y="102"/>
                    <a:pt x="143" y="102"/>
                  </a:cubicBezTo>
                  <a:cubicBezTo>
                    <a:pt x="144" y="101"/>
                    <a:pt x="143" y="98"/>
                    <a:pt x="140" y="98"/>
                  </a:cubicBezTo>
                  <a:cubicBezTo>
                    <a:pt x="82" y="98"/>
                    <a:pt x="82" y="98"/>
                    <a:pt x="82" y="98"/>
                  </a:cubicBezTo>
                  <a:cubicBezTo>
                    <a:pt x="110" y="5"/>
                    <a:pt x="110" y="5"/>
                    <a:pt x="110" y="5"/>
                  </a:cubicBezTo>
                  <a:cubicBezTo>
                    <a:pt x="111" y="3"/>
                    <a:pt x="109" y="0"/>
                    <a:pt x="107" y="1"/>
                  </a:cubicBezTo>
                  <a:close/>
                  <a:moveTo>
                    <a:pt x="98" y="22"/>
                  </a:moveTo>
                  <a:cubicBezTo>
                    <a:pt x="75" y="100"/>
                    <a:pt x="75" y="100"/>
                    <a:pt x="75" y="100"/>
                  </a:cubicBezTo>
                  <a:cubicBezTo>
                    <a:pt x="74" y="102"/>
                    <a:pt x="76" y="104"/>
                    <a:pt x="78" y="104"/>
                  </a:cubicBezTo>
                  <a:cubicBezTo>
                    <a:pt x="134" y="104"/>
                    <a:pt x="134" y="104"/>
                    <a:pt x="134" y="104"/>
                  </a:cubicBezTo>
                  <a:cubicBezTo>
                    <a:pt x="43" y="234"/>
                    <a:pt x="43" y="234"/>
                    <a:pt x="43" y="234"/>
                  </a:cubicBezTo>
                  <a:cubicBezTo>
                    <a:pt x="67" y="155"/>
                    <a:pt x="67" y="155"/>
                    <a:pt x="67" y="155"/>
                  </a:cubicBezTo>
                  <a:cubicBezTo>
                    <a:pt x="68" y="153"/>
                    <a:pt x="66" y="151"/>
                    <a:pt x="64" y="151"/>
                  </a:cubicBezTo>
                  <a:cubicBezTo>
                    <a:pt x="10" y="151"/>
                    <a:pt x="10" y="151"/>
                    <a:pt x="10" y="151"/>
                  </a:cubicBezTo>
                  <a:cubicBezTo>
                    <a:pt x="98" y="22"/>
                    <a:pt x="98" y="22"/>
                    <a:pt x="98" y="22"/>
                  </a:cubicBezTo>
                  <a:close/>
                </a:path>
              </a:pathLst>
            </a:custGeom>
            <a:solidFill>
              <a:srgbClr val="0070C0"/>
            </a:solidFill>
            <a:ln w="9525">
              <a:noFill/>
            </a:ln>
          </p:spPr>
          <p:txBody>
            <a:bodyPr vert="horz" wrap="square" lIns="91427" tIns="45713" rIns="91427" bIns="45713" numCol="1" anchor="ctr" anchorCtr="0" compatLnSpc="1">
              <a:prstTxWarp prst="textNoShape">
                <a:avLst/>
              </a:prstTxWarp>
            </a:bodyPr>
            <a:lstStyle/>
            <a:p>
              <a:pPr algn="ctr" defTabSz="932563">
                <a:defRPr/>
              </a:pPr>
              <a:endParaRPr lang="en-US">
                <a:solidFill>
                  <a:srgbClr val="505050"/>
                </a:solidFill>
                <a:latin typeface="Segoe UI"/>
              </a:endParaRPr>
            </a:p>
          </p:txBody>
        </p:sp>
      </p:grpSp>
      <p:grpSp>
        <p:nvGrpSpPr>
          <p:cNvPr id="56" name="Group 55">
            <a:extLst>
              <a:ext uri="{FF2B5EF4-FFF2-40B4-BE49-F238E27FC236}">
                <a16:creationId xmlns:a16="http://schemas.microsoft.com/office/drawing/2014/main" id="{43DC6E78-C669-44C0-88D4-A9FC59C430DA}"/>
              </a:ext>
            </a:extLst>
          </p:cNvPr>
          <p:cNvGrpSpPr/>
          <p:nvPr/>
        </p:nvGrpSpPr>
        <p:grpSpPr>
          <a:xfrm>
            <a:off x="1584574" y="1489616"/>
            <a:ext cx="990836" cy="619045"/>
            <a:chOff x="1583916" y="1489330"/>
            <a:chExt cx="990977" cy="619132"/>
          </a:xfrm>
        </p:grpSpPr>
        <p:sp>
          <p:nvSpPr>
            <p:cNvPr id="211" name="Airplane_E709" title="Icon of an airplane">
              <a:extLst>
                <a:ext uri="{FF2B5EF4-FFF2-40B4-BE49-F238E27FC236}">
                  <a16:creationId xmlns:a16="http://schemas.microsoft.com/office/drawing/2014/main" id="{FE5B8C1F-5CA8-4927-8550-55C99284C67B}"/>
                </a:ext>
              </a:extLst>
            </p:cNvPr>
            <p:cNvSpPr>
              <a:spLocks noChangeAspect="1"/>
            </p:cNvSpPr>
            <p:nvPr/>
          </p:nvSpPr>
          <p:spPr bwMode="auto">
            <a:xfrm>
              <a:off x="1898912" y="1489330"/>
              <a:ext cx="360984" cy="365760"/>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sp>
          <p:nvSpPr>
            <p:cNvPr id="296" name="Rectangle 295">
              <a:extLst>
                <a:ext uri="{FF2B5EF4-FFF2-40B4-BE49-F238E27FC236}">
                  <a16:creationId xmlns:a16="http://schemas.microsoft.com/office/drawing/2014/main" id="{96CF318C-39A8-400A-AFD3-500DB02D997E}"/>
                </a:ext>
              </a:extLst>
            </p:cNvPr>
            <p:cNvSpPr/>
            <p:nvPr/>
          </p:nvSpPr>
          <p:spPr>
            <a:xfrm>
              <a:off x="1583916" y="1939061"/>
              <a:ext cx="990977" cy="169401"/>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Airplanes</a:t>
              </a:r>
            </a:p>
          </p:txBody>
        </p:sp>
      </p:grpSp>
      <p:grpSp>
        <p:nvGrpSpPr>
          <p:cNvPr id="72" name="Group 71">
            <a:extLst>
              <a:ext uri="{FF2B5EF4-FFF2-40B4-BE49-F238E27FC236}">
                <a16:creationId xmlns:a16="http://schemas.microsoft.com/office/drawing/2014/main" id="{752D2C77-0E1E-49C2-9E35-153513B1A1F3}"/>
              </a:ext>
            </a:extLst>
          </p:cNvPr>
          <p:cNvGrpSpPr/>
          <p:nvPr/>
        </p:nvGrpSpPr>
        <p:grpSpPr>
          <a:xfrm>
            <a:off x="10682610" y="3671946"/>
            <a:ext cx="1074022" cy="655031"/>
            <a:chOff x="10683244" y="3671969"/>
            <a:chExt cx="1074174" cy="655123"/>
          </a:xfrm>
        </p:grpSpPr>
        <p:sp>
          <p:nvSpPr>
            <p:cNvPr id="148" name="TextBox 147"/>
            <p:cNvSpPr txBox="1"/>
            <p:nvPr/>
          </p:nvSpPr>
          <p:spPr>
            <a:xfrm>
              <a:off x="10683244" y="4160998"/>
              <a:ext cx="1074174" cy="166094"/>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Medical devices</a:t>
              </a:r>
            </a:p>
          </p:txBody>
        </p:sp>
        <p:sp>
          <p:nvSpPr>
            <p:cNvPr id="297" name="Hospital_E91D" title="Icon of a first-aid box">
              <a:extLst>
                <a:ext uri="{FF2B5EF4-FFF2-40B4-BE49-F238E27FC236}">
                  <a16:creationId xmlns:a16="http://schemas.microsoft.com/office/drawing/2014/main" id="{844EFDCB-F083-466A-8161-95561E1C378C}"/>
                </a:ext>
              </a:extLst>
            </p:cNvPr>
            <p:cNvSpPr>
              <a:spLocks noChangeAspect="1" noEditPoints="1"/>
            </p:cNvSpPr>
            <p:nvPr/>
          </p:nvSpPr>
          <p:spPr bwMode="auto">
            <a:xfrm>
              <a:off x="11009373" y="3671969"/>
              <a:ext cx="421916" cy="365760"/>
            </a:xfrm>
            <a:custGeom>
              <a:avLst/>
              <a:gdLst>
                <a:gd name="T0" fmla="*/ 3500 w 3750"/>
                <a:gd name="T1" fmla="*/ 3250 h 3250"/>
                <a:gd name="T2" fmla="*/ 250 w 3750"/>
                <a:gd name="T3" fmla="*/ 3250 h 3250"/>
                <a:gd name="T4" fmla="*/ 0 w 3750"/>
                <a:gd name="T5" fmla="*/ 3000 h 3250"/>
                <a:gd name="T6" fmla="*/ 0 w 3750"/>
                <a:gd name="T7" fmla="*/ 750 h 3250"/>
                <a:gd name="T8" fmla="*/ 250 w 3750"/>
                <a:gd name="T9" fmla="*/ 500 h 3250"/>
                <a:gd name="T10" fmla="*/ 3500 w 3750"/>
                <a:gd name="T11" fmla="*/ 500 h 3250"/>
                <a:gd name="T12" fmla="*/ 3750 w 3750"/>
                <a:gd name="T13" fmla="*/ 750 h 3250"/>
                <a:gd name="T14" fmla="*/ 3750 w 3750"/>
                <a:gd name="T15" fmla="*/ 3000 h 3250"/>
                <a:gd name="T16" fmla="*/ 3500 w 3750"/>
                <a:gd name="T17" fmla="*/ 3250 h 3250"/>
                <a:gd name="T18" fmla="*/ 2250 w 3750"/>
                <a:gd name="T19" fmla="*/ 2750 h 3250"/>
                <a:gd name="T20" fmla="*/ 2250 w 3750"/>
                <a:gd name="T21" fmla="*/ 2250 h 3250"/>
                <a:gd name="T22" fmla="*/ 2750 w 3750"/>
                <a:gd name="T23" fmla="*/ 2250 h 3250"/>
                <a:gd name="T24" fmla="*/ 2750 w 3750"/>
                <a:gd name="T25" fmla="*/ 1500 h 3250"/>
                <a:gd name="T26" fmla="*/ 2250 w 3750"/>
                <a:gd name="T27" fmla="*/ 1500 h 3250"/>
                <a:gd name="T28" fmla="*/ 2250 w 3750"/>
                <a:gd name="T29" fmla="*/ 1000 h 3250"/>
                <a:gd name="T30" fmla="*/ 1500 w 3750"/>
                <a:gd name="T31" fmla="*/ 1000 h 3250"/>
                <a:gd name="T32" fmla="*/ 1500 w 3750"/>
                <a:gd name="T33" fmla="*/ 1500 h 3250"/>
                <a:gd name="T34" fmla="*/ 1000 w 3750"/>
                <a:gd name="T35" fmla="*/ 1500 h 3250"/>
                <a:gd name="T36" fmla="*/ 1000 w 3750"/>
                <a:gd name="T37" fmla="*/ 2250 h 3250"/>
                <a:gd name="T38" fmla="*/ 1500 w 3750"/>
                <a:gd name="T39" fmla="*/ 2250 h 3250"/>
                <a:gd name="T40" fmla="*/ 1500 w 3750"/>
                <a:gd name="T41" fmla="*/ 2750 h 3250"/>
                <a:gd name="T42" fmla="*/ 2250 w 3750"/>
                <a:gd name="T43" fmla="*/ 2750 h 3250"/>
                <a:gd name="T44" fmla="*/ 2750 w 3750"/>
                <a:gd name="T45" fmla="*/ 500 h 3250"/>
                <a:gd name="T46" fmla="*/ 2750 w 3750"/>
                <a:gd name="T47" fmla="*/ 2 h 3250"/>
                <a:gd name="T48" fmla="*/ 2748 w 3750"/>
                <a:gd name="T49" fmla="*/ 0 h 3250"/>
                <a:gd name="T50" fmla="*/ 1002 w 3750"/>
                <a:gd name="T51" fmla="*/ 0 h 3250"/>
                <a:gd name="T52" fmla="*/ 1000 w 3750"/>
                <a:gd name="T53" fmla="*/ 2 h 3250"/>
                <a:gd name="T54" fmla="*/ 1000 w 3750"/>
                <a:gd name="T55" fmla="*/ 500 h 3250"/>
                <a:gd name="T56" fmla="*/ 2750 w 3750"/>
                <a:gd name="T57" fmla="*/ 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50" h="3250">
                  <a:moveTo>
                    <a:pt x="3500" y="3250"/>
                  </a:moveTo>
                  <a:cubicBezTo>
                    <a:pt x="250" y="3250"/>
                    <a:pt x="250" y="3250"/>
                    <a:pt x="250" y="3250"/>
                  </a:cubicBezTo>
                  <a:cubicBezTo>
                    <a:pt x="112" y="3250"/>
                    <a:pt x="0" y="3138"/>
                    <a:pt x="0" y="3000"/>
                  </a:cubicBezTo>
                  <a:cubicBezTo>
                    <a:pt x="0" y="750"/>
                    <a:pt x="0" y="750"/>
                    <a:pt x="0" y="750"/>
                  </a:cubicBezTo>
                  <a:cubicBezTo>
                    <a:pt x="0" y="612"/>
                    <a:pt x="112" y="500"/>
                    <a:pt x="250" y="500"/>
                  </a:cubicBezTo>
                  <a:cubicBezTo>
                    <a:pt x="3500" y="500"/>
                    <a:pt x="3500" y="500"/>
                    <a:pt x="3500" y="500"/>
                  </a:cubicBezTo>
                  <a:cubicBezTo>
                    <a:pt x="3638" y="500"/>
                    <a:pt x="3750" y="612"/>
                    <a:pt x="3750" y="750"/>
                  </a:cubicBezTo>
                  <a:cubicBezTo>
                    <a:pt x="3750" y="3000"/>
                    <a:pt x="3750" y="3000"/>
                    <a:pt x="3750" y="3000"/>
                  </a:cubicBezTo>
                  <a:cubicBezTo>
                    <a:pt x="3750" y="3138"/>
                    <a:pt x="3638" y="3250"/>
                    <a:pt x="3500" y="3250"/>
                  </a:cubicBezTo>
                  <a:close/>
                  <a:moveTo>
                    <a:pt x="2250" y="2750"/>
                  </a:moveTo>
                  <a:cubicBezTo>
                    <a:pt x="2250" y="2250"/>
                    <a:pt x="2250" y="2250"/>
                    <a:pt x="2250" y="2250"/>
                  </a:cubicBezTo>
                  <a:cubicBezTo>
                    <a:pt x="2750" y="2250"/>
                    <a:pt x="2750" y="2250"/>
                    <a:pt x="2750" y="2250"/>
                  </a:cubicBezTo>
                  <a:cubicBezTo>
                    <a:pt x="2750" y="1500"/>
                    <a:pt x="2750" y="1500"/>
                    <a:pt x="2750" y="1500"/>
                  </a:cubicBezTo>
                  <a:cubicBezTo>
                    <a:pt x="2250" y="1500"/>
                    <a:pt x="2250" y="1500"/>
                    <a:pt x="2250" y="1500"/>
                  </a:cubicBezTo>
                  <a:cubicBezTo>
                    <a:pt x="2250" y="1000"/>
                    <a:pt x="2250" y="1000"/>
                    <a:pt x="2250" y="1000"/>
                  </a:cubicBezTo>
                  <a:cubicBezTo>
                    <a:pt x="1500" y="1000"/>
                    <a:pt x="1500" y="1000"/>
                    <a:pt x="1500" y="1000"/>
                  </a:cubicBezTo>
                  <a:cubicBezTo>
                    <a:pt x="1500" y="1500"/>
                    <a:pt x="1500" y="1500"/>
                    <a:pt x="1500" y="1500"/>
                  </a:cubicBezTo>
                  <a:cubicBezTo>
                    <a:pt x="1000" y="1500"/>
                    <a:pt x="1000" y="1500"/>
                    <a:pt x="1000" y="1500"/>
                  </a:cubicBezTo>
                  <a:cubicBezTo>
                    <a:pt x="1000" y="2250"/>
                    <a:pt x="1000" y="2250"/>
                    <a:pt x="1000" y="2250"/>
                  </a:cubicBezTo>
                  <a:cubicBezTo>
                    <a:pt x="1500" y="2250"/>
                    <a:pt x="1500" y="2250"/>
                    <a:pt x="1500" y="2250"/>
                  </a:cubicBezTo>
                  <a:cubicBezTo>
                    <a:pt x="1500" y="2750"/>
                    <a:pt x="1500" y="2750"/>
                    <a:pt x="1500" y="2750"/>
                  </a:cubicBezTo>
                  <a:lnTo>
                    <a:pt x="2250" y="2750"/>
                  </a:lnTo>
                  <a:close/>
                  <a:moveTo>
                    <a:pt x="2750" y="500"/>
                  </a:moveTo>
                  <a:cubicBezTo>
                    <a:pt x="2750" y="2"/>
                    <a:pt x="2750" y="2"/>
                    <a:pt x="2750" y="2"/>
                  </a:cubicBezTo>
                  <a:cubicBezTo>
                    <a:pt x="2750" y="1"/>
                    <a:pt x="2749" y="0"/>
                    <a:pt x="2748" y="0"/>
                  </a:cubicBezTo>
                  <a:cubicBezTo>
                    <a:pt x="1002" y="0"/>
                    <a:pt x="1002" y="0"/>
                    <a:pt x="1002" y="0"/>
                  </a:cubicBezTo>
                  <a:cubicBezTo>
                    <a:pt x="1001" y="0"/>
                    <a:pt x="1000" y="1"/>
                    <a:pt x="1000" y="2"/>
                  </a:cubicBezTo>
                  <a:cubicBezTo>
                    <a:pt x="1000" y="500"/>
                    <a:pt x="1000" y="500"/>
                    <a:pt x="1000" y="500"/>
                  </a:cubicBezTo>
                  <a:lnTo>
                    <a:pt x="2750" y="500"/>
                  </a:ln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a:p>
          </p:txBody>
        </p:sp>
      </p:grpSp>
      <p:grpSp>
        <p:nvGrpSpPr>
          <p:cNvPr id="347" name="Group 346">
            <a:extLst>
              <a:ext uri="{FF2B5EF4-FFF2-40B4-BE49-F238E27FC236}">
                <a16:creationId xmlns:a16="http://schemas.microsoft.com/office/drawing/2014/main" id="{AF6DD7ED-7630-40BA-B80F-3EF44366559C}"/>
              </a:ext>
            </a:extLst>
          </p:cNvPr>
          <p:cNvGrpSpPr/>
          <p:nvPr/>
        </p:nvGrpSpPr>
        <p:grpSpPr>
          <a:xfrm>
            <a:off x="655506" y="3043326"/>
            <a:ext cx="1232784" cy="630223"/>
            <a:chOff x="391335" y="4669961"/>
            <a:chExt cx="1232958" cy="630312"/>
          </a:xfrm>
        </p:grpSpPr>
        <p:sp>
          <p:nvSpPr>
            <p:cNvPr id="86" name="TextBox 85"/>
            <p:cNvSpPr txBox="1"/>
            <p:nvPr/>
          </p:nvSpPr>
          <p:spPr>
            <a:xfrm>
              <a:off x="391335" y="5130872"/>
              <a:ext cx="1232958"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Elevators</a:t>
              </a:r>
            </a:p>
          </p:txBody>
        </p:sp>
        <p:sp>
          <p:nvSpPr>
            <p:cNvPr id="299" name="people_19" title="Icon of a person standing on a circle">
              <a:extLst>
                <a:ext uri="{FF2B5EF4-FFF2-40B4-BE49-F238E27FC236}">
                  <a16:creationId xmlns:a16="http://schemas.microsoft.com/office/drawing/2014/main" id="{EC20983D-731B-49F0-BF27-DD6B5C387872}"/>
                </a:ext>
              </a:extLst>
            </p:cNvPr>
            <p:cNvSpPr>
              <a:spLocks noChangeAspect="1" noEditPoints="1"/>
            </p:cNvSpPr>
            <p:nvPr/>
          </p:nvSpPr>
          <p:spPr bwMode="auto">
            <a:xfrm>
              <a:off x="866530" y="4669961"/>
              <a:ext cx="282568" cy="365760"/>
            </a:xfrm>
            <a:custGeom>
              <a:avLst/>
              <a:gdLst>
                <a:gd name="T0" fmla="*/ 100 w 271"/>
                <a:gd name="T1" fmla="*/ 35 h 352"/>
                <a:gd name="T2" fmla="*/ 136 w 271"/>
                <a:gd name="T3" fmla="*/ 0 h 352"/>
                <a:gd name="T4" fmla="*/ 171 w 271"/>
                <a:gd name="T5" fmla="*/ 35 h 352"/>
                <a:gd name="T6" fmla="*/ 136 w 271"/>
                <a:gd name="T7" fmla="*/ 71 h 352"/>
                <a:gd name="T8" fmla="*/ 100 w 271"/>
                <a:gd name="T9" fmla="*/ 35 h 352"/>
                <a:gd name="T10" fmla="*/ 180 w 271"/>
                <a:gd name="T11" fmla="*/ 312 h 352"/>
                <a:gd name="T12" fmla="*/ 181 w 271"/>
                <a:gd name="T13" fmla="*/ 228 h 352"/>
                <a:gd name="T14" fmla="*/ 202 w 271"/>
                <a:gd name="T15" fmla="*/ 207 h 352"/>
                <a:gd name="T16" fmla="*/ 202 w 271"/>
                <a:gd name="T17" fmla="*/ 92 h 352"/>
                <a:gd name="T18" fmla="*/ 181 w 271"/>
                <a:gd name="T19" fmla="*/ 71 h 352"/>
                <a:gd name="T20" fmla="*/ 90 w 271"/>
                <a:gd name="T21" fmla="*/ 71 h 352"/>
                <a:gd name="T22" fmla="*/ 69 w 271"/>
                <a:gd name="T23" fmla="*/ 92 h 352"/>
                <a:gd name="T24" fmla="*/ 69 w 271"/>
                <a:gd name="T25" fmla="*/ 207 h 352"/>
                <a:gd name="T26" fmla="*/ 90 w 271"/>
                <a:gd name="T27" fmla="*/ 228 h 352"/>
                <a:gd name="T28" fmla="*/ 92 w 271"/>
                <a:gd name="T29" fmla="*/ 312 h 352"/>
                <a:gd name="T30" fmla="*/ 136 w 271"/>
                <a:gd name="T31" fmla="*/ 223 h 352"/>
                <a:gd name="T32" fmla="*/ 136 w 271"/>
                <a:gd name="T33" fmla="*/ 312 h 352"/>
                <a:gd name="T34" fmla="*/ 91 w 271"/>
                <a:gd name="T35" fmla="*/ 281 h 352"/>
                <a:gd name="T36" fmla="*/ 0 w 271"/>
                <a:gd name="T37" fmla="*/ 315 h 352"/>
                <a:gd name="T38" fmla="*/ 136 w 271"/>
                <a:gd name="T39" fmla="*/ 352 h 352"/>
                <a:gd name="T40" fmla="*/ 271 w 271"/>
                <a:gd name="T41" fmla="*/ 315 h 352"/>
                <a:gd name="T42" fmla="*/ 180 w 271"/>
                <a:gd name="T43" fmla="*/ 28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52">
                  <a:moveTo>
                    <a:pt x="100" y="35"/>
                  </a:moveTo>
                  <a:cubicBezTo>
                    <a:pt x="100" y="16"/>
                    <a:pt x="116" y="0"/>
                    <a:pt x="136" y="0"/>
                  </a:cubicBezTo>
                  <a:cubicBezTo>
                    <a:pt x="155" y="0"/>
                    <a:pt x="171" y="16"/>
                    <a:pt x="171" y="35"/>
                  </a:cubicBezTo>
                  <a:cubicBezTo>
                    <a:pt x="171" y="55"/>
                    <a:pt x="155" y="71"/>
                    <a:pt x="136" y="71"/>
                  </a:cubicBezTo>
                  <a:cubicBezTo>
                    <a:pt x="116" y="71"/>
                    <a:pt x="100" y="55"/>
                    <a:pt x="100" y="35"/>
                  </a:cubicBezTo>
                  <a:close/>
                  <a:moveTo>
                    <a:pt x="180" y="312"/>
                  </a:moveTo>
                  <a:cubicBezTo>
                    <a:pt x="181" y="228"/>
                    <a:pt x="181" y="228"/>
                    <a:pt x="181" y="228"/>
                  </a:cubicBezTo>
                  <a:cubicBezTo>
                    <a:pt x="193" y="228"/>
                    <a:pt x="202" y="218"/>
                    <a:pt x="202" y="207"/>
                  </a:cubicBezTo>
                  <a:cubicBezTo>
                    <a:pt x="202" y="92"/>
                    <a:pt x="202" y="92"/>
                    <a:pt x="202" y="92"/>
                  </a:cubicBezTo>
                  <a:cubicBezTo>
                    <a:pt x="202" y="80"/>
                    <a:pt x="193" y="71"/>
                    <a:pt x="181" y="71"/>
                  </a:cubicBezTo>
                  <a:cubicBezTo>
                    <a:pt x="90" y="71"/>
                    <a:pt x="90" y="71"/>
                    <a:pt x="90" y="71"/>
                  </a:cubicBezTo>
                  <a:cubicBezTo>
                    <a:pt x="78" y="71"/>
                    <a:pt x="69" y="80"/>
                    <a:pt x="69" y="92"/>
                  </a:cubicBezTo>
                  <a:cubicBezTo>
                    <a:pt x="69" y="207"/>
                    <a:pt x="69" y="207"/>
                    <a:pt x="69" y="207"/>
                  </a:cubicBezTo>
                  <a:cubicBezTo>
                    <a:pt x="69" y="218"/>
                    <a:pt x="78" y="228"/>
                    <a:pt x="90" y="228"/>
                  </a:cubicBezTo>
                  <a:cubicBezTo>
                    <a:pt x="92" y="312"/>
                    <a:pt x="92" y="312"/>
                    <a:pt x="92" y="312"/>
                  </a:cubicBezTo>
                  <a:moveTo>
                    <a:pt x="136" y="223"/>
                  </a:moveTo>
                  <a:cubicBezTo>
                    <a:pt x="136" y="312"/>
                    <a:pt x="136" y="312"/>
                    <a:pt x="136" y="312"/>
                  </a:cubicBezTo>
                  <a:moveTo>
                    <a:pt x="91" y="281"/>
                  </a:moveTo>
                  <a:cubicBezTo>
                    <a:pt x="36" y="283"/>
                    <a:pt x="0" y="300"/>
                    <a:pt x="0" y="315"/>
                  </a:cubicBezTo>
                  <a:cubicBezTo>
                    <a:pt x="0" y="336"/>
                    <a:pt x="61" y="352"/>
                    <a:pt x="136" y="352"/>
                  </a:cubicBezTo>
                  <a:cubicBezTo>
                    <a:pt x="211" y="352"/>
                    <a:pt x="271" y="336"/>
                    <a:pt x="271" y="315"/>
                  </a:cubicBezTo>
                  <a:cubicBezTo>
                    <a:pt x="271" y="300"/>
                    <a:pt x="237" y="284"/>
                    <a:pt x="180" y="281"/>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a:p>
          </p:txBody>
        </p:sp>
      </p:grpSp>
      <p:grpSp>
        <p:nvGrpSpPr>
          <p:cNvPr id="345" name="Group 344">
            <a:extLst>
              <a:ext uri="{FF2B5EF4-FFF2-40B4-BE49-F238E27FC236}">
                <a16:creationId xmlns:a16="http://schemas.microsoft.com/office/drawing/2014/main" id="{240F5026-28D7-43A7-A270-8A11369A8C0C}"/>
              </a:ext>
            </a:extLst>
          </p:cNvPr>
          <p:cNvGrpSpPr/>
          <p:nvPr/>
        </p:nvGrpSpPr>
        <p:grpSpPr>
          <a:xfrm>
            <a:off x="4378304" y="4846993"/>
            <a:ext cx="1029997" cy="602234"/>
            <a:chOff x="4270155" y="4669961"/>
            <a:chExt cx="1030144" cy="602319"/>
          </a:xfrm>
        </p:grpSpPr>
        <p:sp>
          <p:nvSpPr>
            <p:cNvPr id="262" name="cone" title="Icon of a traffic cone">
              <a:extLst>
                <a:ext uri="{FF2B5EF4-FFF2-40B4-BE49-F238E27FC236}">
                  <a16:creationId xmlns:a16="http://schemas.microsoft.com/office/drawing/2014/main" id="{3947A7B8-F168-481D-94D8-887AC709C2D4}"/>
                </a:ext>
              </a:extLst>
            </p:cNvPr>
            <p:cNvSpPr>
              <a:spLocks noChangeAspect="1" noEditPoints="1"/>
            </p:cNvSpPr>
            <p:nvPr/>
          </p:nvSpPr>
          <p:spPr bwMode="auto">
            <a:xfrm>
              <a:off x="4600695" y="4669961"/>
              <a:ext cx="369056" cy="365760"/>
            </a:xfrm>
            <a:custGeom>
              <a:avLst/>
              <a:gdLst>
                <a:gd name="T0" fmla="*/ 192 w 448"/>
                <a:gd name="T1" fmla="*/ 0 h 444"/>
                <a:gd name="T2" fmla="*/ 253 w 448"/>
                <a:gd name="T3" fmla="*/ 0 h 444"/>
                <a:gd name="T4" fmla="*/ 370 w 448"/>
                <a:gd name="T5" fmla="*/ 444 h 444"/>
                <a:gd name="T6" fmla="*/ 78 w 448"/>
                <a:gd name="T7" fmla="*/ 444 h 444"/>
                <a:gd name="T8" fmla="*/ 192 w 448"/>
                <a:gd name="T9" fmla="*/ 0 h 444"/>
                <a:gd name="T10" fmla="*/ 78 w 448"/>
                <a:gd name="T11" fmla="*/ 444 h 444"/>
                <a:gd name="T12" fmla="*/ 0 w 448"/>
                <a:gd name="T13" fmla="*/ 444 h 444"/>
                <a:gd name="T14" fmla="*/ 448 w 448"/>
                <a:gd name="T15" fmla="*/ 444 h 444"/>
                <a:gd name="T16" fmla="*/ 370 w 448"/>
                <a:gd name="T17" fmla="*/ 444 h 444"/>
                <a:gd name="T18" fmla="*/ 260 w 448"/>
                <a:gd name="T19" fmla="*/ 218 h 444"/>
                <a:gd name="T20" fmla="*/ 135 w 448"/>
                <a:gd name="T21" fmla="*/ 218 h 444"/>
                <a:gd name="T22" fmla="*/ 110 w 448"/>
                <a:gd name="T23" fmla="*/ 314 h 444"/>
                <a:gd name="T24" fmla="*/ 285 w 448"/>
                <a:gd name="T25" fmla="*/ 31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444">
                  <a:moveTo>
                    <a:pt x="192" y="0"/>
                  </a:moveTo>
                  <a:lnTo>
                    <a:pt x="253" y="0"/>
                  </a:lnTo>
                  <a:lnTo>
                    <a:pt x="370" y="444"/>
                  </a:lnTo>
                  <a:lnTo>
                    <a:pt x="78" y="444"/>
                  </a:lnTo>
                  <a:lnTo>
                    <a:pt x="192" y="0"/>
                  </a:lnTo>
                  <a:moveTo>
                    <a:pt x="78" y="444"/>
                  </a:moveTo>
                  <a:lnTo>
                    <a:pt x="0" y="444"/>
                  </a:lnTo>
                  <a:moveTo>
                    <a:pt x="448" y="444"/>
                  </a:moveTo>
                  <a:lnTo>
                    <a:pt x="370" y="444"/>
                  </a:lnTo>
                  <a:moveTo>
                    <a:pt x="260" y="218"/>
                  </a:moveTo>
                  <a:lnTo>
                    <a:pt x="135" y="218"/>
                  </a:lnTo>
                  <a:lnTo>
                    <a:pt x="110" y="314"/>
                  </a:lnTo>
                  <a:lnTo>
                    <a:pt x="285" y="314"/>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sp>
          <p:nvSpPr>
            <p:cNvPr id="14" name="Rectangle 13">
              <a:extLst>
                <a:ext uri="{FF2B5EF4-FFF2-40B4-BE49-F238E27FC236}">
                  <a16:creationId xmlns:a16="http://schemas.microsoft.com/office/drawing/2014/main" id="{1C029A4B-BA52-4837-BDBD-67F268E3D12D}"/>
                </a:ext>
              </a:extLst>
            </p:cNvPr>
            <p:cNvSpPr/>
            <p:nvPr/>
          </p:nvSpPr>
          <p:spPr>
            <a:xfrm>
              <a:off x="4270155" y="5102879"/>
              <a:ext cx="1030144" cy="169401"/>
            </a:xfrm>
            <a:prstGeom prst="rect">
              <a:avLst/>
            </a:prstGeom>
          </p:spPr>
          <p:txBody>
            <a:bodyPr vert="horz" wrap="none" lIns="0" tIns="0" rIns="0" bIns="0" anchor="ctr" anchorCtr="0">
              <a:spAutoFit/>
            </a:bodyPr>
            <a:lstStyle/>
            <a:p>
              <a:pPr marL="0" lvl="1" algn="ctr" defTabSz="932384" fontAlgn="base">
                <a:lnSpc>
                  <a:spcPct val="90000"/>
                </a:lnSpc>
                <a:spcBef>
                  <a:spcPct val="0"/>
                </a:spcBef>
                <a:spcAft>
                  <a:spcPts val="600"/>
                </a:spcAft>
                <a:defRPr/>
              </a:pPr>
              <a:r>
                <a:rPr lang="en-US" sz="1199" kern="0" dirty="0">
                  <a:gradFill>
                    <a:gsLst>
                      <a:gs pos="2917">
                        <a:srgbClr val="353535"/>
                      </a:gs>
                      <a:gs pos="32000">
                        <a:srgbClr val="353535"/>
                      </a:gs>
                    </a:gsLst>
                    <a:lin ang="5400000" scaled="0"/>
                  </a:gradFill>
                </a:rPr>
                <a:t>Traffic Systems</a:t>
              </a:r>
            </a:p>
          </p:txBody>
        </p:sp>
      </p:grpSp>
      <p:grpSp>
        <p:nvGrpSpPr>
          <p:cNvPr id="146" name="Group 145">
            <a:extLst>
              <a:ext uri="{FF2B5EF4-FFF2-40B4-BE49-F238E27FC236}">
                <a16:creationId xmlns:a16="http://schemas.microsoft.com/office/drawing/2014/main" id="{A9E0F61B-3D18-490D-A748-03F10303D392}"/>
              </a:ext>
            </a:extLst>
          </p:cNvPr>
          <p:cNvGrpSpPr/>
          <p:nvPr/>
        </p:nvGrpSpPr>
        <p:grpSpPr>
          <a:xfrm>
            <a:off x="9036720" y="3466582"/>
            <a:ext cx="1074022" cy="866337"/>
            <a:chOff x="8920938" y="2548395"/>
            <a:chExt cx="1074174" cy="866459"/>
          </a:xfrm>
        </p:grpSpPr>
        <p:sp>
          <p:nvSpPr>
            <p:cNvPr id="134" name="TextBox 133"/>
            <p:cNvSpPr txBox="1"/>
            <p:nvPr/>
          </p:nvSpPr>
          <p:spPr>
            <a:xfrm>
              <a:off x="8920938" y="3245453"/>
              <a:ext cx="1074174"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Vending</a:t>
              </a:r>
            </a:p>
          </p:txBody>
        </p:sp>
        <p:sp>
          <p:nvSpPr>
            <p:cNvPr id="317" name="PaymentCard_E8C7" title="Icon of a credit card">
              <a:extLst>
                <a:ext uri="{FF2B5EF4-FFF2-40B4-BE49-F238E27FC236}">
                  <a16:creationId xmlns:a16="http://schemas.microsoft.com/office/drawing/2014/main" id="{F348731D-B6BB-4403-9C0B-A2BDFE1C55FD}"/>
                </a:ext>
              </a:extLst>
            </p:cNvPr>
            <p:cNvSpPr>
              <a:spLocks noChangeAspect="1" noEditPoints="1"/>
            </p:cNvSpPr>
            <p:nvPr/>
          </p:nvSpPr>
          <p:spPr bwMode="auto">
            <a:xfrm rot="5400000">
              <a:off x="9183955" y="2639585"/>
              <a:ext cx="548140" cy="365760"/>
            </a:xfrm>
            <a:custGeom>
              <a:avLst/>
              <a:gdLst>
                <a:gd name="T0" fmla="*/ 3571 w 3750"/>
                <a:gd name="T1" fmla="*/ 2500 h 2500"/>
                <a:gd name="T2" fmla="*/ 179 w 3750"/>
                <a:gd name="T3" fmla="*/ 2500 h 2500"/>
                <a:gd name="T4" fmla="*/ 0 w 3750"/>
                <a:gd name="T5" fmla="*/ 2321 h 2500"/>
                <a:gd name="T6" fmla="*/ 0 w 3750"/>
                <a:gd name="T7" fmla="*/ 179 h 2500"/>
                <a:gd name="T8" fmla="*/ 179 w 3750"/>
                <a:gd name="T9" fmla="*/ 0 h 2500"/>
                <a:gd name="T10" fmla="*/ 3571 w 3750"/>
                <a:gd name="T11" fmla="*/ 0 h 2500"/>
                <a:gd name="T12" fmla="*/ 3750 w 3750"/>
                <a:gd name="T13" fmla="*/ 179 h 2500"/>
                <a:gd name="T14" fmla="*/ 3750 w 3750"/>
                <a:gd name="T15" fmla="*/ 2321 h 2500"/>
                <a:gd name="T16" fmla="*/ 3571 w 3750"/>
                <a:gd name="T17" fmla="*/ 2500 h 2500"/>
                <a:gd name="T18" fmla="*/ 0 w 3750"/>
                <a:gd name="T19" fmla="*/ 750 h 2500"/>
                <a:gd name="T20" fmla="*/ 3750 w 3750"/>
                <a:gd name="T21" fmla="*/ 750 h 2500"/>
                <a:gd name="T22" fmla="*/ 3125 w 3750"/>
                <a:gd name="T23" fmla="*/ 1750 h 2500"/>
                <a:gd name="T24" fmla="*/ 2625 w 3750"/>
                <a:gd name="T25" fmla="*/ 175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50" h="2500">
                  <a:moveTo>
                    <a:pt x="3571" y="2500"/>
                  </a:moveTo>
                  <a:cubicBezTo>
                    <a:pt x="179" y="2500"/>
                    <a:pt x="179" y="2500"/>
                    <a:pt x="179" y="2500"/>
                  </a:cubicBezTo>
                  <a:cubicBezTo>
                    <a:pt x="80" y="2500"/>
                    <a:pt x="0" y="2420"/>
                    <a:pt x="0" y="2321"/>
                  </a:cubicBezTo>
                  <a:cubicBezTo>
                    <a:pt x="0" y="179"/>
                    <a:pt x="0" y="179"/>
                    <a:pt x="0" y="179"/>
                  </a:cubicBezTo>
                  <a:cubicBezTo>
                    <a:pt x="0" y="80"/>
                    <a:pt x="80" y="0"/>
                    <a:pt x="179" y="0"/>
                  </a:cubicBezTo>
                  <a:cubicBezTo>
                    <a:pt x="3571" y="0"/>
                    <a:pt x="3571" y="0"/>
                    <a:pt x="3571" y="0"/>
                  </a:cubicBezTo>
                  <a:cubicBezTo>
                    <a:pt x="3670" y="0"/>
                    <a:pt x="3750" y="80"/>
                    <a:pt x="3750" y="179"/>
                  </a:cubicBezTo>
                  <a:cubicBezTo>
                    <a:pt x="3750" y="2321"/>
                    <a:pt x="3750" y="2321"/>
                    <a:pt x="3750" y="2321"/>
                  </a:cubicBezTo>
                  <a:cubicBezTo>
                    <a:pt x="3750" y="2420"/>
                    <a:pt x="3670" y="2500"/>
                    <a:pt x="3571" y="2500"/>
                  </a:cubicBezTo>
                  <a:close/>
                  <a:moveTo>
                    <a:pt x="0" y="750"/>
                  </a:moveTo>
                  <a:cubicBezTo>
                    <a:pt x="3750" y="750"/>
                    <a:pt x="3750" y="750"/>
                    <a:pt x="3750" y="750"/>
                  </a:cubicBezTo>
                  <a:moveTo>
                    <a:pt x="3125" y="1750"/>
                  </a:moveTo>
                  <a:cubicBezTo>
                    <a:pt x="2625" y="1750"/>
                    <a:pt x="2625" y="1750"/>
                    <a:pt x="2625" y="1750"/>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94" name="Group 93">
            <a:extLst>
              <a:ext uri="{FF2B5EF4-FFF2-40B4-BE49-F238E27FC236}">
                <a16:creationId xmlns:a16="http://schemas.microsoft.com/office/drawing/2014/main" id="{C189A2E1-5355-4CB8-B248-A88CB1657E7D}"/>
              </a:ext>
            </a:extLst>
          </p:cNvPr>
          <p:cNvGrpSpPr/>
          <p:nvPr/>
        </p:nvGrpSpPr>
        <p:grpSpPr>
          <a:xfrm>
            <a:off x="4532028" y="6111157"/>
            <a:ext cx="1194389" cy="598791"/>
            <a:chOff x="4187944" y="5798889"/>
            <a:chExt cx="1194559" cy="598875"/>
          </a:xfrm>
        </p:grpSpPr>
        <p:sp>
          <p:nvSpPr>
            <p:cNvPr id="169" name="Rectangle 168"/>
            <p:cNvSpPr/>
            <p:nvPr/>
          </p:nvSpPr>
          <p:spPr>
            <a:xfrm>
              <a:off x="4187944" y="6228363"/>
              <a:ext cx="1194559" cy="169401"/>
            </a:xfrm>
            <a:prstGeom prst="rect">
              <a:avLst/>
            </a:prstGeom>
          </p:spPr>
          <p:txBody>
            <a:bodyPr vert="horz" wrap="square" lIns="0" tIns="0" rIns="0" bIns="0" anchor="ctr" anchorCtr="0">
              <a:spAutoFit/>
            </a:bodyPr>
            <a:lstStyle/>
            <a:p>
              <a:pPr marL="0" lvl="1" algn="ctr" defTabSz="932384" fontAlgn="base">
                <a:lnSpc>
                  <a:spcPct val="90000"/>
                </a:lnSpc>
                <a:spcBef>
                  <a:spcPct val="0"/>
                </a:spcBef>
                <a:spcAft>
                  <a:spcPts val="600"/>
                </a:spcAft>
                <a:defRPr/>
              </a:pPr>
              <a:r>
                <a:rPr lang="en-US" sz="1199" kern="0">
                  <a:gradFill>
                    <a:gsLst>
                      <a:gs pos="2917">
                        <a:srgbClr val="353535"/>
                      </a:gs>
                      <a:gs pos="32000">
                        <a:srgbClr val="353535"/>
                      </a:gs>
                    </a:gsLst>
                    <a:lin ang="5400000" scaled="0"/>
                  </a:gradFill>
                </a:rPr>
                <a:t>Freight</a:t>
              </a:r>
            </a:p>
          </p:txBody>
        </p:sp>
        <p:sp>
          <p:nvSpPr>
            <p:cNvPr id="318" name="Archive_F03F" title="Icon of an archival box">
              <a:extLst>
                <a:ext uri="{FF2B5EF4-FFF2-40B4-BE49-F238E27FC236}">
                  <a16:creationId xmlns:a16="http://schemas.microsoft.com/office/drawing/2014/main" id="{50605CC4-D1D5-4E07-A818-95B8BC026859}"/>
                </a:ext>
              </a:extLst>
            </p:cNvPr>
            <p:cNvSpPr>
              <a:spLocks noChangeAspect="1" noEditPoints="1"/>
            </p:cNvSpPr>
            <p:nvPr/>
          </p:nvSpPr>
          <p:spPr bwMode="auto">
            <a:xfrm>
              <a:off x="4574335" y="5798889"/>
              <a:ext cx="421776" cy="365760"/>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a:p>
          </p:txBody>
        </p:sp>
      </p:grpSp>
      <p:grpSp>
        <p:nvGrpSpPr>
          <p:cNvPr id="346" name="Group 345">
            <a:extLst>
              <a:ext uri="{FF2B5EF4-FFF2-40B4-BE49-F238E27FC236}">
                <a16:creationId xmlns:a16="http://schemas.microsoft.com/office/drawing/2014/main" id="{C08F24FE-E8CA-4F04-B58F-669A62973E7E}"/>
              </a:ext>
            </a:extLst>
          </p:cNvPr>
          <p:cNvGrpSpPr/>
          <p:nvPr/>
        </p:nvGrpSpPr>
        <p:grpSpPr>
          <a:xfrm>
            <a:off x="2840124" y="4669799"/>
            <a:ext cx="1194389" cy="592906"/>
            <a:chOff x="2839644" y="4669961"/>
            <a:chExt cx="1194559" cy="592989"/>
          </a:xfrm>
        </p:grpSpPr>
        <p:sp>
          <p:nvSpPr>
            <p:cNvPr id="269" name="Forklift" title="Icon of a forklift carrying boxes">
              <a:extLst>
                <a:ext uri="{FF2B5EF4-FFF2-40B4-BE49-F238E27FC236}">
                  <a16:creationId xmlns:a16="http://schemas.microsoft.com/office/drawing/2014/main" id="{8D7CAA74-41DB-4389-BAA9-97487528E183}"/>
                </a:ext>
              </a:extLst>
            </p:cNvPr>
            <p:cNvSpPr>
              <a:spLocks noChangeAspect="1" noEditPoints="1"/>
            </p:cNvSpPr>
            <p:nvPr/>
          </p:nvSpPr>
          <p:spPr bwMode="auto">
            <a:xfrm>
              <a:off x="3239361" y="4669961"/>
              <a:ext cx="395124" cy="365760"/>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algn="ctr"/>
              <a:endParaRPr lang="en-US"/>
            </a:p>
          </p:txBody>
        </p:sp>
        <p:sp>
          <p:nvSpPr>
            <p:cNvPr id="319" name="Rectangle 318">
              <a:extLst>
                <a:ext uri="{FF2B5EF4-FFF2-40B4-BE49-F238E27FC236}">
                  <a16:creationId xmlns:a16="http://schemas.microsoft.com/office/drawing/2014/main" id="{900410D3-D118-4BFF-80B7-BDDA433E3F74}"/>
                </a:ext>
              </a:extLst>
            </p:cNvPr>
            <p:cNvSpPr/>
            <p:nvPr/>
          </p:nvSpPr>
          <p:spPr>
            <a:xfrm>
              <a:off x="2839644" y="5093549"/>
              <a:ext cx="1194559" cy="169401"/>
            </a:xfrm>
            <a:prstGeom prst="rect">
              <a:avLst/>
            </a:prstGeom>
          </p:spPr>
          <p:txBody>
            <a:bodyPr vert="horz" wrap="square" lIns="0" tIns="0" rIns="0" bIns="0" anchor="ctr" anchorCtr="0">
              <a:spAutoFit/>
            </a:bodyPr>
            <a:lstStyle/>
            <a:p>
              <a:pPr marL="0" lvl="1" algn="ctr" defTabSz="932384" fontAlgn="base">
                <a:lnSpc>
                  <a:spcPct val="90000"/>
                </a:lnSpc>
                <a:spcBef>
                  <a:spcPct val="0"/>
                </a:spcBef>
                <a:spcAft>
                  <a:spcPts val="600"/>
                </a:spcAft>
                <a:defRPr/>
              </a:pPr>
              <a:r>
                <a:rPr lang="en-US" sz="1199" kern="0">
                  <a:gradFill>
                    <a:gsLst>
                      <a:gs pos="2917">
                        <a:srgbClr val="353535"/>
                      </a:gs>
                      <a:gs pos="32000">
                        <a:srgbClr val="353535"/>
                      </a:gs>
                    </a:gsLst>
                    <a:lin ang="5400000" scaled="0"/>
                  </a:gradFill>
                </a:rPr>
                <a:t>Equipment</a:t>
              </a:r>
            </a:p>
          </p:txBody>
        </p:sp>
      </p:grpSp>
      <p:grpSp>
        <p:nvGrpSpPr>
          <p:cNvPr id="81" name="Group 80">
            <a:extLst>
              <a:ext uri="{FF2B5EF4-FFF2-40B4-BE49-F238E27FC236}">
                <a16:creationId xmlns:a16="http://schemas.microsoft.com/office/drawing/2014/main" id="{03733DAE-4DC3-40B9-93EC-129DC7E9CA43}"/>
              </a:ext>
            </a:extLst>
          </p:cNvPr>
          <p:cNvGrpSpPr/>
          <p:nvPr/>
        </p:nvGrpSpPr>
        <p:grpSpPr>
          <a:xfrm>
            <a:off x="9641721" y="4613491"/>
            <a:ext cx="968461" cy="626782"/>
            <a:chOff x="7656998" y="5798888"/>
            <a:chExt cx="968599" cy="626870"/>
          </a:xfrm>
        </p:grpSpPr>
        <p:sp>
          <p:nvSpPr>
            <p:cNvPr id="129" name="TextBox 128"/>
            <p:cNvSpPr txBox="1"/>
            <p:nvPr/>
          </p:nvSpPr>
          <p:spPr>
            <a:xfrm>
              <a:off x="7656998" y="6256357"/>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Engines</a:t>
              </a:r>
            </a:p>
          </p:txBody>
        </p:sp>
        <p:sp>
          <p:nvSpPr>
            <p:cNvPr id="320" name="safe" title="Icon of a locked safe">
              <a:extLst>
                <a:ext uri="{FF2B5EF4-FFF2-40B4-BE49-F238E27FC236}">
                  <a16:creationId xmlns:a16="http://schemas.microsoft.com/office/drawing/2014/main" id="{6F58E03A-93F0-49BA-991D-DB3A5767BD7D}"/>
                </a:ext>
              </a:extLst>
            </p:cNvPr>
            <p:cNvSpPr>
              <a:spLocks noChangeAspect="1" noEditPoints="1"/>
            </p:cNvSpPr>
            <p:nvPr/>
          </p:nvSpPr>
          <p:spPr bwMode="auto">
            <a:xfrm rot="10800000">
              <a:off x="7968752" y="5798888"/>
              <a:ext cx="345092" cy="365760"/>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a:p>
          </p:txBody>
        </p:sp>
      </p:grpSp>
      <p:grpSp>
        <p:nvGrpSpPr>
          <p:cNvPr id="78" name="Group 77">
            <a:extLst>
              <a:ext uri="{FF2B5EF4-FFF2-40B4-BE49-F238E27FC236}">
                <a16:creationId xmlns:a16="http://schemas.microsoft.com/office/drawing/2014/main" id="{8BB490D1-1C58-4A46-BFA3-CD4F5C80D35A}"/>
              </a:ext>
            </a:extLst>
          </p:cNvPr>
          <p:cNvGrpSpPr/>
          <p:nvPr/>
        </p:nvGrpSpPr>
        <p:grpSpPr>
          <a:xfrm>
            <a:off x="10881911" y="5798569"/>
            <a:ext cx="968461" cy="570802"/>
            <a:chOff x="10882571" y="5798889"/>
            <a:chExt cx="968599" cy="570883"/>
          </a:xfrm>
        </p:grpSpPr>
        <p:sp>
          <p:nvSpPr>
            <p:cNvPr id="214" name="TextBox 213"/>
            <p:cNvSpPr txBox="1"/>
            <p:nvPr/>
          </p:nvSpPr>
          <p:spPr>
            <a:xfrm>
              <a:off x="10882571" y="6200371"/>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Smart grids</a:t>
              </a:r>
            </a:p>
          </p:txBody>
        </p:sp>
        <p:sp>
          <p:nvSpPr>
            <p:cNvPr id="321" name="Sun" title="Icon of the sun">
              <a:extLst>
                <a:ext uri="{FF2B5EF4-FFF2-40B4-BE49-F238E27FC236}">
                  <a16:creationId xmlns:a16="http://schemas.microsoft.com/office/drawing/2014/main" id="{4154727E-9F5B-4120-BFE0-2B97487EA5E0}"/>
                </a:ext>
              </a:extLst>
            </p:cNvPr>
            <p:cNvSpPr>
              <a:spLocks noChangeAspect="1" noEditPoints="1"/>
            </p:cNvSpPr>
            <p:nvPr/>
          </p:nvSpPr>
          <p:spPr bwMode="auto">
            <a:xfrm>
              <a:off x="11183990" y="5798889"/>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ctr" anchorCtr="0" compatLnSpc="1">
              <a:prstTxWarp prst="textNoShape">
                <a:avLst/>
              </a:prstTxWarp>
            </a:bodyPr>
            <a:lstStyle/>
            <a:p>
              <a:pPr algn="ctr"/>
              <a:endParaRPr lang="en-US" sz="900">
                <a:gradFill>
                  <a:gsLst>
                    <a:gs pos="0">
                      <a:srgbClr val="505050"/>
                    </a:gs>
                    <a:gs pos="100000">
                      <a:srgbClr val="505050"/>
                    </a:gs>
                  </a:gsLst>
                  <a:lin ang="5400000" scaled="1"/>
                </a:gradFill>
              </a:endParaRPr>
            </a:p>
          </p:txBody>
        </p:sp>
      </p:grpSp>
      <p:grpSp>
        <p:nvGrpSpPr>
          <p:cNvPr id="359" name="Group 358">
            <a:extLst>
              <a:ext uri="{FF2B5EF4-FFF2-40B4-BE49-F238E27FC236}">
                <a16:creationId xmlns:a16="http://schemas.microsoft.com/office/drawing/2014/main" id="{159FE49E-7141-4720-A091-3512CC7EDDFF}"/>
              </a:ext>
            </a:extLst>
          </p:cNvPr>
          <p:cNvGrpSpPr/>
          <p:nvPr/>
        </p:nvGrpSpPr>
        <p:grpSpPr>
          <a:xfrm>
            <a:off x="9611009" y="2148239"/>
            <a:ext cx="1259404" cy="878247"/>
            <a:chOff x="9611490" y="2148047"/>
            <a:chExt cx="1259583" cy="878372"/>
          </a:xfrm>
        </p:grpSpPr>
        <p:sp>
          <p:nvSpPr>
            <p:cNvPr id="58" name="TextBox 57"/>
            <p:cNvSpPr txBox="1"/>
            <p:nvPr/>
          </p:nvSpPr>
          <p:spPr>
            <a:xfrm>
              <a:off x="9611490" y="2687617"/>
              <a:ext cx="1259583" cy="338802"/>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Charging</a:t>
              </a:r>
              <a:br>
                <a:rPr lang="en-US" sz="1199" kern="0">
                  <a:gradFill>
                    <a:gsLst>
                      <a:gs pos="2917">
                        <a:srgbClr val="353535"/>
                      </a:gs>
                      <a:gs pos="32000">
                        <a:srgbClr val="353535"/>
                      </a:gs>
                    </a:gsLst>
                    <a:lin ang="5400000" scaled="0"/>
                  </a:gradFill>
                </a:rPr>
              </a:br>
              <a:r>
                <a:rPr lang="en-US" sz="1199" kern="0">
                  <a:gradFill>
                    <a:gsLst>
                      <a:gs pos="2917">
                        <a:srgbClr val="353535"/>
                      </a:gs>
                      <a:gs pos="32000">
                        <a:srgbClr val="353535"/>
                      </a:gs>
                    </a:gsLst>
                    <a:lin ang="5400000" scaled="0"/>
                  </a:gradFill>
                </a:rPr>
                <a:t>stations</a:t>
              </a:r>
            </a:p>
          </p:txBody>
        </p:sp>
        <p:sp>
          <p:nvSpPr>
            <p:cNvPr id="322" name="Freeform 9">
              <a:extLst>
                <a:ext uri="{FF2B5EF4-FFF2-40B4-BE49-F238E27FC236}">
                  <a16:creationId xmlns:a16="http://schemas.microsoft.com/office/drawing/2014/main" id="{5298032E-3888-4049-92DF-45FC1A94C15F}"/>
                </a:ext>
              </a:extLst>
            </p:cNvPr>
            <p:cNvSpPr>
              <a:spLocks noChangeAspect="1" noEditPoints="1"/>
            </p:cNvSpPr>
            <p:nvPr/>
          </p:nvSpPr>
          <p:spPr bwMode="auto">
            <a:xfrm>
              <a:off x="10111294" y="2148047"/>
              <a:ext cx="259975" cy="457200"/>
            </a:xfrm>
            <a:custGeom>
              <a:avLst/>
              <a:gdLst>
                <a:gd name="T0" fmla="*/ 107 w 144"/>
                <a:gd name="T1" fmla="*/ 1 h 256"/>
                <a:gd name="T2" fmla="*/ 104 w 144"/>
                <a:gd name="T3" fmla="*/ 2 h 256"/>
                <a:gd name="T4" fmla="*/ 1 w 144"/>
                <a:gd name="T5" fmla="*/ 152 h 256"/>
                <a:gd name="T6" fmla="*/ 4 w 144"/>
                <a:gd name="T7" fmla="*/ 157 h 256"/>
                <a:gd name="T8" fmla="*/ 60 w 144"/>
                <a:gd name="T9" fmla="*/ 157 h 256"/>
                <a:gd name="T10" fmla="*/ 32 w 144"/>
                <a:gd name="T11" fmla="*/ 251 h 256"/>
                <a:gd name="T12" fmla="*/ 33 w 144"/>
                <a:gd name="T13" fmla="*/ 255 h 256"/>
                <a:gd name="T14" fmla="*/ 37 w 144"/>
                <a:gd name="T15" fmla="*/ 254 h 256"/>
                <a:gd name="T16" fmla="*/ 143 w 144"/>
                <a:gd name="T17" fmla="*/ 102 h 256"/>
                <a:gd name="T18" fmla="*/ 140 w 144"/>
                <a:gd name="T19" fmla="*/ 98 h 256"/>
                <a:gd name="T20" fmla="*/ 82 w 144"/>
                <a:gd name="T21" fmla="*/ 98 h 256"/>
                <a:gd name="T22" fmla="*/ 110 w 144"/>
                <a:gd name="T23" fmla="*/ 5 h 256"/>
                <a:gd name="T24" fmla="*/ 107 w 144"/>
                <a:gd name="T25" fmla="*/ 1 h 256"/>
                <a:gd name="T26" fmla="*/ 98 w 144"/>
                <a:gd name="T27" fmla="*/ 22 h 256"/>
                <a:gd name="T28" fmla="*/ 75 w 144"/>
                <a:gd name="T29" fmla="*/ 100 h 256"/>
                <a:gd name="T30" fmla="*/ 78 w 144"/>
                <a:gd name="T31" fmla="*/ 104 h 256"/>
                <a:gd name="T32" fmla="*/ 134 w 144"/>
                <a:gd name="T33" fmla="*/ 104 h 256"/>
                <a:gd name="T34" fmla="*/ 43 w 144"/>
                <a:gd name="T35" fmla="*/ 234 h 256"/>
                <a:gd name="T36" fmla="*/ 67 w 144"/>
                <a:gd name="T37" fmla="*/ 155 h 256"/>
                <a:gd name="T38" fmla="*/ 64 w 144"/>
                <a:gd name="T39" fmla="*/ 151 h 256"/>
                <a:gd name="T40" fmla="*/ 10 w 144"/>
                <a:gd name="T41" fmla="*/ 151 h 256"/>
                <a:gd name="T42" fmla="*/ 98 w 144"/>
                <a:gd name="T43"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256">
                  <a:moveTo>
                    <a:pt x="107" y="1"/>
                  </a:moveTo>
                  <a:cubicBezTo>
                    <a:pt x="106" y="1"/>
                    <a:pt x="105" y="1"/>
                    <a:pt x="104" y="2"/>
                  </a:cubicBezTo>
                  <a:cubicBezTo>
                    <a:pt x="1" y="152"/>
                    <a:pt x="1" y="152"/>
                    <a:pt x="1" y="152"/>
                  </a:cubicBezTo>
                  <a:cubicBezTo>
                    <a:pt x="0" y="154"/>
                    <a:pt x="1" y="157"/>
                    <a:pt x="4" y="157"/>
                  </a:cubicBezTo>
                  <a:cubicBezTo>
                    <a:pt x="60" y="157"/>
                    <a:pt x="60" y="157"/>
                    <a:pt x="60" y="157"/>
                  </a:cubicBezTo>
                  <a:cubicBezTo>
                    <a:pt x="32" y="251"/>
                    <a:pt x="32" y="251"/>
                    <a:pt x="32" y="251"/>
                  </a:cubicBezTo>
                  <a:cubicBezTo>
                    <a:pt x="31" y="253"/>
                    <a:pt x="32" y="254"/>
                    <a:pt x="33" y="255"/>
                  </a:cubicBezTo>
                  <a:cubicBezTo>
                    <a:pt x="35" y="256"/>
                    <a:pt x="36" y="255"/>
                    <a:pt x="37" y="254"/>
                  </a:cubicBezTo>
                  <a:cubicBezTo>
                    <a:pt x="143" y="102"/>
                    <a:pt x="143" y="102"/>
                    <a:pt x="143" y="102"/>
                  </a:cubicBezTo>
                  <a:cubicBezTo>
                    <a:pt x="144" y="101"/>
                    <a:pt x="143" y="98"/>
                    <a:pt x="140" y="98"/>
                  </a:cubicBezTo>
                  <a:cubicBezTo>
                    <a:pt x="82" y="98"/>
                    <a:pt x="82" y="98"/>
                    <a:pt x="82" y="98"/>
                  </a:cubicBezTo>
                  <a:cubicBezTo>
                    <a:pt x="110" y="5"/>
                    <a:pt x="110" y="5"/>
                    <a:pt x="110" y="5"/>
                  </a:cubicBezTo>
                  <a:cubicBezTo>
                    <a:pt x="111" y="3"/>
                    <a:pt x="109" y="0"/>
                    <a:pt x="107" y="1"/>
                  </a:cubicBezTo>
                  <a:close/>
                  <a:moveTo>
                    <a:pt x="98" y="22"/>
                  </a:moveTo>
                  <a:cubicBezTo>
                    <a:pt x="75" y="100"/>
                    <a:pt x="75" y="100"/>
                    <a:pt x="75" y="100"/>
                  </a:cubicBezTo>
                  <a:cubicBezTo>
                    <a:pt x="74" y="102"/>
                    <a:pt x="76" y="104"/>
                    <a:pt x="78" y="104"/>
                  </a:cubicBezTo>
                  <a:cubicBezTo>
                    <a:pt x="134" y="104"/>
                    <a:pt x="134" y="104"/>
                    <a:pt x="134" y="104"/>
                  </a:cubicBezTo>
                  <a:cubicBezTo>
                    <a:pt x="43" y="234"/>
                    <a:pt x="43" y="234"/>
                    <a:pt x="43" y="234"/>
                  </a:cubicBezTo>
                  <a:cubicBezTo>
                    <a:pt x="67" y="155"/>
                    <a:pt x="67" y="155"/>
                    <a:pt x="67" y="155"/>
                  </a:cubicBezTo>
                  <a:cubicBezTo>
                    <a:pt x="68" y="153"/>
                    <a:pt x="66" y="151"/>
                    <a:pt x="64" y="151"/>
                  </a:cubicBezTo>
                  <a:cubicBezTo>
                    <a:pt x="10" y="151"/>
                    <a:pt x="10" y="151"/>
                    <a:pt x="10" y="151"/>
                  </a:cubicBezTo>
                  <a:cubicBezTo>
                    <a:pt x="98" y="22"/>
                    <a:pt x="98" y="22"/>
                    <a:pt x="98" y="22"/>
                  </a:cubicBezTo>
                  <a:close/>
                </a:path>
              </a:pathLst>
            </a:custGeom>
            <a:solidFill>
              <a:srgbClr val="0070C0"/>
            </a:solidFill>
            <a:ln w="9525">
              <a:noFill/>
            </a:ln>
          </p:spPr>
          <p:txBody>
            <a:bodyPr vert="horz" wrap="square" lIns="91427" tIns="45713" rIns="91427" bIns="45713" numCol="1" anchor="ctr" anchorCtr="0" compatLnSpc="1">
              <a:prstTxWarp prst="textNoShape">
                <a:avLst/>
              </a:prstTxWarp>
            </a:bodyPr>
            <a:lstStyle/>
            <a:p>
              <a:pPr algn="ctr" defTabSz="932563">
                <a:defRPr/>
              </a:pPr>
              <a:endParaRPr lang="en-US">
                <a:solidFill>
                  <a:srgbClr val="505050"/>
                </a:solidFill>
                <a:latin typeface="Segoe UI"/>
              </a:endParaRPr>
            </a:p>
          </p:txBody>
        </p:sp>
      </p:grpSp>
      <p:grpSp>
        <p:nvGrpSpPr>
          <p:cNvPr id="170" name="Group 169">
            <a:extLst>
              <a:ext uri="{FF2B5EF4-FFF2-40B4-BE49-F238E27FC236}">
                <a16:creationId xmlns:a16="http://schemas.microsoft.com/office/drawing/2014/main" id="{8BAF85EA-CCC1-4E1D-8380-8FDB2D919B27}"/>
              </a:ext>
            </a:extLst>
          </p:cNvPr>
          <p:cNvGrpSpPr/>
          <p:nvPr/>
        </p:nvGrpSpPr>
        <p:grpSpPr>
          <a:xfrm>
            <a:off x="2863234" y="3414450"/>
            <a:ext cx="990836" cy="600894"/>
            <a:chOff x="2862758" y="3414435"/>
            <a:chExt cx="990977" cy="600979"/>
          </a:xfrm>
        </p:grpSpPr>
        <p:sp>
          <p:nvSpPr>
            <p:cNvPr id="324" name="Freeform 1174">
              <a:extLst>
                <a:ext uri="{FF2B5EF4-FFF2-40B4-BE49-F238E27FC236}">
                  <a16:creationId xmlns:a16="http://schemas.microsoft.com/office/drawing/2014/main" id="{F6396875-C5E2-4DE3-8FEB-E64E985BDB72}"/>
                </a:ext>
              </a:extLst>
            </p:cNvPr>
            <p:cNvSpPr>
              <a:spLocks noChangeAspect="1"/>
            </p:cNvSpPr>
            <p:nvPr/>
          </p:nvSpPr>
          <p:spPr bwMode="auto">
            <a:xfrm>
              <a:off x="3152624" y="3414435"/>
              <a:ext cx="411244" cy="365760"/>
            </a:xfrm>
            <a:custGeom>
              <a:avLst/>
              <a:gdLst>
                <a:gd name="T0" fmla="*/ 2502 w 4304"/>
                <a:gd name="T1" fmla="*/ 1154 h 3828"/>
                <a:gd name="T2" fmla="*/ 2554 w 4304"/>
                <a:gd name="T3" fmla="*/ 710 h 3828"/>
                <a:gd name="T4" fmla="*/ 2627 w 4304"/>
                <a:gd name="T5" fmla="*/ 443 h 3828"/>
                <a:gd name="T6" fmla="*/ 2706 w 4304"/>
                <a:gd name="T7" fmla="*/ 326 h 3828"/>
                <a:gd name="T8" fmla="*/ 2825 w 4304"/>
                <a:gd name="T9" fmla="*/ 281 h 3828"/>
                <a:gd name="T10" fmla="*/ 2884 w 4304"/>
                <a:gd name="T11" fmla="*/ 238 h 3828"/>
                <a:gd name="T12" fmla="*/ 3010 w 4304"/>
                <a:gd name="T13" fmla="*/ 117 h 3828"/>
                <a:gd name="T14" fmla="*/ 3238 w 4304"/>
                <a:gd name="T15" fmla="*/ 3 h 3828"/>
                <a:gd name="T16" fmla="*/ 3343 w 4304"/>
                <a:gd name="T17" fmla="*/ 14 h 3828"/>
                <a:gd name="T18" fmla="*/ 3367 w 4304"/>
                <a:gd name="T19" fmla="*/ 94 h 3828"/>
                <a:gd name="T20" fmla="*/ 3330 w 4304"/>
                <a:gd name="T21" fmla="*/ 237 h 3828"/>
                <a:gd name="T22" fmla="*/ 3508 w 4304"/>
                <a:gd name="T23" fmla="*/ 288 h 3828"/>
                <a:gd name="T24" fmla="*/ 3612 w 4304"/>
                <a:gd name="T25" fmla="*/ 353 h 3828"/>
                <a:gd name="T26" fmla="*/ 3712 w 4304"/>
                <a:gd name="T27" fmla="*/ 484 h 3828"/>
                <a:gd name="T28" fmla="*/ 3790 w 4304"/>
                <a:gd name="T29" fmla="*/ 652 h 3828"/>
                <a:gd name="T30" fmla="*/ 4061 w 4304"/>
                <a:gd name="T31" fmla="*/ 711 h 3828"/>
                <a:gd name="T32" fmla="*/ 4209 w 4304"/>
                <a:gd name="T33" fmla="*/ 725 h 3828"/>
                <a:gd name="T34" fmla="*/ 4278 w 4304"/>
                <a:gd name="T35" fmla="*/ 835 h 3828"/>
                <a:gd name="T36" fmla="*/ 4300 w 4304"/>
                <a:gd name="T37" fmla="*/ 999 h 3828"/>
                <a:gd name="T38" fmla="*/ 4243 w 4304"/>
                <a:gd name="T39" fmla="*/ 1119 h 3828"/>
                <a:gd name="T40" fmla="*/ 4139 w 4304"/>
                <a:gd name="T41" fmla="*/ 1209 h 3828"/>
                <a:gd name="T42" fmla="*/ 3935 w 4304"/>
                <a:gd name="T43" fmla="*/ 1304 h 3828"/>
                <a:gd name="T44" fmla="*/ 3283 w 4304"/>
                <a:gd name="T45" fmla="*/ 1776 h 3828"/>
                <a:gd name="T46" fmla="*/ 3285 w 4304"/>
                <a:gd name="T47" fmla="*/ 3410 h 3828"/>
                <a:gd name="T48" fmla="*/ 3247 w 4304"/>
                <a:gd name="T49" fmla="*/ 3660 h 3828"/>
                <a:gd name="T50" fmla="*/ 3185 w 4304"/>
                <a:gd name="T51" fmla="*/ 3762 h 3828"/>
                <a:gd name="T52" fmla="*/ 3083 w 4304"/>
                <a:gd name="T53" fmla="*/ 3818 h 3828"/>
                <a:gd name="T54" fmla="*/ 2958 w 4304"/>
                <a:gd name="T55" fmla="*/ 3824 h 3828"/>
                <a:gd name="T56" fmla="*/ 2845 w 4304"/>
                <a:gd name="T57" fmla="*/ 3786 h 3828"/>
                <a:gd name="T58" fmla="*/ 2771 w 4304"/>
                <a:gd name="T59" fmla="*/ 3705 h 3828"/>
                <a:gd name="T60" fmla="*/ 2713 w 4304"/>
                <a:gd name="T61" fmla="*/ 3496 h 3828"/>
                <a:gd name="T62" fmla="*/ 2718 w 4304"/>
                <a:gd name="T63" fmla="*/ 2670 h 3828"/>
                <a:gd name="T64" fmla="*/ 1956 w 4304"/>
                <a:gd name="T65" fmla="*/ 3083 h 3828"/>
                <a:gd name="T66" fmla="*/ 2124 w 4304"/>
                <a:gd name="T67" fmla="*/ 3358 h 3828"/>
                <a:gd name="T68" fmla="*/ 2176 w 4304"/>
                <a:gd name="T69" fmla="*/ 3551 h 3828"/>
                <a:gd name="T70" fmla="*/ 2142 w 4304"/>
                <a:gd name="T71" fmla="*/ 3690 h 3828"/>
                <a:gd name="T72" fmla="*/ 2012 w 4304"/>
                <a:gd name="T73" fmla="*/ 3804 h 3828"/>
                <a:gd name="T74" fmla="*/ 1848 w 4304"/>
                <a:gd name="T75" fmla="*/ 3821 h 3828"/>
                <a:gd name="T76" fmla="*/ 1711 w 4304"/>
                <a:gd name="T77" fmla="*/ 3748 h 3828"/>
                <a:gd name="T78" fmla="*/ 1552 w 4304"/>
                <a:gd name="T79" fmla="*/ 3549 h 3828"/>
                <a:gd name="T80" fmla="*/ 1129 w 4304"/>
                <a:gd name="T81" fmla="*/ 2844 h 3828"/>
                <a:gd name="T82" fmla="*/ 1113 w 4304"/>
                <a:gd name="T83" fmla="*/ 3520 h 3828"/>
                <a:gd name="T84" fmla="*/ 1075 w 4304"/>
                <a:gd name="T85" fmla="*/ 3717 h 3828"/>
                <a:gd name="T86" fmla="*/ 980 w 4304"/>
                <a:gd name="T87" fmla="*/ 3801 h 3828"/>
                <a:gd name="T88" fmla="*/ 821 w 4304"/>
                <a:gd name="T89" fmla="*/ 3827 h 3828"/>
                <a:gd name="T90" fmla="*/ 670 w 4304"/>
                <a:gd name="T91" fmla="*/ 3780 h 3828"/>
                <a:gd name="T92" fmla="*/ 594 w 4304"/>
                <a:gd name="T93" fmla="*/ 3669 h 3828"/>
                <a:gd name="T94" fmla="*/ 554 w 4304"/>
                <a:gd name="T95" fmla="*/ 3419 h 3828"/>
                <a:gd name="T96" fmla="*/ 561 w 4304"/>
                <a:gd name="T97" fmla="*/ 2885 h 3828"/>
                <a:gd name="T98" fmla="*/ 502 w 4304"/>
                <a:gd name="T99" fmla="*/ 1741 h 3828"/>
                <a:gd name="T100" fmla="*/ 297 w 4304"/>
                <a:gd name="T101" fmla="*/ 1638 h 3828"/>
                <a:gd name="T102" fmla="*/ 156 w 4304"/>
                <a:gd name="T103" fmla="*/ 1486 h 3828"/>
                <a:gd name="T104" fmla="*/ 60 w 4304"/>
                <a:gd name="T105" fmla="*/ 1284 h 3828"/>
                <a:gd name="T106" fmla="*/ 1 w 4304"/>
                <a:gd name="T107" fmla="*/ 852 h 3828"/>
                <a:gd name="T108" fmla="*/ 73 w 4304"/>
                <a:gd name="T109" fmla="*/ 557 h 3828"/>
                <a:gd name="T110" fmla="*/ 203 w 4304"/>
                <a:gd name="T111" fmla="*/ 388 h 3828"/>
                <a:gd name="T112" fmla="*/ 310 w 4304"/>
                <a:gd name="T113" fmla="*/ 337 h 3828"/>
                <a:gd name="T114" fmla="*/ 341 w 4304"/>
                <a:gd name="T115" fmla="*/ 444 h 3828"/>
                <a:gd name="T116" fmla="*/ 412 w 4304"/>
                <a:gd name="T117" fmla="*/ 755 h 3828"/>
                <a:gd name="T118" fmla="*/ 614 w 4304"/>
                <a:gd name="T119" fmla="*/ 1239 h 3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04" h="3828">
                  <a:moveTo>
                    <a:pt x="2500" y="1247"/>
                  </a:moveTo>
                  <a:lnTo>
                    <a:pt x="2500" y="1247"/>
                  </a:lnTo>
                  <a:lnTo>
                    <a:pt x="2499" y="1244"/>
                  </a:lnTo>
                  <a:lnTo>
                    <a:pt x="2497" y="1239"/>
                  </a:lnTo>
                  <a:lnTo>
                    <a:pt x="2497" y="1218"/>
                  </a:lnTo>
                  <a:lnTo>
                    <a:pt x="2499" y="1188"/>
                  </a:lnTo>
                  <a:lnTo>
                    <a:pt x="2502" y="1154"/>
                  </a:lnTo>
                  <a:lnTo>
                    <a:pt x="2513" y="1048"/>
                  </a:lnTo>
                  <a:lnTo>
                    <a:pt x="2513" y="1048"/>
                  </a:lnTo>
                  <a:lnTo>
                    <a:pt x="2523" y="947"/>
                  </a:lnTo>
                  <a:lnTo>
                    <a:pt x="2534" y="846"/>
                  </a:lnTo>
                  <a:lnTo>
                    <a:pt x="2534" y="846"/>
                  </a:lnTo>
                  <a:lnTo>
                    <a:pt x="2547" y="755"/>
                  </a:lnTo>
                  <a:lnTo>
                    <a:pt x="2554" y="710"/>
                  </a:lnTo>
                  <a:lnTo>
                    <a:pt x="2562" y="664"/>
                  </a:lnTo>
                  <a:lnTo>
                    <a:pt x="2571" y="619"/>
                  </a:lnTo>
                  <a:lnTo>
                    <a:pt x="2582" y="575"/>
                  </a:lnTo>
                  <a:lnTo>
                    <a:pt x="2595" y="532"/>
                  </a:lnTo>
                  <a:lnTo>
                    <a:pt x="2610" y="488"/>
                  </a:lnTo>
                  <a:lnTo>
                    <a:pt x="2610" y="488"/>
                  </a:lnTo>
                  <a:lnTo>
                    <a:pt x="2627" y="443"/>
                  </a:lnTo>
                  <a:lnTo>
                    <a:pt x="2637" y="422"/>
                  </a:lnTo>
                  <a:lnTo>
                    <a:pt x="2647" y="399"/>
                  </a:lnTo>
                  <a:lnTo>
                    <a:pt x="2660" y="379"/>
                  </a:lnTo>
                  <a:lnTo>
                    <a:pt x="2672" y="360"/>
                  </a:lnTo>
                  <a:lnTo>
                    <a:pt x="2688" y="341"/>
                  </a:lnTo>
                  <a:lnTo>
                    <a:pt x="2706" y="326"/>
                  </a:lnTo>
                  <a:lnTo>
                    <a:pt x="2706" y="326"/>
                  </a:lnTo>
                  <a:lnTo>
                    <a:pt x="2716" y="319"/>
                  </a:lnTo>
                  <a:lnTo>
                    <a:pt x="2727" y="313"/>
                  </a:lnTo>
                  <a:lnTo>
                    <a:pt x="2739" y="307"/>
                  </a:lnTo>
                  <a:lnTo>
                    <a:pt x="2751" y="303"/>
                  </a:lnTo>
                  <a:lnTo>
                    <a:pt x="2775" y="296"/>
                  </a:lnTo>
                  <a:lnTo>
                    <a:pt x="2801" y="289"/>
                  </a:lnTo>
                  <a:lnTo>
                    <a:pt x="2825" y="281"/>
                  </a:lnTo>
                  <a:lnTo>
                    <a:pt x="2836" y="276"/>
                  </a:lnTo>
                  <a:lnTo>
                    <a:pt x="2847" y="271"/>
                  </a:lnTo>
                  <a:lnTo>
                    <a:pt x="2857" y="265"/>
                  </a:lnTo>
                  <a:lnTo>
                    <a:pt x="2867" y="258"/>
                  </a:lnTo>
                  <a:lnTo>
                    <a:pt x="2877" y="248"/>
                  </a:lnTo>
                  <a:lnTo>
                    <a:pt x="2884" y="238"/>
                  </a:lnTo>
                  <a:lnTo>
                    <a:pt x="2884" y="238"/>
                  </a:lnTo>
                  <a:lnTo>
                    <a:pt x="2901" y="216"/>
                  </a:lnTo>
                  <a:lnTo>
                    <a:pt x="2918" y="194"/>
                  </a:lnTo>
                  <a:lnTo>
                    <a:pt x="2935" y="176"/>
                  </a:lnTo>
                  <a:lnTo>
                    <a:pt x="2953" y="159"/>
                  </a:lnTo>
                  <a:lnTo>
                    <a:pt x="2972" y="144"/>
                  </a:lnTo>
                  <a:lnTo>
                    <a:pt x="2990" y="130"/>
                  </a:lnTo>
                  <a:lnTo>
                    <a:pt x="3010" y="117"/>
                  </a:lnTo>
                  <a:lnTo>
                    <a:pt x="3031" y="106"/>
                  </a:lnTo>
                  <a:lnTo>
                    <a:pt x="3075" y="82"/>
                  </a:lnTo>
                  <a:lnTo>
                    <a:pt x="3123" y="59"/>
                  </a:lnTo>
                  <a:lnTo>
                    <a:pt x="3176" y="34"/>
                  </a:lnTo>
                  <a:lnTo>
                    <a:pt x="3233" y="4"/>
                  </a:lnTo>
                  <a:lnTo>
                    <a:pt x="3233" y="4"/>
                  </a:lnTo>
                  <a:lnTo>
                    <a:pt x="3238" y="3"/>
                  </a:lnTo>
                  <a:lnTo>
                    <a:pt x="3244" y="1"/>
                  </a:lnTo>
                  <a:lnTo>
                    <a:pt x="3260" y="0"/>
                  </a:lnTo>
                  <a:lnTo>
                    <a:pt x="3278" y="0"/>
                  </a:lnTo>
                  <a:lnTo>
                    <a:pt x="3296" y="1"/>
                  </a:lnTo>
                  <a:lnTo>
                    <a:pt x="3315" y="5"/>
                  </a:lnTo>
                  <a:lnTo>
                    <a:pt x="3331" y="8"/>
                  </a:lnTo>
                  <a:lnTo>
                    <a:pt x="3343" y="14"/>
                  </a:lnTo>
                  <a:lnTo>
                    <a:pt x="3347" y="15"/>
                  </a:lnTo>
                  <a:lnTo>
                    <a:pt x="3350" y="18"/>
                  </a:lnTo>
                  <a:lnTo>
                    <a:pt x="3350" y="18"/>
                  </a:lnTo>
                  <a:lnTo>
                    <a:pt x="3357" y="36"/>
                  </a:lnTo>
                  <a:lnTo>
                    <a:pt x="3363" y="56"/>
                  </a:lnTo>
                  <a:lnTo>
                    <a:pt x="3365" y="75"/>
                  </a:lnTo>
                  <a:lnTo>
                    <a:pt x="3367" y="94"/>
                  </a:lnTo>
                  <a:lnTo>
                    <a:pt x="3367" y="113"/>
                  </a:lnTo>
                  <a:lnTo>
                    <a:pt x="3364" y="131"/>
                  </a:lnTo>
                  <a:lnTo>
                    <a:pt x="3361" y="148"/>
                  </a:lnTo>
                  <a:lnTo>
                    <a:pt x="3358" y="165"/>
                  </a:lnTo>
                  <a:lnTo>
                    <a:pt x="3348" y="193"/>
                  </a:lnTo>
                  <a:lnTo>
                    <a:pt x="3340" y="216"/>
                  </a:lnTo>
                  <a:lnTo>
                    <a:pt x="3330" y="237"/>
                  </a:lnTo>
                  <a:lnTo>
                    <a:pt x="3330" y="237"/>
                  </a:lnTo>
                  <a:lnTo>
                    <a:pt x="3351" y="240"/>
                  </a:lnTo>
                  <a:lnTo>
                    <a:pt x="3374" y="245"/>
                  </a:lnTo>
                  <a:lnTo>
                    <a:pt x="3403" y="252"/>
                  </a:lnTo>
                  <a:lnTo>
                    <a:pt x="3436" y="261"/>
                  </a:lnTo>
                  <a:lnTo>
                    <a:pt x="3471" y="274"/>
                  </a:lnTo>
                  <a:lnTo>
                    <a:pt x="3508" y="288"/>
                  </a:lnTo>
                  <a:lnTo>
                    <a:pt x="3525" y="296"/>
                  </a:lnTo>
                  <a:lnTo>
                    <a:pt x="3542" y="305"/>
                  </a:lnTo>
                  <a:lnTo>
                    <a:pt x="3542" y="305"/>
                  </a:lnTo>
                  <a:lnTo>
                    <a:pt x="3561" y="316"/>
                  </a:lnTo>
                  <a:lnTo>
                    <a:pt x="3580" y="327"/>
                  </a:lnTo>
                  <a:lnTo>
                    <a:pt x="3597" y="340"/>
                  </a:lnTo>
                  <a:lnTo>
                    <a:pt x="3612" y="353"/>
                  </a:lnTo>
                  <a:lnTo>
                    <a:pt x="3626" y="364"/>
                  </a:lnTo>
                  <a:lnTo>
                    <a:pt x="3639" y="378"/>
                  </a:lnTo>
                  <a:lnTo>
                    <a:pt x="3652" y="391"/>
                  </a:lnTo>
                  <a:lnTo>
                    <a:pt x="3662" y="403"/>
                  </a:lnTo>
                  <a:lnTo>
                    <a:pt x="3681" y="430"/>
                  </a:lnTo>
                  <a:lnTo>
                    <a:pt x="3698" y="457"/>
                  </a:lnTo>
                  <a:lnTo>
                    <a:pt x="3712" y="484"/>
                  </a:lnTo>
                  <a:lnTo>
                    <a:pt x="3724" y="509"/>
                  </a:lnTo>
                  <a:lnTo>
                    <a:pt x="3744" y="560"/>
                  </a:lnTo>
                  <a:lnTo>
                    <a:pt x="3753" y="584"/>
                  </a:lnTo>
                  <a:lnTo>
                    <a:pt x="3762" y="605"/>
                  </a:lnTo>
                  <a:lnTo>
                    <a:pt x="3772" y="625"/>
                  </a:lnTo>
                  <a:lnTo>
                    <a:pt x="3784" y="643"/>
                  </a:lnTo>
                  <a:lnTo>
                    <a:pt x="3790" y="652"/>
                  </a:lnTo>
                  <a:lnTo>
                    <a:pt x="3797" y="659"/>
                  </a:lnTo>
                  <a:lnTo>
                    <a:pt x="3806" y="666"/>
                  </a:lnTo>
                  <a:lnTo>
                    <a:pt x="3813" y="671"/>
                  </a:lnTo>
                  <a:lnTo>
                    <a:pt x="3900" y="711"/>
                  </a:lnTo>
                  <a:lnTo>
                    <a:pt x="3900" y="711"/>
                  </a:lnTo>
                  <a:lnTo>
                    <a:pt x="3958" y="711"/>
                  </a:lnTo>
                  <a:lnTo>
                    <a:pt x="4061" y="711"/>
                  </a:lnTo>
                  <a:lnTo>
                    <a:pt x="4115" y="712"/>
                  </a:lnTo>
                  <a:lnTo>
                    <a:pt x="4161" y="714"/>
                  </a:lnTo>
                  <a:lnTo>
                    <a:pt x="4180" y="717"/>
                  </a:lnTo>
                  <a:lnTo>
                    <a:pt x="4195" y="718"/>
                  </a:lnTo>
                  <a:lnTo>
                    <a:pt x="4205" y="721"/>
                  </a:lnTo>
                  <a:lnTo>
                    <a:pt x="4208" y="722"/>
                  </a:lnTo>
                  <a:lnTo>
                    <a:pt x="4209" y="725"/>
                  </a:lnTo>
                  <a:lnTo>
                    <a:pt x="4209" y="725"/>
                  </a:lnTo>
                  <a:lnTo>
                    <a:pt x="4213" y="729"/>
                  </a:lnTo>
                  <a:lnTo>
                    <a:pt x="4225" y="745"/>
                  </a:lnTo>
                  <a:lnTo>
                    <a:pt x="4242" y="767"/>
                  </a:lnTo>
                  <a:lnTo>
                    <a:pt x="4260" y="798"/>
                  </a:lnTo>
                  <a:lnTo>
                    <a:pt x="4269" y="815"/>
                  </a:lnTo>
                  <a:lnTo>
                    <a:pt x="4278" y="835"/>
                  </a:lnTo>
                  <a:lnTo>
                    <a:pt x="4285" y="855"/>
                  </a:lnTo>
                  <a:lnTo>
                    <a:pt x="4292" y="877"/>
                  </a:lnTo>
                  <a:lnTo>
                    <a:pt x="4298" y="900"/>
                  </a:lnTo>
                  <a:lnTo>
                    <a:pt x="4302" y="924"/>
                  </a:lnTo>
                  <a:lnTo>
                    <a:pt x="4304" y="948"/>
                  </a:lnTo>
                  <a:lnTo>
                    <a:pt x="4304" y="973"/>
                  </a:lnTo>
                  <a:lnTo>
                    <a:pt x="4300" y="999"/>
                  </a:lnTo>
                  <a:lnTo>
                    <a:pt x="4294" y="1026"/>
                  </a:lnTo>
                  <a:lnTo>
                    <a:pt x="4284" y="1052"/>
                  </a:lnTo>
                  <a:lnTo>
                    <a:pt x="4278" y="1065"/>
                  </a:lnTo>
                  <a:lnTo>
                    <a:pt x="4271" y="1078"/>
                  </a:lnTo>
                  <a:lnTo>
                    <a:pt x="4263" y="1092"/>
                  </a:lnTo>
                  <a:lnTo>
                    <a:pt x="4254" y="1105"/>
                  </a:lnTo>
                  <a:lnTo>
                    <a:pt x="4243" y="1119"/>
                  </a:lnTo>
                  <a:lnTo>
                    <a:pt x="4232" y="1131"/>
                  </a:lnTo>
                  <a:lnTo>
                    <a:pt x="4221" y="1144"/>
                  </a:lnTo>
                  <a:lnTo>
                    <a:pt x="4206" y="1158"/>
                  </a:lnTo>
                  <a:lnTo>
                    <a:pt x="4191" y="1171"/>
                  </a:lnTo>
                  <a:lnTo>
                    <a:pt x="4175" y="1184"/>
                  </a:lnTo>
                  <a:lnTo>
                    <a:pt x="4158" y="1196"/>
                  </a:lnTo>
                  <a:lnTo>
                    <a:pt x="4139" y="1209"/>
                  </a:lnTo>
                  <a:lnTo>
                    <a:pt x="4119" y="1222"/>
                  </a:lnTo>
                  <a:lnTo>
                    <a:pt x="4098" y="1234"/>
                  </a:lnTo>
                  <a:lnTo>
                    <a:pt x="4074" y="1247"/>
                  </a:lnTo>
                  <a:lnTo>
                    <a:pt x="4050" y="1258"/>
                  </a:lnTo>
                  <a:lnTo>
                    <a:pt x="4023" y="1270"/>
                  </a:lnTo>
                  <a:lnTo>
                    <a:pt x="3996" y="1281"/>
                  </a:lnTo>
                  <a:lnTo>
                    <a:pt x="3935" y="1304"/>
                  </a:lnTo>
                  <a:lnTo>
                    <a:pt x="3868" y="1325"/>
                  </a:lnTo>
                  <a:lnTo>
                    <a:pt x="3794" y="1345"/>
                  </a:lnTo>
                  <a:lnTo>
                    <a:pt x="3712" y="1363"/>
                  </a:lnTo>
                  <a:lnTo>
                    <a:pt x="3557" y="1400"/>
                  </a:lnTo>
                  <a:lnTo>
                    <a:pt x="3350" y="1582"/>
                  </a:lnTo>
                  <a:lnTo>
                    <a:pt x="3283" y="1776"/>
                  </a:lnTo>
                  <a:lnTo>
                    <a:pt x="3283" y="1776"/>
                  </a:lnTo>
                  <a:lnTo>
                    <a:pt x="3285" y="1991"/>
                  </a:lnTo>
                  <a:lnTo>
                    <a:pt x="3288" y="2485"/>
                  </a:lnTo>
                  <a:lnTo>
                    <a:pt x="3289" y="2767"/>
                  </a:lnTo>
                  <a:lnTo>
                    <a:pt x="3289" y="3032"/>
                  </a:lnTo>
                  <a:lnTo>
                    <a:pt x="3288" y="3257"/>
                  </a:lnTo>
                  <a:lnTo>
                    <a:pt x="3286" y="3344"/>
                  </a:lnTo>
                  <a:lnTo>
                    <a:pt x="3285" y="3410"/>
                  </a:lnTo>
                  <a:lnTo>
                    <a:pt x="3285" y="3410"/>
                  </a:lnTo>
                  <a:lnTo>
                    <a:pt x="3283" y="3457"/>
                  </a:lnTo>
                  <a:lnTo>
                    <a:pt x="3279" y="3502"/>
                  </a:lnTo>
                  <a:lnTo>
                    <a:pt x="3274" y="3544"/>
                  </a:lnTo>
                  <a:lnTo>
                    <a:pt x="3267" y="3585"/>
                  </a:lnTo>
                  <a:lnTo>
                    <a:pt x="3258" y="3623"/>
                  </a:lnTo>
                  <a:lnTo>
                    <a:pt x="3247" y="3660"/>
                  </a:lnTo>
                  <a:lnTo>
                    <a:pt x="3240" y="3677"/>
                  </a:lnTo>
                  <a:lnTo>
                    <a:pt x="3233" y="3693"/>
                  </a:lnTo>
                  <a:lnTo>
                    <a:pt x="3224" y="3708"/>
                  </a:lnTo>
                  <a:lnTo>
                    <a:pt x="3216" y="3722"/>
                  </a:lnTo>
                  <a:lnTo>
                    <a:pt x="3206" y="3736"/>
                  </a:lnTo>
                  <a:lnTo>
                    <a:pt x="3196" y="3749"/>
                  </a:lnTo>
                  <a:lnTo>
                    <a:pt x="3185" y="3762"/>
                  </a:lnTo>
                  <a:lnTo>
                    <a:pt x="3173" y="3773"/>
                  </a:lnTo>
                  <a:lnTo>
                    <a:pt x="3161" y="3783"/>
                  </a:lnTo>
                  <a:lnTo>
                    <a:pt x="3147" y="3791"/>
                  </a:lnTo>
                  <a:lnTo>
                    <a:pt x="3133" y="3800"/>
                  </a:lnTo>
                  <a:lnTo>
                    <a:pt x="3117" y="3807"/>
                  </a:lnTo>
                  <a:lnTo>
                    <a:pt x="3101" y="3814"/>
                  </a:lnTo>
                  <a:lnTo>
                    <a:pt x="3083" y="3818"/>
                  </a:lnTo>
                  <a:lnTo>
                    <a:pt x="3065" y="3822"/>
                  </a:lnTo>
                  <a:lnTo>
                    <a:pt x="3046" y="3825"/>
                  </a:lnTo>
                  <a:lnTo>
                    <a:pt x="3025" y="3827"/>
                  </a:lnTo>
                  <a:lnTo>
                    <a:pt x="3004" y="3827"/>
                  </a:lnTo>
                  <a:lnTo>
                    <a:pt x="2982" y="3825"/>
                  </a:lnTo>
                  <a:lnTo>
                    <a:pt x="2958" y="3824"/>
                  </a:lnTo>
                  <a:lnTo>
                    <a:pt x="2958" y="3824"/>
                  </a:lnTo>
                  <a:lnTo>
                    <a:pt x="2938" y="3821"/>
                  </a:lnTo>
                  <a:lnTo>
                    <a:pt x="2921" y="3817"/>
                  </a:lnTo>
                  <a:lnTo>
                    <a:pt x="2904" y="3812"/>
                  </a:lnTo>
                  <a:lnTo>
                    <a:pt x="2887" y="3807"/>
                  </a:lnTo>
                  <a:lnTo>
                    <a:pt x="2871" y="3801"/>
                  </a:lnTo>
                  <a:lnTo>
                    <a:pt x="2857" y="3794"/>
                  </a:lnTo>
                  <a:lnTo>
                    <a:pt x="2845" y="3786"/>
                  </a:lnTo>
                  <a:lnTo>
                    <a:pt x="2832" y="3776"/>
                  </a:lnTo>
                  <a:lnTo>
                    <a:pt x="2819" y="3766"/>
                  </a:lnTo>
                  <a:lnTo>
                    <a:pt x="2808" y="3756"/>
                  </a:lnTo>
                  <a:lnTo>
                    <a:pt x="2798" y="3745"/>
                  </a:lnTo>
                  <a:lnTo>
                    <a:pt x="2788" y="3732"/>
                  </a:lnTo>
                  <a:lnTo>
                    <a:pt x="2778" y="3719"/>
                  </a:lnTo>
                  <a:lnTo>
                    <a:pt x="2771" y="3705"/>
                  </a:lnTo>
                  <a:lnTo>
                    <a:pt x="2763" y="3691"/>
                  </a:lnTo>
                  <a:lnTo>
                    <a:pt x="2756" y="3677"/>
                  </a:lnTo>
                  <a:lnTo>
                    <a:pt x="2743" y="3645"/>
                  </a:lnTo>
                  <a:lnTo>
                    <a:pt x="2733" y="3611"/>
                  </a:lnTo>
                  <a:lnTo>
                    <a:pt x="2725" y="3574"/>
                  </a:lnTo>
                  <a:lnTo>
                    <a:pt x="2719" y="3536"/>
                  </a:lnTo>
                  <a:lnTo>
                    <a:pt x="2713" y="3496"/>
                  </a:lnTo>
                  <a:lnTo>
                    <a:pt x="2711" y="3454"/>
                  </a:lnTo>
                  <a:lnTo>
                    <a:pt x="2709" y="3410"/>
                  </a:lnTo>
                  <a:lnTo>
                    <a:pt x="2708" y="3367"/>
                  </a:lnTo>
                  <a:lnTo>
                    <a:pt x="2708" y="3367"/>
                  </a:lnTo>
                  <a:lnTo>
                    <a:pt x="2709" y="3163"/>
                  </a:lnTo>
                  <a:lnTo>
                    <a:pt x="2713" y="2935"/>
                  </a:lnTo>
                  <a:lnTo>
                    <a:pt x="2718" y="2670"/>
                  </a:lnTo>
                  <a:lnTo>
                    <a:pt x="1716" y="2648"/>
                  </a:lnTo>
                  <a:lnTo>
                    <a:pt x="1716" y="2648"/>
                  </a:lnTo>
                  <a:lnTo>
                    <a:pt x="1738" y="2691"/>
                  </a:lnTo>
                  <a:lnTo>
                    <a:pt x="1796" y="2799"/>
                  </a:lnTo>
                  <a:lnTo>
                    <a:pt x="1874" y="2940"/>
                  </a:lnTo>
                  <a:lnTo>
                    <a:pt x="1915" y="3014"/>
                  </a:lnTo>
                  <a:lnTo>
                    <a:pt x="1956" y="3083"/>
                  </a:lnTo>
                  <a:lnTo>
                    <a:pt x="1956" y="3083"/>
                  </a:lnTo>
                  <a:lnTo>
                    <a:pt x="1992" y="3142"/>
                  </a:lnTo>
                  <a:lnTo>
                    <a:pt x="2032" y="3203"/>
                  </a:lnTo>
                  <a:lnTo>
                    <a:pt x="2070" y="3264"/>
                  </a:lnTo>
                  <a:lnTo>
                    <a:pt x="2090" y="3295"/>
                  </a:lnTo>
                  <a:lnTo>
                    <a:pt x="2107" y="3327"/>
                  </a:lnTo>
                  <a:lnTo>
                    <a:pt x="2124" y="3358"/>
                  </a:lnTo>
                  <a:lnTo>
                    <a:pt x="2138" y="3389"/>
                  </a:lnTo>
                  <a:lnTo>
                    <a:pt x="2150" y="3422"/>
                  </a:lnTo>
                  <a:lnTo>
                    <a:pt x="2162" y="3454"/>
                  </a:lnTo>
                  <a:lnTo>
                    <a:pt x="2169" y="3487"/>
                  </a:lnTo>
                  <a:lnTo>
                    <a:pt x="2174" y="3519"/>
                  </a:lnTo>
                  <a:lnTo>
                    <a:pt x="2174" y="3534"/>
                  </a:lnTo>
                  <a:lnTo>
                    <a:pt x="2176" y="3551"/>
                  </a:lnTo>
                  <a:lnTo>
                    <a:pt x="2174" y="3568"/>
                  </a:lnTo>
                  <a:lnTo>
                    <a:pt x="2173" y="3584"/>
                  </a:lnTo>
                  <a:lnTo>
                    <a:pt x="2173" y="3584"/>
                  </a:lnTo>
                  <a:lnTo>
                    <a:pt x="2169" y="3614"/>
                  </a:lnTo>
                  <a:lnTo>
                    <a:pt x="2162" y="3640"/>
                  </a:lnTo>
                  <a:lnTo>
                    <a:pt x="2153" y="3666"/>
                  </a:lnTo>
                  <a:lnTo>
                    <a:pt x="2142" y="3690"/>
                  </a:lnTo>
                  <a:lnTo>
                    <a:pt x="2129" y="3711"/>
                  </a:lnTo>
                  <a:lnTo>
                    <a:pt x="2114" y="3731"/>
                  </a:lnTo>
                  <a:lnTo>
                    <a:pt x="2097" y="3749"/>
                  </a:lnTo>
                  <a:lnTo>
                    <a:pt x="2078" y="3766"/>
                  </a:lnTo>
                  <a:lnTo>
                    <a:pt x="2059" y="3781"/>
                  </a:lnTo>
                  <a:lnTo>
                    <a:pt x="2036" y="3793"/>
                  </a:lnTo>
                  <a:lnTo>
                    <a:pt x="2012" y="3804"/>
                  </a:lnTo>
                  <a:lnTo>
                    <a:pt x="1987" y="3812"/>
                  </a:lnTo>
                  <a:lnTo>
                    <a:pt x="1960" y="3818"/>
                  </a:lnTo>
                  <a:lnTo>
                    <a:pt x="1930" y="3822"/>
                  </a:lnTo>
                  <a:lnTo>
                    <a:pt x="1901" y="3824"/>
                  </a:lnTo>
                  <a:lnTo>
                    <a:pt x="1868" y="3824"/>
                  </a:lnTo>
                  <a:lnTo>
                    <a:pt x="1868" y="3824"/>
                  </a:lnTo>
                  <a:lnTo>
                    <a:pt x="1848" y="3821"/>
                  </a:lnTo>
                  <a:lnTo>
                    <a:pt x="1827" y="3817"/>
                  </a:lnTo>
                  <a:lnTo>
                    <a:pt x="1807" y="3810"/>
                  </a:lnTo>
                  <a:lnTo>
                    <a:pt x="1788" y="3801"/>
                  </a:lnTo>
                  <a:lnTo>
                    <a:pt x="1768" y="3790"/>
                  </a:lnTo>
                  <a:lnTo>
                    <a:pt x="1748" y="3777"/>
                  </a:lnTo>
                  <a:lnTo>
                    <a:pt x="1730" y="3763"/>
                  </a:lnTo>
                  <a:lnTo>
                    <a:pt x="1711" y="3748"/>
                  </a:lnTo>
                  <a:lnTo>
                    <a:pt x="1693" y="3731"/>
                  </a:lnTo>
                  <a:lnTo>
                    <a:pt x="1675" y="3712"/>
                  </a:lnTo>
                  <a:lnTo>
                    <a:pt x="1658" y="3694"/>
                  </a:lnTo>
                  <a:lnTo>
                    <a:pt x="1641" y="3674"/>
                  </a:lnTo>
                  <a:lnTo>
                    <a:pt x="1608" y="3633"/>
                  </a:lnTo>
                  <a:lnTo>
                    <a:pt x="1579" y="3591"/>
                  </a:lnTo>
                  <a:lnTo>
                    <a:pt x="1552" y="3549"/>
                  </a:lnTo>
                  <a:lnTo>
                    <a:pt x="1528" y="3508"/>
                  </a:lnTo>
                  <a:lnTo>
                    <a:pt x="1507" y="3470"/>
                  </a:lnTo>
                  <a:lnTo>
                    <a:pt x="1488" y="3436"/>
                  </a:lnTo>
                  <a:lnTo>
                    <a:pt x="1463" y="3386"/>
                  </a:lnTo>
                  <a:lnTo>
                    <a:pt x="1455" y="3367"/>
                  </a:lnTo>
                  <a:lnTo>
                    <a:pt x="1129" y="2844"/>
                  </a:lnTo>
                  <a:lnTo>
                    <a:pt x="1129" y="2844"/>
                  </a:lnTo>
                  <a:lnTo>
                    <a:pt x="1120" y="3055"/>
                  </a:lnTo>
                  <a:lnTo>
                    <a:pt x="1116" y="3238"/>
                  </a:lnTo>
                  <a:lnTo>
                    <a:pt x="1115" y="3327"/>
                  </a:lnTo>
                  <a:lnTo>
                    <a:pt x="1115" y="3403"/>
                  </a:lnTo>
                  <a:lnTo>
                    <a:pt x="1115" y="3403"/>
                  </a:lnTo>
                  <a:lnTo>
                    <a:pt x="1115" y="3463"/>
                  </a:lnTo>
                  <a:lnTo>
                    <a:pt x="1113" y="3520"/>
                  </a:lnTo>
                  <a:lnTo>
                    <a:pt x="1110" y="3575"/>
                  </a:lnTo>
                  <a:lnTo>
                    <a:pt x="1107" y="3602"/>
                  </a:lnTo>
                  <a:lnTo>
                    <a:pt x="1103" y="3628"/>
                  </a:lnTo>
                  <a:lnTo>
                    <a:pt x="1099" y="3652"/>
                  </a:lnTo>
                  <a:lnTo>
                    <a:pt x="1092" y="3674"/>
                  </a:lnTo>
                  <a:lnTo>
                    <a:pt x="1085" y="3697"/>
                  </a:lnTo>
                  <a:lnTo>
                    <a:pt x="1075" y="3717"/>
                  </a:lnTo>
                  <a:lnTo>
                    <a:pt x="1064" y="3735"/>
                  </a:lnTo>
                  <a:lnTo>
                    <a:pt x="1051" y="3752"/>
                  </a:lnTo>
                  <a:lnTo>
                    <a:pt x="1035" y="3767"/>
                  </a:lnTo>
                  <a:lnTo>
                    <a:pt x="1019" y="3780"/>
                  </a:lnTo>
                  <a:lnTo>
                    <a:pt x="1019" y="3780"/>
                  </a:lnTo>
                  <a:lnTo>
                    <a:pt x="1000" y="3791"/>
                  </a:lnTo>
                  <a:lnTo>
                    <a:pt x="980" y="3801"/>
                  </a:lnTo>
                  <a:lnTo>
                    <a:pt x="959" y="3810"/>
                  </a:lnTo>
                  <a:lnTo>
                    <a:pt x="938" y="3815"/>
                  </a:lnTo>
                  <a:lnTo>
                    <a:pt x="914" y="3821"/>
                  </a:lnTo>
                  <a:lnTo>
                    <a:pt x="892" y="3824"/>
                  </a:lnTo>
                  <a:lnTo>
                    <a:pt x="868" y="3827"/>
                  </a:lnTo>
                  <a:lnTo>
                    <a:pt x="844" y="3828"/>
                  </a:lnTo>
                  <a:lnTo>
                    <a:pt x="821" y="3827"/>
                  </a:lnTo>
                  <a:lnTo>
                    <a:pt x="797" y="3824"/>
                  </a:lnTo>
                  <a:lnTo>
                    <a:pt x="774" y="3821"/>
                  </a:lnTo>
                  <a:lnTo>
                    <a:pt x="752" y="3815"/>
                  </a:lnTo>
                  <a:lnTo>
                    <a:pt x="729" y="3808"/>
                  </a:lnTo>
                  <a:lnTo>
                    <a:pt x="708" y="3801"/>
                  </a:lnTo>
                  <a:lnTo>
                    <a:pt x="688" y="3791"/>
                  </a:lnTo>
                  <a:lnTo>
                    <a:pt x="670" y="3780"/>
                  </a:lnTo>
                  <a:lnTo>
                    <a:pt x="670" y="3780"/>
                  </a:lnTo>
                  <a:lnTo>
                    <a:pt x="654" y="3767"/>
                  </a:lnTo>
                  <a:lnTo>
                    <a:pt x="639" y="3752"/>
                  </a:lnTo>
                  <a:lnTo>
                    <a:pt x="626" y="3735"/>
                  </a:lnTo>
                  <a:lnTo>
                    <a:pt x="614" y="3715"/>
                  </a:lnTo>
                  <a:lnTo>
                    <a:pt x="604" y="3693"/>
                  </a:lnTo>
                  <a:lnTo>
                    <a:pt x="594" y="3669"/>
                  </a:lnTo>
                  <a:lnTo>
                    <a:pt x="585" y="3643"/>
                  </a:lnTo>
                  <a:lnTo>
                    <a:pt x="578" y="3615"/>
                  </a:lnTo>
                  <a:lnTo>
                    <a:pt x="571" y="3587"/>
                  </a:lnTo>
                  <a:lnTo>
                    <a:pt x="567" y="3556"/>
                  </a:lnTo>
                  <a:lnTo>
                    <a:pt x="563" y="3523"/>
                  </a:lnTo>
                  <a:lnTo>
                    <a:pt x="559" y="3489"/>
                  </a:lnTo>
                  <a:lnTo>
                    <a:pt x="554" y="3419"/>
                  </a:lnTo>
                  <a:lnTo>
                    <a:pt x="551" y="3344"/>
                  </a:lnTo>
                  <a:lnTo>
                    <a:pt x="551" y="3344"/>
                  </a:lnTo>
                  <a:lnTo>
                    <a:pt x="551" y="3281"/>
                  </a:lnTo>
                  <a:lnTo>
                    <a:pt x="553" y="3216"/>
                  </a:lnTo>
                  <a:lnTo>
                    <a:pt x="556" y="3083"/>
                  </a:lnTo>
                  <a:lnTo>
                    <a:pt x="560" y="2950"/>
                  </a:lnTo>
                  <a:lnTo>
                    <a:pt x="561" y="2885"/>
                  </a:lnTo>
                  <a:lnTo>
                    <a:pt x="561" y="2822"/>
                  </a:lnTo>
                  <a:lnTo>
                    <a:pt x="561" y="2822"/>
                  </a:lnTo>
                  <a:lnTo>
                    <a:pt x="561" y="1755"/>
                  </a:lnTo>
                  <a:lnTo>
                    <a:pt x="561" y="1755"/>
                  </a:lnTo>
                  <a:lnTo>
                    <a:pt x="546" y="1752"/>
                  </a:lnTo>
                  <a:lnTo>
                    <a:pt x="527" y="1748"/>
                  </a:lnTo>
                  <a:lnTo>
                    <a:pt x="502" y="1741"/>
                  </a:lnTo>
                  <a:lnTo>
                    <a:pt x="472" y="1733"/>
                  </a:lnTo>
                  <a:lnTo>
                    <a:pt x="437" y="1718"/>
                  </a:lnTo>
                  <a:lnTo>
                    <a:pt x="400" y="1702"/>
                  </a:lnTo>
                  <a:lnTo>
                    <a:pt x="361" y="1680"/>
                  </a:lnTo>
                  <a:lnTo>
                    <a:pt x="340" y="1668"/>
                  </a:lnTo>
                  <a:lnTo>
                    <a:pt x="319" y="1654"/>
                  </a:lnTo>
                  <a:lnTo>
                    <a:pt x="297" y="1638"/>
                  </a:lnTo>
                  <a:lnTo>
                    <a:pt x="276" y="1621"/>
                  </a:lnTo>
                  <a:lnTo>
                    <a:pt x="257" y="1603"/>
                  </a:lnTo>
                  <a:lnTo>
                    <a:pt x="235" y="1583"/>
                  </a:lnTo>
                  <a:lnTo>
                    <a:pt x="214" y="1560"/>
                  </a:lnTo>
                  <a:lnTo>
                    <a:pt x="194" y="1538"/>
                  </a:lnTo>
                  <a:lnTo>
                    <a:pt x="175" y="1512"/>
                  </a:lnTo>
                  <a:lnTo>
                    <a:pt x="156" y="1486"/>
                  </a:lnTo>
                  <a:lnTo>
                    <a:pt x="138" y="1457"/>
                  </a:lnTo>
                  <a:lnTo>
                    <a:pt x="120" y="1426"/>
                  </a:lnTo>
                  <a:lnTo>
                    <a:pt x="104" y="1394"/>
                  </a:lnTo>
                  <a:lnTo>
                    <a:pt x="89" y="1359"/>
                  </a:lnTo>
                  <a:lnTo>
                    <a:pt x="74" y="1322"/>
                  </a:lnTo>
                  <a:lnTo>
                    <a:pt x="60" y="1284"/>
                  </a:lnTo>
                  <a:lnTo>
                    <a:pt x="60" y="1284"/>
                  </a:lnTo>
                  <a:lnTo>
                    <a:pt x="41" y="1213"/>
                  </a:lnTo>
                  <a:lnTo>
                    <a:pt x="25" y="1146"/>
                  </a:lnTo>
                  <a:lnTo>
                    <a:pt x="14" y="1082"/>
                  </a:lnTo>
                  <a:lnTo>
                    <a:pt x="5" y="1020"/>
                  </a:lnTo>
                  <a:lnTo>
                    <a:pt x="1" y="962"/>
                  </a:lnTo>
                  <a:lnTo>
                    <a:pt x="0" y="906"/>
                  </a:lnTo>
                  <a:lnTo>
                    <a:pt x="1" y="852"/>
                  </a:lnTo>
                  <a:lnTo>
                    <a:pt x="4" y="803"/>
                  </a:lnTo>
                  <a:lnTo>
                    <a:pt x="11" y="755"/>
                  </a:lnTo>
                  <a:lnTo>
                    <a:pt x="19" y="710"/>
                  </a:lnTo>
                  <a:lnTo>
                    <a:pt x="31" y="667"/>
                  </a:lnTo>
                  <a:lnTo>
                    <a:pt x="43" y="628"/>
                  </a:lnTo>
                  <a:lnTo>
                    <a:pt x="58" y="591"/>
                  </a:lnTo>
                  <a:lnTo>
                    <a:pt x="73" y="557"/>
                  </a:lnTo>
                  <a:lnTo>
                    <a:pt x="90" y="525"/>
                  </a:lnTo>
                  <a:lnTo>
                    <a:pt x="108" y="496"/>
                  </a:lnTo>
                  <a:lnTo>
                    <a:pt x="127" y="470"/>
                  </a:lnTo>
                  <a:lnTo>
                    <a:pt x="145" y="446"/>
                  </a:lnTo>
                  <a:lnTo>
                    <a:pt x="165" y="423"/>
                  </a:lnTo>
                  <a:lnTo>
                    <a:pt x="183" y="405"/>
                  </a:lnTo>
                  <a:lnTo>
                    <a:pt x="203" y="388"/>
                  </a:lnTo>
                  <a:lnTo>
                    <a:pt x="221" y="374"/>
                  </a:lnTo>
                  <a:lnTo>
                    <a:pt x="238" y="361"/>
                  </a:lnTo>
                  <a:lnTo>
                    <a:pt x="257" y="351"/>
                  </a:lnTo>
                  <a:lnTo>
                    <a:pt x="272" y="344"/>
                  </a:lnTo>
                  <a:lnTo>
                    <a:pt x="286" y="340"/>
                  </a:lnTo>
                  <a:lnTo>
                    <a:pt x="299" y="337"/>
                  </a:lnTo>
                  <a:lnTo>
                    <a:pt x="310" y="337"/>
                  </a:lnTo>
                  <a:lnTo>
                    <a:pt x="320" y="338"/>
                  </a:lnTo>
                  <a:lnTo>
                    <a:pt x="327" y="343"/>
                  </a:lnTo>
                  <a:lnTo>
                    <a:pt x="331" y="348"/>
                  </a:lnTo>
                  <a:lnTo>
                    <a:pt x="333" y="357"/>
                  </a:lnTo>
                  <a:lnTo>
                    <a:pt x="333" y="357"/>
                  </a:lnTo>
                  <a:lnTo>
                    <a:pt x="336" y="401"/>
                  </a:lnTo>
                  <a:lnTo>
                    <a:pt x="341" y="444"/>
                  </a:lnTo>
                  <a:lnTo>
                    <a:pt x="347" y="488"/>
                  </a:lnTo>
                  <a:lnTo>
                    <a:pt x="355" y="532"/>
                  </a:lnTo>
                  <a:lnTo>
                    <a:pt x="364" y="577"/>
                  </a:lnTo>
                  <a:lnTo>
                    <a:pt x="375" y="622"/>
                  </a:lnTo>
                  <a:lnTo>
                    <a:pt x="386" y="666"/>
                  </a:lnTo>
                  <a:lnTo>
                    <a:pt x="399" y="711"/>
                  </a:lnTo>
                  <a:lnTo>
                    <a:pt x="412" y="755"/>
                  </a:lnTo>
                  <a:lnTo>
                    <a:pt x="426" y="798"/>
                  </a:lnTo>
                  <a:lnTo>
                    <a:pt x="457" y="883"/>
                  </a:lnTo>
                  <a:lnTo>
                    <a:pt x="488" y="965"/>
                  </a:lnTo>
                  <a:lnTo>
                    <a:pt x="520" y="1043"/>
                  </a:lnTo>
                  <a:lnTo>
                    <a:pt x="553" y="1115"/>
                  </a:lnTo>
                  <a:lnTo>
                    <a:pt x="584" y="1181"/>
                  </a:lnTo>
                  <a:lnTo>
                    <a:pt x="614" y="1239"/>
                  </a:lnTo>
                  <a:lnTo>
                    <a:pt x="639" y="1288"/>
                  </a:lnTo>
                  <a:lnTo>
                    <a:pt x="678" y="1360"/>
                  </a:lnTo>
                  <a:lnTo>
                    <a:pt x="693" y="1385"/>
                  </a:lnTo>
                  <a:lnTo>
                    <a:pt x="2392" y="1385"/>
                  </a:lnTo>
                  <a:lnTo>
                    <a:pt x="2500" y="1247"/>
                  </a:lnTo>
                  <a:close/>
                </a:path>
              </a:pathLst>
            </a:custGeom>
            <a:noFill/>
            <a:ln w="9525">
              <a:solidFill>
                <a:srgbClr val="0070C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ctr" anchorCtr="0" forceAA="0" compatLnSpc="1">
              <a:prstTxWarp prst="textNoShape">
                <a:avLst/>
              </a:prstTxWarp>
              <a:noAutofit/>
            </a:bodyPr>
            <a:lstStyle/>
            <a:p>
              <a:pPr algn="ctr" defTabSz="913923" fontAlgn="base">
                <a:spcBef>
                  <a:spcPct val="0"/>
                </a:spcBef>
                <a:spcAft>
                  <a:spcPct val="0"/>
                </a:spcAft>
                <a:defRPr/>
              </a:pPr>
              <a:endParaRPr lang="en-US" sz="1199"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5" name="Rectangle 324">
              <a:extLst>
                <a:ext uri="{FF2B5EF4-FFF2-40B4-BE49-F238E27FC236}">
                  <a16:creationId xmlns:a16="http://schemas.microsoft.com/office/drawing/2014/main" id="{B68F29B8-87FC-4349-A759-9EEFCE7EA254}"/>
                </a:ext>
              </a:extLst>
            </p:cNvPr>
            <p:cNvSpPr/>
            <p:nvPr/>
          </p:nvSpPr>
          <p:spPr>
            <a:xfrm>
              <a:off x="2862758" y="3846013"/>
              <a:ext cx="990977" cy="169401"/>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Pets</a:t>
              </a:r>
            </a:p>
          </p:txBody>
        </p:sp>
      </p:grpSp>
      <p:grpSp>
        <p:nvGrpSpPr>
          <p:cNvPr id="84" name="Group 83">
            <a:extLst>
              <a:ext uri="{FF2B5EF4-FFF2-40B4-BE49-F238E27FC236}">
                <a16:creationId xmlns:a16="http://schemas.microsoft.com/office/drawing/2014/main" id="{E8F4B2E0-F738-4EDA-8845-373952DF3472}"/>
              </a:ext>
            </a:extLst>
          </p:cNvPr>
          <p:cNvGrpSpPr/>
          <p:nvPr/>
        </p:nvGrpSpPr>
        <p:grpSpPr>
          <a:xfrm>
            <a:off x="5705965" y="5127821"/>
            <a:ext cx="1209155" cy="792792"/>
            <a:chOff x="5585772" y="5632853"/>
            <a:chExt cx="1209327" cy="792904"/>
          </a:xfrm>
        </p:grpSpPr>
        <p:sp>
          <p:nvSpPr>
            <p:cNvPr id="329" name="signal_3" title="Icon of a communication tower with signal lines">
              <a:extLst>
                <a:ext uri="{FF2B5EF4-FFF2-40B4-BE49-F238E27FC236}">
                  <a16:creationId xmlns:a16="http://schemas.microsoft.com/office/drawing/2014/main" id="{E6A61D41-BC2F-4B22-B4E2-1F8C6E23DD1F}"/>
                </a:ext>
              </a:extLst>
            </p:cNvPr>
            <p:cNvSpPr>
              <a:spLocks noChangeAspect="1" noEditPoints="1"/>
            </p:cNvSpPr>
            <p:nvPr/>
          </p:nvSpPr>
          <p:spPr bwMode="auto">
            <a:xfrm>
              <a:off x="5996574" y="5632853"/>
              <a:ext cx="387723" cy="531796"/>
            </a:xfrm>
            <a:custGeom>
              <a:avLst/>
              <a:gdLst>
                <a:gd name="T0" fmla="*/ 96 w 253"/>
                <a:gd name="T1" fmla="*/ 87 h 347"/>
                <a:gd name="T2" fmla="*/ 126 w 253"/>
                <a:gd name="T3" fmla="*/ 57 h 347"/>
                <a:gd name="T4" fmla="*/ 156 w 253"/>
                <a:gd name="T5" fmla="*/ 87 h 347"/>
                <a:gd name="T6" fmla="*/ 126 w 253"/>
                <a:gd name="T7" fmla="*/ 117 h 347"/>
                <a:gd name="T8" fmla="*/ 96 w 253"/>
                <a:gd name="T9" fmla="*/ 87 h 347"/>
                <a:gd name="T10" fmla="*/ 38 w 253"/>
                <a:gd name="T11" fmla="*/ 347 h 347"/>
                <a:gd name="T12" fmla="*/ 116 w 253"/>
                <a:gd name="T13" fmla="*/ 115 h 347"/>
                <a:gd name="T14" fmla="*/ 213 w 253"/>
                <a:gd name="T15" fmla="*/ 347 h 347"/>
                <a:gd name="T16" fmla="*/ 135 w 253"/>
                <a:gd name="T17" fmla="*/ 116 h 347"/>
                <a:gd name="T18" fmla="*/ 85 w 253"/>
                <a:gd name="T19" fmla="*/ 209 h 347"/>
                <a:gd name="T20" fmla="*/ 167 w 253"/>
                <a:gd name="T21" fmla="*/ 209 h 347"/>
                <a:gd name="T22" fmla="*/ 59 w 253"/>
                <a:gd name="T23" fmla="*/ 283 h 347"/>
                <a:gd name="T24" fmla="*/ 192 w 253"/>
                <a:gd name="T25" fmla="*/ 283 h 347"/>
                <a:gd name="T26" fmla="*/ 35 w 253"/>
                <a:gd name="T27" fmla="*/ 0 h 347"/>
                <a:gd name="T28" fmla="*/ 0 w 253"/>
                <a:gd name="T29" fmla="*/ 86 h 347"/>
                <a:gd name="T30" fmla="*/ 36 w 253"/>
                <a:gd name="T31" fmla="*/ 173 h 347"/>
                <a:gd name="T32" fmla="*/ 72 w 253"/>
                <a:gd name="T33" fmla="*/ 38 h 347"/>
                <a:gd name="T34" fmla="*/ 52 w 253"/>
                <a:gd name="T35" fmla="*/ 87 h 347"/>
                <a:gd name="T36" fmla="*/ 72 w 253"/>
                <a:gd name="T37" fmla="*/ 135 h 347"/>
                <a:gd name="T38" fmla="*/ 216 w 253"/>
                <a:gd name="T39" fmla="*/ 173 h 347"/>
                <a:gd name="T40" fmla="*/ 253 w 253"/>
                <a:gd name="T41" fmla="*/ 86 h 347"/>
                <a:gd name="T42" fmla="*/ 217 w 253"/>
                <a:gd name="T43" fmla="*/ 0 h 347"/>
                <a:gd name="T44" fmla="*/ 180 w 253"/>
                <a:gd name="T45" fmla="*/ 135 h 347"/>
                <a:gd name="T46" fmla="*/ 200 w 253"/>
                <a:gd name="T47" fmla="*/ 87 h 347"/>
                <a:gd name="T48" fmla="*/ 180 w 253"/>
                <a:gd name="T49" fmla="*/ 3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3" h="347">
                  <a:moveTo>
                    <a:pt x="96" y="87"/>
                  </a:moveTo>
                  <a:cubicBezTo>
                    <a:pt x="96" y="70"/>
                    <a:pt x="109" y="57"/>
                    <a:pt x="126" y="57"/>
                  </a:cubicBezTo>
                  <a:cubicBezTo>
                    <a:pt x="143" y="57"/>
                    <a:pt x="156" y="70"/>
                    <a:pt x="156" y="87"/>
                  </a:cubicBezTo>
                  <a:cubicBezTo>
                    <a:pt x="156" y="104"/>
                    <a:pt x="143" y="117"/>
                    <a:pt x="126" y="117"/>
                  </a:cubicBezTo>
                  <a:cubicBezTo>
                    <a:pt x="109" y="117"/>
                    <a:pt x="96" y="104"/>
                    <a:pt x="96" y="87"/>
                  </a:cubicBezTo>
                  <a:close/>
                  <a:moveTo>
                    <a:pt x="38" y="347"/>
                  </a:moveTo>
                  <a:cubicBezTo>
                    <a:pt x="116" y="115"/>
                    <a:pt x="116" y="115"/>
                    <a:pt x="116" y="115"/>
                  </a:cubicBezTo>
                  <a:moveTo>
                    <a:pt x="213" y="347"/>
                  </a:moveTo>
                  <a:cubicBezTo>
                    <a:pt x="135" y="116"/>
                    <a:pt x="135" y="116"/>
                    <a:pt x="135" y="116"/>
                  </a:cubicBezTo>
                  <a:moveTo>
                    <a:pt x="85" y="209"/>
                  </a:moveTo>
                  <a:cubicBezTo>
                    <a:pt x="167" y="209"/>
                    <a:pt x="167" y="209"/>
                    <a:pt x="167" y="209"/>
                  </a:cubicBezTo>
                  <a:moveTo>
                    <a:pt x="59" y="283"/>
                  </a:moveTo>
                  <a:cubicBezTo>
                    <a:pt x="192" y="283"/>
                    <a:pt x="192" y="283"/>
                    <a:pt x="192" y="283"/>
                  </a:cubicBezTo>
                  <a:moveTo>
                    <a:pt x="35" y="0"/>
                  </a:moveTo>
                  <a:cubicBezTo>
                    <a:pt x="13" y="22"/>
                    <a:pt x="0" y="52"/>
                    <a:pt x="0" y="86"/>
                  </a:cubicBezTo>
                  <a:cubicBezTo>
                    <a:pt x="0" y="120"/>
                    <a:pt x="13" y="151"/>
                    <a:pt x="36" y="173"/>
                  </a:cubicBezTo>
                  <a:moveTo>
                    <a:pt x="72" y="38"/>
                  </a:moveTo>
                  <a:cubicBezTo>
                    <a:pt x="60" y="50"/>
                    <a:pt x="52" y="68"/>
                    <a:pt x="52" y="87"/>
                  </a:cubicBezTo>
                  <a:cubicBezTo>
                    <a:pt x="52" y="105"/>
                    <a:pt x="60" y="122"/>
                    <a:pt x="72" y="135"/>
                  </a:cubicBezTo>
                  <a:moveTo>
                    <a:pt x="216" y="173"/>
                  </a:moveTo>
                  <a:cubicBezTo>
                    <a:pt x="239" y="151"/>
                    <a:pt x="253" y="120"/>
                    <a:pt x="253" y="86"/>
                  </a:cubicBezTo>
                  <a:cubicBezTo>
                    <a:pt x="253" y="52"/>
                    <a:pt x="239" y="22"/>
                    <a:pt x="217" y="0"/>
                  </a:cubicBezTo>
                  <a:moveTo>
                    <a:pt x="180" y="135"/>
                  </a:moveTo>
                  <a:cubicBezTo>
                    <a:pt x="192" y="122"/>
                    <a:pt x="200" y="105"/>
                    <a:pt x="200" y="87"/>
                  </a:cubicBezTo>
                  <a:cubicBezTo>
                    <a:pt x="200" y="68"/>
                    <a:pt x="192" y="50"/>
                    <a:pt x="180" y="38"/>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342" name="TextBox 341">
              <a:extLst>
                <a:ext uri="{FF2B5EF4-FFF2-40B4-BE49-F238E27FC236}">
                  <a16:creationId xmlns:a16="http://schemas.microsoft.com/office/drawing/2014/main" id="{C05A81F6-097F-4D7E-8495-7372B11778E5}"/>
                </a:ext>
              </a:extLst>
            </p:cNvPr>
            <p:cNvSpPr txBox="1"/>
            <p:nvPr/>
          </p:nvSpPr>
          <p:spPr>
            <a:xfrm>
              <a:off x="5585772" y="6256356"/>
              <a:ext cx="1209327"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Communications</a:t>
              </a:r>
            </a:p>
          </p:txBody>
        </p:sp>
      </p:grpSp>
      <p:grpSp>
        <p:nvGrpSpPr>
          <p:cNvPr id="167" name="Group 166">
            <a:extLst>
              <a:ext uri="{FF2B5EF4-FFF2-40B4-BE49-F238E27FC236}">
                <a16:creationId xmlns:a16="http://schemas.microsoft.com/office/drawing/2014/main" id="{81494E3B-FC91-479A-8DFD-1223FE7EE8AD}"/>
              </a:ext>
            </a:extLst>
          </p:cNvPr>
          <p:cNvGrpSpPr/>
          <p:nvPr/>
        </p:nvGrpSpPr>
        <p:grpSpPr>
          <a:xfrm>
            <a:off x="9626512" y="6164272"/>
            <a:ext cx="968461" cy="588243"/>
            <a:chOff x="2837898" y="1785413"/>
            <a:chExt cx="968599" cy="588326"/>
          </a:xfrm>
        </p:grpSpPr>
        <p:sp>
          <p:nvSpPr>
            <p:cNvPr id="355" name="star_2" title="Icon of a person inside a star shape">
              <a:extLst>
                <a:ext uri="{FF2B5EF4-FFF2-40B4-BE49-F238E27FC236}">
                  <a16:creationId xmlns:a16="http://schemas.microsoft.com/office/drawing/2014/main" id="{0D417105-5300-41F6-A68B-549AB54342DD}"/>
                </a:ext>
              </a:extLst>
            </p:cNvPr>
            <p:cNvSpPr>
              <a:spLocks noChangeAspect="1" noEditPoints="1"/>
            </p:cNvSpPr>
            <p:nvPr/>
          </p:nvSpPr>
          <p:spPr bwMode="auto">
            <a:xfrm>
              <a:off x="3130247" y="1785413"/>
              <a:ext cx="386759" cy="365760"/>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sp>
          <p:nvSpPr>
            <p:cNvPr id="356" name="TextBox 355">
              <a:extLst>
                <a:ext uri="{FF2B5EF4-FFF2-40B4-BE49-F238E27FC236}">
                  <a16:creationId xmlns:a16="http://schemas.microsoft.com/office/drawing/2014/main" id="{2D8F0F5A-2B38-4F93-87E3-BFCEF7B05AF0}"/>
                </a:ext>
              </a:extLst>
            </p:cNvPr>
            <p:cNvSpPr txBox="1"/>
            <p:nvPr/>
          </p:nvSpPr>
          <p:spPr>
            <a:xfrm>
              <a:off x="2837898" y="2204338"/>
              <a:ext cx="968599" cy="169401"/>
            </a:xfrm>
            <a:prstGeom prst="rect">
              <a:avLst/>
            </a:prstGeom>
            <a:noFill/>
          </p:spPr>
          <p:txBody>
            <a:bodyPr vert="horz" wrap="square" lIns="0" tIns="0" rIns="0" bIns="0" rtlCol="0" anchor="ctr" anchorCtr="0">
              <a:spAutoFit/>
            </a:bodyPr>
            <a:lstStyle/>
            <a:p>
              <a:pPr algn="ctr" defTabSz="932384">
                <a:lnSpc>
                  <a:spcPct val="90000"/>
                </a:lnSpc>
                <a:spcAft>
                  <a:spcPts val="600"/>
                </a:spcAft>
                <a:defRPr/>
              </a:pPr>
              <a:r>
                <a:rPr lang="en-US" sz="1199" kern="0">
                  <a:solidFill>
                    <a:srgbClr val="353535"/>
                  </a:solidFill>
                </a:rPr>
                <a:t>Public Safety</a:t>
              </a:r>
            </a:p>
          </p:txBody>
        </p:sp>
      </p:grpSp>
      <p:grpSp>
        <p:nvGrpSpPr>
          <p:cNvPr id="7" name="Group 6">
            <a:extLst>
              <a:ext uri="{FF2B5EF4-FFF2-40B4-BE49-F238E27FC236}">
                <a16:creationId xmlns:a16="http://schemas.microsoft.com/office/drawing/2014/main" id="{44D807D4-5D33-47CE-8639-671D24634E06}"/>
              </a:ext>
            </a:extLst>
          </p:cNvPr>
          <p:cNvGrpSpPr/>
          <p:nvPr/>
        </p:nvGrpSpPr>
        <p:grpSpPr>
          <a:xfrm>
            <a:off x="2927165" y="1420952"/>
            <a:ext cx="853245" cy="699268"/>
            <a:chOff x="2981513" y="1252841"/>
            <a:chExt cx="990977" cy="812147"/>
          </a:xfrm>
        </p:grpSpPr>
        <p:pic>
          <p:nvPicPr>
            <p:cNvPr id="3" name="Graphic 2" descr="Cow">
              <a:extLst>
                <a:ext uri="{FF2B5EF4-FFF2-40B4-BE49-F238E27FC236}">
                  <a16:creationId xmlns:a16="http://schemas.microsoft.com/office/drawing/2014/main" id="{569F6C2F-DFC6-4B02-A02F-33B6ACBBC2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45455" y="1252841"/>
              <a:ext cx="698706" cy="698706"/>
            </a:xfrm>
            <a:prstGeom prst="rect">
              <a:avLst/>
            </a:prstGeom>
          </p:spPr>
        </p:pic>
        <p:sp>
          <p:nvSpPr>
            <p:cNvPr id="119" name="Rectangle 118">
              <a:extLst>
                <a:ext uri="{FF2B5EF4-FFF2-40B4-BE49-F238E27FC236}">
                  <a16:creationId xmlns:a16="http://schemas.microsoft.com/office/drawing/2014/main" id="{3484A81B-CAD5-460E-915D-32B53A11EB4F}"/>
                </a:ext>
              </a:extLst>
            </p:cNvPr>
            <p:cNvSpPr/>
            <p:nvPr/>
          </p:nvSpPr>
          <p:spPr>
            <a:xfrm>
              <a:off x="2981513" y="1868269"/>
              <a:ext cx="990977" cy="196719"/>
            </a:xfrm>
            <a:prstGeom prst="rect">
              <a:avLst/>
            </a:prstGeom>
          </p:spPr>
          <p:txBody>
            <a:bodyPr vert="horz" wrap="square" lIns="0" tIns="0" rIns="0" bIns="0" anchor="ctr" anchorCtr="0">
              <a:spAutoFit/>
            </a:bodyPr>
            <a:lstStyle/>
            <a:p>
              <a:pPr algn="ctr" defTabSz="932384">
                <a:lnSpc>
                  <a:spcPct val="90000"/>
                </a:lnSpc>
                <a:spcAft>
                  <a:spcPts val="600"/>
                </a:spcAft>
                <a:defRPr/>
              </a:pPr>
              <a:r>
                <a:rPr lang="en-US" sz="1199" kern="0">
                  <a:gradFill>
                    <a:gsLst>
                      <a:gs pos="2917">
                        <a:srgbClr val="353535"/>
                      </a:gs>
                      <a:gs pos="32000">
                        <a:srgbClr val="353535"/>
                      </a:gs>
                    </a:gsLst>
                    <a:lin ang="5400000" scaled="0"/>
                  </a:gradFill>
                </a:rPr>
                <a:t>Livestock</a:t>
              </a:r>
            </a:p>
          </p:txBody>
        </p:sp>
      </p:grpSp>
    </p:spTree>
    <p:extLst>
      <p:ext uri="{BB962C8B-B14F-4D97-AF65-F5344CB8AC3E}">
        <p14:creationId xmlns:p14="http://schemas.microsoft.com/office/powerpoint/2010/main" val="1960863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250" fill="hold"/>
                                        <p:tgtEl>
                                          <p:spTgt spid="2"/>
                                        </p:tgtEl>
                                        <p:attrNameLst>
                                          <p:attrName>ppt_w</p:attrName>
                                        </p:attrNameLst>
                                      </p:cBhvr>
                                      <p:tavLst>
                                        <p:tav tm="0">
                                          <p:val>
                                            <p:fltVal val="0"/>
                                          </p:val>
                                        </p:tav>
                                        <p:tav tm="100000">
                                          <p:val>
                                            <p:strVal val="#ppt_w"/>
                                          </p:val>
                                        </p:tav>
                                      </p:tavLst>
                                    </p:anim>
                                    <p:anim calcmode="lin" valueType="num">
                                      <p:cBhvr>
                                        <p:cTn id="8" dur="250" fill="hold"/>
                                        <p:tgtEl>
                                          <p:spTgt spid="2"/>
                                        </p:tgtEl>
                                        <p:attrNameLst>
                                          <p:attrName>ppt_h</p:attrName>
                                        </p:attrNameLst>
                                      </p:cBhvr>
                                      <p:tavLst>
                                        <p:tav tm="0">
                                          <p:val>
                                            <p:fltVal val="0"/>
                                          </p:val>
                                        </p:tav>
                                        <p:tav tm="100000">
                                          <p:val>
                                            <p:strVal val="#ppt_h"/>
                                          </p:val>
                                        </p:tav>
                                      </p:tavLst>
                                    </p:anim>
                                    <p:animEffect transition="in" filter="fade">
                                      <p:cBhvr>
                                        <p:cTn id="9" dur="250"/>
                                        <p:tgtEl>
                                          <p:spTgt spid="2"/>
                                        </p:tgtEl>
                                      </p:cBhvr>
                                    </p:animEffect>
                                  </p:childTnLst>
                                </p:cTn>
                              </p:par>
                            </p:childTnLst>
                          </p:cTn>
                        </p:par>
                        <p:par>
                          <p:cTn id="10" fill="hold">
                            <p:stCondLst>
                              <p:cond delay="250"/>
                            </p:stCondLst>
                            <p:childTnLst>
                              <p:par>
                                <p:cTn id="11" presetID="10" presetClass="entr" presetSubtype="0" fill="hold" nodeType="afterEffect">
                                  <p:stCondLst>
                                    <p:cond delay="0"/>
                                  </p:stCondLst>
                                  <p:childTnLst>
                                    <p:set>
                                      <p:cBhvr>
                                        <p:cTn id="12" dur="1" fill="hold">
                                          <p:stCondLst>
                                            <p:cond delay="0"/>
                                          </p:stCondLst>
                                        </p:cTn>
                                        <p:tgtEl>
                                          <p:spTgt spid="127"/>
                                        </p:tgtEl>
                                        <p:attrNameLst>
                                          <p:attrName>style.visibility</p:attrName>
                                        </p:attrNameLst>
                                      </p:cBhvr>
                                      <p:to>
                                        <p:strVal val="visible"/>
                                      </p:to>
                                    </p:set>
                                    <p:animEffect transition="in" filter="fade">
                                      <p:cBhvr>
                                        <p:cTn id="13" dur="50"/>
                                        <p:tgtEl>
                                          <p:spTgt spid="127"/>
                                        </p:tgtEl>
                                      </p:cBhvr>
                                    </p:animEffect>
                                  </p:childTnLst>
                                </p:cTn>
                              </p:par>
                            </p:childTnLst>
                          </p:cTn>
                        </p:par>
                        <p:par>
                          <p:cTn id="14" fill="hold">
                            <p:stCondLst>
                              <p:cond delay="300"/>
                            </p:stCondLst>
                            <p:childTnLst>
                              <p:par>
                                <p:cTn id="15" presetID="10" presetClass="entr" presetSubtype="0" fill="hold" nodeType="afterEffect">
                                  <p:stCondLst>
                                    <p:cond delay="0"/>
                                  </p:stCondLst>
                                  <p:childTnLst>
                                    <p:set>
                                      <p:cBhvr>
                                        <p:cTn id="16" dur="1" fill="hold">
                                          <p:stCondLst>
                                            <p:cond delay="0"/>
                                          </p:stCondLst>
                                        </p:cTn>
                                        <p:tgtEl>
                                          <p:spTgt spid="132"/>
                                        </p:tgtEl>
                                        <p:attrNameLst>
                                          <p:attrName>style.visibility</p:attrName>
                                        </p:attrNameLst>
                                      </p:cBhvr>
                                      <p:to>
                                        <p:strVal val="visible"/>
                                      </p:to>
                                    </p:set>
                                    <p:animEffect transition="in" filter="fade">
                                      <p:cBhvr>
                                        <p:cTn id="17" dur="50"/>
                                        <p:tgtEl>
                                          <p:spTgt spid="132"/>
                                        </p:tgtEl>
                                      </p:cBhvr>
                                    </p:animEffect>
                                  </p:childTnLst>
                                </p:cTn>
                              </p:par>
                            </p:childTnLst>
                          </p:cTn>
                        </p:par>
                        <p:par>
                          <p:cTn id="18" fill="hold">
                            <p:stCondLst>
                              <p:cond delay="350"/>
                            </p:stCondLst>
                            <p:childTnLst>
                              <p:par>
                                <p:cTn id="19" presetID="10" presetClass="entr" presetSubtype="0" fill="hold" nodeType="afterEffect">
                                  <p:stCondLst>
                                    <p:cond delay="0"/>
                                  </p:stCondLst>
                                  <p:childTnLst>
                                    <p:set>
                                      <p:cBhvr>
                                        <p:cTn id="20" dur="1" fill="hold">
                                          <p:stCondLst>
                                            <p:cond delay="0"/>
                                          </p:stCondLst>
                                        </p:cTn>
                                        <p:tgtEl>
                                          <p:spTgt spid="97"/>
                                        </p:tgtEl>
                                        <p:attrNameLst>
                                          <p:attrName>style.visibility</p:attrName>
                                        </p:attrNameLst>
                                      </p:cBhvr>
                                      <p:to>
                                        <p:strVal val="visible"/>
                                      </p:to>
                                    </p:set>
                                    <p:animEffect transition="in" filter="fade">
                                      <p:cBhvr>
                                        <p:cTn id="21" dur="50"/>
                                        <p:tgtEl>
                                          <p:spTgt spid="97"/>
                                        </p:tgtEl>
                                      </p:cBhvr>
                                    </p:animEffect>
                                  </p:childTnLst>
                                </p:cTn>
                              </p:par>
                            </p:childTnLst>
                          </p:cTn>
                        </p:par>
                        <p:par>
                          <p:cTn id="22" fill="hold">
                            <p:stCondLst>
                              <p:cond delay="400"/>
                            </p:stCondLst>
                            <p:childTnLst>
                              <p:par>
                                <p:cTn id="23" presetID="10" presetClass="entr" presetSubtype="0" fill="hold" nodeType="afterEffect">
                                  <p:stCondLst>
                                    <p:cond delay="0"/>
                                  </p:stCondLst>
                                  <p:childTnLst>
                                    <p:set>
                                      <p:cBhvr>
                                        <p:cTn id="24" dur="1" fill="hold">
                                          <p:stCondLst>
                                            <p:cond delay="0"/>
                                          </p:stCondLst>
                                        </p:cTn>
                                        <p:tgtEl>
                                          <p:spTgt spid="64"/>
                                        </p:tgtEl>
                                        <p:attrNameLst>
                                          <p:attrName>style.visibility</p:attrName>
                                        </p:attrNameLst>
                                      </p:cBhvr>
                                      <p:to>
                                        <p:strVal val="visible"/>
                                      </p:to>
                                    </p:set>
                                    <p:animEffect transition="in" filter="fade">
                                      <p:cBhvr>
                                        <p:cTn id="25" dur="50"/>
                                        <p:tgtEl>
                                          <p:spTgt spid="64"/>
                                        </p:tgtEl>
                                      </p:cBhvr>
                                    </p:animEffect>
                                  </p:childTnLst>
                                </p:cTn>
                              </p:par>
                            </p:childTnLst>
                          </p:cTn>
                        </p:par>
                        <p:par>
                          <p:cTn id="26" fill="hold">
                            <p:stCondLst>
                              <p:cond delay="450"/>
                            </p:stCondLst>
                            <p:childTnLst>
                              <p:par>
                                <p:cTn id="27" presetID="10" presetClass="entr" presetSubtype="0" fill="hold" nodeType="afterEffect">
                                  <p:stCondLst>
                                    <p:cond delay="0"/>
                                  </p:stCondLst>
                                  <p:childTnLst>
                                    <p:set>
                                      <p:cBhvr>
                                        <p:cTn id="28" dur="1" fill="hold">
                                          <p:stCondLst>
                                            <p:cond delay="0"/>
                                          </p:stCondLst>
                                        </p:cTn>
                                        <p:tgtEl>
                                          <p:spTgt spid="67"/>
                                        </p:tgtEl>
                                        <p:attrNameLst>
                                          <p:attrName>style.visibility</p:attrName>
                                        </p:attrNameLst>
                                      </p:cBhvr>
                                      <p:to>
                                        <p:strVal val="visible"/>
                                      </p:to>
                                    </p:set>
                                    <p:animEffect transition="in" filter="fade">
                                      <p:cBhvr>
                                        <p:cTn id="29" dur="50"/>
                                        <p:tgtEl>
                                          <p:spTgt spid="67"/>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65"/>
                                        </p:tgtEl>
                                        <p:attrNameLst>
                                          <p:attrName>style.visibility</p:attrName>
                                        </p:attrNameLst>
                                      </p:cBhvr>
                                      <p:to>
                                        <p:strVal val="visible"/>
                                      </p:to>
                                    </p:set>
                                    <p:animEffect transition="in" filter="fade">
                                      <p:cBhvr>
                                        <p:cTn id="33" dur="50"/>
                                        <p:tgtEl>
                                          <p:spTgt spid="65"/>
                                        </p:tgtEl>
                                      </p:cBhvr>
                                    </p:animEffect>
                                  </p:childTnLst>
                                </p:cTn>
                              </p:par>
                            </p:childTnLst>
                          </p:cTn>
                        </p:par>
                        <p:par>
                          <p:cTn id="34" fill="hold">
                            <p:stCondLst>
                              <p:cond delay="550"/>
                            </p:stCondLst>
                            <p:childTnLst>
                              <p:par>
                                <p:cTn id="35" presetID="10" presetClass="entr" presetSubtype="0" fill="hold" nodeType="after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50"/>
                                        <p:tgtEl>
                                          <p:spTgt spid="71"/>
                                        </p:tgtEl>
                                      </p:cBhvr>
                                    </p:animEffect>
                                  </p:childTnLst>
                                </p:cTn>
                              </p:par>
                            </p:childTnLst>
                          </p:cTn>
                        </p:par>
                        <p:par>
                          <p:cTn id="38" fill="hold">
                            <p:stCondLst>
                              <p:cond delay="600"/>
                            </p:stCondLst>
                            <p:childTnLst>
                              <p:par>
                                <p:cTn id="39" presetID="10" presetClass="entr" presetSubtype="0" fill="hold" nodeType="afterEffect">
                                  <p:stCondLst>
                                    <p:cond delay="0"/>
                                  </p:stCondLst>
                                  <p:childTnLst>
                                    <p:set>
                                      <p:cBhvr>
                                        <p:cTn id="40" dur="1" fill="hold">
                                          <p:stCondLst>
                                            <p:cond delay="0"/>
                                          </p:stCondLst>
                                        </p:cTn>
                                        <p:tgtEl>
                                          <p:spTgt spid="344"/>
                                        </p:tgtEl>
                                        <p:attrNameLst>
                                          <p:attrName>style.visibility</p:attrName>
                                        </p:attrNameLst>
                                      </p:cBhvr>
                                      <p:to>
                                        <p:strVal val="visible"/>
                                      </p:to>
                                    </p:set>
                                    <p:animEffect transition="in" filter="fade">
                                      <p:cBhvr>
                                        <p:cTn id="41" dur="50"/>
                                        <p:tgtEl>
                                          <p:spTgt spid="344"/>
                                        </p:tgtEl>
                                      </p:cBhvr>
                                    </p:animEffect>
                                  </p:childTnLst>
                                </p:cTn>
                              </p:par>
                            </p:childTnLst>
                          </p:cTn>
                        </p:par>
                        <p:par>
                          <p:cTn id="42" fill="hold">
                            <p:stCondLst>
                              <p:cond delay="650"/>
                            </p:stCondLst>
                            <p:childTnLst>
                              <p:par>
                                <p:cTn id="43" presetID="10" presetClass="entr" presetSubtype="0" fill="hold" nodeType="afterEffect">
                                  <p:stCondLst>
                                    <p:cond delay="0"/>
                                  </p:stCondLst>
                                  <p:childTnLst>
                                    <p:set>
                                      <p:cBhvr>
                                        <p:cTn id="44" dur="1" fill="hold">
                                          <p:stCondLst>
                                            <p:cond delay="0"/>
                                          </p:stCondLst>
                                        </p:cTn>
                                        <p:tgtEl>
                                          <p:spTgt spid="348"/>
                                        </p:tgtEl>
                                        <p:attrNameLst>
                                          <p:attrName>style.visibility</p:attrName>
                                        </p:attrNameLst>
                                      </p:cBhvr>
                                      <p:to>
                                        <p:strVal val="visible"/>
                                      </p:to>
                                    </p:set>
                                    <p:animEffect transition="in" filter="fade">
                                      <p:cBhvr>
                                        <p:cTn id="45" dur="50"/>
                                        <p:tgtEl>
                                          <p:spTgt spid="348"/>
                                        </p:tgtEl>
                                      </p:cBhvr>
                                    </p:animEffect>
                                  </p:childTnLst>
                                </p:cTn>
                              </p:par>
                            </p:childTnLst>
                          </p:cTn>
                        </p:par>
                        <p:par>
                          <p:cTn id="46" fill="hold">
                            <p:stCondLst>
                              <p:cond delay="700"/>
                            </p:stCondLst>
                            <p:childTnLst>
                              <p:par>
                                <p:cTn id="47" presetID="10" presetClass="entr" presetSubtype="0" fill="hold" nodeType="afterEffect">
                                  <p:stCondLst>
                                    <p:cond delay="0"/>
                                  </p:stCondLst>
                                  <p:childTnLst>
                                    <p:set>
                                      <p:cBhvr>
                                        <p:cTn id="48" dur="1" fill="hold">
                                          <p:stCondLst>
                                            <p:cond delay="0"/>
                                          </p:stCondLst>
                                        </p:cTn>
                                        <p:tgtEl>
                                          <p:spTgt spid="109"/>
                                        </p:tgtEl>
                                        <p:attrNameLst>
                                          <p:attrName>style.visibility</p:attrName>
                                        </p:attrNameLst>
                                      </p:cBhvr>
                                      <p:to>
                                        <p:strVal val="visible"/>
                                      </p:to>
                                    </p:set>
                                    <p:animEffect transition="in" filter="fade">
                                      <p:cBhvr>
                                        <p:cTn id="49" dur="50"/>
                                        <p:tgtEl>
                                          <p:spTgt spid="109"/>
                                        </p:tgtEl>
                                      </p:cBhvr>
                                    </p:animEffect>
                                  </p:childTnLst>
                                </p:cTn>
                              </p:par>
                            </p:childTnLst>
                          </p:cTn>
                        </p:par>
                        <p:par>
                          <p:cTn id="50" fill="hold">
                            <p:stCondLst>
                              <p:cond delay="750"/>
                            </p:stCondLst>
                            <p:childTnLst>
                              <p:par>
                                <p:cTn id="51" presetID="10" presetClass="entr" presetSubtype="0" fill="hold" nodeType="afterEffect">
                                  <p:stCondLst>
                                    <p:cond delay="0"/>
                                  </p:stCondLst>
                                  <p:childTnLst>
                                    <p:set>
                                      <p:cBhvr>
                                        <p:cTn id="52" dur="1" fill="hold">
                                          <p:stCondLst>
                                            <p:cond delay="0"/>
                                          </p:stCondLst>
                                        </p:cTn>
                                        <p:tgtEl>
                                          <p:spTgt spid="70"/>
                                        </p:tgtEl>
                                        <p:attrNameLst>
                                          <p:attrName>style.visibility</p:attrName>
                                        </p:attrNameLst>
                                      </p:cBhvr>
                                      <p:to>
                                        <p:strVal val="visible"/>
                                      </p:to>
                                    </p:set>
                                    <p:animEffect transition="in" filter="fade">
                                      <p:cBhvr>
                                        <p:cTn id="53" dur="50"/>
                                        <p:tgtEl>
                                          <p:spTgt spid="70"/>
                                        </p:tgtEl>
                                      </p:cBhvr>
                                    </p:animEffect>
                                  </p:childTnLst>
                                </p:cTn>
                              </p:par>
                            </p:childTnLst>
                          </p:cTn>
                        </p:par>
                        <p:par>
                          <p:cTn id="54" fill="hold">
                            <p:stCondLst>
                              <p:cond delay="800"/>
                            </p:stCondLst>
                            <p:childTnLst>
                              <p:par>
                                <p:cTn id="55" presetID="10" presetClass="entr" presetSubtype="0" fill="hold" nodeType="afterEffect">
                                  <p:stCondLst>
                                    <p:cond delay="0"/>
                                  </p:stCondLst>
                                  <p:childTnLst>
                                    <p:set>
                                      <p:cBhvr>
                                        <p:cTn id="56" dur="1" fill="hold">
                                          <p:stCondLst>
                                            <p:cond delay="0"/>
                                          </p:stCondLst>
                                        </p:cTn>
                                        <p:tgtEl>
                                          <p:spTgt spid="158"/>
                                        </p:tgtEl>
                                        <p:attrNameLst>
                                          <p:attrName>style.visibility</p:attrName>
                                        </p:attrNameLst>
                                      </p:cBhvr>
                                      <p:to>
                                        <p:strVal val="visible"/>
                                      </p:to>
                                    </p:set>
                                    <p:animEffect transition="in" filter="fade">
                                      <p:cBhvr>
                                        <p:cTn id="57" dur="50"/>
                                        <p:tgtEl>
                                          <p:spTgt spid="158"/>
                                        </p:tgtEl>
                                      </p:cBhvr>
                                    </p:animEffect>
                                  </p:childTnLst>
                                </p:cTn>
                              </p:par>
                            </p:childTnLst>
                          </p:cTn>
                        </p:par>
                        <p:par>
                          <p:cTn id="58" fill="hold">
                            <p:stCondLst>
                              <p:cond delay="850"/>
                            </p:stCondLst>
                            <p:childTnLst>
                              <p:par>
                                <p:cTn id="59" presetID="10" presetClass="entr" presetSubtype="0" fill="hold" nodeType="after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50"/>
                                        <p:tgtEl>
                                          <p:spTgt spid="73"/>
                                        </p:tgtEl>
                                      </p:cBhvr>
                                    </p:animEffect>
                                  </p:childTnLst>
                                </p:cTn>
                              </p:par>
                            </p:childTnLst>
                          </p:cTn>
                        </p:par>
                        <p:par>
                          <p:cTn id="62" fill="hold">
                            <p:stCondLst>
                              <p:cond delay="900"/>
                            </p:stCondLst>
                            <p:childTnLst>
                              <p:par>
                                <p:cTn id="63" presetID="10" presetClass="entr" presetSubtype="0" fill="hold" nodeType="afterEffect">
                                  <p:stCondLst>
                                    <p:cond delay="0"/>
                                  </p:stCondLst>
                                  <p:childTnLst>
                                    <p:set>
                                      <p:cBhvr>
                                        <p:cTn id="64" dur="1" fill="hold">
                                          <p:stCondLst>
                                            <p:cond delay="0"/>
                                          </p:stCondLst>
                                        </p:cTn>
                                        <p:tgtEl>
                                          <p:spTgt spid="138"/>
                                        </p:tgtEl>
                                        <p:attrNameLst>
                                          <p:attrName>style.visibility</p:attrName>
                                        </p:attrNameLst>
                                      </p:cBhvr>
                                      <p:to>
                                        <p:strVal val="visible"/>
                                      </p:to>
                                    </p:set>
                                    <p:animEffect transition="in" filter="fade">
                                      <p:cBhvr>
                                        <p:cTn id="65" dur="50"/>
                                        <p:tgtEl>
                                          <p:spTgt spid="138"/>
                                        </p:tgtEl>
                                      </p:cBhvr>
                                    </p:animEffect>
                                  </p:childTnLst>
                                </p:cTn>
                              </p:par>
                            </p:childTnLst>
                          </p:cTn>
                        </p:par>
                        <p:par>
                          <p:cTn id="66" fill="hold">
                            <p:stCondLst>
                              <p:cond delay="950"/>
                            </p:stCondLst>
                            <p:childTnLst>
                              <p:par>
                                <p:cTn id="67" presetID="10" presetClass="entr" presetSubtype="0" fill="hold" nodeType="afterEffect">
                                  <p:stCondLst>
                                    <p:cond delay="0"/>
                                  </p:stCondLst>
                                  <p:childTnLst>
                                    <p:set>
                                      <p:cBhvr>
                                        <p:cTn id="68" dur="1" fill="hold">
                                          <p:stCondLst>
                                            <p:cond delay="0"/>
                                          </p:stCondLst>
                                        </p:cTn>
                                        <p:tgtEl>
                                          <p:spTgt spid="351"/>
                                        </p:tgtEl>
                                        <p:attrNameLst>
                                          <p:attrName>style.visibility</p:attrName>
                                        </p:attrNameLst>
                                      </p:cBhvr>
                                      <p:to>
                                        <p:strVal val="visible"/>
                                      </p:to>
                                    </p:set>
                                    <p:animEffect transition="in" filter="fade">
                                      <p:cBhvr>
                                        <p:cTn id="69" dur="50"/>
                                        <p:tgtEl>
                                          <p:spTgt spid="351"/>
                                        </p:tgtEl>
                                      </p:cBhvr>
                                    </p:animEffect>
                                  </p:childTnLst>
                                </p:cTn>
                              </p:par>
                            </p:childTnLst>
                          </p:cTn>
                        </p:par>
                        <p:par>
                          <p:cTn id="70" fill="hold">
                            <p:stCondLst>
                              <p:cond delay="1000"/>
                            </p:stCondLst>
                            <p:childTnLst>
                              <p:par>
                                <p:cTn id="71" presetID="10" presetClass="entr" presetSubtype="0" fill="hold" nodeType="afterEffect">
                                  <p:stCondLst>
                                    <p:cond delay="0"/>
                                  </p:stCondLst>
                                  <p:childTnLst>
                                    <p:set>
                                      <p:cBhvr>
                                        <p:cTn id="72" dur="1" fill="hold">
                                          <p:stCondLst>
                                            <p:cond delay="0"/>
                                          </p:stCondLst>
                                        </p:cTn>
                                        <p:tgtEl>
                                          <p:spTgt spid="350"/>
                                        </p:tgtEl>
                                        <p:attrNameLst>
                                          <p:attrName>style.visibility</p:attrName>
                                        </p:attrNameLst>
                                      </p:cBhvr>
                                      <p:to>
                                        <p:strVal val="visible"/>
                                      </p:to>
                                    </p:set>
                                    <p:animEffect transition="in" filter="fade">
                                      <p:cBhvr>
                                        <p:cTn id="73" dur="50"/>
                                        <p:tgtEl>
                                          <p:spTgt spid="350"/>
                                        </p:tgtEl>
                                      </p:cBhvr>
                                    </p:animEffect>
                                  </p:childTnLst>
                                </p:cTn>
                              </p:par>
                            </p:childTnLst>
                          </p:cTn>
                        </p:par>
                        <p:par>
                          <p:cTn id="74" fill="hold">
                            <p:stCondLst>
                              <p:cond delay="1050"/>
                            </p:stCondLst>
                            <p:childTnLst>
                              <p:par>
                                <p:cTn id="75" presetID="10" presetClass="entr" presetSubtype="0" fill="hold" nodeType="afterEffect">
                                  <p:stCondLst>
                                    <p:cond delay="0"/>
                                  </p:stCondLst>
                                  <p:childTnLst>
                                    <p:set>
                                      <p:cBhvr>
                                        <p:cTn id="76" dur="1" fill="hold">
                                          <p:stCondLst>
                                            <p:cond delay="0"/>
                                          </p:stCondLst>
                                        </p:cTn>
                                        <p:tgtEl>
                                          <p:spTgt spid="55"/>
                                        </p:tgtEl>
                                        <p:attrNameLst>
                                          <p:attrName>style.visibility</p:attrName>
                                        </p:attrNameLst>
                                      </p:cBhvr>
                                      <p:to>
                                        <p:strVal val="visible"/>
                                      </p:to>
                                    </p:set>
                                    <p:animEffect transition="in" filter="fade">
                                      <p:cBhvr>
                                        <p:cTn id="77" dur="50"/>
                                        <p:tgtEl>
                                          <p:spTgt spid="55"/>
                                        </p:tgtEl>
                                      </p:cBhvr>
                                    </p:animEffect>
                                  </p:childTnLst>
                                </p:cTn>
                              </p:par>
                            </p:childTnLst>
                          </p:cTn>
                        </p:par>
                        <p:par>
                          <p:cTn id="78" fill="hold">
                            <p:stCondLst>
                              <p:cond delay="1100"/>
                            </p:stCondLst>
                            <p:childTnLst>
                              <p:par>
                                <p:cTn id="79" presetID="10" presetClass="entr" presetSubtype="0" fill="hold" nodeType="afterEffect">
                                  <p:stCondLst>
                                    <p:cond delay="0"/>
                                  </p:stCondLst>
                                  <p:childTnLst>
                                    <p:set>
                                      <p:cBhvr>
                                        <p:cTn id="80" dur="1" fill="hold">
                                          <p:stCondLst>
                                            <p:cond delay="0"/>
                                          </p:stCondLst>
                                        </p:cTn>
                                        <p:tgtEl>
                                          <p:spTgt spid="343"/>
                                        </p:tgtEl>
                                        <p:attrNameLst>
                                          <p:attrName>style.visibility</p:attrName>
                                        </p:attrNameLst>
                                      </p:cBhvr>
                                      <p:to>
                                        <p:strVal val="visible"/>
                                      </p:to>
                                    </p:set>
                                    <p:animEffect transition="in" filter="fade">
                                      <p:cBhvr>
                                        <p:cTn id="81" dur="50"/>
                                        <p:tgtEl>
                                          <p:spTgt spid="343"/>
                                        </p:tgtEl>
                                      </p:cBhvr>
                                    </p:animEffect>
                                  </p:childTnLst>
                                </p:cTn>
                              </p:par>
                            </p:childTnLst>
                          </p:cTn>
                        </p:par>
                        <p:par>
                          <p:cTn id="82" fill="hold">
                            <p:stCondLst>
                              <p:cond delay="1150"/>
                            </p:stCondLst>
                            <p:childTnLst>
                              <p:par>
                                <p:cTn id="83" presetID="10" presetClass="entr" presetSubtype="0" fill="hold" nodeType="afterEffect">
                                  <p:stCondLst>
                                    <p:cond delay="0"/>
                                  </p:stCondLst>
                                  <p:childTnLst>
                                    <p:set>
                                      <p:cBhvr>
                                        <p:cTn id="84" dur="1" fill="hold">
                                          <p:stCondLst>
                                            <p:cond delay="0"/>
                                          </p:stCondLst>
                                        </p:cTn>
                                        <p:tgtEl>
                                          <p:spTgt spid="68"/>
                                        </p:tgtEl>
                                        <p:attrNameLst>
                                          <p:attrName>style.visibility</p:attrName>
                                        </p:attrNameLst>
                                      </p:cBhvr>
                                      <p:to>
                                        <p:strVal val="visible"/>
                                      </p:to>
                                    </p:set>
                                    <p:animEffect transition="in" filter="fade">
                                      <p:cBhvr>
                                        <p:cTn id="85" dur="50"/>
                                        <p:tgtEl>
                                          <p:spTgt spid="68"/>
                                        </p:tgtEl>
                                      </p:cBhvr>
                                    </p:animEffect>
                                  </p:childTnLst>
                                </p:cTn>
                              </p:par>
                            </p:childTnLst>
                          </p:cTn>
                        </p:par>
                        <p:par>
                          <p:cTn id="86" fill="hold">
                            <p:stCondLst>
                              <p:cond delay="1200"/>
                            </p:stCondLst>
                            <p:childTnLst>
                              <p:par>
                                <p:cTn id="87" presetID="10" presetClass="entr" presetSubtype="0" fill="hold" nodeType="afterEffect">
                                  <p:stCondLst>
                                    <p:cond delay="0"/>
                                  </p:stCondLst>
                                  <p:childTnLst>
                                    <p:set>
                                      <p:cBhvr>
                                        <p:cTn id="88" dur="1" fill="hold">
                                          <p:stCondLst>
                                            <p:cond delay="0"/>
                                          </p:stCondLst>
                                        </p:cTn>
                                        <p:tgtEl>
                                          <p:spTgt spid="161"/>
                                        </p:tgtEl>
                                        <p:attrNameLst>
                                          <p:attrName>style.visibility</p:attrName>
                                        </p:attrNameLst>
                                      </p:cBhvr>
                                      <p:to>
                                        <p:strVal val="visible"/>
                                      </p:to>
                                    </p:set>
                                    <p:animEffect transition="in" filter="fade">
                                      <p:cBhvr>
                                        <p:cTn id="89" dur="50"/>
                                        <p:tgtEl>
                                          <p:spTgt spid="161"/>
                                        </p:tgtEl>
                                      </p:cBhvr>
                                    </p:animEffect>
                                  </p:childTnLst>
                                </p:cTn>
                              </p:par>
                            </p:childTnLst>
                          </p:cTn>
                        </p:par>
                        <p:par>
                          <p:cTn id="90" fill="hold">
                            <p:stCondLst>
                              <p:cond delay="1250"/>
                            </p:stCondLst>
                            <p:childTnLst>
                              <p:par>
                                <p:cTn id="91" presetID="10" presetClass="entr" presetSubtype="0" fill="hold" nodeType="afterEffect">
                                  <p:stCondLst>
                                    <p:cond delay="0"/>
                                  </p:stCondLst>
                                  <p:childTnLst>
                                    <p:set>
                                      <p:cBhvr>
                                        <p:cTn id="92" dur="1" fill="hold">
                                          <p:stCondLst>
                                            <p:cond delay="0"/>
                                          </p:stCondLst>
                                        </p:cTn>
                                        <p:tgtEl>
                                          <p:spTgt spid="66"/>
                                        </p:tgtEl>
                                        <p:attrNameLst>
                                          <p:attrName>style.visibility</p:attrName>
                                        </p:attrNameLst>
                                      </p:cBhvr>
                                      <p:to>
                                        <p:strVal val="visible"/>
                                      </p:to>
                                    </p:set>
                                    <p:animEffect transition="in" filter="fade">
                                      <p:cBhvr>
                                        <p:cTn id="93" dur="50"/>
                                        <p:tgtEl>
                                          <p:spTgt spid="66"/>
                                        </p:tgtEl>
                                      </p:cBhvr>
                                    </p:animEffect>
                                  </p:childTnLst>
                                </p:cTn>
                              </p:par>
                            </p:childTnLst>
                          </p:cTn>
                        </p:par>
                        <p:par>
                          <p:cTn id="94" fill="hold">
                            <p:stCondLst>
                              <p:cond delay="1300"/>
                            </p:stCondLst>
                            <p:childTnLst>
                              <p:par>
                                <p:cTn id="95" presetID="10" presetClass="entr" presetSubtype="0" fill="hold" nodeType="afterEffect">
                                  <p:stCondLst>
                                    <p:cond delay="0"/>
                                  </p:stCondLst>
                                  <p:childTnLst>
                                    <p:set>
                                      <p:cBhvr>
                                        <p:cTn id="96" dur="1" fill="hold">
                                          <p:stCondLst>
                                            <p:cond delay="0"/>
                                          </p:stCondLst>
                                        </p:cTn>
                                        <p:tgtEl>
                                          <p:spTgt spid="170"/>
                                        </p:tgtEl>
                                        <p:attrNameLst>
                                          <p:attrName>style.visibility</p:attrName>
                                        </p:attrNameLst>
                                      </p:cBhvr>
                                      <p:to>
                                        <p:strVal val="visible"/>
                                      </p:to>
                                    </p:set>
                                    <p:animEffect transition="in" filter="fade">
                                      <p:cBhvr>
                                        <p:cTn id="97" dur="50"/>
                                        <p:tgtEl>
                                          <p:spTgt spid="170"/>
                                        </p:tgtEl>
                                      </p:cBhvr>
                                    </p:animEffect>
                                  </p:childTnLst>
                                </p:cTn>
                              </p:par>
                            </p:childTnLst>
                          </p:cTn>
                        </p:par>
                        <p:par>
                          <p:cTn id="98" fill="hold">
                            <p:stCondLst>
                              <p:cond delay="1350"/>
                            </p:stCondLst>
                            <p:childTnLst>
                              <p:par>
                                <p:cTn id="99" presetID="10" presetClass="entr" presetSubtype="0" fill="hold" nodeType="afterEffect">
                                  <p:stCondLst>
                                    <p:cond delay="0"/>
                                  </p:stCondLst>
                                  <p:childTnLst>
                                    <p:set>
                                      <p:cBhvr>
                                        <p:cTn id="100" dur="1" fill="hold">
                                          <p:stCondLst>
                                            <p:cond delay="0"/>
                                          </p:stCondLst>
                                        </p:cTn>
                                        <p:tgtEl>
                                          <p:spTgt spid="152"/>
                                        </p:tgtEl>
                                        <p:attrNameLst>
                                          <p:attrName>style.visibility</p:attrName>
                                        </p:attrNameLst>
                                      </p:cBhvr>
                                      <p:to>
                                        <p:strVal val="visible"/>
                                      </p:to>
                                    </p:set>
                                    <p:animEffect transition="in" filter="fade">
                                      <p:cBhvr>
                                        <p:cTn id="101" dur="50"/>
                                        <p:tgtEl>
                                          <p:spTgt spid="152"/>
                                        </p:tgtEl>
                                      </p:cBhvr>
                                    </p:animEffect>
                                  </p:childTnLst>
                                </p:cTn>
                              </p:par>
                            </p:childTnLst>
                          </p:cTn>
                        </p:par>
                        <p:par>
                          <p:cTn id="102" fill="hold">
                            <p:stCondLst>
                              <p:cond delay="1400"/>
                            </p:stCondLst>
                            <p:childTnLst>
                              <p:par>
                                <p:cTn id="103" presetID="10" presetClass="entr" presetSubtype="0" fill="hold" nodeType="afterEffect">
                                  <p:stCondLst>
                                    <p:cond delay="0"/>
                                  </p:stCondLst>
                                  <p:childTnLst>
                                    <p:set>
                                      <p:cBhvr>
                                        <p:cTn id="104" dur="1" fill="hold">
                                          <p:stCondLst>
                                            <p:cond delay="0"/>
                                          </p:stCondLst>
                                        </p:cTn>
                                        <p:tgtEl>
                                          <p:spTgt spid="135"/>
                                        </p:tgtEl>
                                        <p:attrNameLst>
                                          <p:attrName>style.visibility</p:attrName>
                                        </p:attrNameLst>
                                      </p:cBhvr>
                                      <p:to>
                                        <p:strVal val="visible"/>
                                      </p:to>
                                    </p:set>
                                    <p:animEffect transition="in" filter="fade">
                                      <p:cBhvr>
                                        <p:cTn id="105" dur="50"/>
                                        <p:tgtEl>
                                          <p:spTgt spid="135"/>
                                        </p:tgtEl>
                                      </p:cBhvr>
                                    </p:animEffect>
                                  </p:childTnLst>
                                </p:cTn>
                              </p:par>
                            </p:childTnLst>
                          </p:cTn>
                        </p:par>
                        <p:par>
                          <p:cTn id="106" fill="hold">
                            <p:stCondLst>
                              <p:cond delay="1450"/>
                            </p:stCondLst>
                            <p:childTnLst>
                              <p:par>
                                <p:cTn id="107" presetID="10" presetClass="entr" presetSubtype="0" fill="hold" nodeType="afterEffect">
                                  <p:stCondLst>
                                    <p:cond delay="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50"/>
                                        <p:tgtEl>
                                          <p:spTgt spid="56"/>
                                        </p:tgtEl>
                                      </p:cBhvr>
                                    </p:animEffect>
                                  </p:childTnLst>
                                </p:cTn>
                              </p:par>
                            </p:childTnLst>
                          </p:cTn>
                        </p:par>
                        <p:par>
                          <p:cTn id="110" fill="hold">
                            <p:stCondLst>
                              <p:cond delay="1500"/>
                            </p:stCondLst>
                            <p:childTnLst>
                              <p:par>
                                <p:cTn id="111" presetID="10" presetClass="entr" presetSubtype="0" fill="hold" nodeType="afterEffect">
                                  <p:stCondLst>
                                    <p:cond delay="0"/>
                                  </p:stCondLst>
                                  <p:childTnLst>
                                    <p:set>
                                      <p:cBhvr>
                                        <p:cTn id="112" dur="1" fill="hold">
                                          <p:stCondLst>
                                            <p:cond delay="0"/>
                                          </p:stCondLst>
                                        </p:cTn>
                                        <p:tgtEl>
                                          <p:spTgt spid="72"/>
                                        </p:tgtEl>
                                        <p:attrNameLst>
                                          <p:attrName>style.visibility</p:attrName>
                                        </p:attrNameLst>
                                      </p:cBhvr>
                                      <p:to>
                                        <p:strVal val="visible"/>
                                      </p:to>
                                    </p:set>
                                    <p:animEffect transition="in" filter="fade">
                                      <p:cBhvr>
                                        <p:cTn id="113" dur="50"/>
                                        <p:tgtEl>
                                          <p:spTgt spid="72"/>
                                        </p:tgtEl>
                                      </p:cBhvr>
                                    </p:animEffect>
                                  </p:childTnLst>
                                </p:cTn>
                              </p:par>
                            </p:childTnLst>
                          </p:cTn>
                        </p:par>
                        <p:par>
                          <p:cTn id="114" fill="hold">
                            <p:stCondLst>
                              <p:cond delay="1550"/>
                            </p:stCondLst>
                            <p:childTnLst>
                              <p:par>
                                <p:cTn id="115" presetID="10" presetClass="entr" presetSubtype="0" fill="hold" nodeType="afterEffect">
                                  <p:stCondLst>
                                    <p:cond delay="0"/>
                                  </p:stCondLst>
                                  <p:childTnLst>
                                    <p:set>
                                      <p:cBhvr>
                                        <p:cTn id="116" dur="1" fill="hold">
                                          <p:stCondLst>
                                            <p:cond delay="0"/>
                                          </p:stCondLst>
                                        </p:cTn>
                                        <p:tgtEl>
                                          <p:spTgt spid="347"/>
                                        </p:tgtEl>
                                        <p:attrNameLst>
                                          <p:attrName>style.visibility</p:attrName>
                                        </p:attrNameLst>
                                      </p:cBhvr>
                                      <p:to>
                                        <p:strVal val="visible"/>
                                      </p:to>
                                    </p:set>
                                    <p:animEffect transition="in" filter="fade">
                                      <p:cBhvr>
                                        <p:cTn id="117" dur="50"/>
                                        <p:tgtEl>
                                          <p:spTgt spid="347"/>
                                        </p:tgtEl>
                                      </p:cBhvr>
                                    </p:animEffect>
                                  </p:childTnLst>
                                </p:cTn>
                              </p:par>
                            </p:childTnLst>
                          </p:cTn>
                        </p:par>
                        <p:par>
                          <p:cTn id="118" fill="hold">
                            <p:stCondLst>
                              <p:cond delay="1600"/>
                            </p:stCondLst>
                            <p:childTnLst>
                              <p:par>
                                <p:cTn id="119" presetID="10" presetClass="entr" presetSubtype="0" fill="hold" nodeType="afterEffect">
                                  <p:stCondLst>
                                    <p:cond delay="0"/>
                                  </p:stCondLst>
                                  <p:childTnLst>
                                    <p:set>
                                      <p:cBhvr>
                                        <p:cTn id="120" dur="1" fill="hold">
                                          <p:stCondLst>
                                            <p:cond delay="0"/>
                                          </p:stCondLst>
                                        </p:cTn>
                                        <p:tgtEl>
                                          <p:spTgt spid="345"/>
                                        </p:tgtEl>
                                        <p:attrNameLst>
                                          <p:attrName>style.visibility</p:attrName>
                                        </p:attrNameLst>
                                      </p:cBhvr>
                                      <p:to>
                                        <p:strVal val="visible"/>
                                      </p:to>
                                    </p:set>
                                    <p:animEffect transition="in" filter="fade">
                                      <p:cBhvr>
                                        <p:cTn id="121" dur="50"/>
                                        <p:tgtEl>
                                          <p:spTgt spid="345"/>
                                        </p:tgtEl>
                                      </p:cBhvr>
                                    </p:animEffect>
                                  </p:childTnLst>
                                </p:cTn>
                              </p:par>
                            </p:childTnLst>
                          </p:cTn>
                        </p:par>
                        <p:par>
                          <p:cTn id="122" fill="hold">
                            <p:stCondLst>
                              <p:cond delay="1650"/>
                            </p:stCondLst>
                            <p:childTnLst>
                              <p:par>
                                <p:cTn id="123" presetID="10" presetClass="entr" presetSubtype="0" fill="hold" nodeType="afterEffect">
                                  <p:stCondLst>
                                    <p:cond delay="0"/>
                                  </p:stCondLst>
                                  <p:childTnLst>
                                    <p:set>
                                      <p:cBhvr>
                                        <p:cTn id="124" dur="1" fill="hold">
                                          <p:stCondLst>
                                            <p:cond delay="0"/>
                                          </p:stCondLst>
                                        </p:cTn>
                                        <p:tgtEl>
                                          <p:spTgt spid="146"/>
                                        </p:tgtEl>
                                        <p:attrNameLst>
                                          <p:attrName>style.visibility</p:attrName>
                                        </p:attrNameLst>
                                      </p:cBhvr>
                                      <p:to>
                                        <p:strVal val="visible"/>
                                      </p:to>
                                    </p:set>
                                    <p:animEffect transition="in" filter="fade">
                                      <p:cBhvr>
                                        <p:cTn id="125" dur="50"/>
                                        <p:tgtEl>
                                          <p:spTgt spid="146"/>
                                        </p:tgtEl>
                                      </p:cBhvr>
                                    </p:animEffect>
                                  </p:childTnLst>
                                </p:cTn>
                              </p:par>
                            </p:childTnLst>
                          </p:cTn>
                        </p:par>
                        <p:par>
                          <p:cTn id="126" fill="hold">
                            <p:stCondLst>
                              <p:cond delay="1700"/>
                            </p:stCondLst>
                            <p:childTnLst>
                              <p:par>
                                <p:cTn id="127" presetID="10" presetClass="entr" presetSubtype="0" fill="hold" nodeType="afterEffect">
                                  <p:stCondLst>
                                    <p:cond delay="0"/>
                                  </p:stCondLst>
                                  <p:childTnLst>
                                    <p:set>
                                      <p:cBhvr>
                                        <p:cTn id="128" dur="1" fill="hold">
                                          <p:stCondLst>
                                            <p:cond delay="0"/>
                                          </p:stCondLst>
                                        </p:cTn>
                                        <p:tgtEl>
                                          <p:spTgt spid="94"/>
                                        </p:tgtEl>
                                        <p:attrNameLst>
                                          <p:attrName>style.visibility</p:attrName>
                                        </p:attrNameLst>
                                      </p:cBhvr>
                                      <p:to>
                                        <p:strVal val="visible"/>
                                      </p:to>
                                    </p:set>
                                    <p:animEffect transition="in" filter="fade">
                                      <p:cBhvr>
                                        <p:cTn id="129" dur="50"/>
                                        <p:tgtEl>
                                          <p:spTgt spid="94"/>
                                        </p:tgtEl>
                                      </p:cBhvr>
                                    </p:animEffect>
                                  </p:childTnLst>
                                </p:cTn>
                              </p:par>
                            </p:childTnLst>
                          </p:cTn>
                        </p:par>
                        <p:par>
                          <p:cTn id="130" fill="hold">
                            <p:stCondLst>
                              <p:cond delay="1750"/>
                            </p:stCondLst>
                            <p:childTnLst>
                              <p:par>
                                <p:cTn id="131" presetID="10" presetClass="entr" presetSubtype="0" fill="hold" nodeType="afterEffect">
                                  <p:stCondLst>
                                    <p:cond delay="0"/>
                                  </p:stCondLst>
                                  <p:childTnLst>
                                    <p:set>
                                      <p:cBhvr>
                                        <p:cTn id="132" dur="1" fill="hold">
                                          <p:stCondLst>
                                            <p:cond delay="0"/>
                                          </p:stCondLst>
                                        </p:cTn>
                                        <p:tgtEl>
                                          <p:spTgt spid="346"/>
                                        </p:tgtEl>
                                        <p:attrNameLst>
                                          <p:attrName>style.visibility</p:attrName>
                                        </p:attrNameLst>
                                      </p:cBhvr>
                                      <p:to>
                                        <p:strVal val="visible"/>
                                      </p:to>
                                    </p:set>
                                    <p:animEffect transition="in" filter="fade">
                                      <p:cBhvr>
                                        <p:cTn id="133" dur="50"/>
                                        <p:tgtEl>
                                          <p:spTgt spid="346"/>
                                        </p:tgtEl>
                                      </p:cBhvr>
                                    </p:animEffect>
                                  </p:childTnLst>
                                </p:cTn>
                              </p:par>
                            </p:childTnLst>
                          </p:cTn>
                        </p:par>
                        <p:par>
                          <p:cTn id="134" fill="hold">
                            <p:stCondLst>
                              <p:cond delay="1800"/>
                            </p:stCondLst>
                            <p:childTnLst>
                              <p:par>
                                <p:cTn id="135" presetID="10" presetClass="entr" presetSubtype="0" fill="hold" nodeType="afterEffect">
                                  <p:stCondLst>
                                    <p:cond delay="0"/>
                                  </p:stCondLst>
                                  <p:childTnLst>
                                    <p:set>
                                      <p:cBhvr>
                                        <p:cTn id="136" dur="1" fill="hold">
                                          <p:stCondLst>
                                            <p:cond delay="0"/>
                                          </p:stCondLst>
                                        </p:cTn>
                                        <p:tgtEl>
                                          <p:spTgt spid="81"/>
                                        </p:tgtEl>
                                        <p:attrNameLst>
                                          <p:attrName>style.visibility</p:attrName>
                                        </p:attrNameLst>
                                      </p:cBhvr>
                                      <p:to>
                                        <p:strVal val="visible"/>
                                      </p:to>
                                    </p:set>
                                    <p:animEffect transition="in" filter="fade">
                                      <p:cBhvr>
                                        <p:cTn id="137" dur="50"/>
                                        <p:tgtEl>
                                          <p:spTgt spid="81"/>
                                        </p:tgtEl>
                                      </p:cBhvr>
                                    </p:animEffect>
                                  </p:childTnLst>
                                </p:cTn>
                              </p:par>
                            </p:childTnLst>
                          </p:cTn>
                        </p:par>
                        <p:par>
                          <p:cTn id="138" fill="hold">
                            <p:stCondLst>
                              <p:cond delay="1850"/>
                            </p:stCondLst>
                            <p:childTnLst>
                              <p:par>
                                <p:cTn id="139" presetID="10" presetClass="entr" presetSubtype="0" fill="hold" nodeType="afterEffect">
                                  <p:stCondLst>
                                    <p:cond delay="0"/>
                                  </p:stCondLst>
                                  <p:childTnLst>
                                    <p:set>
                                      <p:cBhvr>
                                        <p:cTn id="140" dur="1" fill="hold">
                                          <p:stCondLst>
                                            <p:cond delay="0"/>
                                          </p:stCondLst>
                                        </p:cTn>
                                        <p:tgtEl>
                                          <p:spTgt spid="78"/>
                                        </p:tgtEl>
                                        <p:attrNameLst>
                                          <p:attrName>style.visibility</p:attrName>
                                        </p:attrNameLst>
                                      </p:cBhvr>
                                      <p:to>
                                        <p:strVal val="visible"/>
                                      </p:to>
                                    </p:set>
                                    <p:animEffect transition="in" filter="fade">
                                      <p:cBhvr>
                                        <p:cTn id="141" dur="50"/>
                                        <p:tgtEl>
                                          <p:spTgt spid="78"/>
                                        </p:tgtEl>
                                      </p:cBhvr>
                                    </p:animEffect>
                                  </p:childTnLst>
                                </p:cTn>
                              </p:par>
                            </p:childTnLst>
                          </p:cTn>
                        </p:par>
                        <p:par>
                          <p:cTn id="142" fill="hold">
                            <p:stCondLst>
                              <p:cond delay="1900"/>
                            </p:stCondLst>
                            <p:childTnLst>
                              <p:par>
                                <p:cTn id="143" presetID="10" presetClass="entr" presetSubtype="0" fill="hold" nodeType="afterEffect">
                                  <p:stCondLst>
                                    <p:cond delay="0"/>
                                  </p:stCondLst>
                                  <p:childTnLst>
                                    <p:set>
                                      <p:cBhvr>
                                        <p:cTn id="144" dur="1" fill="hold">
                                          <p:stCondLst>
                                            <p:cond delay="0"/>
                                          </p:stCondLst>
                                        </p:cTn>
                                        <p:tgtEl>
                                          <p:spTgt spid="84"/>
                                        </p:tgtEl>
                                        <p:attrNameLst>
                                          <p:attrName>style.visibility</p:attrName>
                                        </p:attrNameLst>
                                      </p:cBhvr>
                                      <p:to>
                                        <p:strVal val="visible"/>
                                      </p:to>
                                    </p:set>
                                    <p:animEffect transition="in" filter="fade">
                                      <p:cBhvr>
                                        <p:cTn id="145" dur="50"/>
                                        <p:tgtEl>
                                          <p:spTgt spid="84"/>
                                        </p:tgtEl>
                                      </p:cBhvr>
                                    </p:animEffect>
                                  </p:childTnLst>
                                </p:cTn>
                              </p:par>
                            </p:childTnLst>
                          </p:cTn>
                        </p:par>
                        <p:par>
                          <p:cTn id="146" fill="hold">
                            <p:stCondLst>
                              <p:cond delay="1950"/>
                            </p:stCondLst>
                            <p:childTnLst>
                              <p:par>
                                <p:cTn id="147" presetID="10" presetClass="entr" presetSubtype="0" fill="hold" nodeType="afterEffect">
                                  <p:stCondLst>
                                    <p:cond delay="0"/>
                                  </p:stCondLst>
                                  <p:childTnLst>
                                    <p:set>
                                      <p:cBhvr>
                                        <p:cTn id="148" dur="1" fill="hold">
                                          <p:stCondLst>
                                            <p:cond delay="0"/>
                                          </p:stCondLst>
                                        </p:cTn>
                                        <p:tgtEl>
                                          <p:spTgt spid="167"/>
                                        </p:tgtEl>
                                        <p:attrNameLst>
                                          <p:attrName>style.visibility</p:attrName>
                                        </p:attrNameLst>
                                      </p:cBhvr>
                                      <p:to>
                                        <p:strVal val="visible"/>
                                      </p:to>
                                    </p:set>
                                    <p:animEffect transition="in" filter="fade">
                                      <p:cBhvr>
                                        <p:cTn id="149" dur="50"/>
                                        <p:tgtEl>
                                          <p:spTgt spid="167"/>
                                        </p:tgtEl>
                                      </p:cBhvr>
                                    </p:animEffect>
                                  </p:childTnLst>
                                </p:cTn>
                              </p:par>
                            </p:childTnLst>
                          </p:cTn>
                        </p:par>
                        <p:par>
                          <p:cTn id="150" fill="hold">
                            <p:stCondLst>
                              <p:cond delay="2000"/>
                            </p:stCondLst>
                            <p:childTnLst>
                              <p:par>
                                <p:cTn id="151" presetID="10" presetClass="entr" presetSubtype="0" fill="hold" nodeType="afterEffect">
                                  <p:stCondLst>
                                    <p:cond delay="0"/>
                                  </p:stCondLst>
                                  <p:childTnLst>
                                    <p:set>
                                      <p:cBhvr>
                                        <p:cTn id="152" dur="1" fill="hold">
                                          <p:stCondLst>
                                            <p:cond delay="0"/>
                                          </p:stCondLst>
                                        </p:cTn>
                                        <p:tgtEl>
                                          <p:spTgt spid="177"/>
                                        </p:tgtEl>
                                        <p:attrNameLst>
                                          <p:attrName>style.visibility</p:attrName>
                                        </p:attrNameLst>
                                      </p:cBhvr>
                                      <p:to>
                                        <p:strVal val="visible"/>
                                      </p:to>
                                    </p:set>
                                    <p:animEffect transition="in" filter="fade">
                                      <p:cBhvr>
                                        <p:cTn id="153" dur="50"/>
                                        <p:tgtEl>
                                          <p:spTgt spid="177"/>
                                        </p:tgtEl>
                                      </p:cBhvr>
                                    </p:animEffect>
                                  </p:childTnLst>
                                </p:cTn>
                              </p:par>
                            </p:childTnLst>
                          </p:cTn>
                        </p:par>
                        <p:par>
                          <p:cTn id="154" fill="hold">
                            <p:stCondLst>
                              <p:cond delay="2050"/>
                            </p:stCondLst>
                            <p:childTnLst>
                              <p:par>
                                <p:cTn id="155" presetID="10" presetClass="entr" presetSubtype="0" fill="hold" nodeType="afterEffect">
                                  <p:stCondLst>
                                    <p:cond delay="0"/>
                                  </p:stCondLst>
                                  <p:childTnLst>
                                    <p:set>
                                      <p:cBhvr>
                                        <p:cTn id="156" dur="1" fill="hold">
                                          <p:stCondLst>
                                            <p:cond delay="0"/>
                                          </p:stCondLst>
                                        </p:cTn>
                                        <p:tgtEl>
                                          <p:spTgt spid="359"/>
                                        </p:tgtEl>
                                        <p:attrNameLst>
                                          <p:attrName>style.visibility</p:attrName>
                                        </p:attrNameLst>
                                      </p:cBhvr>
                                      <p:to>
                                        <p:strVal val="visible"/>
                                      </p:to>
                                    </p:set>
                                    <p:animEffect transition="in" filter="fade">
                                      <p:cBhvr>
                                        <p:cTn id="157" dur="50"/>
                                        <p:tgtEl>
                                          <p:spTgt spid="359"/>
                                        </p:tgtEl>
                                      </p:cBhvr>
                                    </p:animEffect>
                                  </p:childTnLst>
                                </p:cTn>
                              </p:par>
                            </p:childTnLst>
                          </p:cTn>
                        </p:par>
                        <p:par>
                          <p:cTn id="158" fill="hold">
                            <p:stCondLst>
                              <p:cond delay="2100"/>
                            </p:stCondLst>
                            <p:childTnLst>
                              <p:par>
                                <p:cTn id="159" presetID="10" presetClass="entr" presetSubtype="0" fill="hold" nodeType="afterEffect">
                                  <p:stCondLst>
                                    <p:cond delay="0"/>
                                  </p:stCondLst>
                                  <p:childTnLst>
                                    <p:set>
                                      <p:cBhvr>
                                        <p:cTn id="160" dur="1" fill="hold">
                                          <p:stCondLst>
                                            <p:cond delay="0"/>
                                          </p:stCondLst>
                                        </p:cTn>
                                        <p:tgtEl>
                                          <p:spTgt spid="7"/>
                                        </p:tgtEl>
                                        <p:attrNameLst>
                                          <p:attrName>style.visibility</p:attrName>
                                        </p:attrNameLst>
                                      </p:cBhvr>
                                      <p:to>
                                        <p:strVal val="visible"/>
                                      </p:to>
                                    </p:set>
                                    <p:animEffect transition="in" filter="fade">
                                      <p:cBhvr>
                                        <p:cTn id="161" dur="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a:cxnSpLocks/>
          </p:cNvCxnSpPr>
          <p:nvPr/>
        </p:nvCxnSpPr>
        <p:spPr>
          <a:xfrm>
            <a:off x="-21432" y="5478181"/>
            <a:ext cx="12434711" cy="0"/>
          </a:xfrm>
          <a:prstGeom prst="line">
            <a:avLst/>
          </a:prstGeom>
          <a:ln>
            <a:solidFill>
              <a:schemeClr val="accent6">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923A59DF-3752-47FC-9D98-42370848B525}"/>
              </a:ext>
            </a:extLst>
          </p:cNvPr>
          <p:cNvGrpSpPr/>
          <p:nvPr/>
        </p:nvGrpSpPr>
        <p:grpSpPr>
          <a:xfrm>
            <a:off x="1589345" y="5750843"/>
            <a:ext cx="914270" cy="914270"/>
            <a:chOff x="1426763" y="5751162"/>
            <a:chExt cx="914400" cy="914400"/>
          </a:xfrm>
        </p:grpSpPr>
        <p:sp>
          <p:nvSpPr>
            <p:cNvPr id="39" name="Oval 38"/>
            <p:cNvSpPr/>
            <p:nvPr/>
          </p:nvSpPr>
          <p:spPr bwMode="auto">
            <a:xfrm>
              <a:off x="1426763"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4" name="Picture 2" descr="http://vignette2.wikia.nocookie.net/logopedia/images/e/ed/Fujitsu-Logo.svg.png/revision/latest?cb=20121230050709"/>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64365" y="6041342"/>
              <a:ext cx="660970" cy="3340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802809EA-2640-4E68-8F39-3F0FC330BE97}"/>
              </a:ext>
            </a:extLst>
          </p:cNvPr>
          <p:cNvGrpSpPr/>
          <p:nvPr/>
        </p:nvGrpSpPr>
        <p:grpSpPr>
          <a:xfrm>
            <a:off x="5170534" y="5750843"/>
            <a:ext cx="914270" cy="914270"/>
            <a:chOff x="5008460" y="5751162"/>
            <a:chExt cx="914400" cy="914400"/>
          </a:xfrm>
        </p:grpSpPr>
        <p:sp>
          <p:nvSpPr>
            <p:cNvPr id="51" name="Oval 50">
              <a:extLst>
                <a:ext uri="{FF2B5EF4-FFF2-40B4-BE49-F238E27FC236}">
                  <a16:creationId xmlns:a16="http://schemas.microsoft.com/office/drawing/2014/main" id="{A2F9BA99-A853-4074-A8F1-02965E4487E0}"/>
                </a:ext>
              </a:extLst>
            </p:cNvPr>
            <p:cNvSpPr/>
            <p:nvPr/>
          </p:nvSpPr>
          <p:spPr bwMode="auto">
            <a:xfrm>
              <a:off x="5008460"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7" name="Picture 12" descr="https://upload.wikimedia.org/wikipedia/en/thumb/d/dd/Schneider_Electric.svg/1024px-Schneider_Electric.svg.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071479" y="6117991"/>
              <a:ext cx="788363" cy="2378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683F9AD1-8ABC-435D-A987-23BC3A79D061}"/>
              </a:ext>
            </a:extLst>
          </p:cNvPr>
          <p:cNvGrpSpPr/>
          <p:nvPr/>
        </p:nvGrpSpPr>
        <p:grpSpPr>
          <a:xfrm>
            <a:off x="8751727" y="5750843"/>
            <a:ext cx="914270" cy="914270"/>
            <a:chOff x="8590160" y="5751162"/>
            <a:chExt cx="914400" cy="914400"/>
          </a:xfrm>
        </p:grpSpPr>
        <p:sp>
          <p:nvSpPr>
            <p:cNvPr id="54" name="Oval 53"/>
            <p:cNvSpPr/>
            <p:nvPr/>
          </p:nvSpPr>
          <p:spPr bwMode="auto">
            <a:xfrm>
              <a:off x="8590160"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16" descr="File:Liebherr-Logo.sv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671105" y="6154042"/>
              <a:ext cx="769131" cy="1086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9632BC52-8943-44C2-AE3C-FAC61965CBCB}"/>
              </a:ext>
            </a:extLst>
          </p:cNvPr>
          <p:cNvGrpSpPr/>
          <p:nvPr/>
        </p:nvGrpSpPr>
        <p:grpSpPr>
          <a:xfrm>
            <a:off x="9945453" y="5750843"/>
            <a:ext cx="914270" cy="914270"/>
            <a:chOff x="9784056" y="5751162"/>
            <a:chExt cx="914400" cy="914400"/>
          </a:xfrm>
        </p:grpSpPr>
        <p:sp>
          <p:nvSpPr>
            <p:cNvPr id="73" name="Oval 72"/>
            <p:cNvSpPr/>
            <p:nvPr/>
          </p:nvSpPr>
          <p:spPr bwMode="auto">
            <a:xfrm>
              <a:off x="9784056"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68" name="Picture 4" descr="https://upload.wikimedia.org/wikipedia/en/thumb/3/33/Jabil_logo.svg/1280px-Jabil_logo.svg.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85007" y="6140452"/>
              <a:ext cx="712497" cy="13582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7" name="Group 86">
            <a:extLst>
              <a:ext uri="{FF2B5EF4-FFF2-40B4-BE49-F238E27FC236}">
                <a16:creationId xmlns:a16="http://schemas.microsoft.com/office/drawing/2014/main" id="{CA5CB098-8011-4F2B-81F6-F20ED015D75F}"/>
              </a:ext>
            </a:extLst>
          </p:cNvPr>
          <p:cNvGrpSpPr/>
          <p:nvPr/>
        </p:nvGrpSpPr>
        <p:grpSpPr>
          <a:xfrm>
            <a:off x="440660" y="747693"/>
            <a:ext cx="2019280" cy="1927147"/>
            <a:chOff x="522504" y="669482"/>
            <a:chExt cx="2019566" cy="1927420"/>
          </a:xfrm>
        </p:grpSpPr>
        <p:pic>
          <p:nvPicPr>
            <p:cNvPr id="4" name="Picture 3"/>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22504" y="669482"/>
              <a:ext cx="1550654" cy="629876"/>
            </a:xfrm>
            <a:prstGeom prst="rect">
              <a:avLst/>
            </a:prstGeom>
            <a:ln>
              <a:noFill/>
            </a:ln>
          </p:spPr>
        </p:pic>
        <p:sp>
          <p:nvSpPr>
            <p:cNvPr id="45" name="Text Placeholder 22"/>
            <p:cNvSpPr txBox="1">
              <a:spLocks/>
            </p:cNvSpPr>
            <p:nvPr/>
          </p:nvSpPr>
          <p:spPr>
            <a:xfrm>
              <a:off x="522504" y="1410963"/>
              <a:ext cx="2019566" cy="1185939"/>
            </a:xfrm>
            <a:prstGeom prst="rect">
              <a:avLst/>
            </a:prstGeom>
            <a:ln>
              <a:noFill/>
            </a:ln>
          </p:spPr>
          <p:txBody>
            <a:bodyPr vert="horz" wrap="square" lIns="0" tIns="0" rIns="0" bIns="0" anchor="t" anchorCtr="0">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r>
                <a:rPr lang="en-US" sz="1399">
                  <a:solidFill>
                    <a:schemeClr val="tx1"/>
                  </a:solidFill>
                  <a:latin typeface="+mj-lt"/>
                </a:rPr>
                <a:t>Connected chillers are back online 9x faster than unconnected equipment, avoiding more than </a:t>
              </a:r>
              <a:r>
                <a:rPr lang="en-US" sz="1399">
                  <a:solidFill>
                    <a:schemeClr val="tx1"/>
                  </a:solidFill>
                </a:rPr>
                <a:t>$300,000 in hourly downtime costs</a:t>
              </a:r>
            </a:p>
          </p:txBody>
        </p:sp>
      </p:grpSp>
      <p:grpSp>
        <p:nvGrpSpPr>
          <p:cNvPr id="90" name="Group 89">
            <a:extLst>
              <a:ext uri="{FF2B5EF4-FFF2-40B4-BE49-F238E27FC236}">
                <a16:creationId xmlns:a16="http://schemas.microsoft.com/office/drawing/2014/main" id="{2355B4AE-AC7F-49A6-BF49-F85609D839F5}"/>
              </a:ext>
            </a:extLst>
          </p:cNvPr>
          <p:cNvGrpSpPr/>
          <p:nvPr/>
        </p:nvGrpSpPr>
        <p:grpSpPr>
          <a:xfrm>
            <a:off x="7522812" y="674641"/>
            <a:ext cx="1953561" cy="1996442"/>
            <a:chOff x="7605660" y="402521"/>
            <a:chExt cx="1953838" cy="1996725"/>
          </a:xfrm>
        </p:grpSpPr>
        <p:sp>
          <p:nvSpPr>
            <p:cNvPr id="47" name="Text Placeholder 22"/>
            <p:cNvSpPr txBox="1">
              <a:spLocks/>
            </p:cNvSpPr>
            <p:nvPr/>
          </p:nvSpPr>
          <p:spPr>
            <a:xfrm>
              <a:off x="7649125" y="1410963"/>
              <a:ext cx="1910373" cy="988283"/>
            </a:xfrm>
            <a:prstGeom prst="rect">
              <a:avLst/>
            </a:prstGeom>
            <a:ln>
              <a:noFill/>
            </a:ln>
          </p:spPr>
          <p:txBody>
            <a:bodyPr vert="horz" wrap="square" lIns="0" tIns="0" rIns="0" bIns="0" anchor="t" anchorCtr="0">
              <a:spAutoFit/>
            </a:bodyPr>
            <a:lstStyle>
              <a:defPPr>
                <a:defRPr lang="en-US"/>
              </a:defPPr>
              <a:lvl1pPr lvl="0" indent="0" algn="ctr" defTabSz="931684" fontAlgn="base">
                <a:lnSpc>
                  <a:spcPct val="90000"/>
                </a:lnSpc>
                <a:spcBef>
                  <a:spcPct val="20000"/>
                </a:spcBef>
                <a:spcAft>
                  <a:spcPct val="0"/>
                </a:spcAft>
                <a:buSzPct val="90000"/>
                <a:buFontTx/>
                <a:buNone/>
                <a:defRPr sz="1400" baseline="0">
                  <a:solidFill>
                    <a:srgbClr val="969696"/>
                  </a:solidFill>
                  <a:latin typeface="Segoe UI" panose="020B0502040204020203" pitchFamily="34" charset="0"/>
                  <a:ea typeface="ＭＳ Ｐゴシック" charset="0"/>
                  <a:cs typeface="Segoe UI" panose="020B05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a:r>
                <a:rPr lang="en-US" sz="1399">
                  <a:solidFill>
                    <a:schemeClr val="tx1"/>
                  </a:solidFill>
                  <a:latin typeface="+mj-lt"/>
                </a:rPr>
                <a:t>Data from sensors and systems to create valuable business intelligence and </a:t>
              </a:r>
              <a:r>
                <a:rPr lang="en-US" sz="1399">
                  <a:solidFill>
                    <a:schemeClr val="tx1"/>
                  </a:solidFill>
                  <a:latin typeface="Segoe UI Semibold" panose="020B0702040204020203" pitchFamily="34" charset="0"/>
                  <a:cs typeface="Segoe UI Semibold" panose="020B0702040204020203" pitchFamily="34" charset="0"/>
                </a:rPr>
                <a:t>reduce downtime by 50%</a:t>
              </a:r>
            </a:p>
          </p:txBody>
        </p:sp>
        <p:pic>
          <p:nvPicPr>
            <p:cNvPr id="27" name="Picture 2" descr="ThyssenKrupp Logo"/>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605660" y="402521"/>
              <a:ext cx="1341648" cy="917857"/>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88" name="Group 87">
            <a:extLst>
              <a:ext uri="{FF2B5EF4-FFF2-40B4-BE49-F238E27FC236}">
                <a16:creationId xmlns:a16="http://schemas.microsoft.com/office/drawing/2014/main" id="{41C3391F-7D60-4142-B654-89E4ADD35959}"/>
              </a:ext>
            </a:extLst>
          </p:cNvPr>
          <p:cNvGrpSpPr/>
          <p:nvPr/>
        </p:nvGrpSpPr>
        <p:grpSpPr>
          <a:xfrm>
            <a:off x="2786041" y="1281824"/>
            <a:ext cx="2039624" cy="1387230"/>
            <a:chOff x="2868216" y="902068"/>
            <a:chExt cx="2039913" cy="1387426"/>
          </a:xfrm>
        </p:grpSpPr>
        <p:pic>
          <p:nvPicPr>
            <p:cNvPr id="44" name="Picture 43">
              <a:extLst>
                <a:ext uri="{FF2B5EF4-FFF2-40B4-BE49-F238E27FC236}">
                  <a16:creationId xmlns:a16="http://schemas.microsoft.com/office/drawing/2014/main" id="{7352673B-6EB6-49C8-BCF1-9E8171B191F8}"/>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868216" y="902068"/>
              <a:ext cx="1209766" cy="365760"/>
            </a:xfrm>
            <a:prstGeom prst="rect">
              <a:avLst/>
            </a:prstGeom>
            <a:ln>
              <a:noFill/>
            </a:ln>
          </p:spPr>
        </p:pic>
        <p:sp>
          <p:nvSpPr>
            <p:cNvPr id="52" name="Rectangle 51">
              <a:extLst>
                <a:ext uri="{FF2B5EF4-FFF2-40B4-BE49-F238E27FC236}">
                  <a16:creationId xmlns:a16="http://schemas.microsoft.com/office/drawing/2014/main" id="{572E5D98-C964-4EEE-8EEB-998AE80CA899}"/>
                </a:ext>
              </a:extLst>
            </p:cNvPr>
            <p:cNvSpPr/>
            <p:nvPr/>
          </p:nvSpPr>
          <p:spPr bwMode="auto">
            <a:xfrm>
              <a:off x="2868216" y="1410963"/>
              <a:ext cx="2039913" cy="878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935" fontAlgn="base">
                <a:spcBef>
                  <a:spcPct val="0"/>
                </a:spcBef>
                <a:spcAft>
                  <a:spcPct val="0"/>
                </a:spcAft>
                <a:defRPr/>
              </a:pPr>
              <a:r>
                <a:rPr lang="en-US" sz="1399">
                  <a:solidFill>
                    <a:schemeClr val="tx1"/>
                  </a:solidFill>
                  <a:latin typeface="+mj-lt"/>
                </a:rPr>
                <a:t>Reduced its accident rate by 25% and fuel usage by 20%, </a:t>
              </a:r>
              <a:r>
                <a:rPr lang="en-US" sz="1399">
                  <a:solidFill>
                    <a:schemeClr val="tx1"/>
                  </a:solidFill>
                  <a:latin typeface="Segoe UI Semibold" panose="020B0702040204020203" pitchFamily="34" charset="0"/>
                  <a:cs typeface="Segoe UI Semibold" panose="020B0702040204020203" pitchFamily="34" charset="0"/>
                </a:rPr>
                <a:t>reporting annual savings of $1.8 million </a:t>
              </a:r>
            </a:p>
          </p:txBody>
        </p:sp>
      </p:grpSp>
      <p:grpSp>
        <p:nvGrpSpPr>
          <p:cNvPr id="89" name="Group 88">
            <a:extLst>
              <a:ext uri="{FF2B5EF4-FFF2-40B4-BE49-F238E27FC236}">
                <a16:creationId xmlns:a16="http://schemas.microsoft.com/office/drawing/2014/main" id="{2829A972-4971-42D7-B979-D567E20B7EBC}"/>
              </a:ext>
            </a:extLst>
          </p:cNvPr>
          <p:cNvGrpSpPr/>
          <p:nvPr/>
        </p:nvGrpSpPr>
        <p:grpSpPr>
          <a:xfrm>
            <a:off x="5151764" y="796313"/>
            <a:ext cx="2044949" cy="1872741"/>
            <a:chOff x="5234275" y="416488"/>
            <a:chExt cx="2045239" cy="1873006"/>
          </a:xfrm>
        </p:grpSpPr>
        <p:pic>
          <p:nvPicPr>
            <p:cNvPr id="63" name="Picture 62">
              <a:extLst>
                <a:ext uri="{FF2B5EF4-FFF2-40B4-BE49-F238E27FC236}">
                  <a16:creationId xmlns:a16="http://schemas.microsoft.com/office/drawing/2014/main" id="{7394E206-39EF-4CF8-8F72-ED90F38D4F9A}"/>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7417" t="4545" r="7417" b="4545"/>
            <a:stretch/>
          </p:blipFill>
          <p:spPr>
            <a:xfrm>
              <a:off x="5234275" y="416488"/>
              <a:ext cx="914400" cy="914400"/>
            </a:xfrm>
            <a:prstGeom prst="rect">
              <a:avLst/>
            </a:prstGeom>
            <a:ln>
              <a:noFill/>
            </a:ln>
          </p:spPr>
        </p:pic>
        <p:sp>
          <p:nvSpPr>
            <p:cNvPr id="65" name="Rectangle 64">
              <a:extLst>
                <a:ext uri="{FF2B5EF4-FFF2-40B4-BE49-F238E27FC236}">
                  <a16:creationId xmlns:a16="http://schemas.microsoft.com/office/drawing/2014/main" id="{DD630E52-5B6C-4A8E-8E20-B568B3A6F051}"/>
                </a:ext>
              </a:extLst>
            </p:cNvPr>
            <p:cNvSpPr/>
            <p:nvPr/>
          </p:nvSpPr>
          <p:spPr bwMode="auto">
            <a:xfrm>
              <a:off x="5302025" y="1410963"/>
              <a:ext cx="1977489" cy="878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935" fontAlgn="base">
                <a:spcBef>
                  <a:spcPct val="0"/>
                </a:spcBef>
                <a:spcAft>
                  <a:spcPct val="0"/>
                </a:spcAft>
                <a:defRPr/>
              </a:pPr>
              <a:r>
                <a:rPr lang="en-US" sz="1399">
                  <a:solidFill>
                    <a:schemeClr val="tx1"/>
                  </a:solidFill>
                  <a:latin typeface="+mj-lt"/>
                </a:rPr>
                <a:t>Cut down-time cut for each packaging line by up to 48 hours, </a:t>
              </a:r>
              <a:r>
                <a:rPr lang="en-US" sz="1399">
                  <a:solidFill>
                    <a:schemeClr val="tx1"/>
                  </a:solidFill>
                  <a:latin typeface="Segoe UI Semibold" panose="020B0702040204020203" pitchFamily="34" charset="0"/>
                  <a:cs typeface="Segoe UI Semibold" panose="020B0702040204020203" pitchFamily="34" charset="0"/>
                </a:rPr>
                <a:t>saving €30,000 for customers</a:t>
              </a:r>
            </a:p>
          </p:txBody>
        </p:sp>
      </p:grpSp>
      <p:grpSp>
        <p:nvGrpSpPr>
          <p:cNvPr id="91" name="Group 90">
            <a:extLst>
              <a:ext uri="{FF2B5EF4-FFF2-40B4-BE49-F238E27FC236}">
                <a16:creationId xmlns:a16="http://schemas.microsoft.com/office/drawing/2014/main" id="{F40CA7A1-713A-431C-9078-7F8265CA4170}"/>
              </a:ext>
            </a:extLst>
          </p:cNvPr>
          <p:cNvGrpSpPr/>
          <p:nvPr/>
        </p:nvGrpSpPr>
        <p:grpSpPr>
          <a:xfrm>
            <a:off x="9802472" y="840488"/>
            <a:ext cx="2141394" cy="1836942"/>
            <a:chOff x="9885643" y="891558"/>
            <a:chExt cx="2141697" cy="1837202"/>
          </a:xfrm>
        </p:grpSpPr>
        <p:pic>
          <p:nvPicPr>
            <p:cNvPr id="69" name="Picture 68">
              <a:extLst>
                <a:ext uri="{FF2B5EF4-FFF2-40B4-BE49-F238E27FC236}">
                  <a16:creationId xmlns:a16="http://schemas.microsoft.com/office/drawing/2014/main" id="{CD09C826-EA7A-4380-823D-3DED5FE49E57}"/>
                </a:ext>
              </a:extLst>
            </p:cNvPr>
            <p:cNvPicPr>
              <a:picLocks noChangeAspect="1"/>
            </p:cNvPicPr>
            <p:nvPr/>
          </p:nvPicPr>
          <p:blipFill>
            <a:blip r:embed="rId11"/>
            <a:stretch>
              <a:fillRect/>
            </a:stretch>
          </p:blipFill>
          <p:spPr>
            <a:xfrm>
              <a:off x="9885643" y="891558"/>
              <a:ext cx="1294828" cy="365760"/>
            </a:xfrm>
            <a:prstGeom prst="rect">
              <a:avLst/>
            </a:prstGeom>
            <a:ln>
              <a:noFill/>
            </a:ln>
          </p:spPr>
        </p:pic>
        <p:sp>
          <p:nvSpPr>
            <p:cNvPr id="70" name="Rectangle 69">
              <a:extLst>
                <a:ext uri="{FF2B5EF4-FFF2-40B4-BE49-F238E27FC236}">
                  <a16:creationId xmlns:a16="http://schemas.microsoft.com/office/drawing/2014/main" id="{89D12F88-0F89-4FC6-8900-03608AE3CA1A}"/>
                </a:ext>
              </a:extLst>
            </p:cNvPr>
            <p:cNvSpPr/>
            <p:nvPr/>
          </p:nvSpPr>
          <p:spPr bwMode="auto">
            <a:xfrm>
              <a:off x="9885643" y="1410963"/>
              <a:ext cx="2141697" cy="1317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935" fontAlgn="base">
                <a:spcBef>
                  <a:spcPct val="0"/>
                </a:spcBef>
                <a:spcAft>
                  <a:spcPct val="0"/>
                </a:spcAft>
                <a:defRPr/>
              </a:pPr>
              <a:r>
                <a:rPr lang="en-US" sz="1399">
                  <a:solidFill>
                    <a:schemeClr val="tx1"/>
                  </a:solidFill>
                  <a:latin typeface="+mj-lt"/>
                </a:rPr>
                <a:t>Keeping farmers informed about irrigation, disease control diseases, and pest has led to </a:t>
              </a:r>
              <a:r>
                <a:rPr lang="en-US" sz="1399">
                  <a:solidFill>
                    <a:schemeClr val="tx1"/>
                  </a:solidFill>
                  <a:latin typeface="Segoe UI Semibold" panose="020B0702040204020203" pitchFamily="34" charset="0"/>
                  <a:cs typeface="Segoe UI Semibold" panose="020B0702040204020203" pitchFamily="34" charset="0"/>
                </a:rPr>
                <a:t>increased yields of 30%, and a 20% reduction in water use</a:t>
              </a:r>
            </a:p>
          </p:txBody>
        </p:sp>
      </p:grpSp>
      <p:grpSp>
        <p:nvGrpSpPr>
          <p:cNvPr id="85" name="Group 84">
            <a:extLst>
              <a:ext uri="{FF2B5EF4-FFF2-40B4-BE49-F238E27FC236}">
                <a16:creationId xmlns:a16="http://schemas.microsoft.com/office/drawing/2014/main" id="{4F164AAF-6F8B-438C-846C-83DE3A2D543E}"/>
              </a:ext>
            </a:extLst>
          </p:cNvPr>
          <p:cNvGrpSpPr/>
          <p:nvPr/>
        </p:nvGrpSpPr>
        <p:grpSpPr>
          <a:xfrm>
            <a:off x="3572293" y="3288701"/>
            <a:ext cx="2309759" cy="1683825"/>
            <a:chOff x="3730078" y="3236913"/>
            <a:chExt cx="2310086" cy="1684064"/>
          </a:xfrm>
        </p:grpSpPr>
        <p:pic>
          <p:nvPicPr>
            <p:cNvPr id="8" name="Picture 7"/>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3730078" y="3236913"/>
              <a:ext cx="1733247" cy="464225"/>
            </a:xfrm>
            <a:prstGeom prst="rect">
              <a:avLst/>
            </a:prstGeom>
            <a:ln>
              <a:noFill/>
            </a:ln>
          </p:spPr>
        </p:pic>
        <p:sp>
          <p:nvSpPr>
            <p:cNvPr id="46" name="Text Placeholder 22"/>
            <p:cNvSpPr txBox="1">
              <a:spLocks/>
            </p:cNvSpPr>
            <p:nvPr/>
          </p:nvSpPr>
          <p:spPr>
            <a:xfrm>
              <a:off x="3783815" y="3735038"/>
              <a:ext cx="2256349" cy="1185939"/>
            </a:xfrm>
            <a:prstGeom prst="rect">
              <a:avLst/>
            </a:prstGeom>
            <a:ln>
              <a:noFill/>
            </a:ln>
          </p:spPr>
          <p:txBody>
            <a:bodyPr vert="horz" wrap="square" lIns="0" tIns="0" rIns="0" bIns="0" anchor="t" anchorCtr="0">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931505"/>
              <a:r>
                <a:rPr lang="en-US" sz="1399">
                  <a:solidFill>
                    <a:schemeClr val="tx1"/>
                  </a:solidFill>
                  <a:latin typeface="+mj-lt"/>
                </a:rPr>
                <a:t>Rolls Royce “power by the hour” model provides maximize availability by cutting fuel consumption by 1% and </a:t>
              </a:r>
              <a:r>
                <a:rPr lang="en-US" sz="1399">
                  <a:solidFill>
                    <a:schemeClr val="tx1"/>
                  </a:solidFill>
                </a:rPr>
                <a:t>up to $250,000 per plane, per year.</a:t>
              </a:r>
            </a:p>
          </p:txBody>
        </p:sp>
      </p:grpSp>
      <p:grpSp>
        <p:nvGrpSpPr>
          <p:cNvPr id="84" name="Group 83">
            <a:extLst>
              <a:ext uri="{FF2B5EF4-FFF2-40B4-BE49-F238E27FC236}">
                <a16:creationId xmlns:a16="http://schemas.microsoft.com/office/drawing/2014/main" id="{8567AA4C-DD22-45BE-8F0F-3D492741C6EA}"/>
              </a:ext>
            </a:extLst>
          </p:cNvPr>
          <p:cNvGrpSpPr/>
          <p:nvPr/>
        </p:nvGrpSpPr>
        <p:grpSpPr>
          <a:xfrm>
            <a:off x="6295425" y="3267685"/>
            <a:ext cx="2405618" cy="1314511"/>
            <a:chOff x="6413866" y="3210967"/>
            <a:chExt cx="2405959" cy="1314697"/>
          </a:xfrm>
        </p:grpSpPr>
        <p:pic>
          <p:nvPicPr>
            <p:cNvPr id="29" name="Picture 28"/>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6413866" y="3210967"/>
              <a:ext cx="1806633" cy="479661"/>
            </a:xfrm>
            <a:prstGeom prst="rect">
              <a:avLst/>
            </a:prstGeom>
            <a:ln>
              <a:noFill/>
            </a:ln>
          </p:spPr>
        </p:pic>
        <p:sp>
          <p:nvSpPr>
            <p:cNvPr id="48" name="Text Placeholder 22"/>
            <p:cNvSpPr txBox="1">
              <a:spLocks/>
            </p:cNvSpPr>
            <p:nvPr/>
          </p:nvSpPr>
          <p:spPr>
            <a:xfrm>
              <a:off x="6455906" y="3735038"/>
              <a:ext cx="2363919" cy="790626"/>
            </a:xfrm>
            <a:prstGeom prst="rect">
              <a:avLst/>
            </a:prstGeom>
            <a:ln>
              <a:noFill/>
            </a:ln>
          </p:spPr>
          <p:txBody>
            <a:bodyPr vert="horz" wrap="square" lIns="0" tIns="0" rIns="0" bIns="0" anchor="t" anchorCtr="0">
              <a:spAutoFit/>
            </a:bodyPr>
            <a:lstStyle>
              <a:defPPr>
                <a:defRPr lang="en-US"/>
              </a:defPPr>
              <a:lvl1pPr lvl="0" indent="0" algn="ctr" defTabSz="931684" fontAlgn="base">
                <a:lnSpc>
                  <a:spcPct val="90000"/>
                </a:lnSpc>
                <a:spcBef>
                  <a:spcPct val="20000"/>
                </a:spcBef>
                <a:spcAft>
                  <a:spcPct val="0"/>
                </a:spcAft>
                <a:buSzPct val="90000"/>
                <a:buFontTx/>
                <a:buNone/>
                <a:defRPr sz="1400" baseline="0">
                  <a:solidFill>
                    <a:srgbClr val="969696"/>
                  </a:solidFill>
                  <a:latin typeface="Segoe UI" panose="020B0502040204020203" pitchFamily="34" charset="0"/>
                  <a:ea typeface="ＭＳ Ｐゴシック" charset="0"/>
                  <a:cs typeface="Segoe UI" panose="020B05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a:r>
                <a:rPr lang="en-US" sz="1399">
                  <a:solidFill>
                    <a:schemeClr val="tx1"/>
                  </a:solidFill>
                  <a:latin typeface="+mj-lt"/>
                </a:rPr>
                <a:t>Access to production and supply chain data worldwide, </a:t>
              </a:r>
              <a:r>
                <a:rPr lang="en-US" sz="1399">
                  <a:solidFill>
                    <a:schemeClr val="tx1"/>
                  </a:solidFill>
                  <a:latin typeface="Segoe UI Semibold" panose="020B0702040204020203" pitchFamily="34" charset="0"/>
                  <a:cs typeface="Segoe UI Semibold" panose="020B0702040204020203" pitchFamily="34" charset="0"/>
                </a:rPr>
                <a:t>reduced downtime costs by as much as $300,000 per day</a:t>
              </a:r>
            </a:p>
          </p:txBody>
        </p:sp>
      </p:grpSp>
      <p:grpSp>
        <p:nvGrpSpPr>
          <p:cNvPr id="86" name="Group 85">
            <a:extLst>
              <a:ext uri="{FF2B5EF4-FFF2-40B4-BE49-F238E27FC236}">
                <a16:creationId xmlns:a16="http://schemas.microsoft.com/office/drawing/2014/main" id="{12F4B9B4-D41A-4F95-A091-30FBBBDB74A8}"/>
              </a:ext>
            </a:extLst>
          </p:cNvPr>
          <p:cNvGrpSpPr/>
          <p:nvPr/>
        </p:nvGrpSpPr>
        <p:grpSpPr>
          <a:xfrm>
            <a:off x="1283449" y="3341242"/>
            <a:ext cx="1875471" cy="1733529"/>
            <a:chOff x="1361449" y="3293338"/>
            <a:chExt cx="1875737" cy="1733775"/>
          </a:xfrm>
        </p:grpSpPr>
        <p:pic>
          <p:nvPicPr>
            <p:cNvPr id="60" name="Picture 59">
              <a:extLst>
                <a:ext uri="{FF2B5EF4-FFF2-40B4-BE49-F238E27FC236}">
                  <a16:creationId xmlns:a16="http://schemas.microsoft.com/office/drawing/2014/main" id="{8B102AC8-6F51-448C-8C6C-A04525394A0D}"/>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1361449" y="3293338"/>
              <a:ext cx="1337969" cy="365760"/>
            </a:xfrm>
            <a:prstGeom prst="rect">
              <a:avLst/>
            </a:prstGeom>
            <a:ln>
              <a:noFill/>
            </a:ln>
          </p:spPr>
        </p:pic>
        <p:sp>
          <p:nvSpPr>
            <p:cNvPr id="61" name="Rectangle 60">
              <a:extLst>
                <a:ext uri="{FF2B5EF4-FFF2-40B4-BE49-F238E27FC236}">
                  <a16:creationId xmlns:a16="http://schemas.microsoft.com/office/drawing/2014/main" id="{10D8BDAD-545C-4FDE-AA12-020EACEEB43C}"/>
                </a:ext>
              </a:extLst>
            </p:cNvPr>
            <p:cNvSpPr/>
            <p:nvPr/>
          </p:nvSpPr>
          <p:spPr bwMode="auto">
            <a:xfrm>
              <a:off x="1361449" y="3735038"/>
              <a:ext cx="1875737" cy="1292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935" fontAlgn="base">
                <a:spcBef>
                  <a:spcPct val="0"/>
                </a:spcBef>
                <a:spcAft>
                  <a:spcPct val="0"/>
                </a:spcAft>
                <a:defRPr/>
              </a:pPr>
              <a:r>
                <a:rPr lang="en-US" sz="1399">
                  <a:solidFill>
                    <a:schemeClr val="tx1"/>
                  </a:solidFill>
                  <a:latin typeface="+mj-lt"/>
                </a:rPr>
                <a:t>Licorice extruders on Twizzler’s production line are performing at peak optimization, </a:t>
              </a:r>
              <a:r>
                <a:rPr lang="en-US" sz="1399">
                  <a:solidFill>
                    <a:schemeClr val="tx1"/>
                  </a:solidFill>
                  <a:latin typeface="Segoe UI Semibold" panose="020B0702040204020203" pitchFamily="34" charset="0"/>
                  <a:cs typeface="Segoe UI Semibold" panose="020B0702040204020203" pitchFamily="34" charset="0"/>
                </a:rPr>
                <a:t>saving over $500K/year on materials alone</a:t>
              </a:r>
            </a:p>
          </p:txBody>
        </p:sp>
      </p:grpSp>
      <p:grpSp>
        <p:nvGrpSpPr>
          <p:cNvPr id="83" name="Group 82">
            <a:extLst>
              <a:ext uri="{FF2B5EF4-FFF2-40B4-BE49-F238E27FC236}">
                <a16:creationId xmlns:a16="http://schemas.microsoft.com/office/drawing/2014/main" id="{F62B9E14-8DAC-47E5-B82B-59585F6EB698}"/>
              </a:ext>
            </a:extLst>
          </p:cNvPr>
          <p:cNvGrpSpPr/>
          <p:nvPr/>
        </p:nvGrpSpPr>
        <p:grpSpPr>
          <a:xfrm>
            <a:off x="9114416" y="3341243"/>
            <a:ext cx="1986663" cy="1529138"/>
            <a:chOff x="9193527" y="3303848"/>
            <a:chExt cx="1986945" cy="1529355"/>
          </a:xfrm>
        </p:grpSpPr>
        <p:pic>
          <p:nvPicPr>
            <p:cNvPr id="72" name="Picture 71">
              <a:extLst>
                <a:ext uri="{FF2B5EF4-FFF2-40B4-BE49-F238E27FC236}">
                  <a16:creationId xmlns:a16="http://schemas.microsoft.com/office/drawing/2014/main" id="{9DE68120-A687-4E4B-ACD9-439C6F97B516}"/>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9193527" y="3303848"/>
              <a:ext cx="1626160" cy="365760"/>
            </a:xfrm>
            <a:prstGeom prst="rect">
              <a:avLst/>
            </a:prstGeom>
            <a:ln>
              <a:noFill/>
            </a:ln>
          </p:spPr>
        </p:pic>
        <p:sp>
          <p:nvSpPr>
            <p:cNvPr id="75" name="Rectangle 74">
              <a:extLst>
                <a:ext uri="{FF2B5EF4-FFF2-40B4-BE49-F238E27FC236}">
                  <a16:creationId xmlns:a16="http://schemas.microsoft.com/office/drawing/2014/main" id="{A35AF967-C813-4372-832D-C1C4F818A716}"/>
                </a:ext>
              </a:extLst>
            </p:cNvPr>
            <p:cNvSpPr/>
            <p:nvPr/>
          </p:nvSpPr>
          <p:spPr bwMode="auto">
            <a:xfrm>
              <a:off x="9285214" y="3735038"/>
              <a:ext cx="1895258" cy="10981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1935" fontAlgn="base">
                <a:spcBef>
                  <a:spcPct val="0"/>
                </a:spcBef>
                <a:spcAft>
                  <a:spcPct val="0"/>
                </a:spcAft>
                <a:defRPr/>
              </a:pPr>
              <a:r>
                <a:rPr lang="en-US" sz="1399">
                  <a:solidFill>
                    <a:schemeClr val="tx1"/>
                  </a:solidFill>
                  <a:latin typeface="+mj-lt"/>
                </a:rPr>
                <a:t>Enabled customers to transport more than </a:t>
              </a:r>
              <a:r>
                <a:rPr lang="en-US" sz="1399">
                  <a:solidFill>
                    <a:schemeClr val="tx1"/>
                  </a:solidFill>
                  <a:latin typeface="Segoe UI Semibold" panose="020B0702040204020203" pitchFamily="34" charset="0"/>
                  <a:cs typeface="Segoe UI Semibold" panose="020B0702040204020203" pitchFamily="34" charset="0"/>
                </a:rPr>
                <a:t>1M additional tons of cargo, and reduce fuel consumption by 17%</a:t>
              </a:r>
            </a:p>
          </p:txBody>
        </p:sp>
      </p:grpSp>
      <p:grpSp>
        <p:nvGrpSpPr>
          <p:cNvPr id="9" name="Group 8">
            <a:extLst>
              <a:ext uri="{FF2B5EF4-FFF2-40B4-BE49-F238E27FC236}">
                <a16:creationId xmlns:a16="http://schemas.microsoft.com/office/drawing/2014/main" id="{4151B3C5-2FB8-4425-899D-F36F0C54EADA}"/>
              </a:ext>
            </a:extLst>
          </p:cNvPr>
          <p:cNvGrpSpPr/>
          <p:nvPr/>
        </p:nvGrpSpPr>
        <p:grpSpPr>
          <a:xfrm>
            <a:off x="7557993" y="5750843"/>
            <a:ext cx="914270" cy="914270"/>
            <a:chOff x="7396258" y="5751162"/>
            <a:chExt cx="914400" cy="914400"/>
          </a:xfrm>
        </p:grpSpPr>
        <p:sp>
          <p:nvSpPr>
            <p:cNvPr id="64" name="Oval 63"/>
            <p:cNvSpPr/>
            <p:nvPr/>
          </p:nvSpPr>
          <p:spPr bwMode="auto">
            <a:xfrm>
              <a:off x="7396258"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See the source image">
              <a:extLst>
                <a:ext uri="{FF2B5EF4-FFF2-40B4-BE49-F238E27FC236}">
                  <a16:creationId xmlns:a16="http://schemas.microsoft.com/office/drawing/2014/main" id="{B7A43BA3-CEAB-4F7A-95B9-52B6EE9C84B8}"/>
                </a:ext>
              </a:extLst>
            </p:cNvPr>
            <p:cNvPicPr>
              <a:picLocks noChangeAspect="1" noChangeArrowheads="1"/>
            </p:cNvPicPr>
            <p:nvPr/>
          </p:nvPicPr>
          <p:blipFill rotWithShape="1">
            <a:blip r:embed="rId16" cstate="hqprint">
              <a:extLst>
                <a:ext uri="{28A0092B-C50C-407E-A947-70E740481C1C}">
                  <a14:useLocalDpi xmlns:a14="http://schemas.microsoft.com/office/drawing/2010/main"/>
                </a:ext>
              </a:extLst>
            </a:blip>
            <a:srcRect/>
            <a:stretch/>
          </p:blipFill>
          <p:spPr bwMode="auto">
            <a:xfrm>
              <a:off x="7525672" y="5880693"/>
              <a:ext cx="665119" cy="6553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544AC609-DCEA-4F70-BFA4-C064153AAB5E}"/>
              </a:ext>
            </a:extLst>
          </p:cNvPr>
          <p:cNvGrpSpPr/>
          <p:nvPr/>
        </p:nvGrpSpPr>
        <p:grpSpPr>
          <a:xfrm>
            <a:off x="395616" y="5750843"/>
            <a:ext cx="914270" cy="914270"/>
            <a:chOff x="232864" y="5751162"/>
            <a:chExt cx="914400" cy="914400"/>
          </a:xfrm>
        </p:grpSpPr>
        <p:sp>
          <p:nvSpPr>
            <p:cNvPr id="56" name="Oval 55">
              <a:extLst>
                <a:ext uri="{FF2B5EF4-FFF2-40B4-BE49-F238E27FC236}">
                  <a16:creationId xmlns:a16="http://schemas.microsoft.com/office/drawing/2014/main" id="{CBAC2F95-6D27-4C57-A5C8-9FF485189102}"/>
                </a:ext>
              </a:extLst>
            </p:cNvPr>
            <p:cNvSpPr/>
            <p:nvPr/>
          </p:nvSpPr>
          <p:spPr bwMode="auto">
            <a:xfrm>
              <a:off x="232864"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54" name="Picture 6" descr="See the source image">
              <a:extLst>
                <a:ext uri="{FF2B5EF4-FFF2-40B4-BE49-F238E27FC236}">
                  <a16:creationId xmlns:a16="http://schemas.microsoft.com/office/drawing/2014/main" id="{63E267D3-35BE-49A9-AA22-57CDE9186522}"/>
                </a:ext>
              </a:extLst>
            </p:cNvPr>
            <p:cNvPicPr>
              <a:picLocks noChangeAspect="1" noChangeArrowheads="1"/>
            </p:cNvPicPr>
            <p:nvPr/>
          </p:nvPicPr>
          <p:blipFill>
            <a:blip r:embed="rId17" cstate="hqprint">
              <a:extLst>
                <a:ext uri="{28A0092B-C50C-407E-A947-70E740481C1C}">
                  <a14:useLocalDpi xmlns:a14="http://schemas.microsoft.com/office/drawing/2010/main"/>
                </a:ext>
              </a:extLst>
            </a:blip>
            <a:srcRect/>
            <a:stretch>
              <a:fillRect/>
            </a:stretch>
          </p:blipFill>
          <p:spPr bwMode="auto">
            <a:xfrm>
              <a:off x="372894" y="5900717"/>
              <a:ext cx="615290" cy="6152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94CE4BA3-F4C7-441A-A32A-CB9D4875F1D2}"/>
              </a:ext>
            </a:extLst>
          </p:cNvPr>
          <p:cNvGrpSpPr/>
          <p:nvPr/>
        </p:nvGrpSpPr>
        <p:grpSpPr>
          <a:xfrm>
            <a:off x="2773269" y="5750843"/>
            <a:ext cx="914270" cy="914270"/>
            <a:chOff x="2610855" y="5751162"/>
            <a:chExt cx="914400" cy="914400"/>
          </a:xfrm>
        </p:grpSpPr>
        <p:sp>
          <p:nvSpPr>
            <p:cNvPr id="67" name="Oval 66"/>
            <p:cNvSpPr/>
            <p:nvPr/>
          </p:nvSpPr>
          <p:spPr bwMode="auto">
            <a:xfrm>
              <a:off x="2610855"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56" name="Picture 8" descr="See the source image">
              <a:extLst>
                <a:ext uri="{FF2B5EF4-FFF2-40B4-BE49-F238E27FC236}">
                  <a16:creationId xmlns:a16="http://schemas.microsoft.com/office/drawing/2014/main" id="{AAA02E2C-DA2E-4C3E-A1D5-66AA56E0E8F4}"/>
                </a:ext>
              </a:extLst>
            </p:cNvPr>
            <p:cNvPicPr>
              <a:picLocks noChangeAspect="1" noChangeArrowheads="1"/>
            </p:cNvPicPr>
            <p:nvPr/>
          </p:nvPicPr>
          <p:blipFill>
            <a:blip r:embed="rId18" cstate="hqprint">
              <a:extLst>
                <a:ext uri="{28A0092B-C50C-407E-A947-70E740481C1C}">
                  <a14:useLocalDpi xmlns:a14="http://schemas.microsoft.com/office/drawing/2010/main"/>
                </a:ext>
              </a:extLst>
            </a:blip>
            <a:srcRect/>
            <a:stretch>
              <a:fillRect/>
            </a:stretch>
          </p:blipFill>
          <p:spPr bwMode="auto">
            <a:xfrm>
              <a:off x="2707447" y="6146589"/>
              <a:ext cx="721215" cy="123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46F700EA-00B4-4CC2-BC30-A0B5C095221B}"/>
              </a:ext>
            </a:extLst>
          </p:cNvPr>
          <p:cNvGrpSpPr/>
          <p:nvPr/>
        </p:nvGrpSpPr>
        <p:grpSpPr>
          <a:xfrm>
            <a:off x="11139180" y="5750843"/>
            <a:ext cx="914270" cy="914270"/>
            <a:chOff x="10977952" y="5751162"/>
            <a:chExt cx="914400" cy="914400"/>
          </a:xfrm>
        </p:grpSpPr>
        <p:sp>
          <p:nvSpPr>
            <p:cNvPr id="33" name="Oval 32"/>
            <p:cNvSpPr/>
            <p:nvPr/>
          </p:nvSpPr>
          <p:spPr bwMode="auto">
            <a:xfrm>
              <a:off x="10977952"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60" name="Picture 12" descr="See the source image">
              <a:extLst>
                <a:ext uri="{FF2B5EF4-FFF2-40B4-BE49-F238E27FC236}">
                  <a16:creationId xmlns:a16="http://schemas.microsoft.com/office/drawing/2014/main" id="{6D608F4D-67C6-4A28-B60D-88C9666399C2}"/>
                </a:ext>
              </a:extLst>
            </p:cNvPr>
            <p:cNvPicPr>
              <a:picLocks noChangeAspect="1" noChangeArrowheads="1"/>
            </p:cNvPicPr>
            <p:nvPr/>
          </p:nvPicPr>
          <p:blipFill rotWithShape="1">
            <a:blip r:embed="rId19" cstate="hqprint">
              <a:extLst>
                <a:ext uri="{28A0092B-C50C-407E-A947-70E740481C1C}">
                  <a14:useLocalDpi xmlns:a14="http://schemas.microsoft.com/office/drawing/2010/main"/>
                </a:ext>
              </a:extLst>
            </a:blip>
            <a:srcRect/>
            <a:stretch/>
          </p:blipFill>
          <p:spPr bwMode="auto">
            <a:xfrm>
              <a:off x="11107353" y="6076530"/>
              <a:ext cx="655597" cy="2636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5CAD0272-0932-4089-8144-8D1DC2D0D855}"/>
              </a:ext>
            </a:extLst>
          </p:cNvPr>
          <p:cNvGrpSpPr/>
          <p:nvPr/>
        </p:nvGrpSpPr>
        <p:grpSpPr>
          <a:xfrm>
            <a:off x="3976805" y="5750843"/>
            <a:ext cx="914270" cy="914270"/>
            <a:chOff x="3814561" y="5751162"/>
            <a:chExt cx="914400" cy="914400"/>
          </a:xfrm>
        </p:grpSpPr>
        <p:sp>
          <p:nvSpPr>
            <p:cNvPr id="36" name="Oval 35"/>
            <p:cNvSpPr/>
            <p:nvPr/>
          </p:nvSpPr>
          <p:spPr bwMode="auto">
            <a:xfrm>
              <a:off x="3814561"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64" name="Picture 16" descr="See the source image">
              <a:extLst>
                <a:ext uri="{FF2B5EF4-FFF2-40B4-BE49-F238E27FC236}">
                  <a16:creationId xmlns:a16="http://schemas.microsoft.com/office/drawing/2014/main" id="{F8F2F874-3A30-4EF0-A2DA-6D7606ADF172}"/>
                </a:ext>
              </a:extLst>
            </p:cNvPr>
            <p:cNvPicPr>
              <a:picLocks noChangeAspect="1" noChangeArrowheads="1"/>
            </p:cNvPicPr>
            <p:nvPr/>
          </p:nvPicPr>
          <p:blipFill>
            <a:blip r:embed="rId20" cstate="hqprint">
              <a:extLst>
                <a:ext uri="{28A0092B-C50C-407E-A947-70E740481C1C}">
                  <a14:useLocalDpi xmlns:a14="http://schemas.microsoft.com/office/drawing/2010/main"/>
                </a:ext>
              </a:extLst>
            </a:blip>
            <a:srcRect/>
            <a:stretch>
              <a:fillRect/>
            </a:stretch>
          </p:blipFill>
          <p:spPr bwMode="auto">
            <a:xfrm>
              <a:off x="3878460" y="6134446"/>
              <a:ext cx="780315" cy="1478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23626E18-F219-4183-A75F-6EA4373EEF6B}"/>
              </a:ext>
            </a:extLst>
          </p:cNvPr>
          <p:cNvGrpSpPr/>
          <p:nvPr/>
        </p:nvGrpSpPr>
        <p:grpSpPr>
          <a:xfrm>
            <a:off x="6364264" y="5750843"/>
            <a:ext cx="914270" cy="914270"/>
            <a:chOff x="6202359" y="5751162"/>
            <a:chExt cx="914400" cy="914400"/>
          </a:xfrm>
        </p:grpSpPr>
        <p:sp>
          <p:nvSpPr>
            <p:cNvPr id="50" name="Oval 49"/>
            <p:cNvSpPr/>
            <p:nvPr/>
          </p:nvSpPr>
          <p:spPr bwMode="auto">
            <a:xfrm>
              <a:off x="6202359" y="5751162"/>
              <a:ext cx="914400" cy="9144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7BB0ED5F-9FB5-415E-BFDB-3974299E07F9}"/>
                </a:ext>
              </a:extLst>
            </p:cNvPr>
            <p:cNvPicPr>
              <a:picLocks noChangeAspect="1"/>
            </p:cNvPicPr>
            <p:nvPr/>
          </p:nvPicPr>
          <p:blipFill rotWithShape="1">
            <a:blip r:embed="rId21">
              <a:extLst>
                <a:ext uri="{28A0092B-C50C-407E-A947-70E740481C1C}">
                  <a14:useLocalDpi xmlns:a14="http://schemas.microsoft.com/office/drawing/2010/main" val="0"/>
                </a:ext>
              </a:extLst>
            </a:blip>
            <a:srcRect/>
            <a:stretch/>
          </p:blipFill>
          <p:spPr>
            <a:xfrm>
              <a:off x="6326012" y="6124798"/>
              <a:ext cx="701819" cy="167128"/>
            </a:xfrm>
            <a:prstGeom prst="rect">
              <a:avLst/>
            </a:prstGeom>
          </p:spPr>
        </p:pic>
      </p:grpSp>
    </p:spTree>
    <p:extLst>
      <p:ext uri="{BB962C8B-B14F-4D97-AF65-F5344CB8AC3E}">
        <p14:creationId xmlns:p14="http://schemas.microsoft.com/office/powerpoint/2010/main" val="341408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fade">
                                      <p:cBhvr>
                                        <p:cTn id="13" dur="250"/>
                                        <p:tgtEl>
                                          <p:spTgt spid="87"/>
                                        </p:tgtEl>
                                      </p:cBhvr>
                                    </p:animEffect>
                                  </p:childTnLst>
                                </p:cTn>
                              </p:par>
                              <p:par>
                                <p:cTn id="14" presetID="10" presetClass="entr" presetSubtype="0" fill="hold" nodeType="withEffect">
                                  <p:stCondLst>
                                    <p:cond delay="0"/>
                                  </p:stCondLst>
                                  <p:childTnLst>
                                    <p:set>
                                      <p:cBhvr>
                                        <p:cTn id="15" dur="1" fill="hold">
                                          <p:stCondLst>
                                            <p:cond delay="0"/>
                                          </p:stCondLst>
                                        </p:cTn>
                                        <p:tgtEl>
                                          <p:spTgt spid="86"/>
                                        </p:tgtEl>
                                        <p:attrNameLst>
                                          <p:attrName>style.visibility</p:attrName>
                                        </p:attrNameLst>
                                      </p:cBhvr>
                                      <p:to>
                                        <p:strVal val="visible"/>
                                      </p:to>
                                    </p:set>
                                    <p:animEffect transition="in" filter="fade">
                                      <p:cBhvr>
                                        <p:cTn id="16" dur="250"/>
                                        <p:tgtEl>
                                          <p:spTgt spid="86"/>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25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5"/>
                                        </p:tgtEl>
                                        <p:attrNameLst>
                                          <p:attrName>style.visibility</p:attrName>
                                        </p:attrNameLst>
                                      </p:cBhvr>
                                      <p:to>
                                        <p:strVal val="visible"/>
                                      </p:to>
                                    </p:set>
                                    <p:animEffect transition="in" filter="fade">
                                      <p:cBhvr>
                                        <p:cTn id="22" dur="250"/>
                                        <p:tgtEl>
                                          <p:spTgt spid="85"/>
                                        </p:tgtEl>
                                      </p:cBhvr>
                                    </p:animEffect>
                                  </p:childTnLst>
                                </p:cTn>
                              </p:par>
                              <p:par>
                                <p:cTn id="23" presetID="10" presetClass="entr" presetSubtype="0" fill="hold" nodeType="withEffect">
                                  <p:stCondLst>
                                    <p:cond delay="0"/>
                                  </p:stCondLst>
                                  <p:childTnLst>
                                    <p:set>
                                      <p:cBhvr>
                                        <p:cTn id="24" dur="1" fill="hold">
                                          <p:stCondLst>
                                            <p:cond delay="0"/>
                                          </p:stCondLst>
                                        </p:cTn>
                                        <p:tgtEl>
                                          <p:spTgt spid="89"/>
                                        </p:tgtEl>
                                        <p:attrNameLst>
                                          <p:attrName>style.visibility</p:attrName>
                                        </p:attrNameLst>
                                      </p:cBhvr>
                                      <p:to>
                                        <p:strVal val="visible"/>
                                      </p:to>
                                    </p:set>
                                    <p:animEffect transition="in" filter="fade">
                                      <p:cBhvr>
                                        <p:cTn id="25" dur="250"/>
                                        <p:tgtEl>
                                          <p:spTgt spid="89"/>
                                        </p:tgtEl>
                                      </p:cBhvr>
                                    </p:animEffect>
                                  </p:childTnLst>
                                </p:cTn>
                              </p:par>
                              <p:par>
                                <p:cTn id="26" presetID="10" presetClass="entr" presetSubtype="0" fill="hold" nodeType="withEffect">
                                  <p:stCondLst>
                                    <p:cond delay="0"/>
                                  </p:stCondLst>
                                  <p:childTnLst>
                                    <p:set>
                                      <p:cBhvr>
                                        <p:cTn id="27" dur="1" fill="hold">
                                          <p:stCondLst>
                                            <p:cond delay="0"/>
                                          </p:stCondLst>
                                        </p:cTn>
                                        <p:tgtEl>
                                          <p:spTgt spid="84"/>
                                        </p:tgtEl>
                                        <p:attrNameLst>
                                          <p:attrName>style.visibility</p:attrName>
                                        </p:attrNameLst>
                                      </p:cBhvr>
                                      <p:to>
                                        <p:strVal val="visible"/>
                                      </p:to>
                                    </p:set>
                                    <p:animEffect transition="in" filter="fade">
                                      <p:cBhvr>
                                        <p:cTn id="28" dur="250"/>
                                        <p:tgtEl>
                                          <p:spTgt spid="84"/>
                                        </p:tgtEl>
                                      </p:cBhvr>
                                    </p:animEffect>
                                  </p:childTnLst>
                                </p:cTn>
                              </p:par>
                              <p:par>
                                <p:cTn id="29" presetID="10" presetClass="entr" presetSubtype="0" fill="hold" nodeType="withEffect">
                                  <p:stCondLst>
                                    <p:cond delay="0"/>
                                  </p:stCondLst>
                                  <p:childTnLst>
                                    <p:set>
                                      <p:cBhvr>
                                        <p:cTn id="30" dur="1" fill="hold">
                                          <p:stCondLst>
                                            <p:cond delay="0"/>
                                          </p:stCondLst>
                                        </p:cTn>
                                        <p:tgtEl>
                                          <p:spTgt spid="90"/>
                                        </p:tgtEl>
                                        <p:attrNameLst>
                                          <p:attrName>style.visibility</p:attrName>
                                        </p:attrNameLst>
                                      </p:cBhvr>
                                      <p:to>
                                        <p:strVal val="visible"/>
                                      </p:to>
                                    </p:set>
                                    <p:animEffect transition="in" filter="fade">
                                      <p:cBhvr>
                                        <p:cTn id="31" dur="250"/>
                                        <p:tgtEl>
                                          <p:spTgt spid="90"/>
                                        </p:tgtEl>
                                      </p:cBhvr>
                                    </p:animEffect>
                                  </p:childTnLst>
                                </p:cTn>
                              </p:par>
                              <p:par>
                                <p:cTn id="32" presetID="10" presetClass="entr" presetSubtype="0" fill="hold" nodeType="withEffect">
                                  <p:stCondLst>
                                    <p:cond delay="0"/>
                                  </p:stCondLst>
                                  <p:childTnLst>
                                    <p:set>
                                      <p:cBhvr>
                                        <p:cTn id="33" dur="1" fill="hold">
                                          <p:stCondLst>
                                            <p:cond delay="0"/>
                                          </p:stCondLst>
                                        </p:cTn>
                                        <p:tgtEl>
                                          <p:spTgt spid="83"/>
                                        </p:tgtEl>
                                        <p:attrNameLst>
                                          <p:attrName>style.visibility</p:attrName>
                                        </p:attrNameLst>
                                      </p:cBhvr>
                                      <p:to>
                                        <p:strVal val="visible"/>
                                      </p:to>
                                    </p:set>
                                    <p:animEffect transition="in" filter="fade">
                                      <p:cBhvr>
                                        <p:cTn id="34" dur="250"/>
                                        <p:tgtEl>
                                          <p:spTgt spid="83"/>
                                        </p:tgtEl>
                                      </p:cBhvr>
                                    </p:animEffect>
                                  </p:childTnLst>
                                </p:cTn>
                              </p:par>
                              <p:par>
                                <p:cTn id="35" presetID="10" presetClass="entr" presetSubtype="0" fill="hold" nodeType="withEffect">
                                  <p:stCondLst>
                                    <p:cond delay="0"/>
                                  </p:stCondLst>
                                  <p:childTnLst>
                                    <p:set>
                                      <p:cBhvr>
                                        <p:cTn id="36" dur="1" fill="hold">
                                          <p:stCondLst>
                                            <p:cond delay="0"/>
                                          </p:stCondLst>
                                        </p:cTn>
                                        <p:tgtEl>
                                          <p:spTgt spid="91"/>
                                        </p:tgtEl>
                                        <p:attrNameLst>
                                          <p:attrName>style.visibility</p:attrName>
                                        </p:attrNameLst>
                                      </p:cBhvr>
                                      <p:to>
                                        <p:strVal val="visible"/>
                                      </p:to>
                                    </p:set>
                                    <p:animEffect transition="in" filter="fade">
                                      <p:cBhvr>
                                        <p:cTn id="37" dur="250"/>
                                        <p:tgtEl>
                                          <p:spTgt spid="91"/>
                                        </p:tgtEl>
                                      </p:cBhvr>
                                    </p:animEffect>
                                  </p:childTnLst>
                                </p:cTn>
                              </p:par>
                            </p:childTnLst>
                          </p:cTn>
                        </p:par>
                        <p:par>
                          <p:cTn id="38" fill="hold">
                            <p:stCondLst>
                              <p:cond delay="750"/>
                            </p:stCondLst>
                            <p:childTnLst>
                              <p:par>
                                <p:cTn id="39" presetID="2" presetClass="entr" presetSubtype="2" fill="hold" nodeType="afterEffect">
                                  <p:stCondLst>
                                    <p:cond delay="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500" fill="hold"/>
                                        <p:tgtEl>
                                          <p:spTgt spid="14"/>
                                        </p:tgtEl>
                                        <p:attrNameLst>
                                          <p:attrName>ppt_x</p:attrName>
                                        </p:attrNameLst>
                                      </p:cBhvr>
                                      <p:tavLst>
                                        <p:tav tm="0">
                                          <p:val>
                                            <p:strVal val="1+#ppt_w/2"/>
                                          </p:val>
                                        </p:tav>
                                        <p:tav tm="100000">
                                          <p:val>
                                            <p:strVal val="#ppt_x"/>
                                          </p:val>
                                        </p:tav>
                                      </p:tavLst>
                                    </p:anim>
                                    <p:anim calcmode="lin" valueType="num">
                                      <p:cBhvr additive="base">
                                        <p:cTn id="42" dur="500" fill="hold"/>
                                        <p:tgtEl>
                                          <p:spTgt spid="14"/>
                                        </p:tgtEl>
                                        <p:attrNameLst>
                                          <p:attrName>ppt_y</p:attrName>
                                        </p:attrNameLst>
                                      </p:cBhvr>
                                      <p:tavLst>
                                        <p:tav tm="0">
                                          <p:val>
                                            <p:strVal val="#ppt_y"/>
                                          </p:val>
                                        </p:tav>
                                        <p:tav tm="100000">
                                          <p:val>
                                            <p:strVal val="#ppt_y"/>
                                          </p:val>
                                        </p:tav>
                                      </p:tavLst>
                                    </p:anim>
                                  </p:childTnLst>
                                </p:cTn>
                              </p:par>
                              <p:par>
                                <p:cTn id="43" presetID="2" presetClass="entr" presetSubtype="2"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 calcmode="lin" valueType="num">
                                      <p:cBhvr additive="base">
                                        <p:cTn id="45" dur="500" fill="hold"/>
                                        <p:tgtEl>
                                          <p:spTgt spid="11"/>
                                        </p:tgtEl>
                                        <p:attrNameLst>
                                          <p:attrName>ppt_x</p:attrName>
                                        </p:attrNameLst>
                                      </p:cBhvr>
                                      <p:tavLst>
                                        <p:tav tm="0">
                                          <p:val>
                                            <p:strVal val="1+#ppt_w/2"/>
                                          </p:val>
                                        </p:tav>
                                        <p:tav tm="100000">
                                          <p:val>
                                            <p:strVal val="#ppt_x"/>
                                          </p:val>
                                        </p:tav>
                                      </p:tavLst>
                                    </p:anim>
                                    <p:anim calcmode="lin" valueType="num">
                                      <p:cBhvr additive="base">
                                        <p:cTn id="46" dur="500" fill="hold"/>
                                        <p:tgtEl>
                                          <p:spTgt spid="11"/>
                                        </p:tgtEl>
                                        <p:attrNameLst>
                                          <p:attrName>ppt_y</p:attrName>
                                        </p:attrNameLst>
                                      </p:cBhvr>
                                      <p:tavLst>
                                        <p:tav tm="0">
                                          <p:val>
                                            <p:strVal val="#ppt_y"/>
                                          </p:val>
                                        </p:tav>
                                        <p:tav tm="100000">
                                          <p:val>
                                            <p:strVal val="#ppt_y"/>
                                          </p:val>
                                        </p:tav>
                                      </p:tavLst>
                                    </p:anim>
                                  </p:childTnLst>
                                </p:cTn>
                              </p:par>
                              <p:par>
                                <p:cTn id="47" presetID="2" presetClass="entr" presetSubtype="2" fill="hold" nodeType="withEffect">
                                  <p:stCondLst>
                                    <p:cond delay="0"/>
                                  </p:stCondLst>
                                  <p:childTnLst>
                                    <p:set>
                                      <p:cBhvr>
                                        <p:cTn id="48" dur="1" fill="hold">
                                          <p:stCondLst>
                                            <p:cond delay="0"/>
                                          </p:stCondLst>
                                        </p:cTn>
                                        <p:tgtEl>
                                          <p:spTgt spid="7"/>
                                        </p:tgtEl>
                                        <p:attrNameLst>
                                          <p:attrName>style.visibility</p:attrName>
                                        </p:attrNameLst>
                                      </p:cBhvr>
                                      <p:to>
                                        <p:strVal val="visible"/>
                                      </p:to>
                                    </p:set>
                                    <p:anim calcmode="lin" valueType="num">
                                      <p:cBhvr additive="base">
                                        <p:cTn id="49" dur="500" fill="hold"/>
                                        <p:tgtEl>
                                          <p:spTgt spid="7"/>
                                        </p:tgtEl>
                                        <p:attrNameLst>
                                          <p:attrName>ppt_x</p:attrName>
                                        </p:attrNameLst>
                                      </p:cBhvr>
                                      <p:tavLst>
                                        <p:tav tm="0">
                                          <p:val>
                                            <p:strVal val="1+#ppt_w/2"/>
                                          </p:val>
                                        </p:tav>
                                        <p:tav tm="100000">
                                          <p:val>
                                            <p:strVal val="#ppt_x"/>
                                          </p:val>
                                        </p:tav>
                                      </p:tavLst>
                                    </p:anim>
                                    <p:anim calcmode="lin" valueType="num">
                                      <p:cBhvr additive="base">
                                        <p:cTn id="50" dur="500" fill="hold"/>
                                        <p:tgtEl>
                                          <p:spTgt spid="7"/>
                                        </p:tgtEl>
                                        <p:attrNameLst>
                                          <p:attrName>ppt_y</p:attrName>
                                        </p:attrNameLst>
                                      </p:cBhvr>
                                      <p:tavLst>
                                        <p:tav tm="0">
                                          <p:val>
                                            <p:strVal val="#ppt_y"/>
                                          </p:val>
                                        </p:tav>
                                        <p:tav tm="100000">
                                          <p:val>
                                            <p:strVal val="#ppt_y"/>
                                          </p:val>
                                        </p:tav>
                                      </p:tavLst>
                                    </p:anim>
                                  </p:childTnLst>
                                </p:cTn>
                              </p:par>
                              <p:par>
                                <p:cTn id="51" presetID="2" presetClass="entr" presetSubtype="2" fill="hold" nodeType="withEffect">
                                  <p:stCondLst>
                                    <p:cond delay="0"/>
                                  </p:stCondLst>
                                  <p:childTnLst>
                                    <p:set>
                                      <p:cBhvr>
                                        <p:cTn id="52" dur="1" fill="hold">
                                          <p:stCondLst>
                                            <p:cond delay="0"/>
                                          </p:stCondLst>
                                        </p:cTn>
                                        <p:tgtEl>
                                          <p:spTgt spid="5"/>
                                        </p:tgtEl>
                                        <p:attrNameLst>
                                          <p:attrName>style.visibility</p:attrName>
                                        </p:attrNameLst>
                                      </p:cBhvr>
                                      <p:to>
                                        <p:strVal val="visible"/>
                                      </p:to>
                                    </p:set>
                                    <p:anim calcmode="lin" valueType="num">
                                      <p:cBhvr additive="base">
                                        <p:cTn id="53" dur="500" fill="hold"/>
                                        <p:tgtEl>
                                          <p:spTgt spid="5"/>
                                        </p:tgtEl>
                                        <p:attrNameLst>
                                          <p:attrName>ppt_x</p:attrName>
                                        </p:attrNameLst>
                                      </p:cBhvr>
                                      <p:tavLst>
                                        <p:tav tm="0">
                                          <p:val>
                                            <p:strVal val="1+#ppt_w/2"/>
                                          </p:val>
                                        </p:tav>
                                        <p:tav tm="100000">
                                          <p:val>
                                            <p:strVal val="#ppt_x"/>
                                          </p:val>
                                        </p:tav>
                                      </p:tavLst>
                                    </p:anim>
                                    <p:anim calcmode="lin" valueType="num">
                                      <p:cBhvr additive="base">
                                        <p:cTn id="54" dur="500" fill="hold"/>
                                        <p:tgtEl>
                                          <p:spTgt spid="5"/>
                                        </p:tgtEl>
                                        <p:attrNameLst>
                                          <p:attrName>ppt_y</p:attrName>
                                        </p:attrNameLst>
                                      </p:cBhvr>
                                      <p:tavLst>
                                        <p:tav tm="0">
                                          <p:val>
                                            <p:strVal val="#ppt_y"/>
                                          </p:val>
                                        </p:tav>
                                        <p:tav tm="100000">
                                          <p:val>
                                            <p:strVal val="#ppt_y"/>
                                          </p:val>
                                        </p:tav>
                                      </p:tavLst>
                                    </p:anim>
                                  </p:childTnLst>
                                </p:cTn>
                              </p:par>
                              <p:par>
                                <p:cTn id="55" presetID="2" presetClass="entr" presetSubtype="2" fill="hold" nodeType="withEffect">
                                  <p:stCondLst>
                                    <p:cond delay="0"/>
                                  </p:stCondLst>
                                  <p:childTnLst>
                                    <p:set>
                                      <p:cBhvr>
                                        <p:cTn id="56" dur="1" fill="hold">
                                          <p:stCondLst>
                                            <p:cond delay="0"/>
                                          </p:stCondLst>
                                        </p:cTn>
                                        <p:tgtEl>
                                          <p:spTgt spid="9"/>
                                        </p:tgtEl>
                                        <p:attrNameLst>
                                          <p:attrName>style.visibility</p:attrName>
                                        </p:attrNameLst>
                                      </p:cBhvr>
                                      <p:to>
                                        <p:strVal val="visible"/>
                                      </p:to>
                                    </p:set>
                                    <p:anim calcmode="lin" valueType="num">
                                      <p:cBhvr additive="base">
                                        <p:cTn id="57" dur="500" fill="hold"/>
                                        <p:tgtEl>
                                          <p:spTgt spid="9"/>
                                        </p:tgtEl>
                                        <p:attrNameLst>
                                          <p:attrName>ppt_x</p:attrName>
                                        </p:attrNameLst>
                                      </p:cBhvr>
                                      <p:tavLst>
                                        <p:tav tm="0">
                                          <p:val>
                                            <p:strVal val="1+#ppt_w/2"/>
                                          </p:val>
                                        </p:tav>
                                        <p:tav tm="100000">
                                          <p:val>
                                            <p:strVal val="#ppt_x"/>
                                          </p:val>
                                        </p:tav>
                                      </p:tavLst>
                                    </p:anim>
                                    <p:anim calcmode="lin" valueType="num">
                                      <p:cBhvr additive="base">
                                        <p:cTn id="58" dur="500" fill="hold"/>
                                        <p:tgtEl>
                                          <p:spTgt spid="9"/>
                                        </p:tgtEl>
                                        <p:attrNameLst>
                                          <p:attrName>ppt_y</p:attrName>
                                        </p:attrNameLst>
                                      </p:cBhvr>
                                      <p:tavLst>
                                        <p:tav tm="0">
                                          <p:val>
                                            <p:strVal val="#ppt_y"/>
                                          </p:val>
                                        </p:tav>
                                        <p:tav tm="100000">
                                          <p:val>
                                            <p:strVal val="#ppt_y"/>
                                          </p:val>
                                        </p:tav>
                                      </p:tavLst>
                                    </p:anim>
                                  </p:childTnLst>
                                </p:cTn>
                              </p:par>
                              <p:par>
                                <p:cTn id="59" presetID="2" presetClass="entr" presetSubtype="2"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 calcmode="lin" valueType="num">
                                      <p:cBhvr additive="base">
                                        <p:cTn id="61" dur="500" fill="hold"/>
                                        <p:tgtEl>
                                          <p:spTgt spid="15"/>
                                        </p:tgtEl>
                                        <p:attrNameLst>
                                          <p:attrName>ppt_x</p:attrName>
                                        </p:attrNameLst>
                                      </p:cBhvr>
                                      <p:tavLst>
                                        <p:tav tm="0">
                                          <p:val>
                                            <p:strVal val="1+#ppt_w/2"/>
                                          </p:val>
                                        </p:tav>
                                        <p:tav tm="100000">
                                          <p:val>
                                            <p:strVal val="#ppt_x"/>
                                          </p:val>
                                        </p:tav>
                                      </p:tavLst>
                                    </p:anim>
                                    <p:anim calcmode="lin" valueType="num">
                                      <p:cBhvr additive="base">
                                        <p:cTn id="62" dur="500" fill="hold"/>
                                        <p:tgtEl>
                                          <p:spTgt spid="15"/>
                                        </p:tgtEl>
                                        <p:attrNameLst>
                                          <p:attrName>ppt_y</p:attrName>
                                        </p:attrNameLst>
                                      </p:cBhvr>
                                      <p:tavLst>
                                        <p:tav tm="0">
                                          <p:val>
                                            <p:strVal val="#ppt_y"/>
                                          </p:val>
                                        </p:tav>
                                        <p:tav tm="100000">
                                          <p:val>
                                            <p:strVal val="#ppt_y"/>
                                          </p:val>
                                        </p:tav>
                                      </p:tavLst>
                                    </p:anim>
                                  </p:childTnLst>
                                </p:cTn>
                              </p:par>
                              <p:par>
                                <p:cTn id="63" presetID="2" presetClass="entr" presetSubtype="2" fill="hold" nodeType="withEffect">
                                  <p:stCondLst>
                                    <p:cond delay="0"/>
                                  </p:stCondLst>
                                  <p:childTnLst>
                                    <p:set>
                                      <p:cBhvr>
                                        <p:cTn id="64" dur="1" fill="hold">
                                          <p:stCondLst>
                                            <p:cond delay="0"/>
                                          </p:stCondLst>
                                        </p:cTn>
                                        <p:tgtEl>
                                          <p:spTgt spid="13"/>
                                        </p:tgtEl>
                                        <p:attrNameLst>
                                          <p:attrName>style.visibility</p:attrName>
                                        </p:attrNameLst>
                                      </p:cBhvr>
                                      <p:to>
                                        <p:strVal val="visible"/>
                                      </p:to>
                                    </p:set>
                                    <p:anim calcmode="lin" valueType="num">
                                      <p:cBhvr additive="base">
                                        <p:cTn id="65" dur="500" fill="hold"/>
                                        <p:tgtEl>
                                          <p:spTgt spid="13"/>
                                        </p:tgtEl>
                                        <p:attrNameLst>
                                          <p:attrName>ppt_x</p:attrName>
                                        </p:attrNameLst>
                                      </p:cBhvr>
                                      <p:tavLst>
                                        <p:tav tm="0">
                                          <p:val>
                                            <p:strVal val="1+#ppt_w/2"/>
                                          </p:val>
                                        </p:tav>
                                        <p:tav tm="100000">
                                          <p:val>
                                            <p:strVal val="#ppt_x"/>
                                          </p:val>
                                        </p:tav>
                                      </p:tavLst>
                                    </p:anim>
                                    <p:anim calcmode="lin" valueType="num">
                                      <p:cBhvr additive="base">
                                        <p:cTn id="66" dur="500" fill="hold"/>
                                        <p:tgtEl>
                                          <p:spTgt spid="13"/>
                                        </p:tgtEl>
                                        <p:attrNameLst>
                                          <p:attrName>ppt_y</p:attrName>
                                        </p:attrNameLst>
                                      </p:cBhvr>
                                      <p:tavLst>
                                        <p:tav tm="0">
                                          <p:val>
                                            <p:strVal val="#ppt_y"/>
                                          </p:val>
                                        </p:tav>
                                        <p:tav tm="100000">
                                          <p:val>
                                            <p:strVal val="#ppt_y"/>
                                          </p:val>
                                        </p:tav>
                                      </p:tavLst>
                                    </p:anim>
                                  </p:childTnLst>
                                </p:cTn>
                              </p:par>
                              <p:par>
                                <p:cTn id="67" presetID="2" presetClass="entr" presetSubtype="2"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additive="base">
                                        <p:cTn id="69" dur="500" fill="hold"/>
                                        <p:tgtEl>
                                          <p:spTgt spid="2"/>
                                        </p:tgtEl>
                                        <p:attrNameLst>
                                          <p:attrName>ppt_x</p:attrName>
                                        </p:attrNameLst>
                                      </p:cBhvr>
                                      <p:tavLst>
                                        <p:tav tm="0">
                                          <p:val>
                                            <p:strVal val="1+#ppt_w/2"/>
                                          </p:val>
                                        </p:tav>
                                        <p:tav tm="100000">
                                          <p:val>
                                            <p:strVal val="#ppt_x"/>
                                          </p:val>
                                        </p:tav>
                                      </p:tavLst>
                                    </p:anim>
                                    <p:anim calcmode="lin" valueType="num">
                                      <p:cBhvr additive="base">
                                        <p:cTn id="70" dur="500" fill="hold"/>
                                        <p:tgtEl>
                                          <p:spTgt spid="2"/>
                                        </p:tgtEl>
                                        <p:attrNameLst>
                                          <p:attrName>ppt_y</p:attrName>
                                        </p:attrNameLst>
                                      </p:cBhvr>
                                      <p:tavLst>
                                        <p:tav tm="0">
                                          <p:val>
                                            <p:strVal val="#ppt_y"/>
                                          </p:val>
                                        </p:tav>
                                        <p:tav tm="100000">
                                          <p:val>
                                            <p:strVal val="#ppt_y"/>
                                          </p:val>
                                        </p:tav>
                                      </p:tavLst>
                                    </p:anim>
                                  </p:childTnLst>
                                </p:cTn>
                              </p:par>
                              <p:par>
                                <p:cTn id="71" presetID="2" presetClass="entr" presetSubtype="2" fill="hold" nodeType="withEffect">
                                  <p:stCondLst>
                                    <p:cond delay="0"/>
                                  </p:stCondLst>
                                  <p:childTnLst>
                                    <p:set>
                                      <p:cBhvr>
                                        <p:cTn id="72" dur="1" fill="hold">
                                          <p:stCondLst>
                                            <p:cond delay="0"/>
                                          </p:stCondLst>
                                        </p:cTn>
                                        <p:tgtEl>
                                          <p:spTgt spid="12"/>
                                        </p:tgtEl>
                                        <p:attrNameLst>
                                          <p:attrName>style.visibility</p:attrName>
                                        </p:attrNameLst>
                                      </p:cBhvr>
                                      <p:to>
                                        <p:strVal val="visible"/>
                                      </p:to>
                                    </p:set>
                                    <p:anim calcmode="lin" valueType="num">
                                      <p:cBhvr additive="base">
                                        <p:cTn id="73" dur="500" fill="hold"/>
                                        <p:tgtEl>
                                          <p:spTgt spid="12"/>
                                        </p:tgtEl>
                                        <p:attrNameLst>
                                          <p:attrName>ppt_x</p:attrName>
                                        </p:attrNameLst>
                                      </p:cBhvr>
                                      <p:tavLst>
                                        <p:tav tm="0">
                                          <p:val>
                                            <p:strVal val="1+#ppt_w/2"/>
                                          </p:val>
                                        </p:tav>
                                        <p:tav tm="100000">
                                          <p:val>
                                            <p:strVal val="#ppt_x"/>
                                          </p:val>
                                        </p:tav>
                                      </p:tavLst>
                                    </p:anim>
                                    <p:anim calcmode="lin" valueType="num">
                                      <p:cBhvr additive="base">
                                        <p:cTn id="74" dur="500" fill="hold"/>
                                        <p:tgtEl>
                                          <p:spTgt spid="12"/>
                                        </p:tgtEl>
                                        <p:attrNameLst>
                                          <p:attrName>ppt_y</p:attrName>
                                        </p:attrNameLst>
                                      </p:cBhvr>
                                      <p:tavLst>
                                        <p:tav tm="0">
                                          <p:val>
                                            <p:strVal val="#ppt_y"/>
                                          </p:val>
                                        </p:tav>
                                        <p:tav tm="100000">
                                          <p:val>
                                            <p:strVal val="#ppt_y"/>
                                          </p:val>
                                        </p:tav>
                                      </p:tavLst>
                                    </p:anim>
                                  </p:childTnLst>
                                </p:cTn>
                              </p:par>
                              <p:par>
                                <p:cTn id="75" presetID="2" presetClass="entr" presetSubtype="2" fill="hold" nodeType="withEffect">
                                  <p:stCondLst>
                                    <p:cond delay="0"/>
                                  </p:stCondLst>
                                  <p:childTnLst>
                                    <p:set>
                                      <p:cBhvr>
                                        <p:cTn id="76" dur="1" fill="hold">
                                          <p:stCondLst>
                                            <p:cond delay="0"/>
                                          </p:stCondLst>
                                        </p:cTn>
                                        <p:tgtEl>
                                          <p:spTgt spid="10"/>
                                        </p:tgtEl>
                                        <p:attrNameLst>
                                          <p:attrName>style.visibility</p:attrName>
                                        </p:attrNameLst>
                                      </p:cBhvr>
                                      <p:to>
                                        <p:strVal val="visible"/>
                                      </p:to>
                                    </p:set>
                                    <p:anim calcmode="lin" valueType="num">
                                      <p:cBhvr additive="base">
                                        <p:cTn id="77" dur="500" fill="hold"/>
                                        <p:tgtEl>
                                          <p:spTgt spid="10"/>
                                        </p:tgtEl>
                                        <p:attrNameLst>
                                          <p:attrName>ppt_x</p:attrName>
                                        </p:attrNameLst>
                                      </p:cBhvr>
                                      <p:tavLst>
                                        <p:tav tm="0">
                                          <p:val>
                                            <p:strVal val="1+#ppt_w/2"/>
                                          </p:val>
                                        </p:tav>
                                        <p:tav tm="100000">
                                          <p:val>
                                            <p:strVal val="#ppt_x"/>
                                          </p:val>
                                        </p:tav>
                                      </p:tavLst>
                                    </p:anim>
                                    <p:anim calcmode="lin" valueType="num">
                                      <p:cBhvr additive="base">
                                        <p:cTn id="7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bwMode="auto">
          <a:xfrm>
            <a:off x="9361412" y="1871606"/>
            <a:ext cx="2655234" cy="342314"/>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chemeClr val="bg1"/>
                </a:solidFill>
                <a:effectLst/>
                <a:uLnTx/>
                <a:uFillTx/>
              </a:rPr>
              <a:t>Business Connectivity</a:t>
            </a:r>
            <a:endParaRPr kumimoji="0" lang="en-US" sz="1224" b="0" i="0" u="none" strike="noStrike" kern="0" cap="none" spc="0" normalizeH="0" baseline="0" noProof="0">
              <a:ln>
                <a:noFill/>
              </a:ln>
              <a:solidFill>
                <a:schemeClr val="bg1"/>
              </a:solidFill>
              <a:effectLst/>
              <a:uLnTx/>
              <a:uFillTx/>
            </a:endParaRPr>
          </a:p>
        </p:txBody>
      </p:sp>
      <p:sp>
        <p:nvSpPr>
          <p:cNvPr id="74" name="Rectangle 73"/>
          <p:cNvSpPr/>
          <p:nvPr/>
        </p:nvSpPr>
        <p:spPr bwMode="auto">
          <a:xfrm>
            <a:off x="4971926" y="1871605"/>
            <a:ext cx="4092180" cy="347213"/>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chemeClr val="bg1"/>
                </a:solidFill>
                <a:effectLst/>
                <a:uLnTx/>
                <a:uFillTx/>
              </a:rPr>
              <a:t>Data Processing, Analytics and Management</a:t>
            </a:r>
          </a:p>
        </p:txBody>
      </p:sp>
      <p:sp>
        <p:nvSpPr>
          <p:cNvPr id="76" name="Rectangle 75"/>
          <p:cNvSpPr/>
          <p:nvPr/>
        </p:nvSpPr>
        <p:spPr bwMode="auto">
          <a:xfrm>
            <a:off x="603069" y="1871605"/>
            <a:ext cx="4063525" cy="342314"/>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algn="ctr" defTabSz="950115" fontAlgn="base">
              <a:lnSpc>
                <a:spcPct val="90000"/>
              </a:lnSpc>
              <a:spcBef>
                <a:spcPct val="0"/>
              </a:spcBef>
              <a:spcAft>
                <a:spcPct val="0"/>
              </a:spcAft>
            </a:pPr>
            <a:r>
              <a:rPr lang="en-US" sz="1428" kern="0">
                <a:solidFill>
                  <a:schemeClr val="bg1"/>
                </a:solidFill>
              </a:rPr>
              <a:t>Device Connectivity and Management</a:t>
            </a:r>
          </a:p>
        </p:txBody>
      </p:sp>
      <p:grpSp>
        <p:nvGrpSpPr>
          <p:cNvPr id="109" name="Group 108"/>
          <p:cNvGrpSpPr/>
          <p:nvPr/>
        </p:nvGrpSpPr>
        <p:grpSpPr>
          <a:xfrm>
            <a:off x="614428" y="4707698"/>
            <a:ext cx="1237582" cy="952473"/>
            <a:chOff x="7665928" y="5319847"/>
            <a:chExt cx="1213426" cy="933882"/>
          </a:xfrm>
        </p:grpSpPr>
        <p:sp>
          <p:nvSpPr>
            <p:cNvPr id="128" name="TextBox 127"/>
            <p:cNvSpPr txBox="1"/>
            <p:nvPr/>
          </p:nvSpPr>
          <p:spPr>
            <a:xfrm>
              <a:off x="7828680" y="548259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29" name="TextBox 128"/>
            <p:cNvSpPr txBox="1"/>
            <p:nvPr/>
          </p:nvSpPr>
          <p:spPr>
            <a:xfrm>
              <a:off x="7747304" y="540122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0" name="TextBox 129"/>
            <p:cNvSpPr txBox="1"/>
            <p:nvPr/>
          </p:nvSpPr>
          <p:spPr>
            <a:xfrm>
              <a:off x="7665928" y="531984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Low power device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131" name="Group 130"/>
          <p:cNvGrpSpPr/>
          <p:nvPr/>
        </p:nvGrpSpPr>
        <p:grpSpPr>
          <a:xfrm>
            <a:off x="614105" y="3602027"/>
            <a:ext cx="1237582" cy="952473"/>
            <a:chOff x="4142929" y="5113897"/>
            <a:chExt cx="1213426" cy="933882"/>
          </a:xfrm>
        </p:grpSpPr>
        <p:sp>
          <p:nvSpPr>
            <p:cNvPr id="132" name="TextBox 131"/>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3" name="TextBox 132"/>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4" name="TextBox 133"/>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Existing </a:t>
              </a:r>
              <a:r>
                <a:rPr kumimoji="0" lang="en-US" sz="1122" b="0" i="0" u="none" strike="noStrike" kern="0" cap="none" spc="0" normalizeH="0" baseline="0" noProof="0" err="1">
                  <a:ln>
                    <a:noFill/>
                  </a:ln>
                  <a:solidFill>
                    <a:sysClr val="windowText" lastClr="000000"/>
                  </a:solidFill>
                  <a:effectLst/>
                  <a:uLnTx/>
                  <a:uFillTx/>
                  <a:cs typeface="Arial" panose="020B0604020202020204" pitchFamily="34" charset="0"/>
                </a:rPr>
                <a:t>IoT</a:t>
              </a: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 devices</a:t>
              </a: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a:ln>
                  <a:noFill/>
                </a:ln>
                <a:solidFill>
                  <a:sysClr val="windowText" lastClr="000000"/>
                </a:solidFill>
                <a:effectLst/>
                <a:uLnTx/>
                <a:uFillTx/>
                <a:cs typeface="Arial" panose="020B0604020202020204" pitchFamily="34" charset="0"/>
              </a:endParaRP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5" name="Rectangle 134"/>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sp>
        <p:nvSpPr>
          <p:cNvPr id="136" name="Oval 135"/>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cs typeface="Arial" panose="020B0604020202020204" pitchFamily="34" charset="0"/>
            </a:endParaRPr>
          </a:p>
        </p:txBody>
      </p:sp>
      <p:sp>
        <p:nvSpPr>
          <p:cNvPr id="137" name="Oval 136"/>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cs typeface="Arial" panose="020B0604020202020204" pitchFamily="34" charset="0"/>
            </a:endParaRPr>
          </a:p>
        </p:txBody>
      </p:sp>
      <p:sp>
        <p:nvSpPr>
          <p:cNvPr id="138" name="Rectangle 137"/>
          <p:cNvSpPr/>
          <p:nvPr/>
        </p:nvSpPr>
        <p:spPr>
          <a:xfrm>
            <a:off x="3703244" y="2380778"/>
            <a:ext cx="6656734" cy="3165118"/>
          </a:xfrm>
          <a:prstGeom prst="rect">
            <a:avLst/>
          </a:prstGeom>
          <a:ln w="1270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black"/>
              </a:solidFill>
              <a:effectLst/>
              <a:uLnTx/>
              <a:uFillTx/>
              <a:cs typeface="Arial" panose="020B0604020202020204" pitchFamily="34" charset="0"/>
            </a:endParaRPr>
          </a:p>
        </p:txBody>
      </p:sp>
      <p:sp>
        <p:nvSpPr>
          <p:cNvPr id="139" name="Rectangle 138"/>
          <p:cNvSpPr/>
          <p:nvPr/>
        </p:nvSpPr>
        <p:spPr>
          <a:xfrm>
            <a:off x="9371661" y="2577195"/>
            <a:ext cx="842579" cy="1272150"/>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olution UX</a:t>
            </a:r>
          </a:p>
        </p:txBody>
      </p:sp>
      <p:sp>
        <p:nvSpPr>
          <p:cNvPr id="140" name="Rectangle 139"/>
          <p:cNvSpPr/>
          <p:nvPr/>
        </p:nvSpPr>
        <p:spPr>
          <a:xfrm>
            <a:off x="4971925" y="2570428"/>
            <a:ext cx="2098358" cy="402657"/>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Provisioning API</a:t>
            </a:r>
          </a:p>
        </p:txBody>
      </p:sp>
      <p:sp>
        <p:nvSpPr>
          <p:cNvPr id="141" name="Rectangle 140"/>
          <p:cNvSpPr/>
          <p:nvPr/>
        </p:nvSpPr>
        <p:spPr>
          <a:xfrm>
            <a:off x="4975577" y="3233347"/>
            <a:ext cx="1725242" cy="305731"/>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Device Registry</a:t>
            </a:r>
          </a:p>
        </p:txBody>
      </p:sp>
      <p:cxnSp>
        <p:nvCxnSpPr>
          <p:cNvPr id="142" name="Straight Arrow Connector 141"/>
          <p:cNvCxnSpPr>
            <a:stCxn id="140" idx="2"/>
          </p:cNvCxnSpPr>
          <p:nvPr/>
        </p:nvCxnSpPr>
        <p:spPr>
          <a:xfrm>
            <a:off x="6021105" y="2973086"/>
            <a:ext cx="2840" cy="263269"/>
          </a:xfrm>
          <a:prstGeom prst="straightConnector1">
            <a:avLst/>
          </a:prstGeom>
          <a:noFill/>
          <a:ln w="19050" cap="flat" cmpd="sng" algn="ctr">
            <a:solidFill>
              <a:srgbClr val="0078D7"/>
            </a:solidFill>
            <a:prstDash val="solid"/>
            <a:miter lim="800000"/>
            <a:tailEnd type="triangle"/>
          </a:ln>
          <a:effectLst/>
        </p:spPr>
      </p:cxnSp>
      <p:cxnSp>
        <p:nvCxnSpPr>
          <p:cNvPr id="143" name="Straight Arrow Connector 142"/>
          <p:cNvCxnSpPr>
            <a:stCxn id="139" idx="2"/>
            <a:endCxn id="163" idx="0"/>
          </p:cNvCxnSpPr>
          <p:nvPr/>
        </p:nvCxnSpPr>
        <p:spPr>
          <a:xfrm>
            <a:off x="8119645" y="2973086"/>
            <a:ext cx="0" cy="252114"/>
          </a:xfrm>
          <a:prstGeom prst="straightConnector1">
            <a:avLst/>
          </a:prstGeom>
          <a:noFill/>
          <a:ln w="19050" cap="flat" cmpd="sng" algn="ctr">
            <a:solidFill>
              <a:srgbClr val="0078D7"/>
            </a:solidFill>
            <a:prstDash val="solid"/>
            <a:miter lim="800000"/>
            <a:tailEnd type="triangle"/>
          </a:ln>
          <a:effectLst/>
        </p:spPr>
      </p:cxnSp>
      <p:cxnSp>
        <p:nvCxnSpPr>
          <p:cNvPr id="144" name="Straight Arrow Connector 143"/>
          <p:cNvCxnSpPr>
            <a:endCxn id="149" idx="2"/>
          </p:cNvCxnSpPr>
          <p:nvPr/>
        </p:nvCxnSpPr>
        <p:spPr>
          <a:xfrm flipH="1" flipV="1">
            <a:off x="7062227" y="3536034"/>
            <a:ext cx="349910" cy="1838"/>
          </a:xfrm>
          <a:prstGeom prst="straightConnector1">
            <a:avLst/>
          </a:prstGeom>
          <a:noFill/>
          <a:ln w="19050" cap="flat" cmpd="sng" algn="ctr">
            <a:solidFill>
              <a:srgbClr val="0078D7"/>
            </a:solidFill>
            <a:prstDash val="solid"/>
            <a:miter lim="800000"/>
            <a:tailEnd type="triangle"/>
          </a:ln>
          <a:effectLst/>
        </p:spPr>
      </p:cxnSp>
      <p:sp>
        <p:nvSpPr>
          <p:cNvPr id="145" name="Rectangle 144"/>
          <p:cNvSpPr/>
          <p:nvPr/>
        </p:nvSpPr>
        <p:spPr>
          <a:xfrm>
            <a:off x="4971927" y="4028179"/>
            <a:ext cx="4080323" cy="38011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tream Processors</a:t>
            </a:r>
          </a:p>
        </p:txBody>
      </p:sp>
      <p:sp>
        <p:nvSpPr>
          <p:cNvPr id="146" name="Rectangle 145"/>
          <p:cNvSpPr/>
          <p:nvPr/>
        </p:nvSpPr>
        <p:spPr>
          <a:xfrm>
            <a:off x="7428250" y="4594571"/>
            <a:ext cx="1623999"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nalytics &amp;</a:t>
            </a:r>
            <a:b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b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Machine Learning</a:t>
            </a:r>
          </a:p>
        </p:txBody>
      </p:sp>
      <p:cxnSp>
        <p:nvCxnSpPr>
          <p:cNvPr id="147" name="Straight Arrow Connector 146"/>
          <p:cNvCxnSpPr>
            <a:endCxn id="145" idx="1"/>
          </p:cNvCxnSpPr>
          <p:nvPr/>
        </p:nvCxnSpPr>
        <p:spPr>
          <a:xfrm>
            <a:off x="4674619" y="4217829"/>
            <a:ext cx="297307" cy="408"/>
          </a:xfrm>
          <a:prstGeom prst="straightConnector1">
            <a:avLst/>
          </a:prstGeom>
          <a:noFill/>
          <a:ln w="19050" cap="flat" cmpd="sng" algn="ctr">
            <a:solidFill>
              <a:srgbClr val="0078D7"/>
            </a:solidFill>
            <a:prstDash val="solid"/>
            <a:miter lim="800000"/>
            <a:tailEnd type="triangle"/>
          </a:ln>
          <a:effectLst/>
        </p:spPr>
      </p:cxnSp>
      <p:sp>
        <p:nvSpPr>
          <p:cNvPr id="148" name="Rectangle 147"/>
          <p:cNvSpPr/>
          <p:nvPr/>
        </p:nvSpPr>
        <p:spPr>
          <a:xfrm>
            <a:off x="9371660" y="3897497"/>
            <a:ext cx="842580" cy="148960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Business Integration Connectors and Gateway(s)</a:t>
            </a: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p:txBody>
      </p:sp>
      <p:sp>
        <p:nvSpPr>
          <p:cNvPr id="149" name="L-Shape 148"/>
          <p:cNvSpPr/>
          <p:nvPr/>
        </p:nvSpPr>
        <p:spPr>
          <a:xfrm flipH="1">
            <a:off x="4975577" y="3233348"/>
            <a:ext cx="2086650" cy="605371"/>
          </a:xfrm>
          <a:prstGeom prst="corner">
            <a:avLst>
              <a:gd name="adj1" fmla="val 46089"/>
              <a:gd name="adj2" fmla="val 55821"/>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Device State Store</a:t>
            </a:r>
          </a:p>
        </p:txBody>
      </p:sp>
      <p:sp>
        <p:nvSpPr>
          <p:cNvPr id="150" name="Rectangle 149"/>
          <p:cNvSpPr/>
          <p:nvPr/>
        </p:nvSpPr>
        <p:spPr>
          <a:xfrm>
            <a:off x="2193923" y="4161858"/>
            <a:ext cx="1039857" cy="928442"/>
          </a:xfrm>
          <a:prstGeom prst="rect">
            <a:avLst/>
          </a:prstGeom>
          <a:noFill/>
          <a:ln w="15875" cap="flat" cmpd="sng" algn="ctr">
            <a:solidFill>
              <a:srgbClr val="0078D7"/>
            </a:solidFill>
            <a:prstDash val="dash"/>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effectLst/>
                <a:uLnTx/>
                <a:uFillTx/>
                <a:cs typeface="Arial" panose="020B0604020202020204" pitchFamily="34" charset="0"/>
              </a:rPr>
              <a:t>Gateway</a:t>
            </a:r>
            <a:br>
              <a:rPr kumimoji="0" lang="en-US" sz="1224" b="0" i="0" u="none" strike="noStrike" kern="0" cap="none" spc="0" normalizeH="0" baseline="0" noProof="0">
                <a:ln>
                  <a:noFill/>
                </a:ln>
                <a:effectLst/>
                <a:uLnTx/>
                <a:uFillTx/>
                <a:cs typeface="Arial" panose="020B0604020202020204" pitchFamily="34" charset="0"/>
              </a:rPr>
            </a:br>
            <a:endParaRPr kumimoji="0" lang="en-US" sz="1224" b="0" i="0" u="none" strike="noStrike" kern="0" cap="none" spc="0" normalizeH="0" baseline="0" noProof="0">
              <a:ln>
                <a:noFill/>
              </a:ln>
              <a:effectLst/>
              <a:uLnTx/>
              <a:uFillTx/>
              <a:cs typeface="Arial" panose="020B0604020202020204" pitchFamily="34" charset="0"/>
            </a:endParaRPr>
          </a:p>
        </p:txBody>
      </p:sp>
      <p:sp>
        <p:nvSpPr>
          <p:cNvPr id="151" name="Rectangle 150"/>
          <p:cNvSpPr/>
          <p:nvPr/>
        </p:nvSpPr>
        <p:spPr>
          <a:xfrm>
            <a:off x="4971925" y="4594571"/>
            <a:ext cx="2090301"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torage</a:t>
            </a:r>
          </a:p>
        </p:txBody>
      </p:sp>
      <p:cxnSp>
        <p:nvCxnSpPr>
          <p:cNvPr id="152" name="Straight Arrow Connector 151"/>
          <p:cNvCxnSpPr/>
          <p:nvPr/>
        </p:nvCxnSpPr>
        <p:spPr>
          <a:xfrm flipH="1">
            <a:off x="7070283" y="4990838"/>
            <a:ext cx="349910"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flipV="1">
            <a:off x="8200737" y="3849345"/>
            <a:ext cx="0" cy="178833"/>
          </a:xfrm>
          <a:prstGeom prst="straightConnector1">
            <a:avLst/>
          </a:prstGeom>
          <a:noFill/>
          <a:ln w="19050" cap="flat" cmpd="sng" algn="ctr">
            <a:solidFill>
              <a:srgbClr val="0078D7"/>
            </a:solidFill>
            <a:prstDash val="solid"/>
            <a:miter lim="800000"/>
            <a:tailEnd type="triangle"/>
          </a:ln>
          <a:effectLst/>
        </p:spPr>
      </p:cxnSp>
      <p:cxnSp>
        <p:nvCxnSpPr>
          <p:cNvPr id="154" name="Elbow Connector 153"/>
          <p:cNvCxnSpPr/>
          <p:nvPr/>
        </p:nvCxnSpPr>
        <p:spPr>
          <a:xfrm rot="16200000" flipH="1">
            <a:off x="5927897" y="4497631"/>
            <a:ext cx="192463" cy="367"/>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Elbow Connector 154"/>
          <p:cNvCxnSpPr/>
          <p:nvPr/>
        </p:nvCxnSpPr>
        <p:spPr>
          <a:xfrm rot="16200000" flipH="1">
            <a:off x="8117796" y="4501434"/>
            <a:ext cx="186278" cy="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3828143" y="2570428"/>
            <a:ext cx="839343" cy="281667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Cloud Gateway</a:t>
            </a: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IoT</a:t>
            </a:r>
          </a:p>
          <a:p>
            <a:pPr marL="0" marR="0" lvl="0" indent="0" algn="ctr" defTabSz="932563" eaLnBrk="1" fontAlgn="auto" latinLnBrk="0" hangingPunct="1">
              <a:lnSpc>
                <a:spcPct val="100000"/>
              </a:lnSpc>
              <a:spcBef>
                <a:spcPts val="0"/>
              </a:spcBef>
              <a:spcAft>
                <a:spcPts val="0"/>
              </a:spcAft>
              <a:buClrTx/>
              <a:buSzTx/>
              <a:buFontTx/>
              <a:buNone/>
              <a:tabLst/>
              <a:defRPr/>
            </a:pPr>
            <a:r>
              <a:rPr lang="en-US" sz="1020" b="1" kern="0">
                <a:solidFill>
                  <a:srgbClr val="FFFFFF"/>
                </a:solidFill>
                <a:latin typeface="Segoe UI" panose="020B0502040204020203" pitchFamily="34" charset="0"/>
                <a:cs typeface="Segoe UI" panose="020B0502040204020203" pitchFamily="34" charset="0"/>
              </a:rPr>
              <a:t>Hub</a:t>
            </a: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r>
              <a:rPr lang="en-US" sz="1020" b="1" kern="0">
                <a:solidFill>
                  <a:srgbClr val="FFFFFF"/>
                </a:solidFill>
                <a:latin typeface="Segoe UI" panose="020B0502040204020203" pitchFamily="34" charset="0"/>
                <a:cs typeface="Segoe UI" panose="020B0502040204020203" pitchFamily="34" charset="0"/>
              </a:rPr>
              <a:t>Event</a:t>
            </a:r>
          </a:p>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Hub</a:t>
            </a:r>
          </a:p>
        </p:txBody>
      </p:sp>
      <p:cxnSp>
        <p:nvCxnSpPr>
          <p:cNvPr id="157" name="Elbow Connector 156"/>
          <p:cNvCxnSpPr>
            <a:endCxn id="150" idx="1"/>
          </p:cNvCxnSpPr>
          <p:nvPr/>
        </p:nvCxnSpPr>
        <p:spPr>
          <a:xfrm flipV="1">
            <a:off x="1702284" y="4626079"/>
            <a:ext cx="491639" cy="474861"/>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endCxn id="150" idx="1"/>
          </p:cNvCxnSpPr>
          <p:nvPr/>
        </p:nvCxnSpPr>
        <p:spPr>
          <a:xfrm>
            <a:off x="1700459" y="4161860"/>
            <a:ext cx="493464" cy="464219"/>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3265188" y="4626080"/>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0" name="Straight Arrow Connector 159"/>
          <p:cNvCxnSpPr/>
          <p:nvPr/>
        </p:nvCxnSpPr>
        <p:spPr>
          <a:xfrm>
            <a:off x="1709850" y="3897497"/>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1" name="Straight Arrow Connector 160"/>
          <p:cNvCxnSpPr>
            <a:stCxn id="140" idx="1"/>
          </p:cNvCxnSpPr>
          <p:nvPr/>
        </p:nvCxnSpPr>
        <p:spPr>
          <a:xfrm flipH="1">
            <a:off x="4666596" y="2771757"/>
            <a:ext cx="305330" cy="0"/>
          </a:xfrm>
          <a:prstGeom prst="straightConnector1">
            <a:avLst/>
          </a:prstGeom>
          <a:noFill/>
          <a:ln w="19050" cap="flat" cmpd="sng" algn="ctr">
            <a:solidFill>
              <a:srgbClr val="0078D7"/>
            </a:solidFill>
            <a:prstDash val="solid"/>
            <a:miter lim="800000"/>
            <a:tailEnd type="triangle"/>
          </a:ln>
          <a:effectLst/>
        </p:spPr>
      </p:cxnSp>
      <p:cxnSp>
        <p:nvCxnSpPr>
          <p:cNvPr id="162" name="Elbow Connector 161"/>
          <p:cNvCxnSpPr/>
          <p:nvPr/>
        </p:nvCxnSpPr>
        <p:spPr>
          <a:xfrm rot="10800000" flipV="1">
            <a:off x="4666599" y="3090635"/>
            <a:ext cx="2765967" cy="1296"/>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7420193" y="2570428"/>
            <a:ext cx="1632055" cy="1278918"/>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pp Backend</a:t>
            </a:r>
          </a:p>
        </p:txBody>
      </p:sp>
      <p:cxnSp>
        <p:nvCxnSpPr>
          <p:cNvPr id="164" name="Straight Arrow Connector 163"/>
          <p:cNvCxnSpPr/>
          <p:nvPr/>
        </p:nvCxnSpPr>
        <p:spPr>
          <a:xfrm flipH="1">
            <a:off x="7070283" y="2771757"/>
            <a:ext cx="349910" cy="0"/>
          </a:xfrm>
          <a:prstGeom prst="straightConnector1">
            <a:avLst/>
          </a:prstGeom>
          <a:noFill/>
          <a:ln w="19050" cap="flat" cmpd="sng" algn="ctr">
            <a:solidFill>
              <a:srgbClr val="0078D7"/>
            </a:solidFill>
            <a:prstDash val="solid"/>
            <a:miter lim="800000"/>
            <a:tailEnd type="triangle"/>
          </a:ln>
          <a:effectLst/>
        </p:spPr>
      </p:cxnSp>
      <p:cxnSp>
        <p:nvCxnSpPr>
          <p:cNvPr id="165" name="Straight Arrow Connector 164"/>
          <p:cNvCxnSpPr/>
          <p:nvPr/>
        </p:nvCxnSpPr>
        <p:spPr>
          <a:xfrm flipV="1">
            <a:off x="6021105" y="3845124"/>
            <a:ext cx="3138" cy="190058"/>
          </a:xfrm>
          <a:prstGeom prst="straightConnector1">
            <a:avLst/>
          </a:prstGeom>
          <a:noFill/>
          <a:ln w="19050" cap="flat" cmpd="sng" algn="ctr">
            <a:solidFill>
              <a:srgbClr val="0078D7"/>
            </a:solidFill>
            <a:prstDash val="solid"/>
            <a:miter lim="800000"/>
            <a:tailEnd type="triangle"/>
          </a:ln>
          <a:effectLst/>
        </p:spPr>
      </p:cxnSp>
      <p:cxnSp>
        <p:nvCxnSpPr>
          <p:cNvPr id="166" name="Straight Arrow Connector 165"/>
          <p:cNvCxnSpPr>
            <a:stCxn id="145" idx="3"/>
          </p:cNvCxnSpPr>
          <p:nvPr/>
        </p:nvCxnSpPr>
        <p:spPr>
          <a:xfrm>
            <a:off x="9052250" y="4218237"/>
            <a:ext cx="310883" cy="5425"/>
          </a:xfrm>
          <a:prstGeom prst="straightConnector1">
            <a:avLst/>
          </a:prstGeom>
          <a:noFill/>
          <a:ln w="19050" cap="flat" cmpd="sng" algn="ctr">
            <a:solidFill>
              <a:srgbClr val="0078D7"/>
            </a:solidFill>
            <a:prstDash val="solid"/>
            <a:miter lim="800000"/>
            <a:tailEnd type="triangle"/>
          </a:ln>
          <a:effectLst/>
        </p:spPr>
      </p:cxnSp>
      <p:cxnSp>
        <p:nvCxnSpPr>
          <p:cNvPr id="167" name="Straight Arrow Connector 166"/>
          <p:cNvCxnSpPr/>
          <p:nvPr/>
        </p:nvCxnSpPr>
        <p:spPr>
          <a:xfrm>
            <a:off x="9064106" y="4970105"/>
            <a:ext cx="297306" cy="408"/>
          </a:xfrm>
          <a:prstGeom prst="straightConnector1">
            <a:avLst/>
          </a:prstGeom>
          <a:noFill/>
          <a:ln w="19050" cap="flat" cmpd="sng" algn="ctr">
            <a:solidFill>
              <a:srgbClr val="0078D7"/>
            </a:solidFill>
            <a:prstDash val="solid"/>
            <a:miter lim="800000"/>
            <a:tailEnd type="triangle"/>
          </a:ln>
          <a:effectLst/>
        </p:spPr>
      </p:cxnSp>
      <p:sp>
        <p:nvSpPr>
          <p:cNvPr id="168" name="Rectangle 167"/>
          <p:cNvSpPr/>
          <p:nvPr/>
        </p:nvSpPr>
        <p:spPr>
          <a:xfrm>
            <a:off x="2370476" y="4721398"/>
            <a:ext cx="702327" cy="275339"/>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nvGrpSpPr>
          <p:cNvPr id="169" name="Group 168"/>
          <p:cNvGrpSpPr/>
          <p:nvPr/>
        </p:nvGrpSpPr>
        <p:grpSpPr>
          <a:xfrm>
            <a:off x="10795282" y="2577195"/>
            <a:ext cx="1237582" cy="952473"/>
            <a:chOff x="10305331" y="1809466"/>
            <a:chExt cx="1213426" cy="933882"/>
          </a:xfrm>
        </p:grpSpPr>
        <p:sp>
          <p:nvSpPr>
            <p:cNvPr id="170" name="TextBox 169"/>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1" name="TextBox 170"/>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2" name="TextBox 171"/>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Personal mobile device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173" name="Group 172"/>
          <p:cNvGrpSpPr/>
          <p:nvPr/>
        </p:nvGrpSpPr>
        <p:grpSpPr>
          <a:xfrm>
            <a:off x="612602" y="2414216"/>
            <a:ext cx="1237582" cy="952473"/>
            <a:chOff x="4142929" y="5113897"/>
            <a:chExt cx="1213426" cy="933882"/>
          </a:xfrm>
        </p:grpSpPr>
        <p:sp>
          <p:nvSpPr>
            <p:cNvPr id="174" name="TextBox 173"/>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5" name="TextBox 174"/>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6" name="TextBox 175"/>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IP capable devices</a:t>
              </a: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a:ln>
                  <a:noFill/>
                </a:ln>
                <a:solidFill>
                  <a:sysClr val="windowText" lastClr="000000"/>
                </a:solidFill>
                <a:effectLst/>
                <a:uLnTx/>
                <a:uFillTx/>
                <a:cs typeface="Arial" panose="020B0604020202020204" pitchFamily="34" charset="0"/>
              </a:endParaRP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7" name="Rectangle 176"/>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cxnSp>
        <p:nvCxnSpPr>
          <p:cNvPr id="178" name="Straight Arrow Connector 177"/>
          <p:cNvCxnSpPr/>
          <p:nvPr/>
        </p:nvCxnSpPr>
        <p:spPr>
          <a:xfrm>
            <a:off x="1709850" y="2838819"/>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79" name="Straight Arrow Connector 178"/>
          <p:cNvCxnSpPr/>
          <p:nvPr/>
        </p:nvCxnSpPr>
        <p:spPr>
          <a:xfrm>
            <a:off x="10376582" y="2985498"/>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grpSp>
        <p:nvGrpSpPr>
          <p:cNvPr id="180" name="Group 179"/>
          <p:cNvGrpSpPr/>
          <p:nvPr/>
        </p:nvGrpSpPr>
        <p:grpSpPr>
          <a:xfrm>
            <a:off x="10787732" y="4416752"/>
            <a:ext cx="1237582" cy="952473"/>
            <a:chOff x="10305331" y="1809466"/>
            <a:chExt cx="1213426" cy="933882"/>
          </a:xfrm>
        </p:grpSpPr>
        <p:sp>
          <p:nvSpPr>
            <p:cNvPr id="181" name="TextBox 180"/>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82" name="TextBox 18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83" name="TextBox 18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Business system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cxnSp>
        <p:nvCxnSpPr>
          <p:cNvPr id="184" name="Straight Arrow Connector 183"/>
          <p:cNvCxnSpPr/>
          <p:nvPr/>
        </p:nvCxnSpPr>
        <p:spPr>
          <a:xfrm>
            <a:off x="10369033" y="4825055"/>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5" name="Straight Arrow Connector 184"/>
          <p:cNvCxnSpPr/>
          <p:nvPr/>
        </p:nvCxnSpPr>
        <p:spPr>
          <a:xfrm>
            <a:off x="9063776" y="2962298"/>
            <a:ext cx="297306" cy="408"/>
          </a:xfrm>
          <a:prstGeom prst="straightConnector1">
            <a:avLst/>
          </a:prstGeom>
          <a:noFill/>
          <a:ln w="19050" cap="flat" cmpd="sng" algn="ctr">
            <a:solidFill>
              <a:srgbClr val="0078D7"/>
            </a:solidFill>
            <a:prstDash val="solid"/>
            <a:miter lim="800000"/>
            <a:headEnd type="triangle"/>
            <a:tailEnd type="triangle"/>
          </a:ln>
          <a:effectLst/>
        </p:spPr>
      </p:cxnSp>
      <p:cxnSp>
        <p:nvCxnSpPr>
          <p:cNvPr id="186" name="Elbow Connector 185"/>
          <p:cNvCxnSpPr/>
          <p:nvPr/>
        </p:nvCxnSpPr>
        <p:spPr>
          <a:xfrm rot="16200000" flipH="1">
            <a:off x="9042277" y="3712655"/>
            <a:ext cx="497813" cy="160961"/>
          </a:xfrm>
          <a:prstGeom prst="bentConnector3">
            <a:avLst>
              <a:gd name="adj1" fmla="val 100632"/>
            </a:avLst>
          </a:prstGeom>
          <a:ln w="19050">
            <a:solidFill>
              <a:srgbClr val="0078D7"/>
            </a:solidFill>
            <a:beve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83" idx="0"/>
            <a:endCxn id="172" idx="2"/>
          </p:cNvCxnSpPr>
          <p:nvPr/>
        </p:nvCxnSpPr>
        <p:spPr>
          <a:xfrm flipV="1">
            <a:off x="11323528" y="3363677"/>
            <a:ext cx="7549" cy="1053076"/>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8" name="Straight Arrow Connector 187"/>
          <p:cNvCxnSpPr/>
          <p:nvPr/>
        </p:nvCxnSpPr>
        <p:spPr>
          <a:xfrm>
            <a:off x="4666594" y="4964017"/>
            <a:ext cx="297307" cy="408"/>
          </a:xfrm>
          <a:prstGeom prst="straightConnector1">
            <a:avLst/>
          </a:prstGeom>
          <a:noFill/>
          <a:ln w="19050" cap="flat" cmpd="sng" algn="ctr">
            <a:solidFill>
              <a:srgbClr val="0078D7"/>
            </a:solidFill>
            <a:prstDash val="solid"/>
            <a:miter lim="800000"/>
            <a:tailEnd type="triangle"/>
          </a:ln>
          <a:effectLst/>
        </p:spPr>
      </p:cxnSp>
      <p:cxnSp>
        <p:nvCxnSpPr>
          <p:cNvPr id="189" name="Straight Arrow Connector 188"/>
          <p:cNvCxnSpPr/>
          <p:nvPr/>
        </p:nvCxnSpPr>
        <p:spPr>
          <a:xfrm>
            <a:off x="9056856" y="3551573"/>
            <a:ext cx="158434" cy="0"/>
          </a:xfrm>
          <a:prstGeom prst="straightConnector1">
            <a:avLst/>
          </a:prstGeom>
          <a:noFill/>
          <a:ln w="19050" cap="flat" cmpd="sng" algn="ctr">
            <a:solidFill>
              <a:srgbClr val="0078D7"/>
            </a:solidFill>
            <a:prstDash val="solid"/>
            <a:miter lim="800000"/>
            <a:headEnd type="triangle"/>
            <a:tailEnd type="none"/>
          </a:ln>
          <a:effectLst/>
        </p:spPr>
      </p:cxnSp>
      <p:pic>
        <p:nvPicPr>
          <p:cNvPr id="190" name="Picture 189"/>
          <p:cNvPicPr>
            <a:picLocks noChangeAspect="1"/>
          </p:cNvPicPr>
          <p:nvPr/>
        </p:nvPicPr>
        <p:blipFill>
          <a:blip r:embed="rId3">
            <a:biLevel thresh="25000"/>
          </a:blip>
          <a:stretch>
            <a:fillRect/>
          </a:stretch>
        </p:blipFill>
        <p:spPr>
          <a:xfrm>
            <a:off x="4057428" y="4774860"/>
            <a:ext cx="418112" cy="445471"/>
          </a:xfrm>
          <a:prstGeom prst="rect">
            <a:avLst/>
          </a:prstGeom>
        </p:spPr>
      </p:pic>
      <p:pic>
        <p:nvPicPr>
          <p:cNvPr id="191" name="Picture 190"/>
          <p:cNvPicPr>
            <a:picLocks noChangeAspect="1"/>
          </p:cNvPicPr>
          <p:nvPr/>
        </p:nvPicPr>
        <p:blipFill>
          <a:blip r:embed="rId4">
            <a:biLevel thresh="25000"/>
          </a:blip>
          <a:stretch>
            <a:fillRect/>
          </a:stretch>
        </p:blipFill>
        <p:spPr>
          <a:xfrm>
            <a:off x="6625984" y="5030631"/>
            <a:ext cx="371726" cy="326946"/>
          </a:xfrm>
          <a:prstGeom prst="rect">
            <a:avLst/>
          </a:prstGeom>
        </p:spPr>
      </p:pic>
      <p:pic>
        <p:nvPicPr>
          <p:cNvPr id="192" name="Picture 191"/>
          <p:cNvPicPr>
            <a:picLocks noChangeAspect="1"/>
          </p:cNvPicPr>
          <p:nvPr/>
        </p:nvPicPr>
        <p:blipFill>
          <a:blip r:embed="rId5">
            <a:biLevel thresh="25000"/>
          </a:blip>
          <a:stretch>
            <a:fillRect/>
          </a:stretch>
        </p:blipFill>
        <p:spPr>
          <a:xfrm>
            <a:off x="8724042" y="5064121"/>
            <a:ext cx="294069" cy="312420"/>
          </a:xfrm>
          <a:prstGeom prst="rect">
            <a:avLst/>
          </a:prstGeom>
        </p:spPr>
      </p:pic>
      <p:pic>
        <p:nvPicPr>
          <p:cNvPr id="211" name="Picture 210"/>
          <p:cNvPicPr>
            <a:picLocks noChangeAspect="1"/>
          </p:cNvPicPr>
          <p:nvPr/>
        </p:nvPicPr>
        <p:blipFill>
          <a:blip r:embed="rId6">
            <a:biLevel thresh="25000"/>
          </a:blip>
          <a:stretch>
            <a:fillRect/>
          </a:stretch>
        </p:blipFill>
        <p:spPr>
          <a:xfrm>
            <a:off x="5234704" y="4073427"/>
            <a:ext cx="424392" cy="328155"/>
          </a:xfrm>
          <a:prstGeom prst="rect">
            <a:avLst/>
          </a:prstGeom>
        </p:spPr>
      </p:pic>
      <p:pic>
        <p:nvPicPr>
          <p:cNvPr id="212" name="Picture 211"/>
          <p:cNvPicPr>
            <a:picLocks noChangeAspect="1"/>
          </p:cNvPicPr>
          <p:nvPr/>
        </p:nvPicPr>
        <p:blipFill>
          <a:blip r:embed="rId7">
            <a:biLevel thresh="25000"/>
          </a:blip>
          <a:stretch>
            <a:fillRect/>
          </a:stretch>
        </p:blipFill>
        <p:spPr>
          <a:xfrm>
            <a:off x="7528646" y="3427864"/>
            <a:ext cx="326411" cy="326964"/>
          </a:xfrm>
          <a:prstGeom prst="rect">
            <a:avLst/>
          </a:prstGeom>
        </p:spPr>
      </p:pic>
      <p:pic>
        <p:nvPicPr>
          <p:cNvPr id="213" name="Picture 212"/>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600996" y="3415823"/>
            <a:ext cx="339006" cy="339006"/>
          </a:xfrm>
          <a:prstGeom prst="rect">
            <a:avLst/>
          </a:prstGeom>
        </p:spPr>
      </p:pic>
      <p:pic>
        <p:nvPicPr>
          <p:cNvPr id="214" name="Picture 213"/>
          <p:cNvPicPr>
            <a:picLocks noChangeAspect="1"/>
          </p:cNvPicPr>
          <p:nvPr/>
        </p:nvPicPr>
        <p:blipFill>
          <a:blip r:embed="rId9">
            <a:biLevel thresh="25000"/>
          </a:blip>
          <a:stretch>
            <a:fillRect/>
          </a:stretch>
        </p:blipFill>
        <p:spPr>
          <a:xfrm>
            <a:off x="6749940" y="3406839"/>
            <a:ext cx="255403" cy="326411"/>
          </a:xfrm>
          <a:prstGeom prst="rect">
            <a:avLst/>
          </a:prstGeom>
        </p:spPr>
      </p:pic>
      <p:pic>
        <p:nvPicPr>
          <p:cNvPr id="215" name="Picture 214"/>
          <p:cNvPicPr>
            <a:picLocks noChangeAspect="1"/>
          </p:cNvPicPr>
          <p:nvPr/>
        </p:nvPicPr>
        <p:blipFill>
          <a:blip r:embed="rId10">
            <a:biLevel thresh="25000"/>
          </a:blip>
          <a:stretch>
            <a:fillRect/>
          </a:stretch>
        </p:blipFill>
        <p:spPr>
          <a:xfrm>
            <a:off x="6632971" y="2649773"/>
            <a:ext cx="320899" cy="320581"/>
          </a:xfrm>
          <a:prstGeom prst="rect">
            <a:avLst/>
          </a:prstGeom>
        </p:spPr>
      </p:pic>
      <p:pic>
        <p:nvPicPr>
          <p:cNvPr id="218" name="Picture 217"/>
          <p:cNvPicPr>
            <a:picLocks noChangeAspect="1"/>
          </p:cNvPicPr>
          <p:nvPr/>
        </p:nvPicPr>
        <p:blipFill>
          <a:blip r:embed="rId11">
            <a:biLevel thresh="25000"/>
          </a:blip>
          <a:stretch>
            <a:fillRect/>
          </a:stretch>
        </p:blipFill>
        <p:spPr>
          <a:xfrm>
            <a:off x="9617631" y="3433727"/>
            <a:ext cx="343959" cy="344540"/>
          </a:xfrm>
          <a:prstGeom prst="rect">
            <a:avLst/>
          </a:prstGeom>
        </p:spPr>
      </p:pic>
      <p:pic>
        <p:nvPicPr>
          <p:cNvPr id="219" name="Picture 2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615391" y="2696270"/>
            <a:ext cx="326411" cy="325476"/>
          </a:xfrm>
          <a:prstGeom prst="rect">
            <a:avLst/>
          </a:prstGeom>
        </p:spPr>
      </p:pic>
      <p:pic>
        <p:nvPicPr>
          <p:cNvPr id="220" name="Picture 219"/>
          <p:cNvPicPr>
            <a:picLocks noChangeAspect="1"/>
          </p:cNvPicPr>
          <p:nvPr/>
        </p:nvPicPr>
        <p:blipFill>
          <a:blip r:embed="rId13">
            <a:biLevel thresh="25000"/>
          </a:blip>
          <a:stretch>
            <a:fillRect/>
          </a:stretch>
        </p:blipFill>
        <p:spPr>
          <a:xfrm>
            <a:off x="9645995" y="5007041"/>
            <a:ext cx="326411" cy="326963"/>
          </a:xfrm>
          <a:prstGeom prst="rect">
            <a:avLst/>
          </a:prstGeom>
        </p:spPr>
      </p:pic>
      <p:grpSp>
        <p:nvGrpSpPr>
          <p:cNvPr id="221" name="Group 220"/>
          <p:cNvGrpSpPr/>
          <p:nvPr/>
        </p:nvGrpSpPr>
        <p:grpSpPr>
          <a:xfrm>
            <a:off x="611096" y="5885379"/>
            <a:ext cx="1897245" cy="557480"/>
            <a:chOff x="865965" y="5370682"/>
            <a:chExt cx="1860213" cy="546599"/>
          </a:xfrm>
        </p:grpSpPr>
        <p:grpSp>
          <p:nvGrpSpPr>
            <p:cNvPr id="222" name="Group 221"/>
            <p:cNvGrpSpPr/>
            <p:nvPr/>
          </p:nvGrpSpPr>
          <p:grpSpPr>
            <a:xfrm>
              <a:off x="865965" y="5370682"/>
              <a:ext cx="1860213" cy="546599"/>
              <a:chOff x="1223726" y="6180584"/>
              <a:chExt cx="1860213" cy="546599"/>
            </a:xfrm>
          </p:grpSpPr>
          <p:sp>
            <p:nvSpPr>
              <p:cNvPr id="224" name="TextBox 223"/>
              <p:cNvSpPr txBox="1"/>
              <p:nvPr/>
            </p:nvSpPr>
            <p:spPr>
              <a:xfrm>
                <a:off x="1509790" y="6180584"/>
                <a:ext cx="504946"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Data Path</a:t>
                </a:r>
              </a:p>
            </p:txBody>
          </p:sp>
          <p:sp>
            <p:nvSpPr>
              <p:cNvPr id="225" name="Rectangle 224"/>
              <p:cNvSpPr/>
              <p:nvPr/>
            </p:nvSpPr>
            <p:spPr>
              <a:xfrm>
                <a:off x="1223726" y="6371951"/>
                <a:ext cx="238367" cy="140896"/>
              </a:xfrm>
              <a:prstGeom prst="rect">
                <a:avLst/>
              </a:prstGeom>
              <a:noFill/>
              <a:ln>
                <a:solidFill>
                  <a:srgbClr val="0072C6"/>
                </a:solidFill>
                <a:prstDash val="dash"/>
              </a:ln>
            </p:spPr>
            <p:style>
              <a:lnRef idx="2">
                <a:schemeClr val="accent1"/>
              </a:lnRef>
              <a:fillRef idx="1">
                <a:schemeClr val="lt1"/>
              </a:fillRef>
              <a:effectRef idx="0">
                <a:schemeClr val="accent1"/>
              </a:effectRef>
              <a:fontRef idx="minor">
                <a:schemeClr val="dk1"/>
              </a:fontRef>
            </p:style>
            <p:txBody>
              <a:bodyPr tIns="93260" rtlCol="0" anchor="t"/>
              <a:lstStyle/>
              <a:p>
                <a:pPr marL="0" marR="0" lvl="0" indent="0" algn="ctr" defTabSz="932597"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schemeClr val="accent5"/>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TextBox 225"/>
              <p:cNvSpPr txBox="1"/>
              <p:nvPr/>
            </p:nvSpPr>
            <p:spPr>
              <a:xfrm>
                <a:off x="1509790" y="6374887"/>
                <a:ext cx="1532471"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Optional solution component</a:t>
                </a:r>
              </a:p>
            </p:txBody>
          </p:sp>
          <p:sp>
            <p:nvSpPr>
              <p:cNvPr id="227" name="Rectangle 226"/>
              <p:cNvSpPr/>
              <p:nvPr/>
            </p:nvSpPr>
            <p:spPr>
              <a:xfrm>
                <a:off x="1223726" y="6583874"/>
                <a:ext cx="238367" cy="140896"/>
              </a:xfrm>
              <a:prstGeom prst="rect">
                <a:avLst/>
              </a:prstGeom>
              <a:solidFill>
                <a:srgbClr val="0078D7"/>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32597"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TextBox 227"/>
              <p:cNvSpPr txBox="1"/>
              <p:nvPr/>
            </p:nvSpPr>
            <p:spPr>
              <a:xfrm>
                <a:off x="1509790" y="6585926"/>
                <a:ext cx="1574149"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Azure IoT solution component</a:t>
                </a:r>
              </a:p>
            </p:txBody>
          </p:sp>
        </p:grpSp>
        <p:cxnSp>
          <p:nvCxnSpPr>
            <p:cNvPr id="223" name="Straight Arrow Connector 222"/>
            <p:cNvCxnSpPr/>
            <p:nvPr/>
          </p:nvCxnSpPr>
          <p:spPr>
            <a:xfrm>
              <a:off x="865965" y="5439931"/>
              <a:ext cx="238367" cy="1967"/>
            </a:xfrm>
            <a:prstGeom prst="straightConnector1">
              <a:avLst/>
            </a:prstGeom>
            <a:noFill/>
            <a:ln w="19050" cap="flat" cmpd="sng" algn="ctr">
              <a:solidFill>
                <a:srgbClr val="0078D7"/>
              </a:solidFill>
              <a:prstDash val="solid"/>
              <a:miter lim="800000"/>
              <a:tailEnd type="triangle"/>
            </a:ln>
            <a:effectLst/>
          </p:spPr>
        </p:cxnSp>
      </p:grpSp>
      <p:sp>
        <p:nvSpPr>
          <p:cNvPr id="24" name="Title 23"/>
          <p:cNvSpPr>
            <a:spLocks noGrp="1"/>
          </p:cNvSpPr>
          <p:nvPr>
            <p:ph type="title"/>
          </p:nvPr>
        </p:nvSpPr>
        <p:spPr/>
        <p:txBody>
          <a:bodyPr/>
          <a:lstStyle/>
          <a:p>
            <a:r>
              <a:rPr lang="en-US" b="1"/>
              <a:t>Azure IoT Reference Architecture</a:t>
            </a:r>
          </a:p>
        </p:txBody>
      </p:sp>
      <p:pic>
        <p:nvPicPr>
          <p:cNvPr id="106" name="Picture 2" descr="image001"/>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559095" y="4079477"/>
            <a:ext cx="393684" cy="29234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11" name="Graphic 110">
            <a:extLst>
              <a:ext uri="{FF2B5EF4-FFF2-40B4-BE49-F238E27FC236}">
                <a16:creationId xmlns:a16="http://schemas.microsoft.com/office/drawing/2014/main" id="{332CC643-63CE-4D6B-B1C1-EEB19C86D85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56735" y="4981519"/>
            <a:ext cx="334920" cy="334920"/>
          </a:xfrm>
          <a:prstGeom prst="rect">
            <a:avLst/>
          </a:prstGeom>
        </p:spPr>
      </p:pic>
    </p:spTree>
    <p:extLst>
      <p:ext uri="{BB962C8B-B14F-4D97-AF65-F5344CB8AC3E}">
        <p14:creationId xmlns:p14="http://schemas.microsoft.com/office/powerpoint/2010/main" val="187726009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0.xml><?xml version="1.0" encoding="utf-8"?>
<a:theme xmlns:a="http://schemas.openxmlformats.org/drawingml/2006/main" name="1_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6-30537_Envision 2016 Keynote Template">
  <a:themeElements>
    <a:clrScheme name="Custom 26">
      <a:dk1>
        <a:srgbClr val="505050"/>
      </a:dk1>
      <a:lt1>
        <a:srgbClr val="FFFFFF"/>
      </a:lt1>
      <a:dk2>
        <a:srgbClr val="0072C6"/>
      </a:dk2>
      <a:lt2>
        <a:srgbClr val="D2D2D2"/>
      </a:lt2>
      <a:accent1>
        <a:srgbClr val="022050"/>
      </a:accent1>
      <a:accent2>
        <a:srgbClr val="00ABEC"/>
      </a:accent2>
      <a:accent3>
        <a:srgbClr val="88C502"/>
      </a:accent3>
      <a:accent4>
        <a:srgbClr val="1B348E"/>
      </a:accent4>
      <a:accent5>
        <a:srgbClr val="022050"/>
      </a:accent5>
      <a:accent6>
        <a:srgbClr val="88C50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1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3.xml><?xml version="1.0" encoding="utf-8"?>
<a:theme xmlns:a="http://schemas.openxmlformats.org/drawingml/2006/main" name="5_WHITE TEMPLATE">
  <a:themeElements>
    <a:clrScheme name="MSVID White and Teal_10-2014">
      <a:dk1>
        <a:srgbClr val="505050"/>
      </a:dk1>
      <a:lt1>
        <a:srgbClr val="FFFFFF"/>
      </a:lt1>
      <a:dk2>
        <a:srgbClr val="008272"/>
      </a:dk2>
      <a:lt2>
        <a:srgbClr val="D5F7F6"/>
      </a:lt2>
      <a:accent1>
        <a:srgbClr val="008272"/>
      </a:accent1>
      <a:accent2>
        <a:srgbClr val="B4009E"/>
      </a:accent2>
      <a:accent3>
        <a:srgbClr val="004B50"/>
      </a:accent3>
      <a:accent4>
        <a:srgbClr val="0078D7"/>
      </a:accent4>
      <a:accent5>
        <a:srgbClr val="5C2D91"/>
      </a:accent5>
      <a:accent6>
        <a:srgbClr val="D83B01"/>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TEAL_1" id="{5E4F6A35-5222-4964-BF6B-D8D6040D0130}" vid="{5DED90E8-4E6D-48DC-ABF5-5DF803FF6458}"/>
    </a:ext>
  </a:extLst>
</a:theme>
</file>

<file path=ppt/theme/theme14.xml><?xml version="1.0" encoding="utf-8"?>
<a:theme xmlns:a="http://schemas.openxmlformats.org/drawingml/2006/main" name="Azure Dev Titles and Headers - 2018H2">
  <a:themeElements>
    <a:clrScheme name="Azure 2018 Q1">
      <a:dk1>
        <a:srgbClr val="FFFFFF"/>
      </a:dk1>
      <a:lt1>
        <a:srgbClr val="414241"/>
      </a:lt1>
      <a:dk2>
        <a:srgbClr val="000000"/>
      </a:dk2>
      <a:lt2>
        <a:srgbClr val="E9E9E9"/>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Custom 1">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18_AzureDevPowerPoint_16x9.potx" id="{C0620CD2-E38F-4DEB-AE88-F41338761AAF}" vid="{CA091631-B8AB-4E7E-A47B-F9865E4771C5}"/>
    </a:ext>
  </a:extLst>
</a:theme>
</file>

<file path=ppt/theme/theme15.xml><?xml version="1.0" encoding="utf-8"?>
<a:theme xmlns:a="http://schemas.openxmlformats.org/drawingml/2006/main" name="4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5C7F7E6F-D093-4BBC-8472-D96652E17AFE}"/>
    </a:ext>
  </a:extLst>
</a:theme>
</file>

<file path=ppt/theme/theme3.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5.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6.xml><?xml version="1.0" encoding="utf-8"?>
<a:theme xmlns:a="http://schemas.openxmlformats.org/drawingml/2006/main" name="1_COLOR TEMPLATE">
  <a:themeElements>
    <a:clrScheme name="BT -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3AFD56AD-66DA-44BD-8AFD-60A79159574F}"/>
    </a:ext>
  </a:extLst>
</a:theme>
</file>

<file path=ppt/theme/theme7.xml><?xml version="1.0" encoding="utf-8"?>
<a:theme xmlns:a="http://schemas.openxmlformats.org/drawingml/2006/main" name="1_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D4EDA164-A9DF-4FD6-84AA-6D2E5BC1200A}"/>
    </a:ext>
  </a:extLst>
</a:theme>
</file>

<file path=ppt/theme/theme8.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8DAF3F87CB3A247B6107EF7BD051930" ma:contentTypeVersion="9" ma:contentTypeDescription="Create a new document." ma:contentTypeScope="" ma:versionID="6304bf20930d20d65897c96e5ff2d7ea">
  <xsd:schema xmlns:xsd="http://www.w3.org/2001/XMLSchema" xmlns:xs="http://www.w3.org/2001/XMLSchema" xmlns:p="http://schemas.microsoft.com/office/2006/metadata/properties" xmlns:ns1="http://schemas.microsoft.com/sharepoint/v3" xmlns:ns2="8574c880-9457-4207-8929-5c1c8fc252c3" xmlns:ns3="882f43a0-76db-474b-9821-2b79a57bcf8f" targetNamespace="http://schemas.microsoft.com/office/2006/metadata/properties" ma:root="true" ma:fieldsID="d610d28bd43ff8b961bb73df6444eebb" ns1:_="" ns2:_="" ns3:_="">
    <xsd:import namespace="http://schemas.microsoft.com/sharepoint/v3"/>
    <xsd:import namespace="8574c880-9457-4207-8929-5c1c8fc252c3"/>
    <xsd:import namespace="882f43a0-76db-474b-9821-2b79a57bcf8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74c880-9457-4207-8929-5c1c8fc252c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6" nillable="true" ma:displayName="MediaServiceAutoTags" ma:description=""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82f43a0-76db-474b-9821-2b79a57bcf8f"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8574c880-9457-4207-8929-5c1c8fc252c3"/>
    <ds:schemaRef ds:uri="http://schemas.openxmlformats.org/package/2006/metadata/core-properties"/>
    <ds:schemaRef ds:uri="http://purl.org/dc/terms/"/>
    <ds:schemaRef ds:uri="http://schemas.microsoft.com/office/2006/metadata/properties"/>
    <ds:schemaRef ds:uri="http://www.w3.org/XML/1998/namespace"/>
    <ds:schemaRef ds:uri="http://schemas.microsoft.com/office/infopath/2007/PartnerControls"/>
    <ds:schemaRef ds:uri="http://purl.org/dc/dcmitype/"/>
    <ds:schemaRef ds:uri="http://schemas.microsoft.com/office/2006/documentManagement/types"/>
    <ds:schemaRef ds:uri="882f43a0-76db-474b-9821-2b79a57bcf8f"/>
    <ds:schemaRef ds:uri="http://schemas.microsoft.com/sharepoint/v3"/>
    <ds:schemaRef ds:uri="http://purl.org/dc/elements/1.1/"/>
  </ds:schemaRefs>
</ds:datastoreItem>
</file>

<file path=customXml/itemProps2.xml><?xml version="1.0" encoding="utf-8"?>
<ds:datastoreItem xmlns:ds="http://schemas.openxmlformats.org/officeDocument/2006/customXml" ds:itemID="{5551E444-FE6A-4A4D-8D3E-9243980D75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574c880-9457-4207-8929-5c1c8fc252c3"/>
    <ds:schemaRef ds:uri="882f43a0-76db-474b-9821-2b79a57bcf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637</TotalTime>
  <Words>15494</Words>
  <Application>Microsoft Office PowerPoint</Application>
  <PresentationFormat>Custom</PresentationFormat>
  <Paragraphs>2423</Paragraphs>
  <Slides>100</Slides>
  <Notes>100</Notes>
  <HiddenSlides>16</HiddenSlides>
  <MMClips>1</MMClips>
  <ScaleCrop>false</ScaleCrop>
  <HeadingPairs>
    <vt:vector size="8" baseType="variant">
      <vt:variant>
        <vt:lpstr>Fonts Used</vt:lpstr>
      </vt:variant>
      <vt:variant>
        <vt:i4>10</vt:i4>
      </vt:variant>
      <vt:variant>
        <vt:lpstr>Theme</vt:lpstr>
      </vt:variant>
      <vt:variant>
        <vt:i4>15</vt:i4>
      </vt:variant>
      <vt:variant>
        <vt:lpstr>Embedded OLE Servers</vt:lpstr>
      </vt:variant>
      <vt:variant>
        <vt:i4>2</vt:i4>
      </vt:variant>
      <vt:variant>
        <vt:lpstr>Slide Titles</vt:lpstr>
      </vt:variant>
      <vt:variant>
        <vt:i4>100</vt:i4>
      </vt:variant>
    </vt:vector>
  </HeadingPairs>
  <TitlesOfParts>
    <vt:vector size="127" baseType="lpstr">
      <vt:lpstr>Arial</vt:lpstr>
      <vt:lpstr>Calibri</vt:lpstr>
      <vt:lpstr>Consolas</vt:lpstr>
      <vt:lpstr>Courier New</vt:lpstr>
      <vt:lpstr>Segoe UI</vt:lpstr>
      <vt:lpstr>Segoe UI Light</vt:lpstr>
      <vt:lpstr>Segoe UI Semibold</vt:lpstr>
      <vt:lpstr>Segoe UI Semilight</vt:lpstr>
      <vt:lpstr>Wingdings</vt:lpstr>
      <vt:lpstr>Wingdings 3</vt:lpstr>
      <vt:lpstr>WHITE TEMPLATE</vt:lpstr>
      <vt:lpstr>COLOR TEMPLATE</vt:lpstr>
      <vt:lpstr>4_LIGHT COLOR TEMPLATE</vt:lpstr>
      <vt:lpstr>6-30537_Envision 2016 Keynote Template</vt:lpstr>
      <vt:lpstr>3_5-50002_Ignite_Breakout_Template</vt:lpstr>
      <vt:lpstr>1_COLOR TEMPLATE</vt:lpstr>
      <vt:lpstr>1_WHITE TEMPLATE</vt:lpstr>
      <vt:lpstr>2_EBC_2017</vt:lpstr>
      <vt:lpstr>EBC_2017</vt:lpstr>
      <vt:lpstr>1_C+E Deck</vt:lpstr>
      <vt:lpstr>1_6-30537_Envision 2016 Keynote Template</vt:lpstr>
      <vt:lpstr>1_EBC_2017</vt:lpstr>
      <vt:lpstr>5_WHITE TEMPLATE</vt:lpstr>
      <vt:lpstr>Azure Dev Titles and Headers - 2018H2</vt:lpstr>
      <vt:lpstr>4_WHITE TEMPLATE</vt:lpstr>
      <vt:lpstr>think-cell Slide</vt:lpstr>
      <vt:lpstr>Image</vt:lpstr>
      <vt:lpstr>PowerPoint Presentation</vt:lpstr>
      <vt:lpstr>PowerPoint Presentation</vt:lpstr>
      <vt:lpstr>PowerPoint Presentation</vt:lpstr>
      <vt:lpstr>PowerPoint Presentation</vt:lpstr>
      <vt:lpstr>PowerPoint Presentation</vt:lpstr>
      <vt:lpstr>PowerPoint Presentation</vt:lpstr>
      <vt:lpstr>Leverage a secure and well-managed infrastructure</vt:lpstr>
      <vt:lpstr>DevOps framework</vt:lpstr>
      <vt:lpstr>Open source support</vt:lpstr>
      <vt:lpstr>PowerPoint Presentation</vt:lpstr>
      <vt:lpstr>Azure Stack: an extension of Azure</vt:lpstr>
      <vt:lpstr>PowerPoint Presentation</vt:lpstr>
      <vt:lpstr>PowerPoint Presentation</vt:lpstr>
      <vt:lpstr>Build with a platform designed for future growth</vt:lpstr>
      <vt:lpstr>PowerPoint Presentation</vt:lpstr>
      <vt:lpstr>Azure covers 73 compliance offerings </vt:lpstr>
      <vt:lpstr>PowerPoint Presentation</vt:lpstr>
      <vt:lpstr>Most comprehensive resiliency and best SLA</vt:lpstr>
      <vt:lpstr>PowerPoint Presentation</vt:lpstr>
      <vt:lpstr>PowerPoint Presentation</vt:lpstr>
      <vt:lpstr>Virtual Networking Services</vt:lpstr>
      <vt:lpstr>Azure Networking – Core Services</vt:lpstr>
      <vt:lpstr>Virtual Network</vt:lpstr>
      <vt:lpstr>Subnets</vt:lpstr>
      <vt:lpstr>Network Security Groups</vt:lpstr>
      <vt:lpstr>Augmented Rules</vt:lpstr>
      <vt:lpstr>Service Tags (Public Preview)</vt:lpstr>
      <vt:lpstr>Application Security groups (Public Preview)</vt:lpstr>
      <vt:lpstr>Gateway Subnet and Virtual Network Gateways</vt:lpstr>
      <vt:lpstr>NICs and PIPs</vt:lpstr>
      <vt:lpstr>Lab 1: Portal and vNets</vt:lpstr>
      <vt:lpstr>vNet Service Endpoints for Storage</vt:lpstr>
      <vt:lpstr>Azure DNS Private Zone (Managed Preview) </vt:lpstr>
      <vt:lpstr>Accelerated Networking for Linux (Public Preview)</vt:lpstr>
      <vt:lpstr>Load balancer</vt:lpstr>
      <vt:lpstr>Compute &amp; Storage Services</vt:lpstr>
      <vt:lpstr>Azure Compute – Core Services</vt:lpstr>
      <vt:lpstr>Compute families</vt:lpstr>
      <vt:lpstr>New compute size options</vt:lpstr>
      <vt:lpstr>New compute size options</vt:lpstr>
      <vt:lpstr>New VM sizes</vt:lpstr>
      <vt:lpstr>PowerPoint Presentation</vt:lpstr>
      <vt:lpstr>PowerPoint Presentation</vt:lpstr>
      <vt:lpstr>Kubernetes: the de-facto orchestrator</vt:lpstr>
      <vt:lpstr>Azure Container Service (AKS)</vt:lpstr>
      <vt:lpstr>Azure Container Instances (ACI)</vt:lpstr>
      <vt:lpstr>Azure Container Instances (ACI)</vt:lpstr>
      <vt:lpstr>Availability Zones (Public Preview)</vt:lpstr>
      <vt:lpstr>Azure Storage Services</vt:lpstr>
      <vt:lpstr>Azure File Sync </vt:lpstr>
      <vt:lpstr>Azure Data Box</vt:lpstr>
      <vt:lpstr>Managed disks Simple scalability and high resiliency </vt:lpstr>
      <vt:lpstr>Lab 2: Virtual Machine Tutorial</vt:lpstr>
      <vt:lpstr>PowerPoint Presentation</vt:lpstr>
      <vt:lpstr>Role Based Access Control</vt:lpstr>
      <vt:lpstr>Azure Blueprints Demo</vt:lpstr>
      <vt:lpstr>Azure Policy</vt:lpstr>
      <vt:lpstr>Azure Monitor</vt:lpstr>
      <vt:lpstr>Azure Network Watcher</vt:lpstr>
      <vt:lpstr>PowerPoint Presentation</vt:lpstr>
      <vt:lpstr>Azure Security Center</vt:lpstr>
      <vt:lpstr>Application &amp; Platform Services</vt:lpstr>
      <vt:lpstr>Balance of responsibility </vt:lpstr>
      <vt:lpstr>Application development</vt:lpstr>
      <vt:lpstr>App Service – Azure PaaS </vt:lpstr>
      <vt:lpstr>Azure App Service</vt:lpstr>
      <vt:lpstr>Application Insights</vt:lpstr>
      <vt:lpstr>Lab 3: Web Apps</vt:lpstr>
      <vt:lpstr>DevOps, Management &amp; Automation</vt:lpstr>
      <vt:lpstr>PowerPoint Presentation</vt:lpstr>
      <vt:lpstr>Azure DevOps  ♥ integration</vt:lpstr>
      <vt:lpstr>Modern cloud management with Azure</vt:lpstr>
      <vt:lpstr>Azure Messaging Services</vt:lpstr>
      <vt:lpstr>PowerPoint Presentation</vt:lpstr>
      <vt:lpstr>PowerPoint Presentation</vt:lpstr>
      <vt:lpstr>Lab 4a: Logic Apps</vt:lpstr>
      <vt:lpstr>Data, Analytics &amp; IoT Services</vt:lpstr>
      <vt:lpstr>Azure SQL Database</vt:lpstr>
      <vt:lpstr>PowerPoint Presentation</vt:lpstr>
      <vt:lpstr>SQL Data Warehouse</vt:lpstr>
      <vt:lpstr>Big Data / Hadoop in Azure</vt:lpstr>
      <vt:lpstr>Azure Relational Database Platform</vt:lpstr>
      <vt:lpstr>Azure Cosmos db     </vt:lpstr>
      <vt:lpstr>Azure Cosmos db     </vt:lpstr>
      <vt:lpstr>Powering global solutions</vt:lpstr>
      <vt:lpstr>More SLA coverage than AWS</vt:lpstr>
      <vt:lpstr>Lab 4b: Logic Apps</vt:lpstr>
      <vt:lpstr>Microsoft AI</vt:lpstr>
      <vt:lpstr>Ai 101 focus areas</vt:lpstr>
      <vt:lpstr>Cognitive services</vt:lpstr>
      <vt:lpstr>Cognitive Services capabilities Infuse your apps, websites, and bots with human-like intelligence </vt:lpstr>
      <vt:lpstr>PowerPoint Presentation</vt:lpstr>
      <vt:lpstr>Chat bots </vt:lpstr>
      <vt:lpstr>Search</vt:lpstr>
      <vt:lpstr>Cortana Intelligence Suite Architecture</vt:lpstr>
      <vt:lpstr>PowerPoint Presentation</vt:lpstr>
      <vt:lpstr>Innovation at work – real IoT use cases</vt:lpstr>
      <vt:lpstr>PowerPoint Presentation</vt:lpstr>
      <vt:lpstr>Azure IoT Reference Architec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Richard Cheney</cp:lastModifiedBy>
  <cp:revision>59</cp:revision>
  <dcterms:modified xsi:type="dcterms:W3CDTF">2018-12-03T14:0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TaxKeyword">
    <vt:lpwstr/>
  </property>
  <property fmtid="{D5CDD505-2E9C-101B-9397-08002B2CF9AE}" pid="11" name="TaxCatchAll">
    <vt:lpwstr/>
  </property>
  <property fmtid="{D5CDD505-2E9C-101B-9397-08002B2CF9AE}" pid="12" name="TaxKeywordTaxHTField">
    <vt:lpwstr/>
  </property>
  <property fmtid="{D5CDD505-2E9C-101B-9397-08002B2CF9AE}" pid="13" name="ContentTypeId">
    <vt:lpwstr>0x01010068DAF3F87CB3A247B6107EF7BD051930</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Owner">
    <vt:lpwstr>richeney@microsoft.com</vt:lpwstr>
  </property>
  <property fmtid="{D5CDD505-2E9C-101B-9397-08002B2CF9AE}" pid="17" name="MSIP_Label_f42aa342-8706-4288-bd11-ebb85995028c_SetDate">
    <vt:lpwstr>2018-05-09T07:43:32.1287855Z</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Manual</vt:lpwstr>
  </property>
  <property fmtid="{D5CDD505-2E9C-101B-9397-08002B2CF9AE}" pid="21" name="Sensitivity">
    <vt:lpwstr>General</vt:lpwstr>
  </property>
</Properties>
</file>